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3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5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6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7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9.xml" ContentType="application/vnd.openxmlformats-officedocument.theme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theme/theme10.xml" ContentType="application/vnd.openxmlformats-officedocument.theme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theme/theme11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11" r:id="rId2"/>
    <p:sldMasterId id="2147483777" r:id="rId3"/>
    <p:sldMasterId id="2147483784" r:id="rId4"/>
    <p:sldMasterId id="2147483820" r:id="rId5"/>
    <p:sldMasterId id="2147483832" r:id="rId6"/>
    <p:sldMasterId id="2147483844" r:id="rId7"/>
    <p:sldMasterId id="2147483903" r:id="rId8"/>
    <p:sldMasterId id="2147483963" r:id="rId9"/>
    <p:sldMasterId id="2147484038" r:id="rId10"/>
    <p:sldMasterId id="2147484098" r:id="rId11"/>
    <p:sldMasterId id="2147484163" r:id="rId12"/>
  </p:sldMasterIdLst>
  <p:notesMasterIdLst>
    <p:notesMasterId r:id="rId25"/>
  </p:notesMasterIdLst>
  <p:sldIdLst>
    <p:sldId id="2147481331" r:id="rId13"/>
    <p:sldId id="2147374665" r:id="rId14"/>
    <p:sldId id="2147481345" r:id="rId15"/>
    <p:sldId id="2147481346" r:id="rId16"/>
    <p:sldId id="2147481344" r:id="rId17"/>
    <p:sldId id="2147479093" r:id="rId18"/>
    <p:sldId id="2147374667" r:id="rId19"/>
    <p:sldId id="2147375504" r:id="rId20"/>
    <p:sldId id="2147479085" r:id="rId21"/>
    <p:sldId id="2147469532" r:id="rId22"/>
    <p:sldId id="2147481332" r:id="rId23"/>
    <p:sldId id="2147479048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1430466-8202-39FE-E95F-10FF24A3C673}" name="Megan Holloway" initials="MH" userId="S::mholloway@gavi.org::4463ca0a-25be-4884-b653-f920bc2bb664" providerId="AD"/>
  <p188:author id="{53140A7E-0B93-8AC2-87DC-B297B3CCDE08}" name="Scott Lamontagne (Consultant)" initials="S(" userId="S::slamontagne@gavi.org::5365dbe4-842f-4b07-b61d-934c311996e4" providerId="AD"/>
  <p188:author id="{BED83AE0-DE54-5A9F-9385-892CC1965C2E}" name="Antara Sinha" initials="AS" userId="S::asinha@gavi.org::c2682363-37db-4b47-bfe0-0ef78ad3dd3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FAE1F1"/>
    <a:srgbClr val="F4B183"/>
    <a:srgbClr val="E519D1"/>
    <a:srgbClr val="223C6C"/>
    <a:srgbClr val="355EA9"/>
    <a:srgbClr val="008009"/>
    <a:srgbClr val="FFFFFF"/>
    <a:srgbClr val="9DC3E6"/>
    <a:srgbClr val="26CC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6897" autoAdjust="0"/>
    <p:restoredTop sz="94681"/>
  </p:normalViewPr>
  <p:slideViewPr>
    <p:cSldViewPr snapToGrid="0">
      <p:cViewPr varScale="1">
        <p:scale>
          <a:sx n="64" d="100"/>
          <a:sy n="64" d="100"/>
        </p:scale>
        <p:origin x="1290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C4C156-FCC8-4DA7-A5C0-A35BF88A3187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quez pour modifier les styles de texte du Master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785A4F-BCA5-46F3-BA37-3BA0B30F23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45957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H"/>
              <a:t>30 minu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104A74-82BA-402E-9268-585387E7E727}" type="slidenum">
              <a:rPr kumimoji="0" lang="en-GB" sz="6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</a:t>
            </a:fld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82871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DA0D1-FA0A-41FA-9449-6729F6DD9B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6702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highlight>
                <a:srgbClr val="00FF00"/>
              </a:highlight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104A74-82BA-402E-9268-585387E7E72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92164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1DCE9A-40F5-41BE-971F-DDCB4AD54AE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354865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785A4F-BCA5-46F3-BA37-3BA0B30F23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928910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785A4F-BCA5-46F3-BA37-3BA0B30F23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69435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highlight>
                <a:srgbClr val="00FF00"/>
              </a:highlight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104A74-82BA-402E-9268-585387E7E72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06205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cénarios 1, 8, 5, 7, 10 (référence au modèle Excel)</a:t>
            </a:r>
          </a:p>
          <a:p>
            <a:r>
              <a:rPr lang="en-US"/>
              <a:t>À court terme, ce sont les MAC qui posent problème s'ils ne sont pas gérés. </a:t>
            </a:r>
          </a:p>
          <a:p>
            <a:r>
              <a:rPr lang="en-US"/>
              <a:t>Une seule dose améliore considérablement la situation </a:t>
            </a:r>
          </a:p>
          <a:p>
            <a:r>
              <a:rPr lang="en-US"/>
              <a:t>Néanmoins, à moyen terme, il n'y a pas de problème dans tous les scénarios. </a:t>
            </a:r>
          </a:p>
          <a:p>
            <a:r>
              <a:rPr lang="en-US"/>
              <a:t>La faiblesse de l'offre est déjà partiellement compensée par l'autorisation de mise sur le marché de </a:t>
            </a:r>
            <a:r>
              <a:rPr lang="en-US" err="1"/>
              <a:t>Walvax</a:t>
            </a:r>
            <a:r>
              <a:rPr lang="en-US"/>
              <a:t>, ce qui implique un ralentissement significatif de la montée en puissance et le retrait de GSK en 2024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F3687A-F0BD-1E45-A474-DB256B6806B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88507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 dirty="0">
              <a:solidFill>
                <a:srgbClr val="000000"/>
              </a:solidFill>
              <a:effectLst/>
              <a:latin typeface="Playfair Display" panose="020B0604020202020204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FC5EF9-46D6-4EFC-9548-801AA0C58C6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92932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ise à jou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85A4F-BCA5-46F3-BA37-3BA0B30F235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71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0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39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image" Target="../media/image36.emf"/><Relationship Id="rId4" Type="http://schemas.openxmlformats.org/officeDocument/2006/relationships/tags" Target="../tags/tag7.xml"/><Relationship Id="rId9" Type="http://schemas.openxmlformats.org/officeDocument/2006/relationships/oleObject" Target="../embeddings/oleObject4.bin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BD52AD-1429-4AF8-A5F2-9721394FBD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F1A283-716C-41A3-B80C-3F35DBA6BF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0E6A40-6209-43D0-8182-D396117654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12984-CCA6-40C2-A876-382B8C68BCC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91FA62-F335-4A96-AD88-12EF280324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E9E867-D8EB-439C-ABC4-62630943D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6B2428-E456-463D-9B39-0CE3462EA6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0231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79E1D9-878B-47FC-886E-BCE84997E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79B9DD-CFBE-486B-84DC-522D0E61B5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D6C941-056F-457D-BEAF-F7A9AA001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12984-CCA6-40C2-A876-382B8C68BCC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316D0E-4D20-4B75-888F-E15D3C0B56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610796-40E0-41F6-BD92-6F203D846D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6B2428-E456-463D-9B39-0CE3462EA6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94944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4B1DB28-413A-41E9-A6F8-727DE05F8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3036723" cy="646908"/>
          </a:xfrm>
          <a:prstGeom prst="rect">
            <a:avLst/>
          </a:prstGeom>
        </p:spPr>
      </p:pic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E02C968-6D90-43B9-83B4-8DDD9D10A2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/>
          </a:solidFill>
        </p:spPr>
        <p:txBody>
          <a:bodyPr bIns="1764000" anchor="ctr">
            <a:noAutofit/>
          </a:bodyPr>
          <a:lstStyle>
            <a:lvl1pPr algn="ctr">
              <a:defRPr sz="2183" b="1"/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408869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8059CA9-ADD3-48DF-ABCE-675068DD8B2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/>
          </a:solidFill>
        </p:spPr>
        <p:txBody>
          <a:bodyPr bIns="1764000" anchor="ctr">
            <a:noAutofit/>
          </a:bodyPr>
          <a:lstStyle>
            <a:lvl1pPr algn="ctr">
              <a:defRPr sz="2183" b="1"/>
            </a:lvl1pPr>
          </a:lstStyle>
          <a:p>
            <a:r>
              <a:rPr lang="en-GB"/>
              <a:t>Click icon to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F1B92ED-1DA4-42D5-94F1-A383F50976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6444"/>
            <a:ext cx="750929" cy="554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614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90D3C3D-29CE-4901-8EEA-1345D26869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75632" y="0"/>
            <a:ext cx="7016368" cy="685799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3911A5-606B-49B4-916C-45BA4954D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CFDB7-1FD8-48B9-B71F-E3DCBDCCD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E8D1215B-902F-4676-BD97-07AB236AAB96}"/>
              </a:ext>
            </a:extLst>
          </p:cNvPr>
          <p:cNvSpPr/>
          <p:nvPr userDrawn="1"/>
        </p:nvSpPr>
        <p:spPr>
          <a:xfrm>
            <a:off x="581978" y="6397848"/>
            <a:ext cx="4011676" cy="44087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DC27864-4735-40D0-B2CD-C35B135AB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638" y="2948731"/>
            <a:ext cx="4164766" cy="1769202"/>
          </a:xfrm>
        </p:spPr>
        <p:txBody>
          <a:bodyPr lIns="0" tIns="0" rIns="0" bIns="0" anchor="t" anchorCtr="0"/>
          <a:lstStyle>
            <a:lvl1pPr algn="l">
              <a:defRPr sz="4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39426BB5-24C1-4CC6-9847-26D952ABD9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1978" y="2436028"/>
            <a:ext cx="4164766" cy="338362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940">
                <a:solidFill>
                  <a:schemeClr val="accent1"/>
                </a:solidFill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6074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26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342856"/>
            <a:ext cx="7200250" cy="3274256"/>
          </a:xfrm>
        </p:spPr>
        <p:txBody>
          <a:bodyPr wrap="square" numCol="2" spcCol="756000">
            <a:noAutofit/>
          </a:bodyPr>
          <a:lstStyle>
            <a:lvl1pPr marL="311902" indent="-311902">
              <a:spcAft>
                <a:spcPts val="0"/>
              </a:spcAft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311902" indent="-311902">
              <a:spcAft>
                <a:spcPts val="1455"/>
              </a:spcAft>
              <a:buSzPct val="100000"/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4" y="2299040"/>
            <a:ext cx="3379179" cy="331806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44232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342856"/>
            <a:ext cx="11042887" cy="3007436"/>
          </a:xfrm>
        </p:spPr>
        <p:txBody>
          <a:bodyPr wrap="square" numCol="2" spcCol="756000">
            <a:noAutofit/>
          </a:bodyPr>
          <a:lstStyle>
            <a:lvl1pPr marL="311902" indent="-311902">
              <a:spcAft>
                <a:spcPts val="0"/>
              </a:spcAft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311902" indent="-311902">
              <a:spcAft>
                <a:spcPts val="1455"/>
              </a:spcAft>
              <a:buSzPct val="100000"/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799397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with tim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A335A19B-4A16-3443-B357-10DDCD6808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1477" y="2016928"/>
            <a:ext cx="11049260" cy="3837084"/>
          </a:xfrm>
        </p:spPr>
        <p:txBody>
          <a:bodyPr wrap="square" numCol="2" spcCol="75600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940" b="0" i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1455"/>
              </a:spcAft>
              <a:buFont typeface="Arial" panose="020B0604020202020204" pitchFamily="34" charset="0"/>
              <a:buNone/>
              <a:defRPr sz="1940" b="0" i="0"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4262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able of contents</a:t>
            </a:r>
            <a:endParaRPr lang="en-GB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342856"/>
            <a:ext cx="7200250" cy="3274256"/>
          </a:xfrm>
        </p:spPr>
        <p:txBody>
          <a:bodyPr wrap="square" numCol="2" spcCol="75600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334" b="0" i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1455"/>
              </a:spcAft>
              <a:buFont typeface="Arial" panose="020B0604020202020204" pitchFamily="34" charset="0"/>
              <a:buNone/>
              <a:defRPr sz="1334" b="0" i="0"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4" y="2299040"/>
            <a:ext cx="3379179" cy="331806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095870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F0E35ECD-3ED9-473D-9E17-FF1C83FE9F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eam/Speakers</a:t>
            </a:r>
            <a:endParaRPr lang="en-GB"/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67EAA926-4051-4F98-B128-E26790C1A9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3" name="Picture Placeholder 7">
            <a:extLst>
              <a:ext uri="{FF2B5EF4-FFF2-40B4-BE49-F238E27FC236}">
                <a16:creationId xmlns:a16="http://schemas.microsoft.com/office/drawing/2014/main" id="{3BD0D2FB-1A7B-44AF-BA4E-FD97B0B714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4A124E16-FB5A-4A88-A515-FC70FA2554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11458" y="4501859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5" name="Picture Placeholder 7">
            <a:extLst>
              <a:ext uri="{FF2B5EF4-FFF2-40B4-BE49-F238E27FC236}">
                <a16:creationId xmlns:a16="http://schemas.microsoft.com/office/drawing/2014/main" id="{88D60E5C-AB30-4F0B-8773-F30DB3E8A6A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0681" y="4078842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Text Placeholder 12">
            <a:extLst>
              <a:ext uri="{FF2B5EF4-FFF2-40B4-BE49-F238E27FC236}">
                <a16:creationId xmlns:a16="http://schemas.microsoft.com/office/drawing/2014/main" id="{2C60DE2D-43F7-4A13-BE4E-B64A383DE8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29820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7" name="Picture Placeholder 7">
            <a:extLst>
              <a:ext uri="{FF2B5EF4-FFF2-40B4-BE49-F238E27FC236}">
                <a16:creationId xmlns:a16="http://schemas.microsoft.com/office/drawing/2014/main" id="{5B1E1242-6BB9-4F32-91B1-3AA43FC4EC9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69043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8" name="Text Placeholder 12">
            <a:extLst>
              <a:ext uri="{FF2B5EF4-FFF2-40B4-BE49-F238E27FC236}">
                <a16:creationId xmlns:a16="http://schemas.microsoft.com/office/drawing/2014/main" id="{C8B338B9-D1F9-4987-BC28-B7466CCC38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29820" y="4501859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9" name="Picture Placeholder 7">
            <a:extLst>
              <a:ext uri="{FF2B5EF4-FFF2-40B4-BE49-F238E27FC236}">
                <a16:creationId xmlns:a16="http://schemas.microsoft.com/office/drawing/2014/main" id="{CED5980C-4EBB-4601-BF07-F911191638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69043" y="4078842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5216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ir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hairperson</a:t>
            </a:r>
            <a:endParaRPr lang="en-GB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2A210F5-A8B3-4A0E-8B15-4497042C49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33079" y="1682566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030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 | 3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5D51C2DC-4571-42B4-89F2-DA6662BE5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eam/Speakers 3 columns 3 rows</a:t>
            </a:r>
            <a:endParaRPr lang="en-GB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B4DF1173-C29F-45AC-92AA-916D11D8E0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35950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7AC79D67-C678-414C-AF90-8C02E28CA9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D84CF9F7-FEFA-4F30-8381-81E1CDC7DE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8467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C320D465-6541-42AF-B948-F179CCF7EE8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2319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C8238BF7-B55E-43DD-99B0-CDFDFE29FD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89776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0" name="Picture Placeholder 7">
            <a:extLst>
              <a:ext uri="{FF2B5EF4-FFF2-40B4-BE49-F238E27FC236}">
                <a16:creationId xmlns:a16="http://schemas.microsoft.com/office/drawing/2014/main" id="{0BEA5C06-8D59-4BD3-9B33-5696A4BC522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0450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7BBE5725-635F-472C-99DA-2942D536FF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35950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2" name="Picture Placeholder 7">
            <a:extLst>
              <a:ext uri="{FF2B5EF4-FFF2-40B4-BE49-F238E27FC236}">
                <a16:creationId xmlns:a16="http://schemas.microsoft.com/office/drawing/2014/main" id="{00A16A42-CA42-49E2-8405-AA0CAF0311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50681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3" name="Text Placeholder 12">
            <a:extLst>
              <a:ext uri="{FF2B5EF4-FFF2-40B4-BE49-F238E27FC236}">
                <a16:creationId xmlns:a16="http://schemas.microsoft.com/office/drawing/2014/main" id="{EE36DF45-11AE-4011-BA24-5F2F1B07B5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08467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4" name="Picture Placeholder 7">
            <a:extLst>
              <a:ext uri="{FF2B5EF4-FFF2-40B4-BE49-F238E27FC236}">
                <a16:creationId xmlns:a16="http://schemas.microsoft.com/office/drawing/2014/main" id="{8FBF5889-E52E-4268-BCFD-13AA1E933F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23198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85553B65-686F-493B-B002-4E9B0D2112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89776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6" name="Picture Placeholder 7">
            <a:extLst>
              <a:ext uri="{FF2B5EF4-FFF2-40B4-BE49-F238E27FC236}">
                <a16:creationId xmlns:a16="http://schemas.microsoft.com/office/drawing/2014/main" id="{F3DB35B0-B095-4BB6-B438-419AB248A32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04508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78D2052B-6800-49A9-9052-94BEBF4D16D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835950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8" name="Picture Placeholder 7">
            <a:extLst>
              <a:ext uri="{FF2B5EF4-FFF2-40B4-BE49-F238E27FC236}">
                <a16:creationId xmlns:a16="http://schemas.microsoft.com/office/drawing/2014/main" id="{C0FB45DF-4505-4104-B3AB-1FF0A095BB4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50681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0CFC70D0-DEBC-4AE8-94A6-E2EBDB950E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08467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60" name="Picture Placeholder 7">
            <a:extLst>
              <a:ext uri="{FF2B5EF4-FFF2-40B4-BE49-F238E27FC236}">
                <a16:creationId xmlns:a16="http://schemas.microsoft.com/office/drawing/2014/main" id="{317AD999-FECF-4E8A-A9F4-237EBF5CB42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23198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7B6DD1A6-D513-4EA0-8C3F-47C93CA395E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9776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5D78DD9A-7A3B-4479-A356-D1201169A1E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104508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9635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8BAE27D-0B16-45A0-9D52-9A5E912E305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97CEFF-119F-487C-ADC2-B1026A4F4C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24E6BF-F693-41BA-B15A-76CFA747E8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12984-CCA6-40C2-A876-382B8C68BCC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07A2B4-E24B-4BEC-BBA0-AAD1D3A53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211898-40DA-4223-881E-C24404B5D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6B2428-E456-463D-9B39-0CE3462EA6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81944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 |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5D51C2DC-4571-42B4-89F2-DA6662BE5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eam/Speakers 3 columns 4 rows</a:t>
            </a:r>
            <a:endParaRPr lang="en-GB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B4DF1173-C29F-45AC-92AA-916D11D8E0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0230" y="1612706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7AC79D67-C678-414C-AF90-8C02E28CA9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1452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D84CF9F7-FEFA-4F30-8381-81E1CDC7DE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003" y="1613916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C320D465-6541-42AF-B948-F179CCF7EE8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96225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C8238BF7-B55E-43DD-99B0-CDFDFE29FD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89776" y="1613916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50" name="Picture Placeholder 7">
            <a:extLst>
              <a:ext uri="{FF2B5EF4-FFF2-40B4-BE49-F238E27FC236}">
                <a16:creationId xmlns:a16="http://schemas.microsoft.com/office/drawing/2014/main" id="{0BEA5C06-8D59-4BD3-9B33-5696A4BC522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20998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2" name="Picture Placeholder 7">
            <a:extLst>
              <a:ext uri="{FF2B5EF4-FFF2-40B4-BE49-F238E27FC236}">
                <a16:creationId xmlns:a16="http://schemas.microsoft.com/office/drawing/2014/main" id="{00A16A42-CA42-49E2-8405-AA0CAF0311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71452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4" name="Picture Placeholder 7">
            <a:extLst>
              <a:ext uri="{FF2B5EF4-FFF2-40B4-BE49-F238E27FC236}">
                <a16:creationId xmlns:a16="http://schemas.microsoft.com/office/drawing/2014/main" id="{8FBF5889-E52E-4268-BCFD-13AA1E933F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6225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Picture Placeholder 7">
            <a:extLst>
              <a:ext uri="{FF2B5EF4-FFF2-40B4-BE49-F238E27FC236}">
                <a16:creationId xmlns:a16="http://schemas.microsoft.com/office/drawing/2014/main" id="{F3DB35B0-B095-4BB6-B438-419AB248A32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220998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8" name="Picture Placeholder 7">
            <a:extLst>
              <a:ext uri="{FF2B5EF4-FFF2-40B4-BE49-F238E27FC236}">
                <a16:creationId xmlns:a16="http://schemas.microsoft.com/office/drawing/2014/main" id="{C0FB45DF-4505-4104-B3AB-1FF0A095BB4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71452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7">
            <a:extLst>
              <a:ext uri="{FF2B5EF4-FFF2-40B4-BE49-F238E27FC236}">
                <a16:creationId xmlns:a16="http://schemas.microsoft.com/office/drawing/2014/main" id="{317AD999-FECF-4E8A-A9F4-237EBF5CB42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96225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5D78DD9A-7A3B-4479-A356-D1201169A1E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20998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C9B18172-AE91-486D-B3BF-BB4501ABE8A3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71452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F64BBF40-4B6E-4EED-9A4A-53F588F6905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396225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BA5CBA95-71BA-4D1C-9702-C09A59DB5A0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220998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DE3C1140-BD03-4998-B2C4-28410F93C64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40230" y="2822288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FFE703FA-9332-4A8A-B58E-5F35E54BCD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65003" y="2823498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1C44D164-2308-4F92-8C1F-02E8B7DE078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89776" y="2823498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6" name="Text Placeholder 12">
            <a:extLst>
              <a:ext uri="{FF2B5EF4-FFF2-40B4-BE49-F238E27FC236}">
                <a16:creationId xmlns:a16="http://schemas.microsoft.com/office/drawing/2014/main" id="{3423B415-66AA-45CD-A323-3A2A488B71A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740230" y="4031870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CB7D5369-1728-4112-B4F1-ED60D3FE7A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65003" y="4033080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9AEBD6C7-E5B0-401A-A86F-E5112062611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9776" y="4033080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B77E20DC-EB84-47ED-8BD7-B4FF8C116E3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740230" y="5241451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59FE56BC-3699-4F5D-A9A7-2D0424B49BE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565003" y="5242661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C9243CCE-E7FC-4AA9-B6B0-2E7FCC8D0DF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389776" y="5242661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</p:spTree>
    <p:extLst>
      <p:ext uri="{BB962C8B-B14F-4D97-AF65-F5344CB8AC3E}">
        <p14:creationId xmlns:p14="http://schemas.microsoft.com/office/powerpoint/2010/main" val="1210114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2905314"/>
            <a:ext cx="11036725" cy="1658869"/>
          </a:xfrm>
        </p:spPr>
        <p:txBody>
          <a:bodyPr numCol="2" spcCol="1440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042731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2 column text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935848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| 2 column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207935" indent="-207935">
              <a:buClr>
                <a:schemeClr val="accent1"/>
              </a:buClr>
              <a:buSzPct val="110000"/>
              <a:buFont typeface="Wingdings" pitchFamily="2" charset="2"/>
              <a:buChar char="§"/>
              <a:defRPr/>
            </a:lvl1pPr>
            <a:lvl2pPr>
              <a:buSzPct val="110000"/>
              <a:defRPr/>
            </a:lvl2pPr>
            <a:lvl3pPr>
              <a:buSzPct val="110000"/>
              <a:defRPr/>
            </a:lvl3pPr>
            <a:lvl4pPr>
              <a:buSzPct val="110000"/>
              <a:defRPr/>
            </a:lvl4pPr>
            <a:lvl5pPr>
              <a:buSzPct val="110000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898829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2 column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277246" indent="-277246">
              <a:buClr>
                <a:schemeClr val="accent1"/>
              </a:buClr>
              <a:buSzPct val="100000"/>
              <a:buFont typeface="+mj-lt"/>
              <a:buAutoNum type="arabicPeriod"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751912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7A8EF9-1C32-4B7A-8081-50E936C41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820C01-EFC8-47E3-87CA-54B740EA5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7638" y="2905312"/>
            <a:ext cx="10775825" cy="1564243"/>
          </a:xfrm>
        </p:spPr>
        <p:txBody>
          <a:bodyPr/>
          <a:lstStyle>
            <a:lvl1pPr marL="0" indent="0">
              <a:spcAft>
                <a:spcPts val="728"/>
              </a:spcAft>
              <a:buFontTx/>
              <a:buNone/>
              <a:defRPr/>
            </a:lvl1pPr>
            <a:lvl2pPr>
              <a:spcAft>
                <a:spcPts val="728"/>
              </a:spcAft>
              <a:defRPr/>
            </a:lvl2pPr>
            <a:lvl3pPr>
              <a:spcAft>
                <a:spcPts val="728"/>
              </a:spcAft>
              <a:defRPr/>
            </a:lvl3pPr>
            <a:lvl4pPr>
              <a:spcAft>
                <a:spcPts val="728"/>
              </a:spcAft>
              <a:defRPr/>
            </a:lvl4pPr>
            <a:lvl5pPr>
              <a:spcAft>
                <a:spcPts val="728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F7A7FA-3919-46C3-A721-2BCFFDD3E2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F7C05-75CA-420E-AD15-CB8A1468F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87425AA8-5E7D-4A02-BD41-3BD7CF394720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8DFAF66-6D1A-4424-9287-26CDDE2BBD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08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Text +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915F15C-956C-41D5-B307-E9EAF4140C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3079" y="1"/>
            <a:ext cx="5658921" cy="6857999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2905312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 flipV="1">
            <a:off x="577638" y="6370213"/>
            <a:ext cx="5377804" cy="27725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2D490A-0282-4B98-BC22-F72D01AAD9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33079" y="5916690"/>
            <a:ext cx="5081284" cy="148117"/>
          </a:xfrm>
        </p:spPr>
        <p:txBody>
          <a:bodyPr/>
          <a:lstStyle>
            <a:lvl1pPr>
              <a:defRPr sz="849"/>
            </a:lvl1pPr>
          </a:lstStyle>
          <a:p>
            <a:pPr lvl="0"/>
            <a:r>
              <a:rPr lang="en-US"/>
              <a:t>Caption text goes here if required</a:t>
            </a:r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9427362-842E-4669-885E-548EFDB4AD6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3193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6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915F15C-956C-41D5-B307-E9EAF4140C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3079" y="577597"/>
            <a:ext cx="5081284" cy="263414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3079" y="3434808"/>
            <a:ext cx="5081284" cy="2613594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3DBC4A-ACA7-4AD0-9307-8B9B0EA507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04322" y="644597"/>
            <a:ext cx="4938799" cy="25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aption, if required, goes here</a:t>
            </a:r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E7CB72A-5628-4C6B-920B-B5462A85B7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4322" y="3509478"/>
            <a:ext cx="4938799" cy="25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aption, if required, goes here</a:t>
            </a:r>
            <a:endParaRPr lang="en-GB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3E63EEFC-E63D-460B-87E8-056BB1E9EE2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3647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Quote +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6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3079" y="3434808"/>
            <a:ext cx="5081284" cy="2613594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342D1F6-875C-4F73-9292-C3AAE26778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0496" y="2150912"/>
            <a:ext cx="5073866" cy="83955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455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0"/>
              </a:spcAft>
              <a:buFontTx/>
              <a:buNone/>
              <a:defRPr sz="1455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2pPr>
            <a:lvl3pPr marL="0" indent="0">
              <a:spcBef>
                <a:spcPts val="0"/>
              </a:spcBef>
              <a:buFontTx/>
              <a:buNone/>
              <a:defRPr sz="1213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2BA5A0B-ACA6-4775-BB7F-0F44A4EF7ED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10812D15-BFF6-4022-96D6-207CD21FCD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40496" y="1606818"/>
            <a:ext cx="474911" cy="401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12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283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4 x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8"/>
            <a:ext cx="11042887" cy="40313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4540" y="3865484"/>
            <a:ext cx="2424253" cy="218291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49FC8846-079B-41AE-B836-FAD08E0C32D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8" y="1245959"/>
            <a:ext cx="5299823" cy="4802443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E7F864D5-53D1-4798-9693-FAD45F36240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90110" y="3865484"/>
            <a:ext cx="2424253" cy="218291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09D04CD5-6785-4614-82A0-EB606F9E758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14539" y="1245958"/>
            <a:ext cx="5299823" cy="2183042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314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28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F1DF7B41-F7DB-34D2-2141-1DFA3BD4E32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225" r="-1048"/>
          <a:stretch/>
        </p:blipFill>
        <p:spPr bwMode="auto">
          <a:xfrm>
            <a:off x="4781291" y="0"/>
            <a:ext cx="7899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D5F06F89-C2B0-38D1-B000-3DC76C079BEA}"/>
              </a:ext>
            </a:extLst>
          </p:cNvPr>
          <p:cNvSpPr/>
          <p:nvPr userDrawn="1"/>
        </p:nvSpPr>
        <p:spPr>
          <a:xfrm>
            <a:off x="0" y="0"/>
            <a:ext cx="5600700" cy="6857998"/>
          </a:xfrm>
          <a:custGeom>
            <a:avLst/>
            <a:gdLst>
              <a:gd name="connsiteX0" fmla="*/ 0 w 4864100"/>
              <a:gd name="connsiteY0" fmla="*/ 0 h 6857998"/>
              <a:gd name="connsiteX1" fmla="*/ 4420096 w 4864100"/>
              <a:gd name="connsiteY1" fmla="*/ 0 h 6857998"/>
              <a:gd name="connsiteX2" fmla="*/ 4864100 w 4864100"/>
              <a:gd name="connsiteY2" fmla="*/ 444004 h 6857998"/>
              <a:gd name="connsiteX3" fmla="*/ 4864100 w 4864100"/>
              <a:gd name="connsiteY3" fmla="*/ 6413994 h 6857998"/>
              <a:gd name="connsiteX4" fmla="*/ 4420096 w 4864100"/>
              <a:gd name="connsiteY4" fmla="*/ 6857998 h 6857998"/>
              <a:gd name="connsiteX5" fmla="*/ 0 w 4864100"/>
              <a:gd name="connsiteY5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64100" h="6857998">
                <a:moveTo>
                  <a:pt x="0" y="0"/>
                </a:moveTo>
                <a:lnTo>
                  <a:pt x="4420096" y="0"/>
                </a:lnTo>
                <a:cubicBezTo>
                  <a:pt x="4665313" y="0"/>
                  <a:pt x="4864100" y="198787"/>
                  <a:pt x="4864100" y="444004"/>
                </a:cubicBezTo>
                <a:lnTo>
                  <a:pt x="4864100" y="6413994"/>
                </a:lnTo>
                <a:cubicBezTo>
                  <a:pt x="4864100" y="6659211"/>
                  <a:pt x="4665313" y="6857998"/>
                  <a:pt x="4420096" y="6857998"/>
                </a:cubicBezTo>
                <a:lnTo>
                  <a:pt x="0" y="685799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3911A5-606B-49B4-916C-45BA4954D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CFDB7-1FD8-48B9-B71F-E3DCBDCCD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E8D1215B-902F-4676-BD97-07AB236AAB96}"/>
              </a:ext>
            </a:extLst>
          </p:cNvPr>
          <p:cNvSpPr/>
          <p:nvPr userDrawn="1"/>
        </p:nvSpPr>
        <p:spPr>
          <a:xfrm>
            <a:off x="581978" y="6397848"/>
            <a:ext cx="4011676" cy="44087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DC27864-4735-40D0-B2CD-C35B135AB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638" y="2948731"/>
            <a:ext cx="4164766" cy="1780039"/>
          </a:xfrm>
        </p:spPr>
        <p:txBody>
          <a:bodyPr lIns="0" tIns="0" rIns="0" bIns="0" anchor="t" anchorCtr="0"/>
          <a:lstStyle>
            <a:lvl1pPr algn="l">
              <a:defRPr sz="4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39426BB5-24C1-4CC6-9847-26D952ABD9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1978" y="2431026"/>
            <a:ext cx="4164766" cy="34336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940">
                <a:solidFill>
                  <a:schemeClr val="accent1"/>
                </a:solidFill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0343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26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89B312-7F05-4697-9E87-033701FA6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2D2B0C-092E-425B-B7A9-D5A5FD03D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42FA494-CA0E-4F88-A7C3-26260F2C3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6A5BA38-A732-42ED-B9BB-81BDD3BB04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7D1F16C-2548-4FFE-AF72-F24418D564E3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300303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4F929E-2F1D-4406-9057-6C8251939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A9C806-229B-4A8D-AFA7-03EDD985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26A3070-CE06-4CEE-A226-D97212C3B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C887375E-F637-44FE-AF63-8A8B04BD6ACA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792370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24676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32B504-645A-42DC-ABCE-1D8DD23450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304" y="1996560"/>
            <a:ext cx="5335021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F4306BB-6547-4B5E-8784-4CBAC01B610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0675" y="1996560"/>
            <a:ext cx="5335021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6304" y="1529131"/>
            <a:ext cx="5335021" cy="300484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6E4A3A-D76E-4C23-88DA-34D816F1BC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0675" y="1529131"/>
            <a:ext cx="5335021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5059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24676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6304" y="1529131"/>
            <a:ext cx="3456798" cy="300484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03ED4545-9186-46F2-91B2-2AA7B708AC2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7601" y="1529131"/>
            <a:ext cx="3456798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6E4A3A-D76E-4C23-88DA-34D816F1BC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48898" y="1529131"/>
            <a:ext cx="3456798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8582A73-10C6-794D-81AF-73F50A3513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304" y="1996560"/>
            <a:ext cx="3456798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AC58B05-1E3E-1043-A6B5-0A53CB7DD34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5495" y="1996560"/>
            <a:ext cx="3456798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6E06685-E104-2249-A1AC-B2EC566C5F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50760" y="1996560"/>
            <a:ext cx="3456798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3348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Text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89B312-7F05-4697-9E87-033701FA6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2D2B0C-092E-425B-B7A9-D5A5FD03D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7D1F16C-2548-4FFE-AF72-F24418D564E3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555233-33E3-477F-8D67-4FF2B6EA7D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7" y="577597"/>
            <a:ext cx="11013620" cy="787604"/>
          </a:xfrm>
        </p:spPr>
        <p:txBody>
          <a:bodyPr numCol="5" spcCol="144000"/>
          <a:lstStyle>
            <a:lvl1pPr>
              <a:spcBef>
                <a:spcPts val="1092"/>
              </a:spcBef>
              <a:defRPr sz="1455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19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37440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Gradient Pan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13574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5CB05DC6-B960-4F41-ACA5-722F02234C2C}"/>
              </a:ext>
            </a:extLst>
          </p:cNvPr>
          <p:cNvSpPr/>
          <p:nvPr userDrawn="1"/>
        </p:nvSpPr>
        <p:spPr>
          <a:xfrm>
            <a:off x="4478621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6BD8A16-8AA1-4A48-A03E-412ECD844E30}"/>
              </a:ext>
            </a:extLst>
          </p:cNvPr>
          <p:cNvSpPr/>
          <p:nvPr userDrawn="1"/>
        </p:nvSpPr>
        <p:spPr>
          <a:xfrm>
            <a:off x="8379604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88FE1B9-1B38-4607-85CD-8D3FEB0894B0}"/>
              </a:ext>
            </a:extLst>
          </p:cNvPr>
          <p:cNvSpPr/>
          <p:nvPr userDrawn="1"/>
        </p:nvSpPr>
        <p:spPr>
          <a:xfrm>
            <a:off x="577638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4" name="Text Placeholder 29">
            <a:extLst>
              <a:ext uri="{FF2B5EF4-FFF2-40B4-BE49-F238E27FC236}">
                <a16:creationId xmlns:a16="http://schemas.microsoft.com/office/drawing/2014/main" id="{1AF43CD3-74BD-42C3-9321-3A5E678B67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7090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2A91401C-CD03-4B80-B78A-FED6C1387A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7090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9">
            <a:extLst>
              <a:ext uri="{FF2B5EF4-FFF2-40B4-BE49-F238E27FC236}">
                <a16:creationId xmlns:a16="http://schemas.microsoft.com/office/drawing/2014/main" id="{987E1084-1588-4DFF-8B16-45159E5A7F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7090" y="2551053"/>
            <a:ext cx="2909728" cy="190501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9">
            <a:extLst>
              <a:ext uri="{FF2B5EF4-FFF2-40B4-BE49-F238E27FC236}">
                <a16:creationId xmlns:a16="http://schemas.microsoft.com/office/drawing/2014/main" id="{8C12D9D7-8C03-4D7A-B03B-C1BC41AB6B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41136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9">
            <a:extLst>
              <a:ext uri="{FF2B5EF4-FFF2-40B4-BE49-F238E27FC236}">
                <a16:creationId xmlns:a16="http://schemas.microsoft.com/office/drawing/2014/main" id="{F217037E-D485-4433-8172-120C59DAC4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41136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9">
            <a:extLst>
              <a:ext uri="{FF2B5EF4-FFF2-40B4-BE49-F238E27FC236}">
                <a16:creationId xmlns:a16="http://schemas.microsoft.com/office/drawing/2014/main" id="{99CF9FB5-3A52-4CBE-9EA9-E5B1B14F62C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41136" y="2551053"/>
            <a:ext cx="2909728" cy="190501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29">
            <a:extLst>
              <a:ext uri="{FF2B5EF4-FFF2-40B4-BE49-F238E27FC236}">
                <a16:creationId xmlns:a16="http://schemas.microsoft.com/office/drawing/2014/main" id="{2C483B3F-2A51-4389-A469-7247CC00F7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542118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29">
            <a:extLst>
              <a:ext uri="{FF2B5EF4-FFF2-40B4-BE49-F238E27FC236}">
                <a16:creationId xmlns:a16="http://schemas.microsoft.com/office/drawing/2014/main" id="{3167602A-C6EA-403C-BBD7-A1E2856EBF4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42118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4E6CC2EE-53D5-45F8-ABF1-A33B753B1C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42118" y="2551053"/>
            <a:ext cx="2909728" cy="190501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6046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l-i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Dial-in Detail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4" y="2299040"/>
            <a:ext cx="3379179" cy="3749361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9484F1-8E49-054A-9340-C8D241F519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3384" y="2342855"/>
            <a:ext cx="3033496" cy="3705543"/>
          </a:xfrm>
        </p:spPr>
        <p:txBody>
          <a:bodyPr wrap="square" numCol="1" spcCol="756000" anchor="t">
            <a:noAutofit/>
          </a:bodyPr>
          <a:lstStyle>
            <a:lvl1pPr marL="0" indent="0">
              <a:spcBef>
                <a:spcPts val="97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latin typeface="Poppins" pitchFamily="2" charset="77"/>
                <a:cs typeface="Poppins" pitchFamily="2" charset="77"/>
              </a:defRPr>
            </a:lvl2pPr>
            <a:lvl3pPr marL="0" indent="0">
              <a:buFontTx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3pPr>
            <a:lvl5pPr>
              <a:defRPr/>
            </a:lvl5pPr>
          </a:lstStyle>
          <a:p>
            <a:pPr lvl="0"/>
            <a:r>
              <a:rPr lang="en-GB"/>
              <a:t>Topic</a:t>
            </a:r>
          </a:p>
          <a:p>
            <a:pPr lvl="1"/>
            <a:r>
              <a:rPr lang="en-GB"/>
              <a:t>Meeting title</a:t>
            </a:r>
          </a:p>
          <a:p>
            <a:pPr lvl="1"/>
            <a:endParaRPr lang="en-GB"/>
          </a:p>
          <a:p>
            <a:pPr lvl="0"/>
            <a:r>
              <a:rPr lang="en-GB"/>
              <a:t>Time</a:t>
            </a:r>
          </a:p>
          <a:p>
            <a:pPr lvl="1"/>
            <a:r>
              <a:rPr lang="en-GB"/>
              <a:t>MMM DD, YYYY</a:t>
            </a:r>
          </a:p>
          <a:p>
            <a:pPr lvl="1"/>
            <a:r>
              <a:rPr lang="en-GB"/>
              <a:t>04:00 PM CET/10:00 AM ET</a:t>
            </a:r>
          </a:p>
          <a:p>
            <a:pPr lvl="1"/>
            <a:endParaRPr lang="en-GB"/>
          </a:p>
          <a:p>
            <a:pPr lvl="0"/>
            <a:r>
              <a:rPr lang="en-GB"/>
              <a:t>Estimated call length</a:t>
            </a:r>
          </a:p>
          <a:p>
            <a:pPr lvl="1"/>
            <a:r>
              <a:rPr lang="en-GB"/>
              <a:t>30 minut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30A48F11-6954-3949-8D79-D73631815C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46667" y="2350101"/>
            <a:ext cx="4148729" cy="3705543"/>
          </a:xfrm>
        </p:spPr>
        <p:txBody>
          <a:bodyPr wrap="square" numCol="1" spcCol="756000" anchor="t">
            <a:noAutofit/>
          </a:bodyPr>
          <a:lstStyle>
            <a:lvl1pPr marL="0" indent="0">
              <a:spcBef>
                <a:spcPts val="97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  <a:lvl2pPr marL="0" marR="0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None/>
              <a:tabLst/>
              <a:defRPr sz="1395" b="0" i="0">
                <a:latin typeface="Poppins" pitchFamily="2" charset="77"/>
                <a:cs typeface="Poppins" pitchFamily="2" charset="77"/>
              </a:defRPr>
            </a:lvl2pPr>
            <a:lvl3pPr marL="0" indent="0">
              <a:buFontTx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3pPr>
            <a:lvl5pPr>
              <a:defRPr/>
            </a:lvl5pPr>
          </a:lstStyle>
          <a:p>
            <a:pPr lvl="0"/>
            <a:r>
              <a:rPr lang="en-GB"/>
              <a:t>Join Zoom meeting</a:t>
            </a:r>
          </a:p>
          <a:p>
            <a:pPr lvl="1"/>
            <a:r>
              <a:rPr lang="en-GB"/>
              <a:t>Https://</a:t>
            </a:r>
            <a:r>
              <a:rPr lang="en-GB" err="1"/>
              <a:t>zoom.us</a:t>
            </a:r>
            <a:r>
              <a:rPr lang="en-GB"/>
              <a:t>/#/########</a:t>
            </a:r>
          </a:p>
          <a:p>
            <a:pPr lvl="1"/>
            <a:endParaRPr lang="en-GB"/>
          </a:p>
          <a:p>
            <a:pPr lvl="0"/>
            <a:r>
              <a:rPr lang="en-GB"/>
              <a:t>Meeting ID</a:t>
            </a:r>
          </a:p>
          <a:p>
            <a:pPr lvl="1"/>
            <a:r>
              <a:rPr lang="en-GB"/>
              <a:t>985 717 469</a:t>
            </a:r>
          </a:p>
          <a:p>
            <a:pPr lvl="0"/>
            <a:r>
              <a:rPr lang="en-GB"/>
              <a:t>One tap mobile</a:t>
            </a:r>
          </a:p>
          <a:p>
            <a:pPr marL="0" marR="0" lvl="1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+ 00000000000, 00000000000# US (New York)</a:t>
            </a:r>
          </a:p>
          <a:p>
            <a:pPr lvl="0"/>
            <a:r>
              <a:rPr lang="en-GB"/>
              <a:t>Dial by your location </a:t>
            </a:r>
          </a:p>
          <a:p>
            <a:pPr lvl="1"/>
            <a:r>
              <a:rPr lang="en-GB"/>
              <a:t>+0 000 000 0000 US (New York)</a:t>
            </a:r>
            <a:br>
              <a:rPr lang="en-GB"/>
            </a:br>
            <a:r>
              <a:rPr lang="en-GB"/>
              <a:t>+ 0 000 000 0000 (Switzerland)</a:t>
            </a:r>
          </a:p>
          <a:p>
            <a:pPr lvl="0"/>
            <a:r>
              <a:rPr lang="en-GB"/>
              <a:t>Find your local number</a:t>
            </a:r>
          </a:p>
          <a:p>
            <a:pPr lvl="1"/>
            <a:r>
              <a:rPr lang="en-GB"/>
              <a:t>https://</a:t>
            </a:r>
            <a:r>
              <a:rPr lang="en-GB" err="1"/>
              <a:t>zoom.us</a:t>
            </a:r>
            <a:r>
              <a:rPr lang="en-GB"/>
              <a:t>/#/########</a:t>
            </a:r>
          </a:p>
        </p:txBody>
      </p:sp>
    </p:spTree>
    <p:extLst>
      <p:ext uri="{BB962C8B-B14F-4D97-AF65-F5344CB8AC3E}">
        <p14:creationId xmlns:p14="http://schemas.microsoft.com/office/powerpoint/2010/main" val="188570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3269428"/>
              </p:ext>
            </p:extLst>
          </p:nvPr>
        </p:nvGraphicFramePr>
        <p:xfrm>
          <a:off x="577221" y="2730107"/>
          <a:ext cx="11036724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918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542865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631061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9068787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2767645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867" y="2274402"/>
            <a:ext cx="2746511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622" y="2274402"/>
            <a:ext cx="2746176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799" y="2274402"/>
            <a:ext cx="277393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2767645" cy="460026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44867" y="3035786"/>
            <a:ext cx="2751133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5666" y="3035786"/>
            <a:ext cx="2751133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863644" y="3035786"/>
            <a:ext cx="2750300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9125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44570549"/>
              </p:ext>
            </p:extLst>
          </p:nvPr>
        </p:nvGraphicFramePr>
        <p:xfrm>
          <a:off x="577222" y="2730107"/>
          <a:ext cx="11036930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7386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98170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5200179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740009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962482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2193914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9702" y="2276559"/>
            <a:ext cx="2212480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02182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096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14827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8970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0218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6096" y="3035786"/>
            <a:ext cx="2205910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414827" y="3035786"/>
            <a:ext cx="2205910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143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61344178"/>
              </p:ext>
            </p:extLst>
          </p:nvPr>
        </p:nvGraphicFramePr>
        <p:xfrm>
          <a:off x="577222" y="2730107"/>
          <a:ext cx="11036928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9488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61125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4459910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629999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814008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EED920D-5A0E-4D1A-B8B2-01481F89A849}"/>
              </a:ext>
            </a:extLst>
          </p:cNvPr>
          <p:cNvSpPr/>
          <p:nvPr/>
        </p:nvSpPr>
        <p:spPr>
          <a:xfrm>
            <a:off x="9988110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19253" y="2276559"/>
            <a:ext cx="1588608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191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3008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:a16="http://schemas.microsoft.com/office/drawing/2014/main" id="{0F502F2E-BE4E-4F98-AC09-F0807D222C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7211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19253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26191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0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930089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772119" y="3036328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023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8419FE-805A-B002-0843-821BB7AE1B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6EDD9B-7E45-4CF7-DC5C-4418F15760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7A6284-DF0B-C21C-BE5F-57A823B3B7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3954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86811145"/>
              </p:ext>
            </p:extLst>
          </p:nvPr>
        </p:nvGraphicFramePr>
        <p:xfrm>
          <a:off x="577222" y="2730107"/>
          <a:ext cx="11036725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576675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998086781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24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343908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92459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550527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7085958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EED920D-5A0E-4D1A-B8B2-01481F89A849}"/>
              </a:ext>
            </a:extLst>
          </p:cNvPr>
          <p:cNvSpPr/>
          <p:nvPr/>
        </p:nvSpPr>
        <p:spPr>
          <a:xfrm>
            <a:off x="866664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1024732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51908" y="2276559"/>
            <a:ext cx="1588608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6594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127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75965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:a16="http://schemas.microsoft.com/office/drawing/2014/main" id="{0F502F2E-BE4E-4F98-AC09-F0807D222C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50651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25337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51908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26594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301279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75965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50651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6" name="Text Placeholder 71">
            <a:extLst>
              <a:ext uri="{FF2B5EF4-FFF2-40B4-BE49-F238E27FC236}">
                <a16:creationId xmlns:a16="http://schemas.microsoft.com/office/drawing/2014/main" id="{947BFEF4-7AA3-4A1C-B7FE-6DF1E40CA7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0025337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55"/>
              </a:spcAft>
              <a:buClrTx/>
              <a:buSzTx/>
              <a:buFontTx/>
              <a:buNone/>
              <a:tabLst/>
              <a:defRPr/>
            </a:pPr>
            <a:r>
              <a:rPr lang="en-US" sz="970" b="0" i="0">
                <a:solidFill>
                  <a:schemeClr val="tx1"/>
                </a:solidFill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9732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ivery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57195079"/>
              </p:ext>
            </p:extLst>
          </p:nvPr>
        </p:nvGraphicFramePr>
        <p:xfrm>
          <a:off x="577221" y="3126838"/>
          <a:ext cx="11049048" cy="2921564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6226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</a:tblGrid>
              <a:tr h="292156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Delivery Timelin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313051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530909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6298593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9066277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0372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3523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66673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FB9A9C-4C9E-469C-9D99-16BC91C138E0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6115" y="3366159"/>
            <a:ext cx="8012962" cy="460026"/>
          </a:xfrm>
          <a:solidFill>
            <a:schemeClr val="accent1"/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bg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D679B6E4-5400-4DE1-9F08-359DC2F09B7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431" y="3366159"/>
            <a:ext cx="245208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1F810C97-0A29-45C1-9D60-827E200D0F3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1483" y="3890527"/>
            <a:ext cx="2477593" cy="460026"/>
          </a:xfrm>
          <a:solidFill>
            <a:schemeClr val="accent1"/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bg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FC6BAC02-B885-47E1-A502-AA5052129E5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430" y="3890527"/>
            <a:ext cx="8012962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06BDC1B7-A02B-4772-BA3C-4B7BBCD848D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431" y="4414895"/>
            <a:ext cx="1078064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88A5BF89-FF15-4E22-A8D9-B81E4C8FB04E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927" y="4939264"/>
            <a:ext cx="953839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28A648F4-45A3-4893-B1D5-F9EAB33F1565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3246" y="5463631"/>
            <a:ext cx="3986725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5688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abl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49339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mbers / Objectives |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62EC026-4E6F-43DA-923D-6521DED0D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35950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2C007047-C920-4EB3-A695-D82C1E3FF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C4B654B1-39D8-4CAE-9F1C-A8E54F3E90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8467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97CE11CA-3102-4681-B4BA-0B37EB79C9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2319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DA0263E3-9D44-44C4-88DC-79995A9CEA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48759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219E0B61-44AD-498D-9A5E-D4CD2F464A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3444957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B5D028AE-F44C-46F5-9CEE-FD53C54043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55182" y="1487595"/>
            <a:ext cx="2759181" cy="52258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830D074D-01E1-4932-A37B-4050A540FB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855182" y="1904145"/>
            <a:ext cx="2759181" cy="4376255"/>
          </a:xfrm>
          <a:prstGeom prst="roundRect">
            <a:avLst>
              <a:gd name="adj" fmla="val 2681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078F100-7CF5-4CA5-B198-4D0776A22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3844870"/>
            <a:ext cx="5081284" cy="939362"/>
          </a:xfrm>
        </p:spPr>
        <p:txBody>
          <a:bodyPr/>
          <a:lstStyle>
            <a:lvl2pPr marL="216599" indent="-216599">
              <a:defRPr/>
            </a:lvl2pPr>
            <a:lvl3pPr marL="381213" indent="-174242">
              <a:defRPr/>
            </a:lvl3pPr>
            <a:lvl4pPr marL="926079" indent="-18386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2374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mbers / Objectives | Compan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DA0263E3-9D44-44C4-88DC-79995A9CEA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48759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219E0B61-44AD-498D-9A5E-D4CD2F464A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3444957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B5D028AE-F44C-46F5-9CEE-FD53C54043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55182" y="1487595"/>
            <a:ext cx="2759181" cy="52258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830D074D-01E1-4932-A37B-4050A540FB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855182" y="1904145"/>
            <a:ext cx="2759181" cy="4376255"/>
          </a:xfrm>
          <a:prstGeom prst="roundRect">
            <a:avLst>
              <a:gd name="adj" fmla="val 2681"/>
            </a:avLst>
          </a:prstGeom>
          <a:solidFill>
            <a:schemeClr val="bg1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C5CE2C7D-2E7C-4C4A-AD70-D95AE7635B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5060" y="1954398"/>
            <a:ext cx="2873834" cy="2537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C9D30B78-B412-4432-80AB-05215E5B05E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785451" y="1954398"/>
            <a:ext cx="2873834" cy="2537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1CA350-E600-49F4-98C4-196B708DFE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3844870"/>
            <a:ext cx="5081284" cy="939362"/>
          </a:xfrm>
        </p:spPr>
        <p:txBody>
          <a:bodyPr/>
          <a:lstStyle>
            <a:lvl2pPr marL="216599" indent="-216599">
              <a:defRPr/>
            </a:lvl2pPr>
            <a:lvl3pPr marL="381213" indent="-174242">
              <a:defRPr/>
            </a:lvl3pPr>
            <a:lvl4pPr marL="926079" indent="-18386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91474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| sourc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nfographic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23227BC4-3697-49CB-8C94-2ABB376D098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497044" y="3517204"/>
            <a:ext cx="9198321" cy="2537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2FEDC8-D0DD-425E-97D5-0F98C2977C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861" y="5903487"/>
            <a:ext cx="11048278" cy="148117"/>
          </a:xfrm>
        </p:spPr>
        <p:txBody>
          <a:bodyPr/>
          <a:lstStyle>
            <a:lvl1pPr>
              <a:defRPr sz="84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5488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79471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2" name="Picture Placeholder 7">
            <a:extLst>
              <a:ext uri="{FF2B5EF4-FFF2-40B4-BE49-F238E27FC236}">
                <a16:creationId xmlns:a16="http://schemas.microsoft.com/office/drawing/2014/main" id="{6619BFD5-09E1-4FC5-85E9-AA0D4F90A8B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0681" y="4163789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3B63B8AA-3795-43D0-9A7E-B431EEF939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69043" y="1979471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CD81F978-7C37-4A2F-A2FB-25726566C18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69043" y="4163789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A34D31A6-0100-4F14-A575-2F91CDA458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6208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332C0157-8A57-4567-AD90-B772A579EC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29820" y="2336208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71F1D49-461A-49E8-B21D-5F49561734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11458" y="4520525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585FA147-1037-4901-8E81-747525FB4D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29820" y="4520525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</p:spTree>
    <p:extLst>
      <p:ext uri="{BB962C8B-B14F-4D97-AF65-F5344CB8AC3E}">
        <p14:creationId xmlns:p14="http://schemas.microsoft.com/office/powerpoint/2010/main" val="4130257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80AF144C-4F83-4A53-AEB3-4893C96DD04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77638" y="5936408"/>
            <a:ext cx="11046352" cy="444898"/>
          </a:xfrm>
          <a:solidFill>
            <a:schemeClr val="bg2"/>
          </a:solidFill>
        </p:spPr>
        <p:txBody>
          <a:bodyPr tIns="108000" bIns="144000"/>
          <a:lstStyle>
            <a:lvl1pPr algn="ctr">
              <a:defRPr sz="1092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2323278-E89D-4D80-A18A-B49324F6E7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6E72E6E5-210D-43FE-B069-74E7F6C1BD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78519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67E7BAB-F631-4062-8A88-65F51EC442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78519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6BE899-EB40-48CF-AC4E-A642FFFB1AD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79402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48F6FBC-9928-4ECC-8454-6B4856741F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779402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8CE8A230-B6E3-43F3-A987-6673C06011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960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46543DE-6963-4E6B-8D97-FBAB40255BE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78960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C7F9CE2-C3F9-4791-8B8B-B5803FF1D6C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78079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37E3A2C-8F9E-4585-9298-05F9DDA873B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78079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21BD2F87-1775-4DA1-9F5C-C4C9D94FEDA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096317" y="5592104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36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Multi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491CD948-AEDF-48BE-92C5-5538CE9FE7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65CB4B4F-829A-4844-A666-11265CE11D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3595500"/>
            <a:ext cx="11049048" cy="406867"/>
          </a:xfrm>
        </p:spPr>
        <p:txBody>
          <a:bodyPr numCol="6" spcCol="360000" anchor="b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6547738-490D-47DE-A148-663CEC533E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7638" y="4145140"/>
            <a:ext cx="11036725" cy="294885"/>
          </a:xfrm>
        </p:spPr>
        <p:txBody>
          <a:bodyPr numCol="6" spcCol="360000"/>
          <a:lstStyle>
            <a:lvl1pPr marL="0" indent="0" algn="l">
              <a:buFont typeface="Arial" panose="020B0604020202020204" pitchFamily="34" charset="0"/>
              <a:buNone/>
              <a:defRPr sz="1092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 </a:t>
            </a:r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71E669C7-3F15-4404-9192-6B03E3E0872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46020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7">
            <a:extLst>
              <a:ext uri="{FF2B5EF4-FFF2-40B4-BE49-F238E27FC236}">
                <a16:creationId xmlns:a16="http://schemas.microsoft.com/office/drawing/2014/main" id="{6BDECDBF-1E7F-429C-B857-BC3BE17D9B4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375245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458D35B0-2ABD-4A88-AD9C-250F5B0BFFF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115016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7">
            <a:extLst>
              <a:ext uri="{FF2B5EF4-FFF2-40B4-BE49-F238E27FC236}">
                <a16:creationId xmlns:a16="http://schemas.microsoft.com/office/drawing/2014/main" id="{7B333D88-0458-48F5-97FB-D2D7718EC7C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856566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463A1320-1804-44CE-8DBA-867CC87A9DB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985791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797DADDD-4137-4C8B-B442-114D65CCBB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7134106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multi-colum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5133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conography +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7177775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multi-colum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4327381"/>
            <a:ext cx="11049048" cy="406867"/>
          </a:xfrm>
        </p:spPr>
        <p:txBody>
          <a:bodyPr numCol="3" spcCol="720000" anchor="t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62016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59237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2534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 |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5F38F23-3328-E74A-BBB1-BBDAD3C6ECD7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https://climate.nasa.gov/</a:t>
            </a:r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A755422-4593-A434-1861-B832192A0F28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5D51C2DC-4571-42B4-89F2-DA6662BE5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eam/Speakers 3 columns 4 rows</a:t>
            </a:r>
            <a:endParaRPr lang="en-GB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B4DF1173-C29F-45AC-92AA-916D11D8E0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0230" y="1612706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7AC79D67-C678-414C-AF90-8C02E28CA9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1452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D84CF9F7-FEFA-4F30-8381-81E1CDC7DE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003" y="1612666"/>
            <a:ext cx="2276275" cy="552524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C320D465-6541-42AF-B948-F179CCF7EE8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96225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C8238BF7-B55E-43DD-99B0-CDFDFE29FD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89776" y="1612666"/>
            <a:ext cx="2276275" cy="552524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50" name="Picture Placeholder 7">
            <a:extLst>
              <a:ext uri="{FF2B5EF4-FFF2-40B4-BE49-F238E27FC236}">
                <a16:creationId xmlns:a16="http://schemas.microsoft.com/office/drawing/2014/main" id="{0BEA5C06-8D59-4BD3-9B33-5696A4BC522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20998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2" name="Picture Placeholder 7">
            <a:extLst>
              <a:ext uri="{FF2B5EF4-FFF2-40B4-BE49-F238E27FC236}">
                <a16:creationId xmlns:a16="http://schemas.microsoft.com/office/drawing/2014/main" id="{00A16A42-CA42-49E2-8405-AA0CAF0311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71452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4" name="Picture Placeholder 7">
            <a:extLst>
              <a:ext uri="{FF2B5EF4-FFF2-40B4-BE49-F238E27FC236}">
                <a16:creationId xmlns:a16="http://schemas.microsoft.com/office/drawing/2014/main" id="{8FBF5889-E52E-4268-BCFD-13AA1E933F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6225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Picture Placeholder 7">
            <a:extLst>
              <a:ext uri="{FF2B5EF4-FFF2-40B4-BE49-F238E27FC236}">
                <a16:creationId xmlns:a16="http://schemas.microsoft.com/office/drawing/2014/main" id="{F3DB35B0-B095-4BB6-B438-419AB248A32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220998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8" name="Picture Placeholder 7">
            <a:extLst>
              <a:ext uri="{FF2B5EF4-FFF2-40B4-BE49-F238E27FC236}">
                <a16:creationId xmlns:a16="http://schemas.microsoft.com/office/drawing/2014/main" id="{C0FB45DF-4505-4104-B3AB-1FF0A095BB4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71452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7">
            <a:extLst>
              <a:ext uri="{FF2B5EF4-FFF2-40B4-BE49-F238E27FC236}">
                <a16:creationId xmlns:a16="http://schemas.microsoft.com/office/drawing/2014/main" id="{317AD999-FECF-4E8A-A9F4-237EBF5CB42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96225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5D78DD9A-7A3B-4479-A356-D1201169A1E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20998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C9B18172-AE91-486D-B3BF-BB4501ABE8A3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71452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F64BBF40-4B6E-4EED-9A4A-53F588F6905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396225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BA5CBA95-71BA-4D1C-9702-C09A59DB5A0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220998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DE3C1140-BD03-4998-B2C4-28410F93C64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40230" y="2822288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FFE703FA-9332-4A8A-B58E-5F35E54BCD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65003" y="2822248"/>
            <a:ext cx="2276275" cy="552524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1C44D164-2308-4F92-8C1F-02E8B7DE078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89776" y="2822248"/>
            <a:ext cx="2276275" cy="552524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6" name="Text Placeholder 12">
            <a:extLst>
              <a:ext uri="{FF2B5EF4-FFF2-40B4-BE49-F238E27FC236}">
                <a16:creationId xmlns:a16="http://schemas.microsoft.com/office/drawing/2014/main" id="{3423B415-66AA-45CD-A323-3A2A488B71A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740230" y="4031870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CB7D5369-1728-4112-B4F1-ED60D3FE7A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65003" y="4031829"/>
            <a:ext cx="2276275" cy="552524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9AEBD6C7-E5B0-401A-A86F-E5112062611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9776" y="4031829"/>
            <a:ext cx="2276275" cy="552524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B77E20DC-EB84-47ED-8BD7-B4FF8C116E3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740230" y="5241451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59FE56BC-3699-4F5D-A9A7-2D0424B49BE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565003" y="5241411"/>
            <a:ext cx="2276275" cy="552524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C9243CCE-E7FC-4AA9-B6B0-2E7FCC8D0DF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389776" y="5241411"/>
            <a:ext cx="2276275" cy="552524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</p:spTree>
    <p:extLst>
      <p:ext uri="{BB962C8B-B14F-4D97-AF65-F5344CB8AC3E}">
        <p14:creationId xmlns:p14="http://schemas.microsoft.com/office/powerpoint/2010/main" val="854913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conography +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1719313"/>
            <a:ext cx="11049048" cy="406867"/>
          </a:xfrm>
        </p:spPr>
        <p:txBody>
          <a:bodyPr numCol="3" spcCol="720000" anchor="t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62016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59237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BBCEB9F-975E-4B56-A29F-0854EDFB008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77638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9D6AFE-0A37-46FD-833E-9282879972A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69882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FC94985-AFDD-4DF6-992E-19087D2130F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23760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226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Multi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252E3C-0AA5-469B-ACE4-9A227101D8C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77638" y="2735923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E32ADA5-A0D2-4524-B1E4-2B46413B84B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877116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F999747-8F91-4BF8-B89A-418788FD50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176595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spcAft>
                <a:spcPts val="364"/>
              </a:spcAft>
              <a:defRPr>
                <a:latin typeface="Poppins" pitchFamily="2" charset="77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FF637A0C-4B6D-4207-A7D9-CAF1D2DFC8E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476073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9D094B4-29B2-4197-A8AD-66F9F9CAAF3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775551" y="2735923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4427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5+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+1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2323278-E89D-4D80-A18A-B49324F6E7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6E72E6E5-210D-43FE-B069-74E7F6C1BD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78519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67E7BAB-F631-4062-8A88-65F51EC442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78519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6BE899-EB40-48CF-AC4E-A642FFFB1AD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79402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48F6FBC-9928-4ECC-8454-6B4856741F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779402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8CE8A230-B6E3-43F3-A987-6673C06011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960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46543DE-6963-4E6B-8D97-FBAB40255BE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78960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C7F9CE2-C3F9-4791-8B8B-B5803FF1D6C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78079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37E3A2C-8F9E-4585-9298-05F9DDA873B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78079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AABBEEF-0FF4-4074-9C40-9B691395E8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58259" y="1638314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92962D6-56F3-48D3-9A11-82CCFC1CC0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511485" y="1551340"/>
            <a:ext cx="4584515" cy="257558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9095E28A-06FE-49A2-AAE0-DD1F0C107A6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511485" y="1918071"/>
            <a:ext cx="4584515" cy="25755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3112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3 x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518361" cy="40313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7357175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D8794217-5EF6-484A-9789-939A04CBD6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859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E0AE9E36-7C00-4922-AA13-C35396AF38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9748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530D9E0-01F3-4B3E-A984-26FC050FE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637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DE89019-B2ED-4062-BEFD-1AF245BF4D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81859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6F488F1-69E1-4A48-8E9C-2F5EC2BFAB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79748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807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5 x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518361" cy="40313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755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530D9E0-01F3-4B3E-A984-26FC050FE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638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D6BD4396-836B-4609-A351-6FA3B73A5F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40394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BEC8D12B-8172-4BD9-B198-FC940EA5F58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69276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4C3A68AC-120B-4739-BD77-EB8D9A277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47712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0A9A1E10-7F09-44CE-87BF-10DBCB2DD3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76594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F45A253A-F83B-4FD4-A131-FA4682A23A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62836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403F967D-B169-4689-B49E-43267F0A42D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491719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FD3AE7CA-391E-4375-9398-D249BBBFEA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46668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E4F804E3-C2DE-4602-B167-5B66CA4202B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75550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8680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stat | b/g image / gra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DC44D74-3B3F-47E0-B848-9173CD01DCB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noFill/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508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508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D8794217-5EF6-484A-9789-939A04CBD6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05918" y="2107959"/>
            <a:ext cx="4214820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2128" b="0" i="0" spc="-637">
                <a:solidFill>
                  <a:schemeClr val="bg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.xm</a:t>
            </a:r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DE89019-B2ED-4062-BEFD-1AF245BF4D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05918" y="3480495"/>
            <a:ext cx="4214819" cy="29617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 sz="1698" b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851626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Map + pin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59EA77B-10F0-4804-A145-524336802D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11288" y="1509771"/>
            <a:ext cx="9195987" cy="453863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DBFC085-0C60-416E-8CFF-15E94416B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B553B6D6-CC16-4E40-914D-C81F67547F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127910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28651641-59C0-4E53-BC82-FBC2B7BB8D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7638" y="5974456"/>
            <a:ext cx="3140422" cy="171705"/>
          </a:xfrm>
        </p:spPr>
        <p:txBody>
          <a:bodyPr tIns="0" bIns="0" anchor="t" anchorCtr="0"/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55" b="1" i="0" baseline="3000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E20BD56E-0E17-4AED-B089-01FA1B56B6F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7638" y="5537888"/>
            <a:ext cx="3140422" cy="171705"/>
          </a:xfrm>
        </p:spPr>
        <p:txBody>
          <a:bodyPr tIns="0" bIns="0" anchor="t" anchorCtr="0"/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55" b="1" i="0" baseline="3000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C73E20F7-E9CB-484A-B765-8163DC385D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81812" y="4163432"/>
            <a:ext cx="2314188" cy="171705"/>
          </a:xfrm>
        </p:spPr>
        <p:txBody>
          <a:bodyPr wrap="square" tIns="0" bIns="0" anchor="t" anchorCtr="0">
            <a:spAutoFit/>
          </a:bodyPr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55" b="1" i="0" baseline="3000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3E398FEC-3245-4CB1-99A2-4E4EDB86690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24726" y="3036052"/>
            <a:ext cx="2314188" cy="171705"/>
          </a:xfrm>
        </p:spPr>
        <p:txBody>
          <a:bodyPr wrap="square" tIns="0" bIns="0" anchor="t" anchorCtr="0">
            <a:spAutoFit/>
          </a:bodyPr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55" b="1" i="0" baseline="3000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3623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vision | Centre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E04318B-A241-43E7-94D4-29E516C89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16700" y="577597"/>
            <a:ext cx="5558600" cy="1175806"/>
          </a:xfrm>
        </p:spPr>
        <p:txBody>
          <a:bodyPr lIns="0" tIns="0" rIns="0" bIns="0" anchor="b" anchorCtr="0"/>
          <a:lstStyle>
            <a:lvl1pPr algn="ctr">
              <a:defRPr sz="424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234693-3B2F-4AE8-AE43-6003C99CB8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9847" y="2162835"/>
            <a:ext cx="10991343" cy="571182"/>
          </a:xfrm>
        </p:spPr>
        <p:txBody>
          <a:bodyPr/>
          <a:lstStyle>
            <a:lvl1pPr algn="ctr">
              <a:defRPr sz="32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object 37">
            <a:extLst>
              <a:ext uri="{FF2B5EF4-FFF2-40B4-BE49-F238E27FC236}">
                <a16:creationId xmlns:a16="http://schemas.microsoft.com/office/drawing/2014/main" id="{254656CD-21F4-415A-855F-8FEF936CAD12}"/>
              </a:ext>
            </a:extLst>
          </p:cNvPr>
          <p:cNvSpPr/>
          <p:nvPr userDrawn="1"/>
        </p:nvSpPr>
        <p:spPr>
          <a:xfrm>
            <a:off x="3344643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38">
            <a:extLst>
              <a:ext uri="{FF2B5EF4-FFF2-40B4-BE49-F238E27FC236}">
                <a16:creationId xmlns:a16="http://schemas.microsoft.com/office/drawing/2014/main" id="{5C6A6A71-005C-4561-B24C-20036B336094}"/>
              </a:ext>
            </a:extLst>
          </p:cNvPr>
          <p:cNvSpPr/>
          <p:nvPr userDrawn="1"/>
        </p:nvSpPr>
        <p:spPr>
          <a:xfrm>
            <a:off x="9774588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40">
            <a:extLst>
              <a:ext uri="{FF2B5EF4-FFF2-40B4-BE49-F238E27FC236}">
                <a16:creationId xmlns:a16="http://schemas.microsoft.com/office/drawing/2014/main" id="{176FBC2B-5877-478A-BEB4-EDF0B54837C2}"/>
              </a:ext>
            </a:extLst>
          </p:cNvPr>
          <p:cNvSpPr txBox="1"/>
          <p:nvPr userDrawn="1"/>
        </p:nvSpPr>
        <p:spPr>
          <a:xfrm>
            <a:off x="577638" y="5241915"/>
            <a:ext cx="1696672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ssociated</a:t>
            </a:r>
            <a:r>
              <a:rPr sz="1395" b="0" i="0" spc="-61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with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8" name="object 41">
            <a:extLst>
              <a:ext uri="{FF2B5EF4-FFF2-40B4-BE49-F238E27FC236}">
                <a16:creationId xmlns:a16="http://schemas.microsoft.com/office/drawing/2014/main" id="{F38E41A8-ECE8-47B1-85AB-9824D1D80C00}"/>
              </a:ext>
            </a:extLst>
          </p:cNvPr>
          <p:cNvSpPr txBox="1"/>
          <p:nvPr userDrawn="1"/>
        </p:nvSpPr>
        <p:spPr>
          <a:xfrm>
            <a:off x="3915513" y="5241915"/>
            <a:ext cx="1743798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Supported</a:t>
            </a:r>
            <a:r>
              <a:rPr sz="1395" b="0" i="0" spc="-67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by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9" name="object 42">
            <a:extLst>
              <a:ext uri="{FF2B5EF4-FFF2-40B4-BE49-F238E27FC236}">
                <a16:creationId xmlns:a16="http://schemas.microsoft.com/office/drawing/2014/main" id="{E15DCFC0-DA16-4F9A-B70D-3C33C791B448}"/>
              </a:ext>
            </a:extLst>
          </p:cNvPr>
          <p:cNvSpPr txBox="1"/>
          <p:nvPr userDrawn="1"/>
        </p:nvSpPr>
        <p:spPr>
          <a:xfrm>
            <a:off x="10161465" y="5241915"/>
            <a:ext cx="1743797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Hosted</a:t>
            </a:r>
            <a:r>
              <a:rPr sz="1395" b="0" i="0" spc="-64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t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09556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ssion Statement | Left Alig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E04318B-A241-43E7-94D4-29E516C89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9848" y="1299878"/>
            <a:ext cx="7334965" cy="453525"/>
          </a:xfrm>
        </p:spPr>
        <p:txBody>
          <a:bodyPr lIns="0" tIns="0" rIns="0" bIns="0" anchor="b" anchorCtr="0"/>
          <a:lstStyle>
            <a:lvl1pPr algn="l">
              <a:defRPr sz="327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234693-3B2F-4AE8-AE43-6003C99CB8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9847" y="2162835"/>
            <a:ext cx="8255334" cy="296171"/>
          </a:xfrm>
        </p:spPr>
        <p:txBody>
          <a:bodyPr/>
          <a:lstStyle>
            <a:lvl1pPr algn="l">
              <a:defRPr sz="16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object 37">
            <a:extLst>
              <a:ext uri="{FF2B5EF4-FFF2-40B4-BE49-F238E27FC236}">
                <a16:creationId xmlns:a16="http://schemas.microsoft.com/office/drawing/2014/main" id="{254656CD-21F4-415A-855F-8FEF936CAD12}"/>
              </a:ext>
            </a:extLst>
          </p:cNvPr>
          <p:cNvSpPr/>
          <p:nvPr userDrawn="1"/>
        </p:nvSpPr>
        <p:spPr>
          <a:xfrm>
            <a:off x="3344643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38">
            <a:extLst>
              <a:ext uri="{FF2B5EF4-FFF2-40B4-BE49-F238E27FC236}">
                <a16:creationId xmlns:a16="http://schemas.microsoft.com/office/drawing/2014/main" id="{5C6A6A71-005C-4561-B24C-20036B336094}"/>
              </a:ext>
            </a:extLst>
          </p:cNvPr>
          <p:cNvSpPr/>
          <p:nvPr userDrawn="1"/>
        </p:nvSpPr>
        <p:spPr>
          <a:xfrm>
            <a:off x="9774588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40">
            <a:extLst>
              <a:ext uri="{FF2B5EF4-FFF2-40B4-BE49-F238E27FC236}">
                <a16:creationId xmlns:a16="http://schemas.microsoft.com/office/drawing/2014/main" id="{176FBC2B-5877-478A-BEB4-EDF0B54837C2}"/>
              </a:ext>
            </a:extLst>
          </p:cNvPr>
          <p:cNvSpPr txBox="1"/>
          <p:nvPr userDrawn="1"/>
        </p:nvSpPr>
        <p:spPr>
          <a:xfrm>
            <a:off x="599847" y="5241915"/>
            <a:ext cx="1880668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ssociated</a:t>
            </a:r>
            <a:r>
              <a:rPr sz="1395" b="0" i="0" spc="-61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with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8" name="object 41">
            <a:extLst>
              <a:ext uri="{FF2B5EF4-FFF2-40B4-BE49-F238E27FC236}">
                <a16:creationId xmlns:a16="http://schemas.microsoft.com/office/drawing/2014/main" id="{F38E41A8-ECE8-47B1-85AB-9824D1D80C00}"/>
              </a:ext>
            </a:extLst>
          </p:cNvPr>
          <p:cNvSpPr txBox="1"/>
          <p:nvPr userDrawn="1"/>
        </p:nvSpPr>
        <p:spPr>
          <a:xfrm>
            <a:off x="3915513" y="5241915"/>
            <a:ext cx="2180486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Supported</a:t>
            </a:r>
            <a:r>
              <a:rPr sz="1395" b="0" i="0" spc="-67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by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9" name="object 42">
            <a:extLst>
              <a:ext uri="{FF2B5EF4-FFF2-40B4-BE49-F238E27FC236}">
                <a16:creationId xmlns:a16="http://schemas.microsoft.com/office/drawing/2014/main" id="{E15DCFC0-DA16-4F9A-B70D-3C33C791B448}"/>
              </a:ext>
            </a:extLst>
          </p:cNvPr>
          <p:cNvSpPr txBox="1"/>
          <p:nvPr userDrawn="1"/>
        </p:nvSpPr>
        <p:spPr>
          <a:xfrm>
            <a:off x="10161465" y="5241915"/>
            <a:ext cx="1459271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Hosted</a:t>
            </a:r>
            <a:r>
              <a:rPr sz="1395" b="0" i="0" spc="-64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t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39" name="object 14">
            <a:extLst>
              <a:ext uri="{FF2B5EF4-FFF2-40B4-BE49-F238E27FC236}">
                <a16:creationId xmlns:a16="http://schemas.microsoft.com/office/drawing/2014/main" id="{EBA520A8-D9DC-4590-A234-60E794F86D19}"/>
              </a:ext>
            </a:extLst>
          </p:cNvPr>
          <p:cNvSpPr/>
          <p:nvPr userDrawn="1"/>
        </p:nvSpPr>
        <p:spPr>
          <a:xfrm>
            <a:off x="577850" y="5000063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365275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1ED4F-48C8-405A-BAF4-A471B383C9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8007" y="2863649"/>
            <a:ext cx="9195987" cy="1130703"/>
          </a:xfrm>
        </p:spPr>
        <p:txBody>
          <a:bodyPr anchor="ctr"/>
          <a:lstStyle>
            <a:lvl1pPr algn="ctr">
              <a:defRPr sz="4245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84884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BDE2289-A8DD-BDCE-7964-4B6DA3EA2BC4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740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4464" y="1950878"/>
            <a:ext cx="11036725" cy="1658869"/>
          </a:xfrm>
        </p:spPr>
        <p:txBody>
          <a:bodyPr numCol="2" spcCol="1440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906735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1ED4F-48C8-405A-BAF4-A471B383C9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7044" y="3681455"/>
            <a:ext cx="9195987" cy="839551"/>
          </a:xfrm>
        </p:spPr>
        <p:txBody>
          <a:bodyPr anchor="ctr"/>
          <a:lstStyle>
            <a:lvl1pPr algn="ctr">
              <a:defRPr sz="2668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C1720A0-FC5D-48B5-9BF5-272126604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22749" y="2293692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145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gn-off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C1720A0-FC5D-48B5-9BF5-272126604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22749" y="2900500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447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8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33" indent="0" algn="ctr">
              <a:buNone/>
              <a:defRPr sz="1213"/>
            </a:lvl2pPr>
            <a:lvl3pPr marL="554466" indent="0" algn="ctr">
              <a:buNone/>
              <a:defRPr sz="1092"/>
            </a:lvl3pPr>
            <a:lvl4pPr marL="831699" indent="0" algn="ctr">
              <a:buNone/>
              <a:defRPr sz="970"/>
            </a:lvl4pPr>
            <a:lvl5pPr marL="1108933" indent="0" algn="ctr">
              <a:buNone/>
              <a:defRPr sz="970"/>
            </a:lvl5pPr>
            <a:lvl6pPr marL="1386166" indent="0" algn="ctr">
              <a:buNone/>
              <a:defRPr sz="970"/>
            </a:lvl6pPr>
            <a:lvl7pPr marL="1663399" indent="0" algn="ctr">
              <a:buNone/>
              <a:defRPr sz="970"/>
            </a:lvl7pPr>
            <a:lvl8pPr marL="1940633" indent="0" algn="ctr">
              <a:buNone/>
              <a:defRPr sz="970"/>
            </a:lvl8pPr>
            <a:lvl9pPr marL="2217866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4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0981E17-5695-435B-969A-5EECE7102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1704030" cy="646908"/>
          </a:xfrm>
          <a:prstGeom prst="rect">
            <a:avLst/>
          </a:prstGeom>
        </p:spPr>
      </p:pic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523DD328-9428-4A62-9563-5F3EC36C155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87424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8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33" indent="0" algn="ctr">
              <a:buNone/>
              <a:defRPr sz="1213"/>
            </a:lvl2pPr>
            <a:lvl3pPr marL="554466" indent="0" algn="ctr">
              <a:buNone/>
              <a:defRPr sz="1092"/>
            </a:lvl3pPr>
            <a:lvl4pPr marL="831699" indent="0" algn="ctr">
              <a:buNone/>
              <a:defRPr sz="970"/>
            </a:lvl4pPr>
            <a:lvl5pPr marL="1108933" indent="0" algn="ctr">
              <a:buNone/>
              <a:defRPr sz="970"/>
            </a:lvl5pPr>
            <a:lvl6pPr marL="1386166" indent="0" algn="ctr">
              <a:buNone/>
              <a:defRPr sz="970"/>
            </a:lvl6pPr>
            <a:lvl7pPr marL="1663399" indent="0" algn="ctr">
              <a:buNone/>
              <a:defRPr sz="970"/>
            </a:lvl7pPr>
            <a:lvl8pPr marL="1940633" indent="0" algn="ctr">
              <a:buNone/>
              <a:defRPr sz="970"/>
            </a:lvl8pPr>
            <a:lvl9pPr marL="2217866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4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4B1DB28-413A-41E9-A6F8-727DE05F8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3036723" cy="646908"/>
          </a:xfrm>
          <a:prstGeom prst="rect">
            <a:avLst/>
          </a:prstGeom>
        </p:spPr>
      </p:pic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570D610-DA38-4B7D-93BE-2E443F0EE1A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3442130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8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33" indent="0" algn="ctr">
              <a:buNone/>
              <a:defRPr sz="1213"/>
            </a:lvl2pPr>
            <a:lvl3pPr marL="554466" indent="0" algn="ctr">
              <a:buNone/>
              <a:defRPr sz="1092"/>
            </a:lvl3pPr>
            <a:lvl4pPr marL="831699" indent="0" algn="ctr">
              <a:buNone/>
              <a:defRPr sz="970"/>
            </a:lvl4pPr>
            <a:lvl5pPr marL="1108933" indent="0" algn="ctr">
              <a:buNone/>
              <a:defRPr sz="970"/>
            </a:lvl5pPr>
            <a:lvl6pPr marL="1386166" indent="0" algn="ctr">
              <a:buNone/>
              <a:defRPr sz="970"/>
            </a:lvl6pPr>
            <a:lvl7pPr marL="1663399" indent="0" algn="ctr">
              <a:buNone/>
              <a:defRPr sz="970"/>
            </a:lvl7pPr>
            <a:lvl8pPr marL="1940633" indent="0" algn="ctr">
              <a:buNone/>
              <a:defRPr sz="970"/>
            </a:lvl8pPr>
            <a:lvl9pPr marL="2217866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4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F1B92ED-1DA4-42D5-94F1-A383F50976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6" y="5756444"/>
            <a:ext cx="750929" cy="554493"/>
          </a:xfrm>
          <a:prstGeom prst="rect">
            <a:avLst/>
          </a:prstGeom>
        </p:spPr>
      </p:pic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F6DBB05F-4272-4D46-84A3-F2972EF1D50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1366409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8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33" indent="0" algn="ctr">
              <a:buNone/>
              <a:defRPr sz="1213"/>
            </a:lvl2pPr>
            <a:lvl3pPr marL="554466" indent="0" algn="ctr">
              <a:buNone/>
              <a:defRPr sz="1092"/>
            </a:lvl3pPr>
            <a:lvl4pPr marL="831699" indent="0" algn="ctr">
              <a:buNone/>
              <a:defRPr sz="970"/>
            </a:lvl4pPr>
            <a:lvl5pPr marL="1108933" indent="0" algn="ctr">
              <a:buNone/>
              <a:defRPr sz="970"/>
            </a:lvl5pPr>
            <a:lvl6pPr marL="1386166" indent="0" algn="ctr">
              <a:buNone/>
              <a:defRPr sz="970"/>
            </a:lvl6pPr>
            <a:lvl7pPr marL="1663399" indent="0" algn="ctr">
              <a:buNone/>
              <a:defRPr sz="970"/>
            </a:lvl7pPr>
            <a:lvl8pPr marL="1940633" indent="0" algn="ctr">
              <a:buNone/>
              <a:defRPr sz="970"/>
            </a:lvl8pPr>
            <a:lvl9pPr marL="2217866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1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2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54F6A8A-3C2B-480E-A8DA-BC1ADCD083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48017" y="2773429"/>
            <a:ext cx="3471601" cy="1311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71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8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33" indent="0" algn="ctr">
              <a:buNone/>
              <a:defRPr sz="1213"/>
            </a:lvl2pPr>
            <a:lvl3pPr marL="554466" indent="0" algn="ctr">
              <a:buNone/>
              <a:defRPr sz="1092"/>
            </a:lvl3pPr>
            <a:lvl4pPr marL="831699" indent="0" algn="ctr">
              <a:buNone/>
              <a:defRPr sz="970"/>
            </a:lvl4pPr>
            <a:lvl5pPr marL="1108933" indent="0" algn="ctr">
              <a:buNone/>
              <a:defRPr sz="970"/>
            </a:lvl5pPr>
            <a:lvl6pPr marL="1386166" indent="0" algn="ctr">
              <a:buNone/>
              <a:defRPr sz="970"/>
            </a:lvl6pPr>
            <a:lvl7pPr marL="1663399" indent="0" algn="ctr">
              <a:buNone/>
              <a:defRPr sz="970"/>
            </a:lvl7pPr>
            <a:lvl8pPr marL="1940633" indent="0" algn="ctr">
              <a:buNone/>
              <a:defRPr sz="970"/>
            </a:lvl8pPr>
            <a:lvl9pPr marL="2217866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1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2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42CC9A5-8FA8-4188-B9FB-687FDCC80C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11528" y="2900500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652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8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33" indent="0" algn="ctr">
              <a:buNone/>
              <a:defRPr sz="1213"/>
            </a:lvl2pPr>
            <a:lvl3pPr marL="554466" indent="0" algn="ctr">
              <a:buNone/>
              <a:defRPr sz="1092"/>
            </a:lvl3pPr>
            <a:lvl4pPr marL="831699" indent="0" algn="ctr">
              <a:buNone/>
              <a:defRPr sz="970"/>
            </a:lvl4pPr>
            <a:lvl5pPr marL="1108933" indent="0" algn="ctr">
              <a:buNone/>
              <a:defRPr sz="970"/>
            </a:lvl5pPr>
            <a:lvl6pPr marL="1386166" indent="0" algn="ctr">
              <a:buNone/>
              <a:defRPr sz="970"/>
            </a:lvl6pPr>
            <a:lvl7pPr marL="1663399" indent="0" algn="ctr">
              <a:buNone/>
              <a:defRPr sz="970"/>
            </a:lvl7pPr>
            <a:lvl8pPr marL="1940633" indent="0" algn="ctr">
              <a:buNone/>
              <a:defRPr sz="970"/>
            </a:lvl8pPr>
            <a:lvl9pPr marL="2217866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1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2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0B47A-2C2A-47A3-B698-CA6A0FD6F0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56338" y="2220890"/>
            <a:ext cx="2454959" cy="1819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03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8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33" indent="0" algn="ctr">
              <a:buNone/>
              <a:defRPr sz="1213"/>
            </a:lvl2pPr>
            <a:lvl3pPr marL="554466" indent="0" algn="ctr">
              <a:buNone/>
              <a:defRPr sz="1092"/>
            </a:lvl3pPr>
            <a:lvl4pPr marL="831699" indent="0" algn="ctr">
              <a:buNone/>
              <a:defRPr sz="970"/>
            </a:lvl4pPr>
            <a:lvl5pPr marL="1108933" indent="0" algn="ctr">
              <a:buNone/>
              <a:defRPr sz="970"/>
            </a:lvl5pPr>
            <a:lvl6pPr marL="1386166" indent="0" algn="ctr">
              <a:buNone/>
              <a:defRPr sz="970"/>
            </a:lvl6pPr>
            <a:lvl7pPr marL="1663399" indent="0" algn="ctr">
              <a:buNone/>
              <a:defRPr sz="970"/>
            </a:lvl7pPr>
            <a:lvl8pPr marL="1940633" indent="0" algn="ctr">
              <a:buNone/>
              <a:defRPr sz="970"/>
            </a:lvl8pPr>
            <a:lvl9pPr marL="2217866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4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4B1DB28-413A-41E9-A6F8-727DE05F8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3036723" cy="646908"/>
          </a:xfrm>
          <a:prstGeom prst="rect">
            <a:avLst/>
          </a:prstGeom>
        </p:spPr>
      </p:pic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E02C968-6D90-43B9-83B4-8DDD9D10A2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/>
          </a:solidFill>
        </p:spPr>
        <p:txBody>
          <a:bodyPr bIns="1764000" anchor="ctr">
            <a:noAutofit/>
          </a:bodyPr>
          <a:lstStyle>
            <a:lvl1pPr algn="ctr">
              <a:defRPr sz="2183" b="1"/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1050827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8059CA9-ADD3-48DF-ABCE-675068DD8B2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/>
          </a:solidFill>
        </p:spPr>
        <p:txBody>
          <a:bodyPr bIns="1764000" anchor="ctr">
            <a:noAutofit/>
          </a:bodyPr>
          <a:lstStyle>
            <a:lvl1pPr algn="ctr">
              <a:defRPr sz="2183" b="1"/>
            </a:lvl1pPr>
          </a:lstStyle>
          <a:p>
            <a:r>
              <a:rPr lang="en-GB"/>
              <a:t>Click icon to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8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33" indent="0" algn="ctr">
              <a:buNone/>
              <a:defRPr sz="1213"/>
            </a:lvl2pPr>
            <a:lvl3pPr marL="554466" indent="0" algn="ctr">
              <a:buNone/>
              <a:defRPr sz="1092"/>
            </a:lvl3pPr>
            <a:lvl4pPr marL="831699" indent="0" algn="ctr">
              <a:buNone/>
              <a:defRPr sz="970"/>
            </a:lvl4pPr>
            <a:lvl5pPr marL="1108933" indent="0" algn="ctr">
              <a:buNone/>
              <a:defRPr sz="970"/>
            </a:lvl5pPr>
            <a:lvl6pPr marL="1386166" indent="0" algn="ctr">
              <a:buNone/>
              <a:defRPr sz="970"/>
            </a:lvl6pPr>
            <a:lvl7pPr marL="1663399" indent="0" algn="ctr">
              <a:buNone/>
              <a:defRPr sz="970"/>
            </a:lvl7pPr>
            <a:lvl8pPr marL="1940633" indent="0" algn="ctr">
              <a:buNone/>
              <a:defRPr sz="970"/>
            </a:lvl8pPr>
            <a:lvl9pPr marL="2217866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4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F1B92ED-1DA4-42D5-94F1-A383F50976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6" y="5756444"/>
            <a:ext cx="750929" cy="554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76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2 column text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CA986B-631B-FDB6-16A9-CD70E8D6F960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F1B8FB0-86D3-307A-9D4B-765A250E8AE3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740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597364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90D3C3D-29CE-4901-8EEA-1345D26869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75632" y="0"/>
            <a:ext cx="7016368" cy="685799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3911A5-606B-49B4-916C-45BA4954D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CFDB7-1FD8-48B9-B71F-E3DCBDCCD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E8D1215B-902F-4676-BD97-07AB236AAB96}"/>
              </a:ext>
            </a:extLst>
          </p:cNvPr>
          <p:cNvSpPr/>
          <p:nvPr userDrawn="1"/>
        </p:nvSpPr>
        <p:spPr>
          <a:xfrm>
            <a:off x="581978" y="6397849"/>
            <a:ext cx="4011676" cy="44087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DC27864-4735-40D0-B2CD-C35B135AB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638" y="2948731"/>
            <a:ext cx="4164766" cy="1769202"/>
          </a:xfrm>
        </p:spPr>
        <p:txBody>
          <a:bodyPr lIns="0" tIns="0" rIns="0" bIns="0" anchor="t" anchorCtr="0"/>
          <a:lstStyle>
            <a:lvl1pPr algn="l">
              <a:defRPr sz="4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39426BB5-24C1-4CC6-9847-26D952ABD9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1978" y="2436028"/>
            <a:ext cx="4164766" cy="338362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940">
                <a:solidFill>
                  <a:schemeClr val="accent1"/>
                </a:solidFill>
              </a:defRPr>
            </a:lvl1pPr>
            <a:lvl2pPr marL="277233" indent="0" algn="ctr">
              <a:buNone/>
              <a:defRPr sz="1213"/>
            </a:lvl2pPr>
            <a:lvl3pPr marL="554466" indent="0" algn="ctr">
              <a:buNone/>
              <a:defRPr sz="1092"/>
            </a:lvl3pPr>
            <a:lvl4pPr marL="831699" indent="0" algn="ctr">
              <a:buNone/>
              <a:defRPr sz="970"/>
            </a:lvl4pPr>
            <a:lvl5pPr marL="1108933" indent="0" algn="ctr">
              <a:buNone/>
              <a:defRPr sz="970"/>
            </a:lvl5pPr>
            <a:lvl6pPr marL="1386166" indent="0" algn="ctr">
              <a:buNone/>
              <a:defRPr sz="970"/>
            </a:lvl6pPr>
            <a:lvl7pPr marL="1663399" indent="0" algn="ctr">
              <a:buNone/>
              <a:defRPr sz="970"/>
            </a:lvl7pPr>
            <a:lvl8pPr marL="1940633" indent="0" algn="ctr">
              <a:buNone/>
              <a:defRPr sz="970"/>
            </a:lvl8pPr>
            <a:lvl9pPr marL="2217866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246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26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342856"/>
            <a:ext cx="7200250" cy="3274256"/>
          </a:xfrm>
        </p:spPr>
        <p:txBody>
          <a:bodyPr wrap="square" numCol="2" spcCol="756000">
            <a:noAutofit/>
          </a:bodyPr>
          <a:lstStyle>
            <a:lvl1pPr marL="311887" indent="-311887">
              <a:spcAft>
                <a:spcPts val="0"/>
              </a:spcAft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311887" indent="-311887">
              <a:spcAft>
                <a:spcPts val="1455"/>
              </a:spcAft>
              <a:buSzPct val="100000"/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5" y="2299041"/>
            <a:ext cx="3379179" cy="331806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528101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8" y="2342856"/>
            <a:ext cx="11042887" cy="3007436"/>
          </a:xfrm>
        </p:spPr>
        <p:txBody>
          <a:bodyPr wrap="square" numCol="2" spcCol="756000">
            <a:noAutofit/>
          </a:bodyPr>
          <a:lstStyle>
            <a:lvl1pPr marL="311887" indent="-311887">
              <a:spcAft>
                <a:spcPts val="0"/>
              </a:spcAft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311887" indent="-311887">
              <a:spcAft>
                <a:spcPts val="1455"/>
              </a:spcAft>
              <a:buSzPct val="100000"/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22549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with tim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A335A19B-4A16-3443-B357-10DDCD6808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1477" y="2016928"/>
            <a:ext cx="11049260" cy="3837084"/>
          </a:xfrm>
        </p:spPr>
        <p:txBody>
          <a:bodyPr wrap="square" numCol="2" spcCol="75600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940" b="0" i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1455"/>
              </a:spcAft>
              <a:buFont typeface="Arial" panose="020B0604020202020204" pitchFamily="34" charset="0"/>
              <a:buNone/>
              <a:defRPr sz="1940" b="0" i="0"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42104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able of contents</a:t>
            </a:r>
            <a:endParaRPr lang="en-GB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342856"/>
            <a:ext cx="7200250" cy="3274256"/>
          </a:xfrm>
        </p:spPr>
        <p:txBody>
          <a:bodyPr wrap="square" numCol="2" spcCol="75600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334" b="0" i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1455"/>
              </a:spcAft>
              <a:buFont typeface="Arial" panose="020B0604020202020204" pitchFamily="34" charset="0"/>
              <a:buNone/>
              <a:defRPr sz="1334" b="0" i="0"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5" y="2299041"/>
            <a:ext cx="3379179" cy="331806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42018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F0E35ECD-3ED9-473D-9E17-FF1C83FE9F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eam/Speakers</a:t>
            </a:r>
            <a:endParaRPr lang="en-GB"/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67EAA926-4051-4F98-B128-E26790C1A9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3" name="Picture Placeholder 7">
            <a:extLst>
              <a:ext uri="{FF2B5EF4-FFF2-40B4-BE49-F238E27FC236}">
                <a16:creationId xmlns:a16="http://schemas.microsoft.com/office/drawing/2014/main" id="{3BD0D2FB-1A7B-44AF-BA4E-FD97B0B714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4A124E16-FB5A-4A88-A515-FC70FA2554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11458" y="4501859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5" name="Picture Placeholder 7">
            <a:extLst>
              <a:ext uri="{FF2B5EF4-FFF2-40B4-BE49-F238E27FC236}">
                <a16:creationId xmlns:a16="http://schemas.microsoft.com/office/drawing/2014/main" id="{88D60E5C-AB30-4F0B-8773-F30DB3E8A6A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0681" y="4078842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Text Placeholder 12">
            <a:extLst>
              <a:ext uri="{FF2B5EF4-FFF2-40B4-BE49-F238E27FC236}">
                <a16:creationId xmlns:a16="http://schemas.microsoft.com/office/drawing/2014/main" id="{2C60DE2D-43F7-4A13-BE4E-B64A383DE8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29820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7" name="Picture Placeholder 7">
            <a:extLst>
              <a:ext uri="{FF2B5EF4-FFF2-40B4-BE49-F238E27FC236}">
                <a16:creationId xmlns:a16="http://schemas.microsoft.com/office/drawing/2014/main" id="{5B1E1242-6BB9-4F32-91B1-3AA43FC4EC9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69043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8" name="Text Placeholder 12">
            <a:extLst>
              <a:ext uri="{FF2B5EF4-FFF2-40B4-BE49-F238E27FC236}">
                <a16:creationId xmlns:a16="http://schemas.microsoft.com/office/drawing/2014/main" id="{C8B338B9-D1F9-4987-BC28-B7466CCC38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29820" y="4501859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9" name="Picture Placeholder 7">
            <a:extLst>
              <a:ext uri="{FF2B5EF4-FFF2-40B4-BE49-F238E27FC236}">
                <a16:creationId xmlns:a16="http://schemas.microsoft.com/office/drawing/2014/main" id="{CED5980C-4EBB-4601-BF07-F911191638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69043" y="4078842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214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ir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hairperson</a:t>
            </a:r>
            <a:endParaRPr lang="en-GB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2A210F5-A8B3-4A0E-8B15-4497042C49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33079" y="1682567"/>
            <a:ext cx="5081284" cy="1571475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720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 | 3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5D51C2DC-4571-42B4-89F2-DA6662BE5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eam/Speakers 3 columns 3 rows</a:t>
            </a:r>
            <a:endParaRPr lang="en-GB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B4DF1173-C29F-45AC-92AA-916D11D8E0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35950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7AC79D67-C678-414C-AF90-8C02E28CA9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D84CF9F7-FEFA-4F30-8381-81E1CDC7DE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8467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C320D465-6541-42AF-B948-F179CCF7EE8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2319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C8238BF7-B55E-43DD-99B0-CDFDFE29FD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89776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0" name="Picture Placeholder 7">
            <a:extLst>
              <a:ext uri="{FF2B5EF4-FFF2-40B4-BE49-F238E27FC236}">
                <a16:creationId xmlns:a16="http://schemas.microsoft.com/office/drawing/2014/main" id="{0BEA5C06-8D59-4BD3-9B33-5696A4BC522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04509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7BBE5725-635F-472C-99DA-2942D536FF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35950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2" name="Picture Placeholder 7">
            <a:extLst>
              <a:ext uri="{FF2B5EF4-FFF2-40B4-BE49-F238E27FC236}">
                <a16:creationId xmlns:a16="http://schemas.microsoft.com/office/drawing/2014/main" id="{00A16A42-CA42-49E2-8405-AA0CAF0311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50681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3" name="Text Placeholder 12">
            <a:extLst>
              <a:ext uri="{FF2B5EF4-FFF2-40B4-BE49-F238E27FC236}">
                <a16:creationId xmlns:a16="http://schemas.microsoft.com/office/drawing/2014/main" id="{EE36DF45-11AE-4011-BA24-5F2F1B07B5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08467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4" name="Picture Placeholder 7">
            <a:extLst>
              <a:ext uri="{FF2B5EF4-FFF2-40B4-BE49-F238E27FC236}">
                <a16:creationId xmlns:a16="http://schemas.microsoft.com/office/drawing/2014/main" id="{8FBF5889-E52E-4268-BCFD-13AA1E933F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23198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85553B65-686F-493B-B002-4E9B0D2112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89776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6" name="Picture Placeholder 7">
            <a:extLst>
              <a:ext uri="{FF2B5EF4-FFF2-40B4-BE49-F238E27FC236}">
                <a16:creationId xmlns:a16="http://schemas.microsoft.com/office/drawing/2014/main" id="{F3DB35B0-B095-4BB6-B438-419AB248A32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04509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78D2052B-6800-49A9-9052-94BEBF4D16D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835950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8" name="Picture Placeholder 7">
            <a:extLst>
              <a:ext uri="{FF2B5EF4-FFF2-40B4-BE49-F238E27FC236}">
                <a16:creationId xmlns:a16="http://schemas.microsoft.com/office/drawing/2014/main" id="{C0FB45DF-4505-4104-B3AB-1FF0A095BB4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50681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0CFC70D0-DEBC-4AE8-94A6-E2EBDB950E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08467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60" name="Picture Placeholder 7">
            <a:extLst>
              <a:ext uri="{FF2B5EF4-FFF2-40B4-BE49-F238E27FC236}">
                <a16:creationId xmlns:a16="http://schemas.microsoft.com/office/drawing/2014/main" id="{317AD999-FECF-4E8A-A9F4-237EBF5CB42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23198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7B6DD1A6-D513-4EA0-8C3F-47C93CA395E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9776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5D78DD9A-7A3B-4479-A356-D1201169A1E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104509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0132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 |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5D51C2DC-4571-42B4-89F2-DA6662BE5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eam/Speakers 3 columns 4 rows</a:t>
            </a:r>
            <a:endParaRPr lang="en-GB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B4DF1173-C29F-45AC-92AA-916D11D8E0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0231" y="1612707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7AC79D67-C678-414C-AF90-8C02E28CA9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1452" y="1481497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D84CF9F7-FEFA-4F30-8381-81E1CDC7DE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004" y="1613917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C320D465-6541-42AF-B948-F179CCF7EE8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96225" y="1481497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C8238BF7-B55E-43DD-99B0-CDFDFE29FD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89777" y="1613917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50" name="Picture Placeholder 7">
            <a:extLst>
              <a:ext uri="{FF2B5EF4-FFF2-40B4-BE49-F238E27FC236}">
                <a16:creationId xmlns:a16="http://schemas.microsoft.com/office/drawing/2014/main" id="{0BEA5C06-8D59-4BD3-9B33-5696A4BC522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20998" y="1481497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2" name="Picture Placeholder 7">
            <a:extLst>
              <a:ext uri="{FF2B5EF4-FFF2-40B4-BE49-F238E27FC236}">
                <a16:creationId xmlns:a16="http://schemas.microsoft.com/office/drawing/2014/main" id="{00A16A42-CA42-49E2-8405-AA0CAF0311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71452" y="269107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4" name="Picture Placeholder 7">
            <a:extLst>
              <a:ext uri="{FF2B5EF4-FFF2-40B4-BE49-F238E27FC236}">
                <a16:creationId xmlns:a16="http://schemas.microsoft.com/office/drawing/2014/main" id="{8FBF5889-E52E-4268-BCFD-13AA1E933F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6225" y="269107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Picture Placeholder 7">
            <a:extLst>
              <a:ext uri="{FF2B5EF4-FFF2-40B4-BE49-F238E27FC236}">
                <a16:creationId xmlns:a16="http://schemas.microsoft.com/office/drawing/2014/main" id="{F3DB35B0-B095-4BB6-B438-419AB248A32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220998" y="269107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8" name="Picture Placeholder 7">
            <a:extLst>
              <a:ext uri="{FF2B5EF4-FFF2-40B4-BE49-F238E27FC236}">
                <a16:creationId xmlns:a16="http://schemas.microsoft.com/office/drawing/2014/main" id="{C0FB45DF-4505-4104-B3AB-1FF0A095BB4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71452" y="5110242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7">
            <a:extLst>
              <a:ext uri="{FF2B5EF4-FFF2-40B4-BE49-F238E27FC236}">
                <a16:creationId xmlns:a16="http://schemas.microsoft.com/office/drawing/2014/main" id="{317AD999-FECF-4E8A-A9F4-237EBF5CB42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96225" y="5110242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5D78DD9A-7A3B-4479-A356-D1201169A1E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20998" y="5110242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C9B18172-AE91-486D-B3BF-BB4501ABE8A3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71452" y="3900660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F64BBF40-4B6E-4EED-9A4A-53F588F6905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396225" y="3900660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BA5CBA95-71BA-4D1C-9702-C09A59DB5A0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220998" y="3900660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DE3C1140-BD03-4998-B2C4-28410F93C64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40231" y="2822289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FFE703FA-9332-4A8A-B58E-5F35E54BCD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65004" y="2823499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1C44D164-2308-4F92-8C1F-02E8B7DE078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89777" y="2823499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6" name="Text Placeholder 12">
            <a:extLst>
              <a:ext uri="{FF2B5EF4-FFF2-40B4-BE49-F238E27FC236}">
                <a16:creationId xmlns:a16="http://schemas.microsoft.com/office/drawing/2014/main" id="{3423B415-66AA-45CD-A323-3A2A488B71A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740231" y="4031871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CB7D5369-1728-4112-B4F1-ED60D3FE7A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65004" y="4033080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9AEBD6C7-E5B0-401A-A86F-E5112062611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9777" y="4033080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B77E20DC-EB84-47ED-8BD7-B4FF8C116E3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740231" y="5241452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59FE56BC-3699-4F5D-A9A7-2D0424B49BE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565004" y="5242662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C9243CCE-E7FC-4AA9-B6B0-2E7FCC8D0DF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389777" y="5242662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6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</p:spTree>
    <p:extLst>
      <p:ext uri="{BB962C8B-B14F-4D97-AF65-F5344CB8AC3E}">
        <p14:creationId xmlns:p14="http://schemas.microsoft.com/office/powerpoint/2010/main" val="1059564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9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9" y="2905315"/>
            <a:ext cx="11036725" cy="1658869"/>
          </a:xfrm>
        </p:spPr>
        <p:txBody>
          <a:bodyPr numCol="2" spcCol="1440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17679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| 2 column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ABC6697-7549-860A-0DA4-D28BE0D2DA24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35B2AC9F-514D-1EBA-F01F-8D1EE4FF2DB1}"/>
              </a:ext>
            </a:extLst>
          </p:cNvPr>
          <p:cNvSpPr/>
          <p:nvPr userDrawn="1"/>
        </p:nvSpPr>
        <p:spPr>
          <a:xfrm>
            <a:off x="152400" y="-857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C941A8C-2C69-BEDD-FB34-11EC05D7B78D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740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207935" indent="-207935">
              <a:buClr>
                <a:schemeClr val="accent1"/>
              </a:buClr>
              <a:buSzPct val="110000"/>
              <a:buFont typeface="Wingdings" pitchFamily="2" charset="2"/>
              <a:buChar char="§"/>
              <a:defRPr/>
            </a:lvl1pPr>
            <a:lvl2pPr>
              <a:buSzPct val="110000"/>
              <a:defRPr/>
            </a:lvl2pPr>
            <a:lvl3pPr>
              <a:buSzPct val="110000"/>
              <a:defRPr/>
            </a:lvl3pPr>
            <a:lvl4pPr>
              <a:buSzPct val="110000"/>
              <a:defRPr/>
            </a:lvl4pPr>
            <a:lvl5pPr>
              <a:buSzPct val="110000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668391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2 column text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9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9" y="1682567"/>
            <a:ext cx="11036725" cy="1674747"/>
          </a:xfrm>
        </p:spPr>
        <p:txBody>
          <a:bodyPr numCol="2" spcCol="1440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432352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| 2 column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9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9" y="1682567"/>
            <a:ext cx="11036725" cy="1674747"/>
          </a:xfrm>
        </p:spPr>
        <p:txBody>
          <a:bodyPr numCol="2" spcCol="1440000"/>
          <a:lstStyle>
            <a:lvl1pPr marL="207925" indent="-207925">
              <a:buClr>
                <a:schemeClr val="accent1"/>
              </a:buClr>
              <a:buSzPct val="110000"/>
              <a:buFont typeface="Wingdings" pitchFamily="2" charset="2"/>
              <a:buChar char="§"/>
              <a:defRPr/>
            </a:lvl1pPr>
            <a:lvl2pPr>
              <a:buSzPct val="110000"/>
              <a:defRPr/>
            </a:lvl2pPr>
            <a:lvl3pPr>
              <a:buSzPct val="110000"/>
              <a:defRPr/>
            </a:lvl3pPr>
            <a:lvl4pPr>
              <a:buSzPct val="110000"/>
              <a:defRPr/>
            </a:lvl4pPr>
            <a:lvl5pPr>
              <a:buSzPct val="110000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81335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2 column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9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9" y="1682567"/>
            <a:ext cx="11036725" cy="1674747"/>
          </a:xfrm>
        </p:spPr>
        <p:txBody>
          <a:bodyPr numCol="2" spcCol="1440000"/>
          <a:lstStyle>
            <a:lvl1pPr marL="277233" indent="-277233">
              <a:buClr>
                <a:schemeClr val="accent1"/>
              </a:buClr>
              <a:buSzPct val="100000"/>
              <a:buFont typeface="+mj-lt"/>
              <a:buAutoNum type="arabicPeriod"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416366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7A8EF9-1C32-4B7A-8081-50E936C41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9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820C01-EFC8-47E3-87CA-54B740EA5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7638" y="2905313"/>
            <a:ext cx="10775825" cy="1564243"/>
          </a:xfrm>
        </p:spPr>
        <p:txBody>
          <a:bodyPr/>
          <a:lstStyle>
            <a:lvl1pPr marL="0" indent="0">
              <a:spcAft>
                <a:spcPts val="728"/>
              </a:spcAft>
              <a:buFontTx/>
              <a:buNone/>
              <a:defRPr/>
            </a:lvl1pPr>
            <a:lvl2pPr>
              <a:spcAft>
                <a:spcPts val="728"/>
              </a:spcAft>
              <a:defRPr/>
            </a:lvl2pPr>
            <a:lvl3pPr>
              <a:spcAft>
                <a:spcPts val="728"/>
              </a:spcAft>
              <a:defRPr/>
            </a:lvl3pPr>
            <a:lvl4pPr>
              <a:spcAft>
                <a:spcPts val="728"/>
              </a:spcAft>
              <a:defRPr/>
            </a:lvl4pPr>
            <a:lvl5pPr>
              <a:spcAft>
                <a:spcPts val="728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F7A7FA-3919-46C3-A721-2BCFFDD3E2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F7C05-75CA-420E-AD15-CB8A1468F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87425AA8-5E7D-4A02-BD41-3BD7CF394720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8DFAF66-6D1A-4424-9287-26CDDE2BBD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988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Text +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915F15C-956C-41D5-B307-E9EAF4140C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3080" y="2"/>
            <a:ext cx="5658921" cy="6857999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9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2905313"/>
            <a:ext cx="5081284" cy="1571475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 flipV="1">
            <a:off x="577638" y="6370214"/>
            <a:ext cx="5377804" cy="27725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2D490A-0282-4B98-BC22-F72D01AAD9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33079" y="5916691"/>
            <a:ext cx="5081284" cy="148117"/>
          </a:xfrm>
        </p:spPr>
        <p:txBody>
          <a:bodyPr/>
          <a:lstStyle>
            <a:lvl1pPr>
              <a:defRPr sz="849"/>
            </a:lvl1pPr>
          </a:lstStyle>
          <a:p>
            <a:pPr lvl="0"/>
            <a:r>
              <a:rPr lang="en-US"/>
              <a:t>Caption text goes here if required</a:t>
            </a:r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9427362-842E-4669-885E-548EFDB4AD6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0016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9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5081284" cy="1571475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915F15C-956C-41D5-B307-E9EAF4140C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3079" y="577597"/>
            <a:ext cx="5081284" cy="263414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3079" y="3434808"/>
            <a:ext cx="5081284" cy="2613594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3DBC4A-ACA7-4AD0-9307-8B9B0EA507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04323" y="644598"/>
            <a:ext cx="4938799" cy="25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aption, if required, goes here</a:t>
            </a:r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E7CB72A-5628-4C6B-920B-B5462A85B7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4323" y="3509479"/>
            <a:ext cx="4938799" cy="25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aption, if required, goes here</a:t>
            </a:r>
            <a:endParaRPr lang="en-GB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3E63EEFC-E63D-460B-87E8-056BB1E9EE2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090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Quote +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9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5081284" cy="1571475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3079" y="3434808"/>
            <a:ext cx="5081284" cy="2613594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342D1F6-875C-4F73-9292-C3AAE26778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0496" y="2150913"/>
            <a:ext cx="5073866" cy="83955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455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0"/>
              </a:spcAft>
              <a:buFontTx/>
              <a:buNone/>
              <a:defRPr sz="1455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2pPr>
            <a:lvl3pPr marL="0" indent="0">
              <a:spcBef>
                <a:spcPts val="0"/>
              </a:spcBef>
              <a:buFontTx/>
              <a:buNone/>
              <a:defRPr sz="1213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2BA5A0B-ACA6-4775-BB7F-0F44A4EF7ED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10812D15-BFF6-4022-96D6-207CD21FCD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40496" y="1606819"/>
            <a:ext cx="474911" cy="401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42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283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4 x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11042887" cy="40313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4540" y="3865484"/>
            <a:ext cx="2424253" cy="218291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49FC8846-079B-41AE-B836-FAD08E0C32D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9" y="1245960"/>
            <a:ext cx="5299823" cy="4802443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E7F864D5-53D1-4798-9693-FAD45F36240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90110" y="3865484"/>
            <a:ext cx="2424253" cy="218291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09D04CD5-6785-4614-82A0-EB606F9E758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14540" y="1245958"/>
            <a:ext cx="5299823" cy="2183042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7901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283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89B312-7F05-4697-9E87-033701FA6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2D2B0C-092E-425B-B7A9-D5A5FD03D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42FA494-CA0E-4F88-A7C3-26260F2C3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9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6A5BA38-A732-42ED-B9BB-81BDD3BB04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7D1F16C-2548-4FFE-AF72-F24418D564E3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01920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4F929E-2F1D-4406-9057-6C8251939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A9C806-229B-4A8D-AFA7-03EDD985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26A3070-CE06-4CEE-A226-D97212C3B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9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C887375E-F637-44FE-AF63-8A8B04BD6ACA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114750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2 column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3A470E-E0FA-202B-3129-A45CD2529A5A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A3DD1671-6802-0BA4-11D3-6D9EF196F320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740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277246" indent="-277246">
              <a:buClr>
                <a:schemeClr val="accent1"/>
              </a:buClr>
              <a:buSzPct val="100000"/>
              <a:buFont typeface="+mj-lt"/>
              <a:buAutoNum type="arabicPeriod"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425678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24676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32B504-645A-42DC-ABCE-1D8DD23450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305" y="1996560"/>
            <a:ext cx="5335021" cy="1268809"/>
          </a:xfrm>
        </p:spPr>
        <p:txBody>
          <a:bodyPr/>
          <a:lstStyle>
            <a:lvl1pPr marL="207925" indent="-20792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F4306BB-6547-4B5E-8784-4CBAC01B610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0676" y="1996560"/>
            <a:ext cx="5335021" cy="1268809"/>
          </a:xfrm>
        </p:spPr>
        <p:txBody>
          <a:bodyPr/>
          <a:lstStyle>
            <a:lvl1pPr marL="207925" indent="-20792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6305" y="1529131"/>
            <a:ext cx="5335021" cy="300484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6E4A3A-D76E-4C23-88DA-34D816F1BC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0676" y="1529132"/>
            <a:ext cx="5335021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66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791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24676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6304" y="1529131"/>
            <a:ext cx="3456798" cy="300484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03ED4545-9186-46F2-91B2-2AA7B708AC2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7601" y="1529132"/>
            <a:ext cx="3456798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66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6E4A3A-D76E-4C23-88DA-34D816F1BC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48898" y="1529132"/>
            <a:ext cx="3456798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66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8582A73-10C6-794D-81AF-73F50A3513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304" y="1996560"/>
            <a:ext cx="3456798" cy="1268809"/>
          </a:xfrm>
        </p:spPr>
        <p:txBody>
          <a:bodyPr/>
          <a:lstStyle>
            <a:lvl1pPr marL="207925" indent="-20792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AC58B05-1E3E-1043-A6B5-0A53CB7DD34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5495" y="1996560"/>
            <a:ext cx="3456798" cy="1268809"/>
          </a:xfrm>
        </p:spPr>
        <p:txBody>
          <a:bodyPr/>
          <a:lstStyle>
            <a:lvl1pPr marL="207925" indent="-20792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6E06685-E104-2249-A1AC-B2EC566C5F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50760" y="1996560"/>
            <a:ext cx="3456798" cy="1268809"/>
          </a:xfrm>
        </p:spPr>
        <p:txBody>
          <a:bodyPr/>
          <a:lstStyle>
            <a:lvl1pPr marL="207925" indent="-20792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4989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Text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89B312-7F05-4697-9E87-033701FA6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2D2B0C-092E-425B-B7A9-D5A5FD03D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7D1F16C-2548-4FFE-AF72-F24418D564E3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555233-33E3-477F-8D67-4FF2B6EA7D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7" y="577597"/>
            <a:ext cx="11013620" cy="787604"/>
          </a:xfrm>
        </p:spPr>
        <p:txBody>
          <a:bodyPr numCol="5" spcCol="144000"/>
          <a:lstStyle>
            <a:lvl1pPr>
              <a:spcBef>
                <a:spcPts val="1092"/>
              </a:spcBef>
              <a:defRPr sz="1455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19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62714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Gradient Pan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13574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5CB05DC6-B960-4F41-ACA5-722F02234C2C}"/>
              </a:ext>
            </a:extLst>
          </p:cNvPr>
          <p:cNvSpPr/>
          <p:nvPr userDrawn="1"/>
        </p:nvSpPr>
        <p:spPr>
          <a:xfrm>
            <a:off x="4478622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6BD8A16-8AA1-4A48-A03E-412ECD844E30}"/>
              </a:ext>
            </a:extLst>
          </p:cNvPr>
          <p:cNvSpPr/>
          <p:nvPr userDrawn="1"/>
        </p:nvSpPr>
        <p:spPr>
          <a:xfrm>
            <a:off x="8379604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88FE1B9-1B38-4607-85CD-8D3FEB0894B0}"/>
              </a:ext>
            </a:extLst>
          </p:cNvPr>
          <p:cNvSpPr/>
          <p:nvPr userDrawn="1"/>
        </p:nvSpPr>
        <p:spPr>
          <a:xfrm>
            <a:off x="577638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4" name="Text Placeholder 29">
            <a:extLst>
              <a:ext uri="{FF2B5EF4-FFF2-40B4-BE49-F238E27FC236}">
                <a16:creationId xmlns:a16="http://schemas.microsoft.com/office/drawing/2014/main" id="{1AF43CD3-74BD-42C3-9321-3A5E678B67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7090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2A91401C-CD03-4B80-B78A-FED6C1387A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7090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9">
            <a:extLst>
              <a:ext uri="{FF2B5EF4-FFF2-40B4-BE49-F238E27FC236}">
                <a16:creationId xmlns:a16="http://schemas.microsoft.com/office/drawing/2014/main" id="{987E1084-1588-4DFF-8B16-45159E5A7F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7090" y="2551053"/>
            <a:ext cx="2909728" cy="190501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9">
            <a:extLst>
              <a:ext uri="{FF2B5EF4-FFF2-40B4-BE49-F238E27FC236}">
                <a16:creationId xmlns:a16="http://schemas.microsoft.com/office/drawing/2014/main" id="{8C12D9D7-8C03-4D7A-B03B-C1BC41AB6B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41136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9">
            <a:extLst>
              <a:ext uri="{FF2B5EF4-FFF2-40B4-BE49-F238E27FC236}">
                <a16:creationId xmlns:a16="http://schemas.microsoft.com/office/drawing/2014/main" id="{F217037E-D485-4433-8172-120C59DAC4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41136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9">
            <a:extLst>
              <a:ext uri="{FF2B5EF4-FFF2-40B4-BE49-F238E27FC236}">
                <a16:creationId xmlns:a16="http://schemas.microsoft.com/office/drawing/2014/main" id="{99CF9FB5-3A52-4CBE-9EA9-E5B1B14F62C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41136" y="2551053"/>
            <a:ext cx="2909728" cy="190501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29">
            <a:extLst>
              <a:ext uri="{FF2B5EF4-FFF2-40B4-BE49-F238E27FC236}">
                <a16:creationId xmlns:a16="http://schemas.microsoft.com/office/drawing/2014/main" id="{2C483B3F-2A51-4389-A469-7247CC00F7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542118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29">
            <a:extLst>
              <a:ext uri="{FF2B5EF4-FFF2-40B4-BE49-F238E27FC236}">
                <a16:creationId xmlns:a16="http://schemas.microsoft.com/office/drawing/2014/main" id="{3167602A-C6EA-403C-BBD7-A1E2856EBF4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42118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4E6CC2EE-53D5-45F8-ABF1-A33B753B1C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42118" y="2551053"/>
            <a:ext cx="2909728" cy="190501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6567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l-i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Dial-in Detail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5" y="2299040"/>
            <a:ext cx="3379179" cy="3749361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9484F1-8E49-054A-9340-C8D241F519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3384" y="2342856"/>
            <a:ext cx="3033496" cy="3705543"/>
          </a:xfrm>
        </p:spPr>
        <p:txBody>
          <a:bodyPr wrap="square" numCol="1" spcCol="756000" anchor="t">
            <a:noAutofit/>
          </a:bodyPr>
          <a:lstStyle>
            <a:lvl1pPr marL="0" indent="0">
              <a:spcBef>
                <a:spcPts val="97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latin typeface="Poppins" pitchFamily="2" charset="77"/>
                <a:cs typeface="Poppins" pitchFamily="2" charset="77"/>
              </a:defRPr>
            </a:lvl2pPr>
            <a:lvl3pPr marL="0" indent="0">
              <a:buFontTx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3pPr>
            <a:lvl5pPr>
              <a:defRPr/>
            </a:lvl5pPr>
          </a:lstStyle>
          <a:p>
            <a:pPr lvl="0"/>
            <a:r>
              <a:rPr lang="en-GB"/>
              <a:t>Topic</a:t>
            </a:r>
          </a:p>
          <a:p>
            <a:pPr lvl="1"/>
            <a:r>
              <a:rPr lang="en-GB"/>
              <a:t>Meeting title</a:t>
            </a:r>
          </a:p>
          <a:p>
            <a:pPr lvl="1"/>
            <a:endParaRPr lang="en-GB"/>
          </a:p>
          <a:p>
            <a:pPr lvl="0"/>
            <a:r>
              <a:rPr lang="en-GB"/>
              <a:t>Time</a:t>
            </a:r>
          </a:p>
          <a:p>
            <a:pPr lvl="1"/>
            <a:r>
              <a:rPr lang="en-GB"/>
              <a:t>MMM DD, YYYY</a:t>
            </a:r>
          </a:p>
          <a:p>
            <a:pPr lvl="1"/>
            <a:r>
              <a:rPr lang="en-GB"/>
              <a:t>04:00 PM CET/10:00 AM ET</a:t>
            </a:r>
          </a:p>
          <a:p>
            <a:pPr lvl="1"/>
            <a:endParaRPr lang="en-GB"/>
          </a:p>
          <a:p>
            <a:pPr lvl="0"/>
            <a:r>
              <a:rPr lang="en-GB"/>
              <a:t>Estimated call length</a:t>
            </a:r>
          </a:p>
          <a:p>
            <a:pPr lvl="1"/>
            <a:r>
              <a:rPr lang="en-GB"/>
              <a:t>30 minut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30A48F11-6954-3949-8D79-D73631815C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46668" y="2350102"/>
            <a:ext cx="4148729" cy="3705543"/>
          </a:xfrm>
        </p:spPr>
        <p:txBody>
          <a:bodyPr wrap="square" numCol="1" spcCol="756000" anchor="t">
            <a:noAutofit/>
          </a:bodyPr>
          <a:lstStyle>
            <a:lvl1pPr marL="0" indent="0">
              <a:spcBef>
                <a:spcPts val="97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  <a:lvl2pPr marL="0" marR="0" indent="0" algn="l" defTabSz="55446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None/>
              <a:tabLst/>
              <a:defRPr sz="1395" b="0" i="0">
                <a:latin typeface="Poppins" pitchFamily="2" charset="77"/>
                <a:cs typeface="Poppins" pitchFamily="2" charset="77"/>
              </a:defRPr>
            </a:lvl2pPr>
            <a:lvl3pPr marL="0" indent="0">
              <a:buFontTx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3pPr>
            <a:lvl5pPr>
              <a:defRPr/>
            </a:lvl5pPr>
          </a:lstStyle>
          <a:p>
            <a:pPr lvl="0"/>
            <a:r>
              <a:rPr lang="en-GB"/>
              <a:t>Join Zoom meeting</a:t>
            </a:r>
          </a:p>
          <a:p>
            <a:pPr lvl="1"/>
            <a:r>
              <a:rPr lang="en-GB"/>
              <a:t>Https://</a:t>
            </a:r>
            <a:r>
              <a:rPr lang="en-GB" err="1"/>
              <a:t>zoom.us</a:t>
            </a:r>
            <a:r>
              <a:rPr lang="en-GB"/>
              <a:t>/#/########</a:t>
            </a:r>
          </a:p>
          <a:p>
            <a:pPr lvl="1"/>
            <a:endParaRPr lang="en-GB"/>
          </a:p>
          <a:p>
            <a:pPr lvl="0"/>
            <a:r>
              <a:rPr lang="en-GB"/>
              <a:t>Meeting ID</a:t>
            </a:r>
          </a:p>
          <a:p>
            <a:pPr lvl="1"/>
            <a:r>
              <a:rPr lang="en-GB"/>
              <a:t>985 717 469</a:t>
            </a:r>
          </a:p>
          <a:p>
            <a:pPr lvl="0"/>
            <a:r>
              <a:rPr lang="en-GB"/>
              <a:t>One tap mobile</a:t>
            </a:r>
          </a:p>
          <a:p>
            <a:pPr marL="0" marR="0" lvl="1" indent="0" algn="l" defTabSz="55446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+ 00000000000, 00000000000# US (New York)</a:t>
            </a:r>
          </a:p>
          <a:p>
            <a:pPr lvl="0"/>
            <a:r>
              <a:rPr lang="en-GB"/>
              <a:t>Dial by your location </a:t>
            </a:r>
          </a:p>
          <a:p>
            <a:pPr lvl="1"/>
            <a:r>
              <a:rPr lang="en-GB"/>
              <a:t>+0 000 000 0000 US (New York)</a:t>
            </a:r>
            <a:br>
              <a:rPr lang="en-GB"/>
            </a:br>
            <a:r>
              <a:rPr lang="en-GB"/>
              <a:t>+ 0 000 000 0000 (Switzerland)</a:t>
            </a:r>
          </a:p>
          <a:p>
            <a:pPr lvl="0"/>
            <a:r>
              <a:rPr lang="en-GB"/>
              <a:t>Find your local number</a:t>
            </a:r>
          </a:p>
          <a:p>
            <a:pPr lvl="1"/>
            <a:r>
              <a:rPr lang="en-GB"/>
              <a:t>https://</a:t>
            </a:r>
            <a:r>
              <a:rPr lang="en-GB" err="1"/>
              <a:t>zoom.us</a:t>
            </a:r>
            <a:r>
              <a:rPr lang="en-GB"/>
              <a:t>/#/########</a:t>
            </a:r>
          </a:p>
        </p:txBody>
      </p:sp>
    </p:spTree>
    <p:extLst>
      <p:ext uri="{BB962C8B-B14F-4D97-AF65-F5344CB8AC3E}">
        <p14:creationId xmlns:p14="http://schemas.microsoft.com/office/powerpoint/2010/main" val="1997669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3269428"/>
              </p:ext>
            </p:extLst>
          </p:nvPr>
        </p:nvGraphicFramePr>
        <p:xfrm>
          <a:off x="577221" y="2730108"/>
          <a:ext cx="11036724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918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1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542865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631061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9068787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3" y="2274402"/>
            <a:ext cx="2767645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867" y="2274402"/>
            <a:ext cx="2746511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622" y="2274402"/>
            <a:ext cx="2746176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799" y="2274402"/>
            <a:ext cx="277393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3" y="3035787"/>
            <a:ext cx="2767645" cy="460026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44868" y="3035787"/>
            <a:ext cx="2751133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5667" y="3035787"/>
            <a:ext cx="2751133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863644" y="3035787"/>
            <a:ext cx="2750300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9048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44570549"/>
              </p:ext>
            </p:extLst>
          </p:nvPr>
        </p:nvGraphicFramePr>
        <p:xfrm>
          <a:off x="577222" y="2730108"/>
          <a:ext cx="11036930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7386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1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98170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5200179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740009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962482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2193914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9703" y="2276560"/>
            <a:ext cx="2212480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66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02183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096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14827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8970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02183" y="3035786"/>
            <a:ext cx="2193914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6096" y="3035786"/>
            <a:ext cx="2205910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414827" y="3035786"/>
            <a:ext cx="2205910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493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61344178"/>
              </p:ext>
            </p:extLst>
          </p:nvPr>
        </p:nvGraphicFramePr>
        <p:xfrm>
          <a:off x="577222" y="2730108"/>
          <a:ext cx="11036928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9488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1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61125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4459910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629999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814008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EED920D-5A0E-4D1A-B8B2-01481F89A849}"/>
              </a:ext>
            </a:extLst>
          </p:cNvPr>
          <p:cNvSpPr/>
          <p:nvPr/>
        </p:nvSpPr>
        <p:spPr>
          <a:xfrm>
            <a:off x="9988110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19253" y="2276560"/>
            <a:ext cx="1588608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66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191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3008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:a16="http://schemas.microsoft.com/office/drawing/2014/main" id="{0F502F2E-BE4E-4F98-AC09-F0807D222C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7211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19253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26191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0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930089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772119" y="3036328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796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86811145"/>
              </p:ext>
            </p:extLst>
          </p:nvPr>
        </p:nvGraphicFramePr>
        <p:xfrm>
          <a:off x="577223" y="2730108"/>
          <a:ext cx="11036725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576675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998086781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24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1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343908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92459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550527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7085958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EED920D-5A0E-4D1A-B8B2-01481F89A849}"/>
              </a:ext>
            </a:extLst>
          </p:cNvPr>
          <p:cNvSpPr/>
          <p:nvPr/>
        </p:nvSpPr>
        <p:spPr>
          <a:xfrm>
            <a:off x="866664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1024732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51908" y="2276560"/>
            <a:ext cx="1588608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66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6594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127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75965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:a16="http://schemas.microsoft.com/office/drawing/2014/main" id="{0F502F2E-BE4E-4F98-AC09-F0807D222C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50651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25337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51908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26594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301279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75965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50651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6" name="Text Placeholder 71">
            <a:extLst>
              <a:ext uri="{FF2B5EF4-FFF2-40B4-BE49-F238E27FC236}">
                <a16:creationId xmlns:a16="http://schemas.microsoft.com/office/drawing/2014/main" id="{947BFEF4-7AA3-4A1C-B7FE-6DF1E40CA7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0025337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55446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55"/>
              </a:spcAft>
              <a:buClrTx/>
              <a:buSzTx/>
              <a:buFontTx/>
              <a:buNone/>
              <a:tabLst/>
              <a:defRPr/>
            </a:pPr>
            <a:r>
              <a:rPr lang="en-US" sz="970" b="0" i="0">
                <a:solidFill>
                  <a:schemeClr val="tx1"/>
                </a:solidFill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409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ivery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57195079"/>
              </p:ext>
            </p:extLst>
          </p:nvPr>
        </p:nvGraphicFramePr>
        <p:xfrm>
          <a:off x="577221" y="3126838"/>
          <a:ext cx="11049048" cy="2921564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6226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</a:tblGrid>
              <a:tr h="292156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Delivery Timelin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1" y="313051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530909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6298593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9066277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0372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3523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66673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FB9A9C-4C9E-469C-9D99-16BC91C138E0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6115" y="3366160"/>
            <a:ext cx="8012962" cy="460026"/>
          </a:xfrm>
          <a:solidFill>
            <a:schemeClr val="accent1"/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bg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D679B6E4-5400-4DE1-9F08-359DC2F09B7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431" y="3366160"/>
            <a:ext cx="245208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1F810C97-0A29-45C1-9D60-827E200D0F3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1483" y="3890527"/>
            <a:ext cx="2477593" cy="460026"/>
          </a:xfrm>
          <a:solidFill>
            <a:schemeClr val="accent1"/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bg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FC6BAC02-B885-47E1-A502-AA5052129E5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430" y="3890527"/>
            <a:ext cx="8012962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06BDC1B7-A02B-4772-BA3C-4B7BBCD848D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431" y="4414895"/>
            <a:ext cx="1078064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88A5BF89-FF15-4E22-A8D9-B81E4C8FB04E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927" y="4939264"/>
            <a:ext cx="953839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28A648F4-45A3-4893-B1D5-F9EAB33F1565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3247" y="5463631"/>
            <a:ext cx="3986725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711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4B21556-CC8D-3C8F-8AEA-66A806BB6E02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https://climate.nasa.gov/</a:t>
            </a:r>
            <a:endParaRPr lang="en-CH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C5CE25E-E585-793E-931B-3B59BFEF6C34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7A8EF9-1C32-4B7A-8081-50E936C41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740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820C01-EFC8-47E3-87CA-54B740EA5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7638" y="2905312"/>
            <a:ext cx="10775825" cy="1564243"/>
          </a:xfrm>
        </p:spPr>
        <p:txBody>
          <a:bodyPr/>
          <a:lstStyle>
            <a:lvl1pPr marL="0" indent="0">
              <a:spcAft>
                <a:spcPts val="728"/>
              </a:spcAft>
              <a:buFontTx/>
              <a:buNone/>
              <a:defRPr/>
            </a:lvl1pPr>
            <a:lvl2pPr>
              <a:spcAft>
                <a:spcPts val="728"/>
              </a:spcAft>
              <a:defRPr/>
            </a:lvl2pPr>
            <a:lvl3pPr>
              <a:spcAft>
                <a:spcPts val="728"/>
              </a:spcAft>
              <a:defRPr/>
            </a:lvl3pPr>
            <a:lvl4pPr>
              <a:spcAft>
                <a:spcPts val="728"/>
              </a:spcAft>
              <a:defRPr/>
            </a:lvl4pPr>
            <a:lvl5pPr>
              <a:spcAft>
                <a:spcPts val="728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F7A7FA-3919-46C3-A721-2BCFFDD3E2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F7C05-75CA-420E-AD15-CB8A1468F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87425AA8-5E7D-4A02-BD41-3BD7CF394720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8DFAF66-6D1A-4424-9287-26CDDE2BBD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0416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abl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0706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mbers / Objectives |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62EC026-4E6F-43DA-923D-6521DED0D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35950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2C007047-C920-4EB3-A695-D82C1E3FF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C4B654B1-39D8-4CAE-9F1C-A8E54F3E90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8467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97CE11CA-3102-4681-B4BA-0B37EB79C9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2319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DA0263E3-9D44-44C4-88DC-79995A9CEA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48759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219E0B61-44AD-498D-9A5E-D4CD2F464A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3444957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B5D028AE-F44C-46F5-9CEE-FD53C54043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55183" y="1487596"/>
            <a:ext cx="2759181" cy="52258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830D074D-01E1-4932-A37B-4050A540FB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855183" y="1904146"/>
            <a:ext cx="2759181" cy="4376255"/>
          </a:xfrm>
          <a:prstGeom prst="roundRect">
            <a:avLst>
              <a:gd name="adj" fmla="val 2681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078F100-7CF5-4CA5-B198-4D0776A22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3844870"/>
            <a:ext cx="5081284" cy="939362"/>
          </a:xfrm>
        </p:spPr>
        <p:txBody>
          <a:bodyPr/>
          <a:lstStyle>
            <a:lvl2pPr marL="216589" indent="-216589">
              <a:defRPr/>
            </a:lvl2pPr>
            <a:lvl3pPr marL="381195" indent="-174234">
              <a:defRPr/>
            </a:lvl3pPr>
            <a:lvl4pPr marL="926036" indent="-183859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57976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mbers / Objectives | Compan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DA0263E3-9D44-44C4-88DC-79995A9CEA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48759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219E0B61-44AD-498D-9A5E-D4CD2F464A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3444957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B5D028AE-F44C-46F5-9CEE-FD53C54043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55183" y="1487596"/>
            <a:ext cx="2759181" cy="52258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830D074D-01E1-4932-A37B-4050A540FB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855183" y="1904146"/>
            <a:ext cx="2759181" cy="4376255"/>
          </a:xfrm>
          <a:prstGeom prst="roundRect">
            <a:avLst>
              <a:gd name="adj" fmla="val 2681"/>
            </a:avLst>
          </a:prstGeom>
          <a:solidFill>
            <a:schemeClr val="bg1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C5CE2C7D-2E7C-4C4A-AD70-D95AE7635B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5060" y="1954399"/>
            <a:ext cx="2873834" cy="2537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C9D30B78-B412-4432-80AB-05215E5B05E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785451" y="1954399"/>
            <a:ext cx="2873834" cy="2537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1CA350-E600-49F4-98C4-196B708DFE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3844870"/>
            <a:ext cx="5081284" cy="939362"/>
          </a:xfrm>
        </p:spPr>
        <p:txBody>
          <a:bodyPr/>
          <a:lstStyle>
            <a:lvl2pPr marL="216589" indent="-216589">
              <a:defRPr/>
            </a:lvl2pPr>
            <a:lvl3pPr marL="381195" indent="-174234">
              <a:defRPr/>
            </a:lvl3pPr>
            <a:lvl4pPr marL="926036" indent="-183859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56421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| sourc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nfographic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23227BC4-3697-49CB-8C94-2ABB376D098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497044" y="3517205"/>
            <a:ext cx="9198321" cy="2537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2FEDC8-D0DD-425E-97D5-0F98C2977C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861" y="5903487"/>
            <a:ext cx="11048278" cy="148117"/>
          </a:xfrm>
        </p:spPr>
        <p:txBody>
          <a:bodyPr/>
          <a:lstStyle>
            <a:lvl1pPr>
              <a:defRPr sz="84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1125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79471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2" name="Picture Placeholder 7">
            <a:extLst>
              <a:ext uri="{FF2B5EF4-FFF2-40B4-BE49-F238E27FC236}">
                <a16:creationId xmlns:a16="http://schemas.microsoft.com/office/drawing/2014/main" id="{6619BFD5-09E1-4FC5-85E9-AA0D4F90A8B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0681" y="4163789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3B63B8AA-3795-43D0-9A7E-B431EEF939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69043" y="1979471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CD81F978-7C37-4A2F-A2FB-25726566C18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69043" y="4163789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A34D31A6-0100-4F14-A575-2F91CDA458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6208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332C0157-8A57-4567-AD90-B772A579EC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29820" y="2336208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71F1D49-461A-49E8-B21D-5F49561734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11458" y="4520525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585FA147-1037-4901-8E81-747525FB4D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29820" y="4520525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</p:spTree>
    <p:extLst>
      <p:ext uri="{BB962C8B-B14F-4D97-AF65-F5344CB8AC3E}">
        <p14:creationId xmlns:p14="http://schemas.microsoft.com/office/powerpoint/2010/main" val="428386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80AF144C-4F83-4A53-AEB3-4893C96DD04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77638" y="5936408"/>
            <a:ext cx="11046352" cy="444898"/>
          </a:xfrm>
          <a:solidFill>
            <a:schemeClr val="bg2"/>
          </a:solidFill>
        </p:spPr>
        <p:txBody>
          <a:bodyPr tIns="108000" bIns="144000"/>
          <a:lstStyle>
            <a:lvl1pPr algn="ctr">
              <a:defRPr sz="1092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2323278-E89D-4D80-A18A-B49324F6E7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2952565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6E72E6E5-210D-43FE-B069-74E7F6C1BD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78519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67E7BAB-F631-4062-8A88-65F51EC442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78519" y="2952565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6BE899-EB40-48CF-AC4E-A642FFFB1AD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79402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48F6FBC-9928-4ECC-8454-6B4856741F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779402" y="2952565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8CE8A230-B6E3-43F3-A987-6673C06011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960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46543DE-6963-4E6B-8D97-FBAB40255BE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78960" y="2952565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C7F9CE2-C3F9-4791-8B8B-B5803FF1D6C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78079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37E3A2C-8F9E-4585-9298-05F9DDA873B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78079" y="2952565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21BD2F87-1775-4DA1-9F5C-C4C9D94FEDA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096317" y="5592104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4271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Multi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491CD948-AEDF-48BE-92C5-5538CE9FE7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65CB4B4F-829A-4844-A666-11265CE11D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3595501"/>
            <a:ext cx="11049048" cy="406867"/>
          </a:xfrm>
        </p:spPr>
        <p:txBody>
          <a:bodyPr numCol="6" spcCol="360000" anchor="b" anchorCtr="0"/>
          <a:lstStyle>
            <a:lvl1pPr marL="0" indent="21755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6547738-490D-47DE-A148-663CEC533E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7639" y="4145141"/>
            <a:ext cx="11036725" cy="294885"/>
          </a:xfrm>
        </p:spPr>
        <p:txBody>
          <a:bodyPr numCol="6" spcCol="360000"/>
          <a:lstStyle>
            <a:lvl1pPr marL="0" indent="0" algn="l">
              <a:buFont typeface="Arial" panose="020B0604020202020204" pitchFamily="34" charset="0"/>
              <a:buNone/>
              <a:defRPr sz="1092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 </a:t>
            </a:r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71E669C7-3F15-4404-9192-6B03E3E0872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46020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7">
            <a:extLst>
              <a:ext uri="{FF2B5EF4-FFF2-40B4-BE49-F238E27FC236}">
                <a16:creationId xmlns:a16="http://schemas.microsoft.com/office/drawing/2014/main" id="{6BDECDBF-1E7F-429C-B857-BC3BE17D9B4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375245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458D35B0-2ABD-4A88-AD9C-250F5B0BFFF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115016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7">
            <a:extLst>
              <a:ext uri="{FF2B5EF4-FFF2-40B4-BE49-F238E27FC236}">
                <a16:creationId xmlns:a16="http://schemas.microsoft.com/office/drawing/2014/main" id="{7B333D88-0458-48F5-97FB-D2D7718EC7C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856566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463A1320-1804-44CE-8DBA-867CC87A9DB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985791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797DADDD-4137-4C8B-B442-114D65CCBB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7134106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multi-colum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6735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conography +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7177775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multi-colum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2500282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4327382"/>
            <a:ext cx="11049048" cy="406867"/>
          </a:xfrm>
        </p:spPr>
        <p:txBody>
          <a:bodyPr numCol="3" spcCol="720000" anchor="t" anchorCtr="0"/>
          <a:lstStyle>
            <a:lvl1pPr marL="0" indent="21755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62016" y="2500282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59237" y="2500282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5000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conography +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1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1719313"/>
            <a:ext cx="11049048" cy="406867"/>
          </a:xfrm>
        </p:spPr>
        <p:txBody>
          <a:bodyPr numCol="3" spcCol="720000" anchor="t" anchorCtr="0"/>
          <a:lstStyle>
            <a:lvl1pPr marL="0" indent="21755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62017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59238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BBCEB9F-975E-4B56-A29F-0854EDFB008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77639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51" indent="-21755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51" algn="l" defTabSz="554466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9D6AFE-0A37-46FD-833E-9282879972A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69883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51" indent="-21755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51" algn="l" defTabSz="554466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FC94985-AFDD-4DF6-992E-19087D2130F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23761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51" indent="-21755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51" algn="l" defTabSz="554466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8641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Multi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252E3C-0AA5-469B-ACE4-9A227101D8C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77638" y="2735923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51" indent="-21755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E32ADA5-A0D2-4524-B1E4-2B46413B84B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877116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51" indent="-21755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F999747-8F91-4BF8-B89A-418788FD50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176595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51" indent="-217551">
              <a:spcAft>
                <a:spcPts val="364"/>
              </a:spcAft>
              <a:defRPr>
                <a:latin typeface="Poppins" pitchFamily="2" charset="77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FF637A0C-4B6D-4207-A7D9-CAF1D2DFC8E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476073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51" indent="-21755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9D094B4-29B2-4197-A8AD-66F9F9CAAF3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775551" y="2735923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51" indent="-21755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43118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57BC4-9713-4B5B-9FD3-02A53A115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47954E-30AB-4F11-8602-F035EA2B92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22FCAD-6AA1-4D4B-A86D-6925B000F2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12984-CCA6-40C2-A876-382B8C68BCC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1AF4D3-1513-4008-9CAC-75B86AC599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A4D6CA-2935-4CA5-9973-6D45EEBBC4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6B2428-E456-463D-9B39-0CE3462EA6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490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Text +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DBAB19-BF47-0842-AC02-494BBB8F3847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6BB53E3-3844-2DCD-9055-233E58E3B264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915F15C-956C-41D5-B307-E9EAF4140C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3079" y="1"/>
            <a:ext cx="5658921" cy="6857999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740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2905312"/>
            <a:ext cx="5081284" cy="15581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 flipV="1">
            <a:off x="577638" y="6370213"/>
            <a:ext cx="5377804" cy="27725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2D490A-0282-4B98-BC22-F72D01AAD9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33079" y="5916690"/>
            <a:ext cx="5081284" cy="150298"/>
          </a:xfrm>
        </p:spPr>
        <p:txBody>
          <a:bodyPr/>
          <a:lstStyle>
            <a:lvl1pPr>
              <a:defRPr sz="849"/>
            </a:lvl1pPr>
          </a:lstStyle>
          <a:p>
            <a:pPr lvl="0"/>
            <a:r>
              <a:rPr lang="en-US"/>
              <a:t>Caption text goes here if required</a:t>
            </a:r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9427362-842E-4669-885E-548EFDB4AD6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7" y="5092479"/>
            <a:ext cx="955990" cy="79483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2006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5+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+1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2323278-E89D-4D80-A18A-B49324F6E7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6E72E6E5-210D-43FE-B069-74E7F6C1BD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78519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67E7BAB-F631-4062-8A88-65F51EC442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78519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6BE899-EB40-48CF-AC4E-A642FFFB1AD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79402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48F6FBC-9928-4ECC-8454-6B4856741F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779402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8CE8A230-B6E3-43F3-A987-6673C06011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960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46543DE-6963-4E6B-8D97-FBAB40255BE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78960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C7F9CE2-C3F9-4791-8B8B-B5803FF1D6C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78079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37E3A2C-8F9E-4585-9298-05F9DDA873B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78079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AABBEEF-0FF4-4074-9C40-9B691395E8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58259" y="1638314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92962D6-56F3-48D3-9A11-82CCFC1CC0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511486" y="1551340"/>
            <a:ext cx="4584515" cy="257558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9095E28A-06FE-49A2-AAE0-DD1F0C107A6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511486" y="1918071"/>
            <a:ext cx="4584515" cy="25755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302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3 x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40" y="537198"/>
            <a:ext cx="5518361" cy="40313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9" y="1519845"/>
            <a:ext cx="7357175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5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D8794217-5EF6-484A-9789-939A04CBD6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859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5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E0AE9E36-7C00-4922-AA13-C35396AF38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9748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5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530D9E0-01F3-4B3E-A984-26FC050FE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637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DE89019-B2ED-4062-BEFD-1AF245BF4D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81859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6F488F1-69E1-4A48-8E9C-2F5EC2BFAB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79748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834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5 x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40" y="537198"/>
            <a:ext cx="5518361" cy="40313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755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530D9E0-01F3-4B3E-A984-26FC050FE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638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D6BD4396-836B-4609-A351-6FA3B73A5F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40394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BEC8D12B-8172-4BD9-B198-FC940EA5F58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69276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4C3A68AC-120B-4739-BD77-EB8D9A277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47713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0A9A1E10-7F09-44CE-87BF-10DBCB2DD3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76594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F45A253A-F83B-4FD4-A131-FA4682A23A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62837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403F967D-B169-4689-B49E-43267F0A42D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491719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FD3AE7CA-391E-4375-9398-D249BBBFEA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46668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E4F804E3-C2DE-4602-B167-5B66CA4202B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75550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3138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stat | b/g image / gra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DC44D74-3B3F-47E0-B848-9173CD01DCB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noFill/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508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508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D8794217-5EF6-484A-9789-939A04CBD6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05918" y="2107959"/>
            <a:ext cx="4214820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2127" b="0" i="0" spc="-637">
                <a:solidFill>
                  <a:schemeClr val="bg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.xm</a:t>
            </a:r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DE89019-B2ED-4062-BEFD-1AF245BF4D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05919" y="3480496"/>
            <a:ext cx="4214819" cy="29617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 sz="1698" b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801540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Map + pin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59EA77B-10F0-4804-A145-524336802D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11289" y="1509772"/>
            <a:ext cx="9195987" cy="453863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DBFC085-0C60-416E-8CFF-15E94416B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11013551" cy="403133"/>
          </a:xfrm>
        </p:spPr>
        <p:txBody>
          <a:bodyPr lIns="0" tIns="0" rIns="0" bIns="0"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B553B6D6-CC16-4E40-914D-C81F67547F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127910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28651641-59C0-4E53-BC82-FBC2B7BB8D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7638" y="5974456"/>
            <a:ext cx="3140422" cy="171705"/>
          </a:xfrm>
        </p:spPr>
        <p:txBody>
          <a:bodyPr tIns="0" bIns="0" anchor="t" anchorCtr="0"/>
          <a:lstStyle>
            <a:lvl1pPr marL="217551" indent="-217551">
              <a:spcBef>
                <a:spcPts val="0"/>
              </a:spcBef>
              <a:buSzPct val="2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55" b="1" i="0" baseline="3000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E20BD56E-0E17-4AED-B089-01FA1B56B6F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7638" y="5537888"/>
            <a:ext cx="3140422" cy="171705"/>
          </a:xfrm>
        </p:spPr>
        <p:txBody>
          <a:bodyPr tIns="0" bIns="0" anchor="t" anchorCtr="0"/>
          <a:lstStyle>
            <a:lvl1pPr marL="217551" indent="-217551">
              <a:spcBef>
                <a:spcPts val="0"/>
              </a:spcBef>
              <a:buSzPct val="2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55" b="1" i="0" baseline="3000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C73E20F7-E9CB-484A-B765-8163DC385D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81812" y="4163433"/>
            <a:ext cx="2314188" cy="171705"/>
          </a:xfrm>
        </p:spPr>
        <p:txBody>
          <a:bodyPr wrap="square" tIns="0" bIns="0" anchor="t" anchorCtr="0">
            <a:spAutoFit/>
          </a:bodyPr>
          <a:lstStyle>
            <a:lvl1pPr marL="217551" indent="-217551">
              <a:spcBef>
                <a:spcPts val="0"/>
              </a:spcBef>
              <a:buSzPct val="2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55" b="1" i="0" baseline="3000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3E398FEC-3245-4CB1-99A2-4E4EDB86690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24726" y="3036053"/>
            <a:ext cx="2314188" cy="171705"/>
          </a:xfrm>
        </p:spPr>
        <p:txBody>
          <a:bodyPr wrap="square" tIns="0" bIns="0" anchor="t" anchorCtr="0">
            <a:spAutoFit/>
          </a:bodyPr>
          <a:lstStyle>
            <a:lvl1pPr marL="217551" indent="-217551">
              <a:spcBef>
                <a:spcPts val="0"/>
              </a:spcBef>
              <a:buSzPct val="2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55" b="1" i="0" baseline="3000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1273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vision | Centre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E04318B-A241-43E7-94D4-29E516C89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16700" y="577597"/>
            <a:ext cx="5558600" cy="1175806"/>
          </a:xfrm>
        </p:spPr>
        <p:txBody>
          <a:bodyPr lIns="0" tIns="0" rIns="0" bIns="0" anchor="b" anchorCtr="0"/>
          <a:lstStyle>
            <a:lvl1pPr algn="ctr">
              <a:defRPr sz="424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234693-3B2F-4AE8-AE43-6003C99CB8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9848" y="2162835"/>
            <a:ext cx="10991343" cy="571182"/>
          </a:xfrm>
        </p:spPr>
        <p:txBody>
          <a:bodyPr/>
          <a:lstStyle>
            <a:lvl1pPr algn="ctr">
              <a:defRPr sz="32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object 37">
            <a:extLst>
              <a:ext uri="{FF2B5EF4-FFF2-40B4-BE49-F238E27FC236}">
                <a16:creationId xmlns:a16="http://schemas.microsoft.com/office/drawing/2014/main" id="{254656CD-21F4-415A-855F-8FEF936CAD12}"/>
              </a:ext>
            </a:extLst>
          </p:cNvPr>
          <p:cNvSpPr/>
          <p:nvPr userDrawn="1"/>
        </p:nvSpPr>
        <p:spPr>
          <a:xfrm>
            <a:off x="3344643" y="5294062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38">
            <a:extLst>
              <a:ext uri="{FF2B5EF4-FFF2-40B4-BE49-F238E27FC236}">
                <a16:creationId xmlns:a16="http://schemas.microsoft.com/office/drawing/2014/main" id="{5C6A6A71-005C-4561-B24C-20036B336094}"/>
              </a:ext>
            </a:extLst>
          </p:cNvPr>
          <p:cNvSpPr/>
          <p:nvPr userDrawn="1"/>
        </p:nvSpPr>
        <p:spPr>
          <a:xfrm>
            <a:off x="9774588" y="5294062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40">
            <a:extLst>
              <a:ext uri="{FF2B5EF4-FFF2-40B4-BE49-F238E27FC236}">
                <a16:creationId xmlns:a16="http://schemas.microsoft.com/office/drawing/2014/main" id="{176FBC2B-5877-478A-BEB4-EDF0B54837C2}"/>
              </a:ext>
            </a:extLst>
          </p:cNvPr>
          <p:cNvSpPr txBox="1"/>
          <p:nvPr userDrawn="1"/>
        </p:nvSpPr>
        <p:spPr>
          <a:xfrm>
            <a:off x="577638" y="5241916"/>
            <a:ext cx="1696672" cy="222838"/>
          </a:xfrm>
          <a:prstGeom prst="rect">
            <a:avLst/>
          </a:prstGeom>
        </p:spPr>
        <p:txBody>
          <a:bodyPr vert="horz" wrap="square" lIns="0" tIns="8085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ssociated</a:t>
            </a:r>
            <a:r>
              <a:rPr sz="1395" b="0" i="0" spc="-61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with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8" name="object 41">
            <a:extLst>
              <a:ext uri="{FF2B5EF4-FFF2-40B4-BE49-F238E27FC236}">
                <a16:creationId xmlns:a16="http://schemas.microsoft.com/office/drawing/2014/main" id="{F38E41A8-ECE8-47B1-85AB-9824D1D80C00}"/>
              </a:ext>
            </a:extLst>
          </p:cNvPr>
          <p:cNvSpPr txBox="1"/>
          <p:nvPr userDrawn="1"/>
        </p:nvSpPr>
        <p:spPr>
          <a:xfrm>
            <a:off x="3915513" y="5241916"/>
            <a:ext cx="1743798" cy="222838"/>
          </a:xfrm>
          <a:prstGeom prst="rect">
            <a:avLst/>
          </a:prstGeom>
        </p:spPr>
        <p:txBody>
          <a:bodyPr vert="horz" wrap="square" lIns="0" tIns="8085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Supported</a:t>
            </a:r>
            <a:r>
              <a:rPr sz="1395" b="0" i="0" spc="-67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by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9" name="object 42">
            <a:extLst>
              <a:ext uri="{FF2B5EF4-FFF2-40B4-BE49-F238E27FC236}">
                <a16:creationId xmlns:a16="http://schemas.microsoft.com/office/drawing/2014/main" id="{E15DCFC0-DA16-4F9A-B70D-3C33C791B448}"/>
              </a:ext>
            </a:extLst>
          </p:cNvPr>
          <p:cNvSpPr txBox="1"/>
          <p:nvPr userDrawn="1"/>
        </p:nvSpPr>
        <p:spPr>
          <a:xfrm>
            <a:off x="10161466" y="5241915"/>
            <a:ext cx="1743797" cy="222838"/>
          </a:xfrm>
          <a:prstGeom prst="rect">
            <a:avLst/>
          </a:prstGeom>
        </p:spPr>
        <p:txBody>
          <a:bodyPr vert="horz" wrap="square" lIns="0" tIns="8085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Hosted</a:t>
            </a:r>
            <a:r>
              <a:rPr sz="1395" b="0" i="0" spc="-64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t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45933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ssion Statement | Left Alig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E04318B-A241-43E7-94D4-29E516C89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9848" y="1299878"/>
            <a:ext cx="7334965" cy="453525"/>
          </a:xfrm>
        </p:spPr>
        <p:txBody>
          <a:bodyPr lIns="0" tIns="0" rIns="0" bIns="0" anchor="b" anchorCtr="0"/>
          <a:lstStyle>
            <a:lvl1pPr algn="l">
              <a:defRPr sz="327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234693-3B2F-4AE8-AE43-6003C99CB8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9847" y="2162836"/>
            <a:ext cx="8255334" cy="296171"/>
          </a:xfrm>
        </p:spPr>
        <p:txBody>
          <a:bodyPr/>
          <a:lstStyle>
            <a:lvl1pPr algn="l">
              <a:defRPr sz="16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object 37">
            <a:extLst>
              <a:ext uri="{FF2B5EF4-FFF2-40B4-BE49-F238E27FC236}">
                <a16:creationId xmlns:a16="http://schemas.microsoft.com/office/drawing/2014/main" id="{254656CD-21F4-415A-855F-8FEF936CAD12}"/>
              </a:ext>
            </a:extLst>
          </p:cNvPr>
          <p:cNvSpPr/>
          <p:nvPr userDrawn="1"/>
        </p:nvSpPr>
        <p:spPr>
          <a:xfrm>
            <a:off x="3344643" y="5294062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38">
            <a:extLst>
              <a:ext uri="{FF2B5EF4-FFF2-40B4-BE49-F238E27FC236}">
                <a16:creationId xmlns:a16="http://schemas.microsoft.com/office/drawing/2014/main" id="{5C6A6A71-005C-4561-B24C-20036B336094}"/>
              </a:ext>
            </a:extLst>
          </p:cNvPr>
          <p:cNvSpPr/>
          <p:nvPr userDrawn="1"/>
        </p:nvSpPr>
        <p:spPr>
          <a:xfrm>
            <a:off x="9774588" y="5294062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40">
            <a:extLst>
              <a:ext uri="{FF2B5EF4-FFF2-40B4-BE49-F238E27FC236}">
                <a16:creationId xmlns:a16="http://schemas.microsoft.com/office/drawing/2014/main" id="{176FBC2B-5877-478A-BEB4-EDF0B54837C2}"/>
              </a:ext>
            </a:extLst>
          </p:cNvPr>
          <p:cNvSpPr txBox="1"/>
          <p:nvPr userDrawn="1"/>
        </p:nvSpPr>
        <p:spPr>
          <a:xfrm>
            <a:off x="599847" y="5241916"/>
            <a:ext cx="1880668" cy="222838"/>
          </a:xfrm>
          <a:prstGeom prst="rect">
            <a:avLst/>
          </a:prstGeom>
        </p:spPr>
        <p:txBody>
          <a:bodyPr vert="horz" wrap="square" lIns="0" tIns="8085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ssociated</a:t>
            </a:r>
            <a:r>
              <a:rPr sz="1395" b="0" i="0" spc="-61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with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8" name="object 41">
            <a:extLst>
              <a:ext uri="{FF2B5EF4-FFF2-40B4-BE49-F238E27FC236}">
                <a16:creationId xmlns:a16="http://schemas.microsoft.com/office/drawing/2014/main" id="{F38E41A8-ECE8-47B1-85AB-9824D1D80C00}"/>
              </a:ext>
            </a:extLst>
          </p:cNvPr>
          <p:cNvSpPr txBox="1"/>
          <p:nvPr userDrawn="1"/>
        </p:nvSpPr>
        <p:spPr>
          <a:xfrm>
            <a:off x="3915514" y="5241915"/>
            <a:ext cx="2180486" cy="222838"/>
          </a:xfrm>
          <a:prstGeom prst="rect">
            <a:avLst/>
          </a:prstGeom>
        </p:spPr>
        <p:txBody>
          <a:bodyPr vert="horz" wrap="square" lIns="0" tIns="8085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Supported</a:t>
            </a:r>
            <a:r>
              <a:rPr sz="1395" b="0" i="0" spc="-67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by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9" name="object 42">
            <a:extLst>
              <a:ext uri="{FF2B5EF4-FFF2-40B4-BE49-F238E27FC236}">
                <a16:creationId xmlns:a16="http://schemas.microsoft.com/office/drawing/2014/main" id="{E15DCFC0-DA16-4F9A-B70D-3C33C791B448}"/>
              </a:ext>
            </a:extLst>
          </p:cNvPr>
          <p:cNvSpPr txBox="1"/>
          <p:nvPr userDrawn="1"/>
        </p:nvSpPr>
        <p:spPr>
          <a:xfrm>
            <a:off x="10161466" y="5241915"/>
            <a:ext cx="1459271" cy="222838"/>
          </a:xfrm>
          <a:prstGeom prst="rect">
            <a:avLst/>
          </a:prstGeom>
        </p:spPr>
        <p:txBody>
          <a:bodyPr vert="horz" wrap="square" lIns="0" tIns="8085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Hosted</a:t>
            </a:r>
            <a:r>
              <a:rPr sz="1395" b="0" i="0" spc="-64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t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39" name="object 14">
            <a:extLst>
              <a:ext uri="{FF2B5EF4-FFF2-40B4-BE49-F238E27FC236}">
                <a16:creationId xmlns:a16="http://schemas.microsoft.com/office/drawing/2014/main" id="{EBA520A8-D9DC-4590-A234-60E794F86D19}"/>
              </a:ext>
            </a:extLst>
          </p:cNvPr>
          <p:cNvSpPr/>
          <p:nvPr userDrawn="1"/>
        </p:nvSpPr>
        <p:spPr>
          <a:xfrm>
            <a:off x="577851" y="5000063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802197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1ED4F-48C8-405A-BAF4-A471B383C9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8008" y="2863650"/>
            <a:ext cx="9195987" cy="1130703"/>
          </a:xfrm>
        </p:spPr>
        <p:txBody>
          <a:bodyPr anchor="ctr"/>
          <a:lstStyle>
            <a:lvl1pPr algn="ctr">
              <a:defRPr sz="4245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34226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1ED4F-48C8-405A-BAF4-A471B383C9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7045" y="3681456"/>
            <a:ext cx="9195987" cy="839551"/>
          </a:xfrm>
        </p:spPr>
        <p:txBody>
          <a:bodyPr anchor="ctr"/>
          <a:lstStyle>
            <a:lvl1pPr algn="ctr">
              <a:defRPr sz="2668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C1720A0-FC5D-48B5-9BF5-272126604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22749" y="2293692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457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gn-off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C1720A0-FC5D-48B5-9BF5-272126604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22749" y="2900500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242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5A69708-5E78-D3DF-BA26-A37528390323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76D6FC6-555F-3C09-808A-4688B31343A5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740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6"/>
            <a:ext cx="5081284" cy="15581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915F15C-956C-41D5-B307-E9EAF4140C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3079" y="577597"/>
            <a:ext cx="5081284" cy="263414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3079" y="3434808"/>
            <a:ext cx="5081284" cy="2613594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3DBC4A-ACA7-4AD0-9307-8B9B0EA507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04322" y="644597"/>
            <a:ext cx="4938799" cy="2575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aption, if required, goes here</a:t>
            </a:r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E7CB72A-5628-4C6B-920B-B5462A85B7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4322" y="3509478"/>
            <a:ext cx="4938799" cy="25750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aption, if required, goes here</a:t>
            </a:r>
            <a:endParaRPr lang="en-GB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3E63EEFC-E63D-460B-87E8-056BB1E9EE2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77637" y="5092479"/>
            <a:ext cx="955990" cy="79483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4737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AF0FB2-4A8B-4E22-B6DC-95AD4F2F89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2136B6-7F6A-4C44-A6D4-940B015787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6E76AD-E3D4-4E9D-B338-3F51B50919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E59B1-9A42-4836-995F-8C0C12A7C358}" type="datetimeFigureOut">
              <a:rPr lang="fr-FR" smtClean="0"/>
              <a:t>09/09/2024</a:t>
            </a:fld>
            <a:endParaRPr 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614085-148D-4CCA-B679-FF5D2F52CE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636052-09A5-4713-9DD8-4B0E88926E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64744-2AAA-4D5D-832B-166273E13FFA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1653002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7606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85765C15-050B-3F46-BA7D-23E9D746CA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553909" y="6225493"/>
            <a:ext cx="1314983" cy="168059"/>
          </a:xfrm>
        </p:spPr>
        <p:txBody>
          <a:bodyPr/>
          <a:lstStyle>
            <a:lvl1pPr marL="0" marR="0" indent="0" algn="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999999"/>
                </a:solidFill>
              </a:defRPr>
            </a:lvl1pPr>
          </a:lstStyle>
          <a:p>
            <a:r>
              <a:rPr lang="en-GB" sz="1092">
                <a:latin typeface="Poppins Medium" pitchFamily="2" charset="77"/>
                <a:cs typeface="Poppins Medium" pitchFamily="2" charset="77"/>
              </a:rPr>
              <a:t>WUENIC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DAFA51-0F1A-9D4E-BF85-8D1047C752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06396" y="6225493"/>
            <a:ext cx="1048051" cy="167972"/>
          </a:xfrm>
        </p:spPr>
        <p:txBody>
          <a:bodyPr/>
          <a:lstStyle>
            <a:lvl1pPr algn="l">
              <a:defRPr sz="1092" b="0" i="0">
                <a:solidFill>
                  <a:srgbClr val="999999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r>
              <a:rPr lang="en-GB"/>
              <a:t> of 28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8868AC3-E71E-584E-95BA-49ED20AC6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6396" y="467566"/>
            <a:ext cx="3493502" cy="99647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2456"/>
              </a:lnSpc>
              <a:defRPr sz="2062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48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0981E17-5695-435B-969A-5EECE7102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1704030" cy="646908"/>
          </a:xfrm>
          <a:prstGeom prst="rect">
            <a:avLst/>
          </a:prstGeom>
        </p:spPr>
      </p:pic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523DD328-9428-4A62-9563-5F3EC36C155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137632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4B1DB28-413A-41E9-A6F8-727DE05F8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3036723" cy="646908"/>
          </a:xfrm>
          <a:prstGeom prst="rect">
            <a:avLst/>
          </a:prstGeom>
        </p:spPr>
      </p:pic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570D610-DA38-4B7D-93BE-2E443F0EE1A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3609359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F1B92ED-1DA4-42D5-94F1-A383F50976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6444"/>
            <a:ext cx="750929" cy="554493"/>
          </a:xfrm>
          <a:prstGeom prst="rect">
            <a:avLst/>
          </a:prstGeom>
        </p:spPr>
      </p:pic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F6DBB05F-4272-4D46-84A3-F2972EF1D50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2965838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54F6A8A-3C2B-480E-A8DA-BC1ADCD083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48016" y="2773428"/>
            <a:ext cx="3471601" cy="1311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096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42CC9A5-8FA8-4188-B9FB-687FDCC80C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11528" y="2900500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0475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0B47A-2C2A-47A3-B698-CA6A0FD6F0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56337" y="2220890"/>
            <a:ext cx="2454959" cy="1819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613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4B1DB28-413A-41E9-A6F8-727DE05F8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3036723" cy="646908"/>
          </a:xfrm>
          <a:prstGeom prst="rect">
            <a:avLst/>
          </a:prstGeom>
        </p:spPr>
      </p:pic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E02C968-6D90-43B9-83B4-8DDD9D10A2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/>
          </a:solidFill>
        </p:spPr>
        <p:txBody>
          <a:bodyPr bIns="1764000" anchor="ctr">
            <a:noAutofit/>
          </a:bodyPr>
          <a:lstStyle>
            <a:lvl1pPr algn="ctr">
              <a:defRPr sz="2183" b="1"/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1952783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Quote +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DCF9D0E-2C8D-FFCF-71A0-E1C82FEB96A3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89DC463-378A-2C13-4BFC-1A21C5B6D636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740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6"/>
            <a:ext cx="5081284" cy="15581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3079" y="3434808"/>
            <a:ext cx="5081284" cy="2613594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342D1F6-875C-4F73-9292-C3AAE26778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0496" y="2150912"/>
            <a:ext cx="5073866" cy="83955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455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0"/>
              </a:spcAft>
              <a:buFontTx/>
              <a:buNone/>
              <a:defRPr sz="1455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2pPr>
            <a:lvl3pPr marL="0" indent="0">
              <a:spcBef>
                <a:spcPts val="0"/>
              </a:spcBef>
              <a:buFontTx/>
              <a:buNone/>
              <a:defRPr sz="1213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2BA5A0B-ACA6-4775-BB7F-0F44A4EF7ED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7" y="5092479"/>
            <a:ext cx="955990" cy="794833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10812D15-BFF6-4022-96D6-207CD21FCD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40496" y="1606818"/>
            <a:ext cx="474911" cy="401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412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283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8059CA9-ADD3-48DF-ABCE-675068DD8B2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/>
          </a:solidFill>
        </p:spPr>
        <p:txBody>
          <a:bodyPr bIns="1764000" anchor="ctr">
            <a:noAutofit/>
          </a:bodyPr>
          <a:lstStyle>
            <a:lvl1pPr algn="ctr">
              <a:defRPr sz="2183" b="1"/>
            </a:lvl1pPr>
          </a:lstStyle>
          <a:p>
            <a:r>
              <a:rPr lang="en-GB"/>
              <a:t>Click icon to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F1B92ED-1DA4-42D5-94F1-A383F50976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6444"/>
            <a:ext cx="750929" cy="554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91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90D3C3D-29CE-4901-8EEA-1345D26869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75632" y="0"/>
            <a:ext cx="7016368" cy="685799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3911A5-606B-49B4-916C-45BA4954D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CFDB7-1FD8-48B9-B71F-E3DCBDCCD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E8D1215B-902F-4676-BD97-07AB236AAB96}"/>
              </a:ext>
            </a:extLst>
          </p:cNvPr>
          <p:cNvSpPr/>
          <p:nvPr userDrawn="1"/>
        </p:nvSpPr>
        <p:spPr>
          <a:xfrm>
            <a:off x="581978" y="6397848"/>
            <a:ext cx="4011676" cy="44087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DC27864-4735-40D0-B2CD-C35B135AB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638" y="2948731"/>
            <a:ext cx="4164766" cy="1769202"/>
          </a:xfrm>
        </p:spPr>
        <p:txBody>
          <a:bodyPr lIns="0" tIns="0" rIns="0" bIns="0" anchor="t" anchorCtr="0"/>
          <a:lstStyle>
            <a:lvl1pPr algn="l">
              <a:defRPr sz="424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39426BB5-24C1-4CC6-9847-26D952ABD9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1978" y="2436028"/>
            <a:ext cx="4164766" cy="338362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940">
                <a:solidFill>
                  <a:schemeClr val="accent1"/>
                </a:solidFill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84699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26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342856"/>
            <a:ext cx="7200250" cy="3274256"/>
          </a:xfrm>
        </p:spPr>
        <p:txBody>
          <a:bodyPr wrap="square" numCol="2" spcCol="75600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1455"/>
              </a:spcAft>
              <a:buFont typeface="Arial" panose="020B0604020202020204" pitchFamily="34" charset="0"/>
              <a:buNone/>
              <a:defRPr sz="1455"/>
            </a:lvl2pPr>
            <a:lvl5pPr>
              <a:defRPr/>
            </a:lvl5pPr>
          </a:lstStyle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4" y="2299040"/>
            <a:ext cx="3379179" cy="331806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440602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able of contents</a:t>
            </a:r>
            <a:endParaRPr lang="en-GB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342856"/>
            <a:ext cx="7200250" cy="3274256"/>
          </a:xfrm>
        </p:spPr>
        <p:txBody>
          <a:bodyPr wrap="square" numCol="2" spcCol="75600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334" b="0" i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1455"/>
              </a:spcAft>
              <a:buFont typeface="Arial" panose="020B0604020202020204" pitchFamily="34" charset="0"/>
              <a:buNone/>
              <a:defRPr sz="1334" b="0" i="0"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4" y="2299040"/>
            <a:ext cx="3379179" cy="331806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221973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F0E35ECD-3ED9-473D-9E17-FF1C83FE9F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eam/Speakers</a:t>
            </a:r>
            <a:endParaRPr lang="en-GB"/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67EAA926-4051-4F98-B128-E26790C1A9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3" name="Picture Placeholder 7">
            <a:extLst>
              <a:ext uri="{FF2B5EF4-FFF2-40B4-BE49-F238E27FC236}">
                <a16:creationId xmlns:a16="http://schemas.microsoft.com/office/drawing/2014/main" id="{3BD0D2FB-1A7B-44AF-BA4E-FD97B0B714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4A124E16-FB5A-4A88-A515-FC70FA2554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11458" y="4501859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5" name="Picture Placeholder 7">
            <a:extLst>
              <a:ext uri="{FF2B5EF4-FFF2-40B4-BE49-F238E27FC236}">
                <a16:creationId xmlns:a16="http://schemas.microsoft.com/office/drawing/2014/main" id="{88D60E5C-AB30-4F0B-8773-F30DB3E8A6A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0681" y="4078842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6" name="Text Placeholder 12">
            <a:extLst>
              <a:ext uri="{FF2B5EF4-FFF2-40B4-BE49-F238E27FC236}">
                <a16:creationId xmlns:a16="http://schemas.microsoft.com/office/drawing/2014/main" id="{2C60DE2D-43F7-4A13-BE4E-B64A383DE8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29820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7" name="Picture Placeholder 7">
            <a:extLst>
              <a:ext uri="{FF2B5EF4-FFF2-40B4-BE49-F238E27FC236}">
                <a16:creationId xmlns:a16="http://schemas.microsoft.com/office/drawing/2014/main" id="{5B1E1242-6BB9-4F32-91B1-3AA43FC4EC9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69043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8" name="Text Placeholder 12">
            <a:extLst>
              <a:ext uri="{FF2B5EF4-FFF2-40B4-BE49-F238E27FC236}">
                <a16:creationId xmlns:a16="http://schemas.microsoft.com/office/drawing/2014/main" id="{C8B338B9-D1F9-4987-BC28-B7466CCC38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29820" y="4501859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9" name="Picture Placeholder 7">
            <a:extLst>
              <a:ext uri="{FF2B5EF4-FFF2-40B4-BE49-F238E27FC236}">
                <a16:creationId xmlns:a16="http://schemas.microsoft.com/office/drawing/2014/main" id="{CED5980C-4EBB-4601-BF07-F911191638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69043" y="4078842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33245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ir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hairperson</a:t>
            </a:r>
            <a:endParaRPr lang="en-GB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2A210F5-A8B3-4A0E-8B15-4497042C49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33079" y="1682566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659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 | 3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5D51C2DC-4571-42B4-89F2-DA6662BE5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eam/Speakers 3 columns 3 rows</a:t>
            </a:r>
            <a:endParaRPr lang="en-GB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B4DF1173-C29F-45AC-92AA-916D11D8E0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35950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7AC79D67-C678-414C-AF90-8C02E28CA9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D84CF9F7-FEFA-4F30-8381-81E1CDC7DE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8467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C320D465-6541-42AF-B948-F179CCF7EE8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2319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C8238BF7-B55E-43DD-99B0-CDFDFE29FD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89776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0" name="Picture Placeholder 7">
            <a:extLst>
              <a:ext uri="{FF2B5EF4-FFF2-40B4-BE49-F238E27FC236}">
                <a16:creationId xmlns:a16="http://schemas.microsoft.com/office/drawing/2014/main" id="{0BEA5C06-8D59-4BD3-9B33-5696A4BC522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0450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7BBE5725-635F-472C-99DA-2942D536FF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35950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2" name="Picture Placeholder 7">
            <a:extLst>
              <a:ext uri="{FF2B5EF4-FFF2-40B4-BE49-F238E27FC236}">
                <a16:creationId xmlns:a16="http://schemas.microsoft.com/office/drawing/2014/main" id="{00A16A42-CA42-49E2-8405-AA0CAF0311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50681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3" name="Text Placeholder 12">
            <a:extLst>
              <a:ext uri="{FF2B5EF4-FFF2-40B4-BE49-F238E27FC236}">
                <a16:creationId xmlns:a16="http://schemas.microsoft.com/office/drawing/2014/main" id="{EE36DF45-11AE-4011-BA24-5F2F1B07B5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08467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4" name="Picture Placeholder 7">
            <a:extLst>
              <a:ext uri="{FF2B5EF4-FFF2-40B4-BE49-F238E27FC236}">
                <a16:creationId xmlns:a16="http://schemas.microsoft.com/office/drawing/2014/main" id="{8FBF5889-E52E-4268-BCFD-13AA1E933F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23198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85553B65-686F-493B-B002-4E9B0D2112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89776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6" name="Picture Placeholder 7">
            <a:extLst>
              <a:ext uri="{FF2B5EF4-FFF2-40B4-BE49-F238E27FC236}">
                <a16:creationId xmlns:a16="http://schemas.microsoft.com/office/drawing/2014/main" id="{F3DB35B0-B095-4BB6-B438-419AB248A32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04508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78D2052B-6800-49A9-9052-94BEBF4D16D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835950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8" name="Picture Placeholder 7">
            <a:extLst>
              <a:ext uri="{FF2B5EF4-FFF2-40B4-BE49-F238E27FC236}">
                <a16:creationId xmlns:a16="http://schemas.microsoft.com/office/drawing/2014/main" id="{C0FB45DF-4505-4104-B3AB-1FF0A095BB4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50681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0CFC70D0-DEBC-4AE8-94A6-E2EBDB950E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08467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60" name="Picture Placeholder 7">
            <a:extLst>
              <a:ext uri="{FF2B5EF4-FFF2-40B4-BE49-F238E27FC236}">
                <a16:creationId xmlns:a16="http://schemas.microsoft.com/office/drawing/2014/main" id="{317AD999-FECF-4E8A-A9F4-237EBF5CB42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23198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7B6DD1A6-D513-4EA0-8C3F-47C93CA395E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9776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5D78DD9A-7A3B-4479-A356-D1201169A1E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104508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91474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 |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5D51C2DC-4571-42B4-89F2-DA6662BE5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eam/Speakers 3 columns 4 rows</a:t>
            </a:r>
            <a:endParaRPr lang="en-GB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B4DF1173-C29F-45AC-92AA-916D11D8E0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0230" y="1612706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7AC79D67-C678-414C-AF90-8C02E28CA9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1452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D84CF9F7-FEFA-4F30-8381-81E1CDC7DE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003" y="1613916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C320D465-6541-42AF-B948-F179CCF7EE8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96225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C8238BF7-B55E-43DD-99B0-CDFDFE29FD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89776" y="1613916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50" name="Picture Placeholder 7">
            <a:extLst>
              <a:ext uri="{FF2B5EF4-FFF2-40B4-BE49-F238E27FC236}">
                <a16:creationId xmlns:a16="http://schemas.microsoft.com/office/drawing/2014/main" id="{0BEA5C06-8D59-4BD3-9B33-5696A4BC522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20998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2" name="Picture Placeholder 7">
            <a:extLst>
              <a:ext uri="{FF2B5EF4-FFF2-40B4-BE49-F238E27FC236}">
                <a16:creationId xmlns:a16="http://schemas.microsoft.com/office/drawing/2014/main" id="{00A16A42-CA42-49E2-8405-AA0CAF0311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71452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Picture Placeholder 7">
            <a:extLst>
              <a:ext uri="{FF2B5EF4-FFF2-40B4-BE49-F238E27FC236}">
                <a16:creationId xmlns:a16="http://schemas.microsoft.com/office/drawing/2014/main" id="{8FBF5889-E52E-4268-BCFD-13AA1E933F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6225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6" name="Picture Placeholder 7">
            <a:extLst>
              <a:ext uri="{FF2B5EF4-FFF2-40B4-BE49-F238E27FC236}">
                <a16:creationId xmlns:a16="http://schemas.microsoft.com/office/drawing/2014/main" id="{F3DB35B0-B095-4BB6-B438-419AB248A32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220998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8" name="Picture Placeholder 7">
            <a:extLst>
              <a:ext uri="{FF2B5EF4-FFF2-40B4-BE49-F238E27FC236}">
                <a16:creationId xmlns:a16="http://schemas.microsoft.com/office/drawing/2014/main" id="{C0FB45DF-4505-4104-B3AB-1FF0A095BB4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71452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60" name="Picture Placeholder 7">
            <a:extLst>
              <a:ext uri="{FF2B5EF4-FFF2-40B4-BE49-F238E27FC236}">
                <a16:creationId xmlns:a16="http://schemas.microsoft.com/office/drawing/2014/main" id="{317AD999-FECF-4E8A-A9F4-237EBF5CB42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96225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5D78DD9A-7A3B-4479-A356-D1201169A1E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20998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C9B18172-AE91-486D-B3BF-BB4501ABE8A3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71452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F64BBF40-4B6E-4EED-9A4A-53F588F6905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396225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BA5CBA95-71BA-4D1C-9702-C09A59DB5A0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220998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DE3C1140-BD03-4998-B2C4-28410F93C64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40230" y="2822288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FFE703FA-9332-4A8A-B58E-5F35E54BCD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65003" y="2823498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1C44D164-2308-4F92-8C1F-02E8B7DE078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89776" y="2823498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6" name="Text Placeholder 12">
            <a:extLst>
              <a:ext uri="{FF2B5EF4-FFF2-40B4-BE49-F238E27FC236}">
                <a16:creationId xmlns:a16="http://schemas.microsoft.com/office/drawing/2014/main" id="{3423B415-66AA-45CD-A323-3A2A488B71A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740230" y="4031870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CB7D5369-1728-4112-B4F1-ED60D3FE7A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65003" y="4033080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9AEBD6C7-E5B0-401A-A86F-E5112062611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9776" y="4033080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B77E20DC-EB84-47ED-8BD7-B4FF8C116E3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740230" y="5241451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59FE56BC-3699-4F5D-A9A7-2D0424B49BE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565003" y="5242661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C9243CCE-E7FC-4AA9-B6B0-2E7FCC8D0DF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389776" y="5242661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</p:spTree>
    <p:extLst>
      <p:ext uri="{BB962C8B-B14F-4D97-AF65-F5344CB8AC3E}">
        <p14:creationId xmlns:p14="http://schemas.microsoft.com/office/powerpoint/2010/main" val="910525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2905314"/>
            <a:ext cx="11036725" cy="1658869"/>
          </a:xfrm>
        </p:spPr>
        <p:txBody>
          <a:bodyPr numCol="2" spcCol="1440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051054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2 column text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158977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4 x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4C524D9-0D9C-E66E-949B-F8A590D503F1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2FB52DB-2CB8-0EA3-D972-40DB26E9929E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8"/>
            <a:ext cx="11042887" cy="414281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4540" y="3865484"/>
            <a:ext cx="2424253" cy="218291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49FC8846-079B-41AE-B836-FAD08E0C32D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8" y="1245959"/>
            <a:ext cx="5299823" cy="4802443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E7F864D5-53D1-4798-9693-FAD45F36240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90110" y="3865484"/>
            <a:ext cx="2424253" cy="218291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09D04CD5-6785-4614-82A0-EB606F9E758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14539" y="1245958"/>
            <a:ext cx="5299823" cy="2183042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3459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283">
          <p15:clr>
            <a:srgbClr val="FBAE4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| 2 column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207935" indent="-207935">
              <a:buClr>
                <a:schemeClr val="accent1"/>
              </a:buClr>
              <a:buSzPct val="100000"/>
              <a:buFont typeface="Wingdings" pitchFamily="2" charset="2"/>
              <a:buChar char="§"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017192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2 column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277246" indent="-277246">
              <a:buClr>
                <a:schemeClr val="accent1"/>
              </a:buClr>
              <a:buSzPct val="100000"/>
              <a:buFont typeface="+mj-lt"/>
              <a:buAutoNum type="arabicPeriod"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637030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7A8EF9-1C32-4B7A-8081-50E936C41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820C01-EFC8-47E3-87CA-54B740EA5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7638" y="2905312"/>
            <a:ext cx="10775825" cy="1564243"/>
          </a:xfrm>
        </p:spPr>
        <p:txBody>
          <a:bodyPr/>
          <a:lstStyle>
            <a:lvl1pPr marL="0" indent="0">
              <a:spcAft>
                <a:spcPts val="728"/>
              </a:spcAft>
              <a:buFontTx/>
              <a:buNone/>
              <a:defRPr/>
            </a:lvl1pPr>
            <a:lvl2pPr>
              <a:spcAft>
                <a:spcPts val="728"/>
              </a:spcAft>
              <a:defRPr/>
            </a:lvl2pPr>
            <a:lvl3pPr>
              <a:spcAft>
                <a:spcPts val="728"/>
              </a:spcAft>
              <a:defRPr/>
            </a:lvl3pPr>
            <a:lvl4pPr>
              <a:spcAft>
                <a:spcPts val="728"/>
              </a:spcAft>
              <a:defRPr/>
            </a:lvl4pPr>
            <a:lvl5pPr>
              <a:spcAft>
                <a:spcPts val="728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F7A7FA-3919-46C3-A721-2BCFFDD3E2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F7C05-75CA-420E-AD15-CB8A1468F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87425AA8-5E7D-4A02-BD41-3BD7CF394720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8DFAF66-6D1A-4424-9287-26CDDE2BBD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528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Text +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915F15C-956C-41D5-B307-E9EAF4140C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3079" y="1"/>
            <a:ext cx="5658921" cy="6857999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2905312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 flipV="1">
            <a:off x="577638" y="6370213"/>
            <a:ext cx="5377804" cy="27725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2D490A-0282-4B98-BC22-F72D01AAD9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33079" y="5916690"/>
            <a:ext cx="5081284" cy="148117"/>
          </a:xfrm>
        </p:spPr>
        <p:txBody>
          <a:bodyPr/>
          <a:lstStyle>
            <a:lvl1pPr>
              <a:defRPr sz="849"/>
            </a:lvl1pPr>
          </a:lstStyle>
          <a:p>
            <a:pPr lvl="0"/>
            <a:r>
              <a:rPr lang="en-US"/>
              <a:t>Caption text goes here if required</a:t>
            </a:r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9427362-842E-4669-885E-548EFDB4AD6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1459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6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915F15C-956C-41D5-B307-E9EAF4140C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3079" y="577597"/>
            <a:ext cx="5081284" cy="263414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3079" y="3434808"/>
            <a:ext cx="5081284" cy="2613594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3DBC4A-ACA7-4AD0-9307-8B9B0EA507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04322" y="644597"/>
            <a:ext cx="4938799" cy="25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aption, if required, goes here</a:t>
            </a:r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E7CB72A-5628-4C6B-920B-B5462A85B7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4322" y="3509478"/>
            <a:ext cx="4938799" cy="25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aption, if required, goes here</a:t>
            </a:r>
            <a:endParaRPr lang="en-GB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3E63EEFC-E63D-460B-87E8-056BB1E9EE2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8755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Quote +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6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3079" y="3434808"/>
            <a:ext cx="5081284" cy="2613594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342D1F6-875C-4F73-9292-C3AAE26778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0496" y="2150912"/>
            <a:ext cx="5073866" cy="83955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455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0"/>
              </a:spcAft>
              <a:buFontTx/>
              <a:buNone/>
              <a:defRPr sz="1455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2pPr>
            <a:lvl3pPr marL="0" indent="0">
              <a:spcBef>
                <a:spcPts val="0"/>
              </a:spcBef>
              <a:buFontTx/>
              <a:buNone/>
              <a:defRPr sz="1213"/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2BA5A0B-ACA6-4775-BB7F-0F44A4EF7ED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10812D15-BFF6-4022-96D6-207CD21FCD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40496" y="1606818"/>
            <a:ext cx="474911" cy="401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65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283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4 x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8"/>
            <a:ext cx="11042887" cy="403133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4540" y="3865484"/>
            <a:ext cx="2424253" cy="218291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49FC8846-079B-41AE-B836-FAD08E0C32D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8" y="1245959"/>
            <a:ext cx="5299823" cy="4802443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E7F864D5-53D1-4798-9693-FAD45F36240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90110" y="3865484"/>
            <a:ext cx="2424253" cy="218291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09D04CD5-6785-4614-82A0-EB606F9E758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14539" y="1245958"/>
            <a:ext cx="5299823" cy="2183042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4063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283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89B312-7F05-4697-9E87-033701FA6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2D2B0C-092E-425B-B7A9-D5A5FD03D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42FA494-CA0E-4F88-A7C3-26260F2C3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6A5BA38-A732-42ED-B9BB-81BDD3BB04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7D1F16C-2548-4FFE-AF72-F24418D564E3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4211749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4F929E-2F1D-4406-9057-6C8251939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A9C806-229B-4A8D-AFA7-03EDD985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26A3070-CE06-4CEE-A226-D97212C3B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C887375E-F637-44FE-AF63-8A8B04BD6ACA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60804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24676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32B504-645A-42DC-ABCE-1D8DD23450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304" y="1996560"/>
            <a:ext cx="5335021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defRPr sz="1092"/>
            </a:lvl2pPr>
            <a:lvl3pPr>
              <a:spcAft>
                <a:spcPts val="364"/>
              </a:spcAft>
              <a:defRPr sz="970"/>
            </a:lvl3pPr>
            <a:lvl4pPr>
              <a:spcAft>
                <a:spcPts val="364"/>
              </a:spcAft>
              <a:defRPr sz="849"/>
            </a:lvl4pPr>
            <a:lvl5pPr>
              <a:spcAft>
                <a:spcPts val="364"/>
              </a:spcAft>
              <a:defRPr sz="849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F4306BB-6547-4B5E-8784-4CBAC01B610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0675" y="1996560"/>
            <a:ext cx="5335021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defRPr sz="1092"/>
            </a:lvl2pPr>
            <a:lvl3pPr>
              <a:spcAft>
                <a:spcPts val="364"/>
              </a:spcAft>
              <a:defRPr sz="970"/>
            </a:lvl3pPr>
            <a:lvl4pPr>
              <a:spcAft>
                <a:spcPts val="364"/>
              </a:spcAft>
              <a:defRPr sz="849"/>
            </a:lvl4pPr>
            <a:lvl5pPr>
              <a:spcAft>
                <a:spcPts val="364"/>
              </a:spcAft>
              <a:defRPr sz="849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6304" y="1529131"/>
            <a:ext cx="5335021" cy="300484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6E4A3A-D76E-4C23-88DA-34D816F1BC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0675" y="1529131"/>
            <a:ext cx="5335021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2178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B5F4241-9002-8C93-6C78-5562F9E493AD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C413A0A-8930-676A-874E-EABEA503AB4A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89B312-7F05-4697-9E87-033701FA6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2D2B0C-092E-425B-B7A9-D5A5FD03D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42FA494-CA0E-4F88-A7C3-26260F2C3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740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6A5BA38-A732-42ED-B9BB-81BDD3BB04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7D1F16C-2548-4FFE-AF72-F24418D564E3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437190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24676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6304" y="1529131"/>
            <a:ext cx="3456798" cy="300484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03ED4545-9186-46F2-91B2-2AA7B708AC2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7601" y="1529131"/>
            <a:ext cx="3456798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6E4A3A-D76E-4C23-88DA-34D816F1BC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48898" y="1529131"/>
            <a:ext cx="3456798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8582A73-10C6-794D-81AF-73F50A3513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304" y="1996560"/>
            <a:ext cx="3456798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defRPr sz="1092"/>
            </a:lvl2pPr>
            <a:lvl3pPr>
              <a:spcAft>
                <a:spcPts val="364"/>
              </a:spcAft>
              <a:defRPr sz="970"/>
            </a:lvl3pPr>
            <a:lvl4pPr>
              <a:spcAft>
                <a:spcPts val="364"/>
              </a:spcAft>
              <a:defRPr sz="849"/>
            </a:lvl4pPr>
            <a:lvl5pPr>
              <a:spcAft>
                <a:spcPts val="364"/>
              </a:spcAft>
              <a:defRPr sz="849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AC58B05-1E3E-1043-A6B5-0A53CB7DD34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5495" y="1996560"/>
            <a:ext cx="3456798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defRPr sz="1092"/>
            </a:lvl2pPr>
            <a:lvl3pPr>
              <a:spcAft>
                <a:spcPts val="364"/>
              </a:spcAft>
              <a:defRPr sz="970"/>
            </a:lvl3pPr>
            <a:lvl4pPr>
              <a:spcAft>
                <a:spcPts val="364"/>
              </a:spcAft>
              <a:defRPr sz="849"/>
            </a:lvl4pPr>
            <a:lvl5pPr>
              <a:spcAft>
                <a:spcPts val="364"/>
              </a:spcAft>
              <a:defRPr sz="849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6E06685-E104-2249-A1AC-B2EC566C5F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50760" y="1996560"/>
            <a:ext cx="3456798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defRPr sz="1092"/>
            </a:lvl2pPr>
            <a:lvl3pPr>
              <a:spcAft>
                <a:spcPts val="364"/>
              </a:spcAft>
              <a:defRPr sz="970"/>
            </a:lvl3pPr>
            <a:lvl4pPr>
              <a:spcAft>
                <a:spcPts val="364"/>
              </a:spcAft>
              <a:defRPr sz="849"/>
            </a:lvl4pPr>
            <a:lvl5pPr>
              <a:spcAft>
                <a:spcPts val="364"/>
              </a:spcAft>
              <a:defRPr sz="849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1212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Text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89B312-7F05-4697-9E87-033701FA6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2D2B0C-092E-425B-B7A9-D5A5FD03D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7D1F16C-2548-4FFE-AF72-F24418D564E3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555233-33E3-477F-8D67-4FF2B6EA7D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7" y="577597"/>
            <a:ext cx="11013620" cy="787604"/>
          </a:xfrm>
        </p:spPr>
        <p:txBody>
          <a:bodyPr numCol="5" spcCol="144000"/>
          <a:lstStyle>
            <a:lvl1pPr>
              <a:spcBef>
                <a:spcPts val="1092"/>
              </a:spcBef>
              <a:defRPr sz="1455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19"/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8570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Gradient Pan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13574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5CB05DC6-B960-4F41-ACA5-722F02234C2C}"/>
              </a:ext>
            </a:extLst>
          </p:cNvPr>
          <p:cNvSpPr/>
          <p:nvPr userDrawn="1"/>
        </p:nvSpPr>
        <p:spPr>
          <a:xfrm>
            <a:off x="4478621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6BD8A16-8AA1-4A48-A03E-412ECD844E30}"/>
              </a:ext>
            </a:extLst>
          </p:cNvPr>
          <p:cNvSpPr/>
          <p:nvPr userDrawn="1"/>
        </p:nvSpPr>
        <p:spPr>
          <a:xfrm>
            <a:off x="8379604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88FE1B9-1B38-4607-85CD-8D3FEB0894B0}"/>
              </a:ext>
            </a:extLst>
          </p:cNvPr>
          <p:cNvSpPr/>
          <p:nvPr userDrawn="1"/>
        </p:nvSpPr>
        <p:spPr>
          <a:xfrm>
            <a:off x="577638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4" name="Text Placeholder 29">
            <a:extLst>
              <a:ext uri="{FF2B5EF4-FFF2-40B4-BE49-F238E27FC236}">
                <a16:creationId xmlns:a16="http://schemas.microsoft.com/office/drawing/2014/main" id="{1AF43CD3-74BD-42C3-9321-3A5E678B67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7090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2A91401C-CD03-4B80-B78A-FED6C1387A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7090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29">
            <a:extLst>
              <a:ext uri="{FF2B5EF4-FFF2-40B4-BE49-F238E27FC236}">
                <a16:creationId xmlns:a16="http://schemas.microsoft.com/office/drawing/2014/main" id="{987E1084-1588-4DFF-8B16-45159E5A7F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7090" y="2551053"/>
            <a:ext cx="2909728" cy="190437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29">
            <a:extLst>
              <a:ext uri="{FF2B5EF4-FFF2-40B4-BE49-F238E27FC236}">
                <a16:creationId xmlns:a16="http://schemas.microsoft.com/office/drawing/2014/main" id="{8C12D9D7-8C03-4D7A-B03B-C1BC41AB6B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41136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29">
            <a:extLst>
              <a:ext uri="{FF2B5EF4-FFF2-40B4-BE49-F238E27FC236}">
                <a16:creationId xmlns:a16="http://schemas.microsoft.com/office/drawing/2014/main" id="{F217037E-D485-4433-8172-120C59DAC4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41136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29">
            <a:extLst>
              <a:ext uri="{FF2B5EF4-FFF2-40B4-BE49-F238E27FC236}">
                <a16:creationId xmlns:a16="http://schemas.microsoft.com/office/drawing/2014/main" id="{99CF9FB5-3A52-4CBE-9EA9-E5B1B14F62C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41136" y="2551053"/>
            <a:ext cx="2909728" cy="190437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Text Placeholder 29">
            <a:extLst>
              <a:ext uri="{FF2B5EF4-FFF2-40B4-BE49-F238E27FC236}">
                <a16:creationId xmlns:a16="http://schemas.microsoft.com/office/drawing/2014/main" id="{2C483B3F-2A51-4389-A469-7247CC00F7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542118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29">
            <a:extLst>
              <a:ext uri="{FF2B5EF4-FFF2-40B4-BE49-F238E27FC236}">
                <a16:creationId xmlns:a16="http://schemas.microsoft.com/office/drawing/2014/main" id="{3167602A-C6EA-403C-BBD7-A1E2856EBF4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42118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4E6CC2EE-53D5-45F8-ABF1-A33B753B1C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42118" y="2551053"/>
            <a:ext cx="2909728" cy="190437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0848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l-i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Dial-in Detail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4" y="2299040"/>
            <a:ext cx="3379179" cy="3749361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9484F1-8E49-054A-9340-C8D241F519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3384" y="2342855"/>
            <a:ext cx="3033496" cy="3705543"/>
          </a:xfrm>
        </p:spPr>
        <p:txBody>
          <a:bodyPr wrap="square" numCol="1" spcCol="756000" anchor="t">
            <a:noAutofit/>
          </a:bodyPr>
          <a:lstStyle>
            <a:lvl1pPr marL="0" indent="0">
              <a:spcBef>
                <a:spcPts val="97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latin typeface="Poppins" pitchFamily="2" charset="77"/>
                <a:cs typeface="Poppins" pitchFamily="2" charset="77"/>
              </a:defRPr>
            </a:lvl2pPr>
            <a:lvl3pPr marL="0" indent="0">
              <a:buFontTx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3pPr>
            <a:lvl5pPr>
              <a:defRPr/>
            </a:lvl5pPr>
          </a:lstStyle>
          <a:p>
            <a:pPr lvl="0"/>
            <a:r>
              <a:rPr lang="en-GB"/>
              <a:t>Topic</a:t>
            </a:r>
          </a:p>
          <a:p>
            <a:pPr lvl="1"/>
            <a:r>
              <a:rPr lang="en-GB"/>
              <a:t>Meeting title</a:t>
            </a:r>
          </a:p>
          <a:p>
            <a:pPr lvl="1"/>
            <a:endParaRPr lang="en-GB"/>
          </a:p>
          <a:p>
            <a:pPr lvl="0"/>
            <a:r>
              <a:rPr lang="en-GB"/>
              <a:t>Time</a:t>
            </a:r>
          </a:p>
          <a:p>
            <a:pPr lvl="1"/>
            <a:r>
              <a:rPr lang="en-GB"/>
              <a:t>MMM DD, YYYY</a:t>
            </a:r>
          </a:p>
          <a:p>
            <a:pPr lvl="1"/>
            <a:r>
              <a:rPr lang="en-GB"/>
              <a:t>04:00 PM CET/10:00 AM ET</a:t>
            </a:r>
          </a:p>
          <a:p>
            <a:pPr lvl="1"/>
            <a:endParaRPr lang="en-GB"/>
          </a:p>
          <a:p>
            <a:pPr lvl="0"/>
            <a:r>
              <a:rPr lang="en-GB"/>
              <a:t>Estimated call length</a:t>
            </a:r>
          </a:p>
          <a:p>
            <a:pPr lvl="1"/>
            <a:r>
              <a:rPr lang="en-GB"/>
              <a:t>30 minut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30A48F11-6954-3949-8D79-D73631815C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46667" y="2350101"/>
            <a:ext cx="4148729" cy="3705543"/>
          </a:xfrm>
        </p:spPr>
        <p:txBody>
          <a:bodyPr wrap="square" numCol="1" spcCol="756000" anchor="t">
            <a:noAutofit/>
          </a:bodyPr>
          <a:lstStyle>
            <a:lvl1pPr marL="0" indent="0">
              <a:spcBef>
                <a:spcPts val="97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  <a:lvl2pPr marL="0" marR="0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None/>
              <a:tabLst/>
              <a:defRPr sz="1395" b="0" i="0">
                <a:latin typeface="Poppins" pitchFamily="2" charset="77"/>
                <a:cs typeface="Poppins" pitchFamily="2" charset="77"/>
              </a:defRPr>
            </a:lvl2pPr>
            <a:lvl3pPr marL="0" indent="0">
              <a:buFontTx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3pPr>
            <a:lvl5pPr>
              <a:defRPr/>
            </a:lvl5pPr>
          </a:lstStyle>
          <a:p>
            <a:pPr lvl="0"/>
            <a:r>
              <a:rPr lang="en-GB"/>
              <a:t>Join Zoom meeting</a:t>
            </a:r>
          </a:p>
          <a:p>
            <a:pPr lvl="1"/>
            <a:r>
              <a:rPr lang="en-GB"/>
              <a:t>Https://</a:t>
            </a:r>
            <a:r>
              <a:rPr lang="en-GB" err="1"/>
              <a:t>zoom.us</a:t>
            </a:r>
            <a:r>
              <a:rPr lang="en-GB"/>
              <a:t>/#/########</a:t>
            </a:r>
          </a:p>
          <a:p>
            <a:pPr lvl="1"/>
            <a:endParaRPr lang="en-GB"/>
          </a:p>
          <a:p>
            <a:pPr lvl="0"/>
            <a:r>
              <a:rPr lang="en-GB"/>
              <a:t>Meeting ID</a:t>
            </a:r>
          </a:p>
          <a:p>
            <a:pPr lvl="1"/>
            <a:r>
              <a:rPr lang="en-GB"/>
              <a:t>985 717 469</a:t>
            </a:r>
          </a:p>
          <a:p>
            <a:pPr lvl="0"/>
            <a:r>
              <a:rPr lang="en-GB"/>
              <a:t>One tap mobile</a:t>
            </a:r>
          </a:p>
          <a:p>
            <a:pPr marL="0" marR="0" lvl="1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+ 00000000000, 00000000000# US (New York)</a:t>
            </a:r>
          </a:p>
          <a:p>
            <a:pPr lvl="0"/>
            <a:r>
              <a:rPr lang="en-GB"/>
              <a:t>Dial by your location </a:t>
            </a:r>
          </a:p>
          <a:p>
            <a:pPr lvl="1"/>
            <a:r>
              <a:rPr lang="en-GB"/>
              <a:t>+0 000 000 0000 US (New York)</a:t>
            </a:r>
            <a:br>
              <a:rPr lang="en-GB"/>
            </a:br>
            <a:r>
              <a:rPr lang="en-GB"/>
              <a:t>+ 0 000 000 0000 (Switzerland)</a:t>
            </a:r>
          </a:p>
          <a:p>
            <a:pPr lvl="0"/>
            <a:r>
              <a:rPr lang="en-GB"/>
              <a:t>Find your local number</a:t>
            </a:r>
          </a:p>
          <a:p>
            <a:pPr lvl="1"/>
            <a:r>
              <a:rPr lang="en-GB"/>
              <a:t>https://</a:t>
            </a:r>
            <a:r>
              <a:rPr lang="en-GB" err="1"/>
              <a:t>zoom.us</a:t>
            </a:r>
            <a:r>
              <a:rPr lang="en-GB"/>
              <a:t>/#/########</a:t>
            </a:r>
          </a:p>
        </p:txBody>
      </p:sp>
    </p:spTree>
    <p:extLst>
      <p:ext uri="{BB962C8B-B14F-4D97-AF65-F5344CB8AC3E}">
        <p14:creationId xmlns:p14="http://schemas.microsoft.com/office/powerpoint/2010/main" val="108288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3269428"/>
              </p:ext>
            </p:extLst>
          </p:nvPr>
        </p:nvGraphicFramePr>
        <p:xfrm>
          <a:off x="577221" y="2730107"/>
          <a:ext cx="11036724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918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542865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631061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9068787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2767645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867" y="2274402"/>
            <a:ext cx="2746511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622" y="2274402"/>
            <a:ext cx="2746176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799" y="2274402"/>
            <a:ext cx="277393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2767645" cy="460026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44867" y="3035786"/>
            <a:ext cx="2751133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5666" y="3035786"/>
            <a:ext cx="2751133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863644" y="3035786"/>
            <a:ext cx="2750300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294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44570549"/>
              </p:ext>
            </p:extLst>
          </p:nvPr>
        </p:nvGraphicFramePr>
        <p:xfrm>
          <a:off x="577222" y="2730107"/>
          <a:ext cx="11036930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7386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98170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5200179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740009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962482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2193914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9702" y="2276559"/>
            <a:ext cx="2212480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02182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096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14827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8970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0218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6096" y="3035786"/>
            <a:ext cx="2205910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414827" y="3035786"/>
            <a:ext cx="2205910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9627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61344178"/>
              </p:ext>
            </p:extLst>
          </p:nvPr>
        </p:nvGraphicFramePr>
        <p:xfrm>
          <a:off x="577222" y="2730107"/>
          <a:ext cx="11036928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9488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61125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4459910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629999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814008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EED920D-5A0E-4D1A-B8B2-01481F89A849}"/>
              </a:ext>
            </a:extLst>
          </p:cNvPr>
          <p:cNvSpPr/>
          <p:nvPr/>
        </p:nvSpPr>
        <p:spPr>
          <a:xfrm>
            <a:off x="9988110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19253" y="2276559"/>
            <a:ext cx="1588608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191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3008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:a16="http://schemas.microsoft.com/office/drawing/2014/main" id="{0F502F2E-BE4E-4F98-AC09-F0807D222C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7211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19253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26191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0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930089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772119" y="3036328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3801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86811145"/>
              </p:ext>
            </p:extLst>
          </p:nvPr>
        </p:nvGraphicFramePr>
        <p:xfrm>
          <a:off x="577222" y="2730107"/>
          <a:ext cx="11036725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576675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998086781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24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343908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92459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550527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7085958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EED920D-5A0E-4D1A-B8B2-01481F89A849}"/>
              </a:ext>
            </a:extLst>
          </p:cNvPr>
          <p:cNvSpPr/>
          <p:nvPr/>
        </p:nvSpPr>
        <p:spPr>
          <a:xfrm>
            <a:off x="866664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1024732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51908" y="2276559"/>
            <a:ext cx="1588608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6594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127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75965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:a16="http://schemas.microsoft.com/office/drawing/2014/main" id="{0F502F2E-BE4E-4F98-AC09-F0807D222C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50651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25337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51908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26594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301279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75965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50651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6" name="Text Placeholder 71">
            <a:extLst>
              <a:ext uri="{FF2B5EF4-FFF2-40B4-BE49-F238E27FC236}">
                <a16:creationId xmlns:a16="http://schemas.microsoft.com/office/drawing/2014/main" id="{947BFEF4-7AA3-4A1C-B7FE-6DF1E40CA7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0025337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55"/>
              </a:spcAft>
              <a:buClrTx/>
              <a:buSzTx/>
              <a:buFontTx/>
              <a:buNone/>
              <a:tabLst/>
              <a:defRPr/>
            </a:pPr>
            <a:r>
              <a:rPr lang="en-GB" sz="970" b="0" i="0">
                <a:solidFill>
                  <a:schemeClr val="tx1"/>
                </a:solidFill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8707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ivery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57195079"/>
              </p:ext>
            </p:extLst>
          </p:nvPr>
        </p:nvGraphicFramePr>
        <p:xfrm>
          <a:off x="577221" y="3126838"/>
          <a:ext cx="11049048" cy="2921564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6226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</a:tblGrid>
              <a:tr h="292156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Delivery Timelin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313051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530909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6298593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9066277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0372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3523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66673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FB9A9C-4C9E-469C-9D99-16BC91C138E0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6115" y="3366159"/>
            <a:ext cx="8012962" cy="460026"/>
          </a:xfrm>
          <a:solidFill>
            <a:schemeClr val="accent1"/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bg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D679B6E4-5400-4DE1-9F08-359DC2F09B7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431" y="3366159"/>
            <a:ext cx="245208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1F810C97-0A29-45C1-9D60-827E200D0F3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1483" y="3890527"/>
            <a:ext cx="2477593" cy="460026"/>
          </a:xfrm>
          <a:solidFill>
            <a:schemeClr val="accent1"/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bg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FC6BAC02-B885-47E1-A502-AA5052129E5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430" y="3890527"/>
            <a:ext cx="8012962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06BDC1B7-A02B-4772-BA3C-4B7BBCD848D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431" y="4414895"/>
            <a:ext cx="1078064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88A5BF89-FF15-4E22-A8D9-B81E4C8FB04E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927" y="4939264"/>
            <a:ext cx="953839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28A648F4-45A3-4893-B1D5-F9EAB33F1565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3246" y="5463631"/>
            <a:ext cx="3986725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6202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abl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567147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80A369-44BF-6738-8542-D58C48E6F2EE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4F929E-2F1D-4406-9057-6C8251939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A9C806-229B-4A8D-AFA7-03EDD985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C887375E-F637-44FE-AF63-8A8B04BD6ACA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CB4A9A2-FC87-8AAA-CAC8-029E24BC7E01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26A3070-CE06-4CEE-A226-D97212C3B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8"/>
            <a:ext cx="10776161" cy="81740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7861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mbers / Objectives |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62EC026-4E6F-43DA-923D-6521DED0D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35950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2C007047-C920-4EB3-A695-D82C1E3FF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C4B654B1-39D8-4CAE-9F1C-A8E54F3E90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8467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97CE11CA-3102-4681-B4BA-0B37EB79C9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2319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DA0263E3-9D44-44C4-88DC-79995A9CEA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48759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219E0B61-44AD-498D-9A5E-D4CD2F464A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3444957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B5D028AE-F44C-46F5-9CEE-FD53C54043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55182" y="1487595"/>
            <a:ext cx="2759181" cy="52258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830D074D-01E1-4932-A37B-4050A540FB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855182" y="1904145"/>
            <a:ext cx="2759181" cy="4376255"/>
          </a:xfrm>
          <a:prstGeom prst="roundRect">
            <a:avLst>
              <a:gd name="adj" fmla="val 2681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078F100-7CF5-4CA5-B198-4D0776A22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3844870"/>
            <a:ext cx="5081284" cy="939362"/>
          </a:xfrm>
        </p:spPr>
        <p:txBody>
          <a:bodyPr/>
          <a:lstStyle>
            <a:lvl2pPr marL="216599" indent="-216599">
              <a:defRPr/>
            </a:lvl2pPr>
            <a:lvl3pPr marL="381213" indent="-174242">
              <a:defRPr/>
            </a:lvl3pPr>
            <a:lvl4pPr marL="926079" indent="-183868"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81862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mbers / Objectives | Compan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DA0263E3-9D44-44C4-88DC-79995A9CEA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48759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219E0B61-44AD-498D-9A5E-D4CD2F464A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3444957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B5D028AE-F44C-46F5-9CEE-FD53C54043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55182" y="1487595"/>
            <a:ext cx="2759181" cy="52258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830D074D-01E1-4932-A37B-4050A540FB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855182" y="1904145"/>
            <a:ext cx="2759181" cy="4376255"/>
          </a:xfrm>
          <a:prstGeom prst="roundRect">
            <a:avLst>
              <a:gd name="adj" fmla="val 2681"/>
            </a:avLst>
          </a:prstGeom>
          <a:solidFill>
            <a:schemeClr val="bg1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C5CE2C7D-2E7C-4C4A-AD70-D95AE7635B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5060" y="1954398"/>
            <a:ext cx="2873834" cy="253787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C9D30B78-B412-4432-80AB-05215E5B05E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785451" y="1954398"/>
            <a:ext cx="2873834" cy="253787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1CA350-E600-49F4-98C4-196B708DFE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3844870"/>
            <a:ext cx="5081284" cy="939362"/>
          </a:xfrm>
        </p:spPr>
        <p:txBody>
          <a:bodyPr/>
          <a:lstStyle>
            <a:lvl2pPr marL="216599" indent="-216599">
              <a:defRPr/>
            </a:lvl2pPr>
            <a:lvl3pPr marL="381213" indent="-174242">
              <a:defRPr/>
            </a:lvl3pPr>
            <a:lvl4pPr marL="926079" indent="-183868"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19344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| sourc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nfographic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23227BC4-3697-49CB-8C94-2ABB376D098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497044" y="3517204"/>
            <a:ext cx="9198321" cy="2537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2FEDC8-D0DD-425E-97D5-0F98C2977C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861" y="5903487"/>
            <a:ext cx="11048278" cy="148117"/>
          </a:xfrm>
        </p:spPr>
        <p:txBody>
          <a:bodyPr/>
          <a:lstStyle>
            <a:lvl1pPr>
              <a:defRPr sz="849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992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79471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2" name="Picture Placeholder 7">
            <a:extLst>
              <a:ext uri="{FF2B5EF4-FFF2-40B4-BE49-F238E27FC236}">
                <a16:creationId xmlns:a16="http://schemas.microsoft.com/office/drawing/2014/main" id="{6619BFD5-09E1-4FC5-85E9-AA0D4F90A8B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0681" y="4163789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3B63B8AA-3795-43D0-9A7E-B431EEF939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69043" y="1979471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CD81F978-7C37-4A2F-A2FB-25726566C18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69043" y="4163789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A34D31A6-0100-4F14-A575-2F91CDA458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6208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332C0157-8A57-4567-AD90-B772A579EC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29820" y="2336208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71F1D49-461A-49E8-B21D-5F49561734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11458" y="4520525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585FA147-1037-4901-8E81-747525FB4D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29820" y="4520525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</p:spTree>
    <p:extLst>
      <p:ext uri="{BB962C8B-B14F-4D97-AF65-F5344CB8AC3E}">
        <p14:creationId xmlns:p14="http://schemas.microsoft.com/office/powerpoint/2010/main" val="312935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80AF144C-4F83-4A53-AEB3-4893C96DD04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77638" y="5936408"/>
            <a:ext cx="11046352" cy="444898"/>
          </a:xfrm>
          <a:solidFill>
            <a:schemeClr val="bg2"/>
          </a:solidFill>
        </p:spPr>
        <p:txBody>
          <a:bodyPr tIns="108000" bIns="144000"/>
          <a:lstStyle>
            <a:lvl1pPr algn="ctr">
              <a:defRPr sz="1092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2323278-E89D-4D80-A18A-B49324F6E7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6E72E6E5-210D-43FE-B069-74E7F6C1BD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78519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67E7BAB-F631-4062-8A88-65F51EC442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78519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6BE899-EB40-48CF-AC4E-A642FFFB1AD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79402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48F6FBC-9928-4ECC-8454-6B4856741F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779402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8CE8A230-B6E3-43F3-A987-6673C06011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960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46543DE-6963-4E6B-8D97-FBAB40255BE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78960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C7F9CE2-C3F9-4791-8B8B-B5803FF1D6C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78079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37E3A2C-8F9E-4585-9298-05F9DDA873B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78079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21BD2F87-1775-4DA1-9F5C-C4C9D94FEDA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096317" y="5592104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53732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Multi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491CD948-AEDF-48BE-92C5-5538CE9FE7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65CB4B4F-829A-4844-A666-11265CE11D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3595500"/>
            <a:ext cx="11049048" cy="406867"/>
          </a:xfrm>
        </p:spPr>
        <p:txBody>
          <a:bodyPr numCol="6" spcCol="360000" anchor="b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6547738-490D-47DE-A148-663CEC533E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7638" y="4145140"/>
            <a:ext cx="11036725" cy="294885"/>
          </a:xfrm>
        </p:spPr>
        <p:txBody>
          <a:bodyPr numCol="6" spcCol="360000"/>
          <a:lstStyle>
            <a:lvl1pPr marL="0" indent="0" algn="l">
              <a:buFont typeface="Arial" panose="020B0604020202020204" pitchFamily="34" charset="0"/>
              <a:buNone/>
              <a:defRPr sz="1092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 </a:t>
            </a:r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71E669C7-3F15-4404-9192-6B03E3E0872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46020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3" name="Picture Placeholder 7">
            <a:extLst>
              <a:ext uri="{FF2B5EF4-FFF2-40B4-BE49-F238E27FC236}">
                <a16:creationId xmlns:a16="http://schemas.microsoft.com/office/drawing/2014/main" id="{6BDECDBF-1E7F-429C-B857-BC3BE17D9B4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375245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458D35B0-2ABD-4A88-AD9C-250F5B0BFFF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115016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5" name="Picture Placeholder 7">
            <a:extLst>
              <a:ext uri="{FF2B5EF4-FFF2-40B4-BE49-F238E27FC236}">
                <a16:creationId xmlns:a16="http://schemas.microsoft.com/office/drawing/2014/main" id="{7B333D88-0458-48F5-97FB-D2D7718EC7C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856566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463A1320-1804-44CE-8DBA-867CC87A9DB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985791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797DADDD-4137-4C8B-B442-114D65CCBB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7134106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multi-colum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2154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conography +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7177775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multi-colum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4327381"/>
            <a:ext cx="11049048" cy="406867"/>
          </a:xfrm>
        </p:spPr>
        <p:txBody>
          <a:bodyPr numCol="3" spcCol="720000" anchor="t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62016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59237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4035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conography +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1719313"/>
            <a:ext cx="11049048" cy="406867"/>
          </a:xfrm>
        </p:spPr>
        <p:txBody>
          <a:bodyPr numCol="3" spcCol="720000" anchor="t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62016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59237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BBCEB9F-975E-4B56-A29F-0854EDFB008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77638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GB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9D6AFE-0A37-46FD-833E-9282879972A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69882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GB"/>
              <a:t>Click to edit Master text styl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FC94985-AFDD-4DF6-992E-19087D2130F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23760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5819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Multi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252E3C-0AA5-469B-ACE4-9A227101D8C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77638" y="2735923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E32ADA5-A0D2-4524-B1E4-2B46413B84B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877116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F999747-8F91-4BF8-B89A-418788FD50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176595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spcAft>
                <a:spcPts val="364"/>
              </a:spcAft>
              <a:defRPr>
                <a:latin typeface="Poppins" pitchFamily="2" charset="77"/>
                <a:cs typeface="Poppins" pitchFamily="2" charset="77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FF637A0C-4B6D-4207-A7D9-CAF1D2DFC8E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476073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9D094B4-29B2-4197-A8AD-66F9F9CAAF3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775551" y="2735923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5831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5+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+1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2323278-E89D-4D80-A18A-B49324F6E7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6E72E6E5-210D-43FE-B069-74E7F6C1BD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78519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67E7BAB-F631-4062-8A88-65F51EC442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78519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6BE899-EB40-48CF-AC4E-A642FFFB1AD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79402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48F6FBC-9928-4ECC-8454-6B4856741F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779402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8CE8A230-B6E3-43F3-A987-6673C06011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960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46543DE-6963-4E6B-8D97-FBAB40255BE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78960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C7F9CE2-C3F9-4791-8B8B-B5803FF1D6C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78079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37E3A2C-8F9E-4585-9298-05F9DDA873B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78079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AABBEEF-0FF4-4074-9C40-9B691395E8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58259" y="1638314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92962D6-56F3-48D3-9A11-82CCFC1CC0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511485" y="1551340"/>
            <a:ext cx="4584515" cy="257558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9095E28A-06FE-49A2-AAE0-DD1F0C107A6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511485" y="1918071"/>
            <a:ext cx="4584515" cy="25755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609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A2B48DA-F175-91B3-C3B5-86C52518CB59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691F4D8-57A0-64C3-4C8A-7F02134A6346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246760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32B504-645A-42DC-ABCE-1D8DD23450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304" y="1996560"/>
            <a:ext cx="5335021" cy="127098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F4306BB-6547-4B5E-8784-4CBAC01B610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0675" y="1996560"/>
            <a:ext cx="5335021" cy="127098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6304" y="1529131"/>
            <a:ext cx="5335021" cy="300484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6E4A3A-D76E-4C23-88DA-34D816F1BC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0675" y="1529131"/>
            <a:ext cx="5335021" cy="30053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5858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3 x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518361" cy="403133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7357175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D8794217-5EF6-484A-9789-939A04CBD6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859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E0AE9E36-7C00-4922-AA13-C35396AF38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9748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530D9E0-01F3-4B3E-A984-26FC050FE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637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DE89019-B2ED-4062-BEFD-1AF245BF4D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81859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6F488F1-69E1-4A48-8E9C-2F5EC2BFAB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79748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405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5 x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518361" cy="403133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755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530D9E0-01F3-4B3E-A984-26FC050FE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638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D6BD4396-836B-4609-A351-6FA3B73A5F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40394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BEC8D12B-8172-4BD9-B198-FC940EA5F58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69276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4C3A68AC-120B-4739-BD77-EB8D9A277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47712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0A9A1E10-7F09-44CE-87BF-10DBCB2DD3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76594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F45A253A-F83B-4FD4-A131-FA4682A23A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62836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403F967D-B169-4689-B49E-43267F0A42D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491719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FD3AE7CA-391E-4375-9398-D249BBBFEA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46668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E4F804E3-C2DE-4602-B167-5B66CA4202B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75550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837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stat | b/g image / gra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DC44D74-3B3F-47E0-B848-9173CD01DCB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noFill/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508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508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D8794217-5EF6-484A-9789-939A04CBD6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05918" y="2107959"/>
            <a:ext cx="4214820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2128" b="0" i="0" spc="-637">
                <a:solidFill>
                  <a:schemeClr val="bg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.xm</a:t>
            </a:r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DE89019-B2ED-4062-BEFD-1AF245BF4D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05918" y="3480495"/>
            <a:ext cx="4214819" cy="29617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 sz="1698" b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770267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Map + pin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59EA77B-10F0-4804-A145-524336802D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11288" y="1509771"/>
            <a:ext cx="9195987" cy="453863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DBFC085-0C60-416E-8CFF-15E94416B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B553B6D6-CC16-4E40-914D-C81F67547F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127910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28651641-59C0-4E53-BC82-FBC2B7BB8D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7638" y="5974456"/>
            <a:ext cx="3140422" cy="171705"/>
          </a:xfrm>
        </p:spPr>
        <p:txBody>
          <a:bodyPr tIns="0" bIns="0" anchor="t" anchorCtr="0"/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55" b="1" i="0" baseline="3000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E20BD56E-0E17-4AED-B089-01FA1B56B6F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7638" y="5537888"/>
            <a:ext cx="3140422" cy="171705"/>
          </a:xfrm>
        </p:spPr>
        <p:txBody>
          <a:bodyPr tIns="0" bIns="0" anchor="t" anchorCtr="0"/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55" b="1" i="0" baseline="3000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C73E20F7-E9CB-484A-B765-8163DC385D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81812" y="4163432"/>
            <a:ext cx="2314188" cy="171705"/>
          </a:xfrm>
        </p:spPr>
        <p:txBody>
          <a:bodyPr wrap="square" tIns="0" bIns="0" anchor="t" anchorCtr="0">
            <a:spAutoFit/>
          </a:bodyPr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55" b="1" i="0" baseline="3000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3E398FEC-3245-4CB1-99A2-4E4EDB86690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24726" y="3036052"/>
            <a:ext cx="2314188" cy="171705"/>
          </a:xfrm>
        </p:spPr>
        <p:txBody>
          <a:bodyPr wrap="square" tIns="0" bIns="0" anchor="t" anchorCtr="0">
            <a:spAutoFit/>
          </a:bodyPr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55" b="1" i="0" baseline="3000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4558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vision | Centre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E04318B-A241-43E7-94D4-29E516C89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16700" y="577597"/>
            <a:ext cx="5558600" cy="1175806"/>
          </a:xfrm>
        </p:spPr>
        <p:txBody>
          <a:bodyPr lIns="0" tIns="0" rIns="0" bIns="0" anchor="b" anchorCtr="0"/>
          <a:lstStyle>
            <a:lvl1pPr algn="ctr">
              <a:defRPr sz="4245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234693-3B2F-4AE8-AE43-6003C99CB8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9847" y="2162835"/>
            <a:ext cx="10991343" cy="571182"/>
          </a:xfrm>
        </p:spPr>
        <p:txBody>
          <a:bodyPr/>
          <a:lstStyle>
            <a:lvl1pPr algn="ctr">
              <a:defRPr sz="3275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object 37">
            <a:extLst>
              <a:ext uri="{FF2B5EF4-FFF2-40B4-BE49-F238E27FC236}">
                <a16:creationId xmlns:a16="http://schemas.microsoft.com/office/drawing/2014/main" id="{254656CD-21F4-415A-855F-8FEF936CAD12}"/>
              </a:ext>
            </a:extLst>
          </p:cNvPr>
          <p:cNvSpPr/>
          <p:nvPr userDrawn="1"/>
        </p:nvSpPr>
        <p:spPr>
          <a:xfrm>
            <a:off x="3344643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38">
            <a:extLst>
              <a:ext uri="{FF2B5EF4-FFF2-40B4-BE49-F238E27FC236}">
                <a16:creationId xmlns:a16="http://schemas.microsoft.com/office/drawing/2014/main" id="{5C6A6A71-005C-4561-B24C-20036B336094}"/>
              </a:ext>
            </a:extLst>
          </p:cNvPr>
          <p:cNvSpPr/>
          <p:nvPr userDrawn="1"/>
        </p:nvSpPr>
        <p:spPr>
          <a:xfrm>
            <a:off x="9774588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40">
            <a:extLst>
              <a:ext uri="{FF2B5EF4-FFF2-40B4-BE49-F238E27FC236}">
                <a16:creationId xmlns:a16="http://schemas.microsoft.com/office/drawing/2014/main" id="{176FBC2B-5877-478A-BEB4-EDF0B54837C2}"/>
              </a:ext>
            </a:extLst>
          </p:cNvPr>
          <p:cNvSpPr txBox="1"/>
          <p:nvPr userDrawn="1"/>
        </p:nvSpPr>
        <p:spPr>
          <a:xfrm>
            <a:off x="577638" y="5241915"/>
            <a:ext cx="1696672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ssociated</a:t>
            </a:r>
            <a:r>
              <a:rPr sz="1395" b="0" i="0" spc="-61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with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8" name="object 41">
            <a:extLst>
              <a:ext uri="{FF2B5EF4-FFF2-40B4-BE49-F238E27FC236}">
                <a16:creationId xmlns:a16="http://schemas.microsoft.com/office/drawing/2014/main" id="{F38E41A8-ECE8-47B1-85AB-9824D1D80C00}"/>
              </a:ext>
            </a:extLst>
          </p:cNvPr>
          <p:cNvSpPr txBox="1"/>
          <p:nvPr userDrawn="1"/>
        </p:nvSpPr>
        <p:spPr>
          <a:xfrm>
            <a:off x="3915513" y="5241915"/>
            <a:ext cx="1743798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Supported</a:t>
            </a:r>
            <a:r>
              <a:rPr sz="1395" b="0" i="0" spc="-67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by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9" name="object 42">
            <a:extLst>
              <a:ext uri="{FF2B5EF4-FFF2-40B4-BE49-F238E27FC236}">
                <a16:creationId xmlns:a16="http://schemas.microsoft.com/office/drawing/2014/main" id="{E15DCFC0-DA16-4F9A-B70D-3C33C791B448}"/>
              </a:ext>
            </a:extLst>
          </p:cNvPr>
          <p:cNvSpPr txBox="1"/>
          <p:nvPr userDrawn="1"/>
        </p:nvSpPr>
        <p:spPr>
          <a:xfrm>
            <a:off x="10161465" y="5241915"/>
            <a:ext cx="1743797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Hosted</a:t>
            </a:r>
            <a:r>
              <a:rPr sz="1395" b="0" i="0" spc="-64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t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970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ssion Statement | Left Alig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E04318B-A241-43E7-94D4-29E516C89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9848" y="1299878"/>
            <a:ext cx="7334965" cy="453525"/>
          </a:xfrm>
        </p:spPr>
        <p:txBody>
          <a:bodyPr lIns="0" tIns="0" rIns="0" bIns="0" anchor="b" anchorCtr="0"/>
          <a:lstStyle>
            <a:lvl1pPr algn="l">
              <a:defRPr sz="3275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234693-3B2F-4AE8-AE43-6003C99CB8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9847" y="2162835"/>
            <a:ext cx="8255334" cy="296171"/>
          </a:xfrm>
        </p:spPr>
        <p:txBody>
          <a:bodyPr/>
          <a:lstStyle>
            <a:lvl1pPr algn="l">
              <a:defRPr sz="1698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object 37">
            <a:extLst>
              <a:ext uri="{FF2B5EF4-FFF2-40B4-BE49-F238E27FC236}">
                <a16:creationId xmlns:a16="http://schemas.microsoft.com/office/drawing/2014/main" id="{254656CD-21F4-415A-855F-8FEF936CAD12}"/>
              </a:ext>
            </a:extLst>
          </p:cNvPr>
          <p:cNvSpPr/>
          <p:nvPr userDrawn="1"/>
        </p:nvSpPr>
        <p:spPr>
          <a:xfrm>
            <a:off x="3344643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38">
            <a:extLst>
              <a:ext uri="{FF2B5EF4-FFF2-40B4-BE49-F238E27FC236}">
                <a16:creationId xmlns:a16="http://schemas.microsoft.com/office/drawing/2014/main" id="{5C6A6A71-005C-4561-B24C-20036B336094}"/>
              </a:ext>
            </a:extLst>
          </p:cNvPr>
          <p:cNvSpPr/>
          <p:nvPr userDrawn="1"/>
        </p:nvSpPr>
        <p:spPr>
          <a:xfrm>
            <a:off x="9774588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40">
            <a:extLst>
              <a:ext uri="{FF2B5EF4-FFF2-40B4-BE49-F238E27FC236}">
                <a16:creationId xmlns:a16="http://schemas.microsoft.com/office/drawing/2014/main" id="{176FBC2B-5877-478A-BEB4-EDF0B54837C2}"/>
              </a:ext>
            </a:extLst>
          </p:cNvPr>
          <p:cNvSpPr txBox="1"/>
          <p:nvPr userDrawn="1"/>
        </p:nvSpPr>
        <p:spPr>
          <a:xfrm>
            <a:off x="599847" y="5241915"/>
            <a:ext cx="1880668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ssociated</a:t>
            </a:r>
            <a:r>
              <a:rPr sz="1395" b="0" i="0" spc="-61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with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8" name="object 41">
            <a:extLst>
              <a:ext uri="{FF2B5EF4-FFF2-40B4-BE49-F238E27FC236}">
                <a16:creationId xmlns:a16="http://schemas.microsoft.com/office/drawing/2014/main" id="{F38E41A8-ECE8-47B1-85AB-9824D1D80C00}"/>
              </a:ext>
            </a:extLst>
          </p:cNvPr>
          <p:cNvSpPr txBox="1"/>
          <p:nvPr userDrawn="1"/>
        </p:nvSpPr>
        <p:spPr>
          <a:xfrm>
            <a:off x="3915513" y="5241915"/>
            <a:ext cx="2180486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Supported</a:t>
            </a:r>
            <a:r>
              <a:rPr sz="1395" b="0" i="0" spc="-67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by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9" name="object 42">
            <a:extLst>
              <a:ext uri="{FF2B5EF4-FFF2-40B4-BE49-F238E27FC236}">
                <a16:creationId xmlns:a16="http://schemas.microsoft.com/office/drawing/2014/main" id="{E15DCFC0-DA16-4F9A-B70D-3C33C791B448}"/>
              </a:ext>
            </a:extLst>
          </p:cNvPr>
          <p:cNvSpPr txBox="1"/>
          <p:nvPr userDrawn="1"/>
        </p:nvSpPr>
        <p:spPr>
          <a:xfrm>
            <a:off x="10161465" y="5241915"/>
            <a:ext cx="1459271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Hosted</a:t>
            </a:r>
            <a:r>
              <a:rPr sz="1395" b="0" i="0" spc="-64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t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39" name="object 14">
            <a:extLst>
              <a:ext uri="{FF2B5EF4-FFF2-40B4-BE49-F238E27FC236}">
                <a16:creationId xmlns:a16="http://schemas.microsoft.com/office/drawing/2014/main" id="{EBA520A8-D9DC-4590-A234-60E794F86D19}"/>
              </a:ext>
            </a:extLst>
          </p:cNvPr>
          <p:cNvSpPr/>
          <p:nvPr userDrawn="1"/>
        </p:nvSpPr>
        <p:spPr>
          <a:xfrm>
            <a:off x="577850" y="5000063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168288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1ED4F-48C8-405A-BAF4-A471B383C9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8007" y="2863649"/>
            <a:ext cx="9195987" cy="1130703"/>
          </a:xfrm>
        </p:spPr>
        <p:txBody>
          <a:bodyPr anchor="ctr"/>
          <a:lstStyle>
            <a:lvl1pPr algn="ctr">
              <a:defRPr sz="4245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86135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1ED4F-48C8-405A-BAF4-A471B383C9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7044" y="3681455"/>
            <a:ext cx="9195987" cy="839551"/>
          </a:xfrm>
        </p:spPr>
        <p:txBody>
          <a:bodyPr anchor="ctr"/>
          <a:lstStyle>
            <a:lvl1pPr algn="ctr">
              <a:defRPr sz="2668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C1720A0-FC5D-48B5-9BF5-272126604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22749" y="2293692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907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gn-off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C1720A0-FC5D-48B5-9BF5-272126604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22749" y="2900500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99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0981E17-5695-435B-969A-5EECE7102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1704030" cy="646908"/>
          </a:xfrm>
          <a:prstGeom prst="rect">
            <a:avLst/>
          </a:prstGeom>
        </p:spPr>
      </p:pic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523DD328-9428-4A62-9563-5F3EC36C155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3405373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4CE2D1D-F096-86FE-E6A6-503A8FA64045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DF9DAED-7889-55A1-EFEF-C60046CE698C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246760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6304" y="1529131"/>
            <a:ext cx="3456798" cy="300484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03ED4545-9186-46F2-91B2-2AA7B708AC2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7601" y="1529131"/>
            <a:ext cx="3456798" cy="30053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6E4A3A-D76E-4C23-88DA-34D816F1BC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48898" y="1529131"/>
            <a:ext cx="3456798" cy="30053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8582A73-10C6-794D-81AF-73F50A3513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304" y="1996560"/>
            <a:ext cx="3456798" cy="127098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AC58B05-1E3E-1043-A6B5-0A53CB7DD34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5495" y="1996560"/>
            <a:ext cx="3456798" cy="127098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6E06685-E104-2249-A1AC-B2EC566C5F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50760" y="1996560"/>
            <a:ext cx="3456798" cy="127098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877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4B1DB28-413A-41E9-A6F8-727DE05F8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3036723" cy="646908"/>
          </a:xfrm>
          <a:prstGeom prst="rect">
            <a:avLst/>
          </a:prstGeom>
        </p:spPr>
      </p:pic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570D610-DA38-4B7D-93BE-2E443F0EE1A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907609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F1B92ED-1DA4-42D5-94F1-A383F50976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6444"/>
            <a:ext cx="750929" cy="554493"/>
          </a:xfrm>
          <a:prstGeom prst="rect">
            <a:avLst/>
          </a:prstGeom>
        </p:spPr>
      </p:pic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F6DBB05F-4272-4D46-84A3-F2972EF1D50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1043451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54F6A8A-3C2B-480E-A8DA-BC1ADCD083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48016" y="2773428"/>
            <a:ext cx="3471601" cy="1311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950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42CC9A5-8FA8-4188-B9FB-687FDCC80C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11528" y="2900500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701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0B47A-2C2A-47A3-B698-CA6A0FD6F0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56337" y="2220890"/>
            <a:ext cx="2454959" cy="1819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46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4B1DB28-413A-41E9-A6F8-727DE05F8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3036723" cy="646908"/>
          </a:xfrm>
          <a:prstGeom prst="rect">
            <a:avLst/>
          </a:prstGeom>
        </p:spPr>
      </p:pic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E02C968-6D90-43B9-83B4-8DDD9D10A2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/>
          </a:solidFill>
        </p:spPr>
        <p:txBody>
          <a:bodyPr bIns="1764000" anchor="ctr">
            <a:noAutofit/>
          </a:bodyPr>
          <a:lstStyle>
            <a:lvl1pPr algn="ctr">
              <a:defRPr sz="2183" b="1"/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36626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8059CA9-ADD3-48DF-ABCE-675068DD8B2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/>
          </a:solidFill>
        </p:spPr>
        <p:txBody>
          <a:bodyPr bIns="1764000" anchor="ctr">
            <a:noAutofit/>
          </a:bodyPr>
          <a:lstStyle>
            <a:lvl1pPr algn="ctr">
              <a:defRPr sz="2183" b="1"/>
            </a:lvl1pPr>
          </a:lstStyle>
          <a:p>
            <a:r>
              <a:rPr lang="en-GB"/>
              <a:t>Click icon to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F1B92ED-1DA4-42D5-94F1-A383F50976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6444"/>
            <a:ext cx="750929" cy="554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70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90D3C3D-29CE-4901-8EEA-1345D26869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75632" y="0"/>
            <a:ext cx="7016368" cy="685799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3911A5-606B-49B4-916C-45BA4954D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CFDB7-1FD8-48B9-B71F-E3DCBDCCD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E8D1215B-902F-4676-BD97-07AB236AAB96}"/>
              </a:ext>
            </a:extLst>
          </p:cNvPr>
          <p:cNvSpPr/>
          <p:nvPr userDrawn="1"/>
        </p:nvSpPr>
        <p:spPr>
          <a:xfrm>
            <a:off x="581978" y="6397848"/>
            <a:ext cx="4011676" cy="44087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DC27864-4735-40D0-B2CD-C35B135AB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638" y="2948731"/>
            <a:ext cx="4164766" cy="1769202"/>
          </a:xfrm>
        </p:spPr>
        <p:txBody>
          <a:bodyPr lIns="0" tIns="0" rIns="0" bIns="0" anchor="t" anchorCtr="0"/>
          <a:lstStyle>
            <a:lvl1pPr algn="l">
              <a:defRPr sz="4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39426BB5-24C1-4CC6-9847-26D952ABD9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1978" y="2436028"/>
            <a:ext cx="4164766" cy="338362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940">
                <a:solidFill>
                  <a:schemeClr val="accent1"/>
                </a:solidFill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3855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26">
          <p15:clr>
            <a:srgbClr val="FBAE40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342856"/>
            <a:ext cx="7200250" cy="3274256"/>
          </a:xfrm>
        </p:spPr>
        <p:txBody>
          <a:bodyPr wrap="square" numCol="2" spcCol="75600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1455"/>
              </a:spcAft>
              <a:buFont typeface="Arial" panose="020B0604020202020204" pitchFamily="34" charset="0"/>
              <a:buNone/>
              <a:defRPr sz="1455"/>
            </a:lvl2pPr>
            <a:lvl5pPr>
              <a:defRPr/>
            </a:lvl5pPr>
          </a:lstStyle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4" y="2299040"/>
            <a:ext cx="3379179" cy="331806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103986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able of contents</a:t>
            </a:r>
            <a:endParaRPr lang="en-GB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342856"/>
            <a:ext cx="7200250" cy="3274256"/>
          </a:xfrm>
        </p:spPr>
        <p:txBody>
          <a:bodyPr wrap="square" numCol="2" spcCol="75600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334" b="0" i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1455"/>
              </a:spcAft>
              <a:buFont typeface="Arial" panose="020B0604020202020204" pitchFamily="34" charset="0"/>
              <a:buNone/>
              <a:defRPr sz="1334" b="0" i="0"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4" y="2299040"/>
            <a:ext cx="3379179" cy="331806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815953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Text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0B60121-0BC2-A1A0-6EA3-7A3DB12BDF3A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C48438A4-D5AB-7A0E-E258-44C309EFB281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89B312-7F05-4697-9E87-033701FA6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2D2B0C-092E-425B-B7A9-D5A5FD03D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7D1F16C-2548-4FFE-AF72-F24418D564E3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555233-33E3-477F-8D67-4FF2B6EA7D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7" y="577597"/>
            <a:ext cx="11013620" cy="787604"/>
          </a:xfrm>
        </p:spPr>
        <p:txBody>
          <a:bodyPr numCol="5" spcCol="144000"/>
          <a:lstStyle>
            <a:lvl1pPr>
              <a:spcBef>
                <a:spcPts val="1092"/>
              </a:spcBef>
              <a:defRPr sz="1455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19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48086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F0E35ECD-3ED9-473D-9E17-FF1C83FE9F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eam/Speakers</a:t>
            </a:r>
            <a:endParaRPr lang="en-GB"/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67EAA926-4051-4F98-B128-E26790C1A9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3" name="Picture Placeholder 7">
            <a:extLst>
              <a:ext uri="{FF2B5EF4-FFF2-40B4-BE49-F238E27FC236}">
                <a16:creationId xmlns:a16="http://schemas.microsoft.com/office/drawing/2014/main" id="{3BD0D2FB-1A7B-44AF-BA4E-FD97B0B714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4A124E16-FB5A-4A88-A515-FC70FA2554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11458" y="4501859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5" name="Picture Placeholder 7">
            <a:extLst>
              <a:ext uri="{FF2B5EF4-FFF2-40B4-BE49-F238E27FC236}">
                <a16:creationId xmlns:a16="http://schemas.microsoft.com/office/drawing/2014/main" id="{88D60E5C-AB30-4F0B-8773-F30DB3E8A6A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0681" y="4078842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Text Placeholder 12">
            <a:extLst>
              <a:ext uri="{FF2B5EF4-FFF2-40B4-BE49-F238E27FC236}">
                <a16:creationId xmlns:a16="http://schemas.microsoft.com/office/drawing/2014/main" id="{2C60DE2D-43F7-4A13-BE4E-B64A383DE8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29820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7" name="Picture Placeholder 7">
            <a:extLst>
              <a:ext uri="{FF2B5EF4-FFF2-40B4-BE49-F238E27FC236}">
                <a16:creationId xmlns:a16="http://schemas.microsoft.com/office/drawing/2014/main" id="{5B1E1242-6BB9-4F32-91B1-3AA43FC4EC9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69043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8" name="Text Placeholder 12">
            <a:extLst>
              <a:ext uri="{FF2B5EF4-FFF2-40B4-BE49-F238E27FC236}">
                <a16:creationId xmlns:a16="http://schemas.microsoft.com/office/drawing/2014/main" id="{C8B338B9-D1F9-4987-BC28-B7466CCC38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29820" y="4501859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9" name="Picture Placeholder 7">
            <a:extLst>
              <a:ext uri="{FF2B5EF4-FFF2-40B4-BE49-F238E27FC236}">
                <a16:creationId xmlns:a16="http://schemas.microsoft.com/office/drawing/2014/main" id="{CED5980C-4EBB-4601-BF07-F911191638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69043" y="4078842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4015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ir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hairperson</a:t>
            </a:r>
            <a:endParaRPr lang="en-GB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2A210F5-A8B3-4A0E-8B15-4497042C49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33079" y="1682566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01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 | 3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5D51C2DC-4571-42B4-89F2-DA6662BE5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eam/Speakers 3 columns 3 rows</a:t>
            </a:r>
            <a:endParaRPr lang="en-GB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B4DF1173-C29F-45AC-92AA-916D11D8E0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35950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7AC79D67-C678-414C-AF90-8C02E28CA9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D84CF9F7-FEFA-4F30-8381-81E1CDC7DE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8467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C320D465-6541-42AF-B948-F179CCF7EE8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2319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C8238BF7-B55E-43DD-99B0-CDFDFE29FD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89776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0" name="Picture Placeholder 7">
            <a:extLst>
              <a:ext uri="{FF2B5EF4-FFF2-40B4-BE49-F238E27FC236}">
                <a16:creationId xmlns:a16="http://schemas.microsoft.com/office/drawing/2014/main" id="{0BEA5C06-8D59-4BD3-9B33-5696A4BC522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0450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7BBE5725-635F-472C-99DA-2942D536FF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35950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2" name="Picture Placeholder 7">
            <a:extLst>
              <a:ext uri="{FF2B5EF4-FFF2-40B4-BE49-F238E27FC236}">
                <a16:creationId xmlns:a16="http://schemas.microsoft.com/office/drawing/2014/main" id="{00A16A42-CA42-49E2-8405-AA0CAF0311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50681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3" name="Text Placeholder 12">
            <a:extLst>
              <a:ext uri="{FF2B5EF4-FFF2-40B4-BE49-F238E27FC236}">
                <a16:creationId xmlns:a16="http://schemas.microsoft.com/office/drawing/2014/main" id="{EE36DF45-11AE-4011-BA24-5F2F1B07B5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08467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4" name="Picture Placeholder 7">
            <a:extLst>
              <a:ext uri="{FF2B5EF4-FFF2-40B4-BE49-F238E27FC236}">
                <a16:creationId xmlns:a16="http://schemas.microsoft.com/office/drawing/2014/main" id="{8FBF5889-E52E-4268-BCFD-13AA1E933F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23198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85553B65-686F-493B-B002-4E9B0D2112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89776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6" name="Picture Placeholder 7">
            <a:extLst>
              <a:ext uri="{FF2B5EF4-FFF2-40B4-BE49-F238E27FC236}">
                <a16:creationId xmlns:a16="http://schemas.microsoft.com/office/drawing/2014/main" id="{F3DB35B0-B095-4BB6-B438-419AB248A32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04508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78D2052B-6800-49A9-9052-94BEBF4D16D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835950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8" name="Picture Placeholder 7">
            <a:extLst>
              <a:ext uri="{FF2B5EF4-FFF2-40B4-BE49-F238E27FC236}">
                <a16:creationId xmlns:a16="http://schemas.microsoft.com/office/drawing/2014/main" id="{C0FB45DF-4505-4104-B3AB-1FF0A095BB4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50681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0CFC70D0-DEBC-4AE8-94A6-E2EBDB950E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08467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60" name="Picture Placeholder 7">
            <a:extLst>
              <a:ext uri="{FF2B5EF4-FFF2-40B4-BE49-F238E27FC236}">
                <a16:creationId xmlns:a16="http://schemas.microsoft.com/office/drawing/2014/main" id="{317AD999-FECF-4E8A-A9F4-237EBF5CB42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23198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7B6DD1A6-D513-4EA0-8C3F-47C93CA395E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9776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5D78DD9A-7A3B-4479-A356-D1201169A1E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104508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2513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 |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5D51C2DC-4571-42B4-89F2-DA6662BE5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eam/Speakers 3 columns 4 rows</a:t>
            </a:r>
            <a:endParaRPr lang="en-GB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B4DF1173-C29F-45AC-92AA-916D11D8E0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0230" y="1612706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7AC79D67-C678-414C-AF90-8C02E28CA9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1452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D84CF9F7-FEFA-4F30-8381-81E1CDC7DE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003" y="1613916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C320D465-6541-42AF-B948-F179CCF7EE8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96225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C8238BF7-B55E-43DD-99B0-CDFDFE29FD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89776" y="1613916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50" name="Picture Placeholder 7">
            <a:extLst>
              <a:ext uri="{FF2B5EF4-FFF2-40B4-BE49-F238E27FC236}">
                <a16:creationId xmlns:a16="http://schemas.microsoft.com/office/drawing/2014/main" id="{0BEA5C06-8D59-4BD3-9B33-5696A4BC522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20998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2" name="Picture Placeholder 7">
            <a:extLst>
              <a:ext uri="{FF2B5EF4-FFF2-40B4-BE49-F238E27FC236}">
                <a16:creationId xmlns:a16="http://schemas.microsoft.com/office/drawing/2014/main" id="{00A16A42-CA42-49E2-8405-AA0CAF0311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71452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4" name="Picture Placeholder 7">
            <a:extLst>
              <a:ext uri="{FF2B5EF4-FFF2-40B4-BE49-F238E27FC236}">
                <a16:creationId xmlns:a16="http://schemas.microsoft.com/office/drawing/2014/main" id="{8FBF5889-E52E-4268-BCFD-13AA1E933F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6225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6" name="Picture Placeholder 7">
            <a:extLst>
              <a:ext uri="{FF2B5EF4-FFF2-40B4-BE49-F238E27FC236}">
                <a16:creationId xmlns:a16="http://schemas.microsoft.com/office/drawing/2014/main" id="{F3DB35B0-B095-4BB6-B438-419AB248A32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220998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8" name="Picture Placeholder 7">
            <a:extLst>
              <a:ext uri="{FF2B5EF4-FFF2-40B4-BE49-F238E27FC236}">
                <a16:creationId xmlns:a16="http://schemas.microsoft.com/office/drawing/2014/main" id="{C0FB45DF-4505-4104-B3AB-1FF0A095BB4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71452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7">
            <a:extLst>
              <a:ext uri="{FF2B5EF4-FFF2-40B4-BE49-F238E27FC236}">
                <a16:creationId xmlns:a16="http://schemas.microsoft.com/office/drawing/2014/main" id="{317AD999-FECF-4E8A-A9F4-237EBF5CB42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96225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5D78DD9A-7A3B-4479-A356-D1201169A1E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20998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C9B18172-AE91-486D-B3BF-BB4501ABE8A3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71452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F64BBF40-4B6E-4EED-9A4A-53F588F6905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396225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BA5CBA95-71BA-4D1C-9702-C09A59DB5A0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220998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DE3C1140-BD03-4998-B2C4-28410F93C64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40230" y="2822288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FFE703FA-9332-4A8A-B58E-5F35E54BCD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65003" y="2823498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1C44D164-2308-4F92-8C1F-02E8B7DE078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89776" y="2823498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6" name="Text Placeholder 12">
            <a:extLst>
              <a:ext uri="{FF2B5EF4-FFF2-40B4-BE49-F238E27FC236}">
                <a16:creationId xmlns:a16="http://schemas.microsoft.com/office/drawing/2014/main" id="{3423B415-66AA-45CD-A323-3A2A488B71A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740230" y="4031870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CB7D5369-1728-4112-B4F1-ED60D3FE7A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65003" y="4033080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9AEBD6C7-E5B0-401A-A86F-E5112062611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9776" y="4033080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B77E20DC-EB84-47ED-8BD7-B4FF8C116E3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740230" y="5241451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59FE56BC-3699-4F5D-A9A7-2D0424B49BE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565003" y="5242661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C9243CCE-E7FC-4AA9-B6B0-2E7FCC8D0DF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389776" y="5242661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</p:spTree>
    <p:extLst>
      <p:ext uri="{BB962C8B-B14F-4D97-AF65-F5344CB8AC3E}">
        <p14:creationId xmlns:p14="http://schemas.microsoft.com/office/powerpoint/2010/main" val="771654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2905314"/>
            <a:ext cx="11036725" cy="1658869"/>
          </a:xfrm>
        </p:spPr>
        <p:txBody>
          <a:bodyPr numCol="2" spcCol="1440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51764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2 column text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691394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| 2 column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207935" indent="-207935">
              <a:buClr>
                <a:schemeClr val="accent1"/>
              </a:buClr>
              <a:buSzPct val="100000"/>
              <a:buFont typeface="Wingdings" pitchFamily="2" charset="2"/>
              <a:buChar char="§"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625791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2 column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277246" indent="-277246">
              <a:buClr>
                <a:schemeClr val="accent1"/>
              </a:buClr>
              <a:buSzPct val="100000"/>
              <a:buFont typeface="+mj-lt"/>
              <a:buAutoNum type="arabicPeriod"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80633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7A8EF9-1C32-4B7A-8081-50E936C41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820C01-EFC8-47E3-87CA-54B740EA5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7638" y="2905312"/>
            <a:ext cx="10775825" cy="1564243"/>
          </a:xfrm>
        </p:spPr>
        <p:txBody>
          <a:bodyPr/>
          <a:lstStyle>
            <a:lvl1pPr marL="0" indent="0">
              <a:spcAft>
                <a:spcPts val="728"/>
              </a:spcAft>
              <a:buFontTx/>
              <a:buNone/>
              <a:defRPr/>
            </a:lvl1pPr>
            <a:lvl2pPr>
              <a:spcAft>
                <a:spcPts val="728"/>
              </a:spcAft>
              <a:defRPr/>
            </a:lvl2pPr>
            <a:lvl3pPr>
              <a:spcAft>
                <a:spcPts val="728"/>
              </a:spcAft>
              <a:defRPr/>
            </a:lvl3pPr>
            <a:lvl4pPr>
              <a:spcAft>
                <a:spcPts val="728"/>
              </a:spcAft>
              <a:defRPr/>
            </a:lvl4pPr>
            <a:lvl5pPr>
              <a:spcAft>
                <a:spcPts val="728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F7A7FA-3919-46C3-A721-2BCFFDD3E2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F7C05-75CA-420E-AD15-CB8A1468F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87425AA8-5E7D-4A02-BD41-3BD7CF394720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8DFAF66-6D1A-4424-9287-26CDDE2BBD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8658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Text +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915F15C-956C-41D5-B307-E9EAF4140C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3079" y="1"/>
            <a:ext cx="5658921" cy="6857999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2905312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 flipV="1">
            <a:off x="577638" y="6370213"/>
            <a:ext cx="5377804" cy="27725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2D490A-0282-4B98-BC22-F72D01AAD9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33079" y="5916690"/>
            <a:ext cx="5081284" cy="148117"/>
          </a:xfrm>
        </p:spPr>
        <p:txBody>
          <a:bodyPr/>
          <a:lstStyle>
            <a:lvl1pPr>
              <a:defRPr sz="849"/>
            </a:lvl1pPr>
          </a:lstStyle>
          <a:p>
            <a:pPr lvl="0"/>
            <a:r>
              <a:rPr lang="en-US"/>
              <a:t>Caption text goes here if required</a:t>
            </a:r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9427362-842E-4669-885E-548EFDB4AD6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2039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Gradient Pan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D27C273E-E79E-7299-F1AA-B8CC9678041E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135740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5CB05DC6-B960-4F41-ACA5-722F02234C2C}"/>
              </a:ext>
            </a:extLst>
          </p:cNvPr>
          <p:cNvSpPr/>
          <p:nvPr userDrawn="1"/>
        </p:nvSpPr>
        <p:spPr>
          <a:xfrm>
            <a:off x="4478621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6BD8A16-8AA1-4A48-A03E-412ECD844E30}"/>
              </a:ext>
            </a:extLst>
          </p:cNvPr>
          <p:cNvSpPr/>
          <p:nvPr userDrawn="1"/>
        </p:nvSpPr>
        <p:spPr>
          <a:xfrm>
            <a:off x="8379604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88FE1B9-1B38-4607-85CD-8D3FEB0894B0}"/>
              </a:ext>
            </a:extLst>
          </p:cNvPr>
          <p:cNvSpPr/>
          <p:nvPr userDrawn="1"/>
        </p:nvSpPr>
        <p:spPr>
          <a:xfrm>
            <a:off x="577638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4" name="Text Placeholder 29">
            <a:extLst>
              <a:ext uri="{FF2B5EF4-FFF2-40B4-BE49-F238E27FC236}">
                <a16:creationId xmlns:a16="http://schemas.microsoft.com/office/drawing/2014/main" id="{1AF43CD3-74BD-42C3-9321-3A5E678B67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7090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2A91401C-CD03-4B80-B78A-FED6C1387A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7090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9">
            <a:extLst>
              <a:ext uri="{FF2B5EF4-FFF2-40B4-BE49-F238E27FC236}">
                <a16:creationId xmlns:a16="http://schemas.microsoft.com/office/drawing/2014/main" id="{987E1084-1588-4DFF-8B16-45159E5A7F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7090" y="2551053"/>
            <a:ext cx="2909728" cy="193258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9">
            <a:extLst>
              <a:ext uri="{FF2B5EF4-FFF2-40B4-BE49-F238E27FC236}">
                <a16:creationId xmlns:a16="http://schemas.microsoft.com/office/drawing/2014/main" id="{8C12D9D7-8C03-4D7A-B03B-C1BC41AB6B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41136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9">
            <a:extLst>
              <a:ext uri="{FF2B5EF4-FFF2-40B4-BE49-F238E27FC236}">
                <a16:creationId xmlns:a16="http://schemas.microsoft.com/office/drawing/2014/main" id="{F217037E-D485-4433-8172-120C59DAC4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41136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9">
            <a:extLst>
              <a:ext uri="{FF2B5EF4-FFF2-40B4-BE49-F238E27FC236}">
                <a16:creationId xmlns:a16="http://schemas.microsoft.com/office/drawing/2014/main" id="{99CF9FB5-3A52-4CBE-9EA9-E5B1B14F62C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41136" y="2551053"/>
            <a:ext cx="2909728" cy="193258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29">
            <a:extLst>
              <a:ext uri="{FF2B5EF4-FFF2-40B4-BE49-F238E27FC236}">
                <a16:creationId xmlns:a16="http://schemas.microsoft.com/office/drawing/2014/main" id="{2C483B3F-2A51-4389-A469-7247CC00F7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542118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29">
            <a:extLst>
              <a:ext uri="{FF2B5EF4-FFF2-40B4-BE49-F238E27FC236}">
                <a16:creationId xmlns:a16="http://schemas.microsoft.com/office/drawing/2014/main" id="{3167602A-C6EA-403C-BBD7-A1E2856EBF4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42118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4E6CC2EE-53D5-45F8-ABF1-A33B753B1C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42118" y="2551053"/>
            <a:ext cx="2909728" cy="193258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663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6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915F15C-956C-41D5-B307-E9EAF4140C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3079" y="577597"/>
            <a:ext cx="5081284" cy="263414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3079" y="3434808"/>
            <a:ext cx="5081284" cy="2613594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3DBC4A-ACA7-4AD0-9307-8B9B0EA507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04322" y="644597"/>
            <a:ext cx="4938799" cy="25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aption, if required, goes here</a:t>
            </a:r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E7CB72A-5628-4C6B-920B-B5462A85B7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4322" y="3509478"/>
            <a:ext cx="4938799" cy="25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aption, if required, goes here</a:t>
            </a:r>
            <a:endParaRPr lang="en-GB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3E63EEFC-E63D-460B-87E8-056BB1E9EE2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792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Quote +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6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3079" y="3434808"/>
            <a:ext cx="5081284" cy="2613594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342D1F6-875C-4F73-9292-C3AAE26778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0496" y="2150912"/>
            <a:ext cx="5073866" cy="83955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455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0"/>
              </a:spcAft>
              <a:buFontTx/>
              <a:buNone/>
              <a:defRPr sz="1455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2pPr>
            <a:lvl3pPr marL="0" indent="0">
              <a:spcBef>
                <a:spcPts val="0"/>
              </a:spcBef>
              <a:buFontTx/>
              <a:buNone/>
              <a:defRPr sz="1213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2BA5A0B-ACA6-4775-BB7F-0F44A4EF7ED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10812D15-BFF6-4022-96D6-207CD21FCD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40496" y="1606818"/>
            <a:ext cx="474911" cy="401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343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283">
          <p15:clr>
            <a:srgbClr val="FBAE4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4 x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8"/>
            <a:ext cx="11042887" cy="40313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4540" y="3865484"/>
            <a:ext cx="2424253" cy="218291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49FC8846-079B-41AE-B836-FAD08E0C32D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8" y="1245959"/>
            <a:ext cx="5299823" cy="4802443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E7F864D5-53D1-4798-9693-FAD45F36240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90110" y="3865484"/>
            <a:ext cx="2424253" cy="218291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09D04CD5-6785-4614-82A0-EB606F9E758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14539" y="1245958"/>
            <a:ext cx="5299823" cy="2183042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590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283">
          <p15:clr>
            <a:srgbClr val="FBAE40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89B312-7F05-4697-9E87-033701FA6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2D2B0C-092E-425B-B7A9-D5A5FD03D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42FA494-CA0E-4F88-A7C3-26260F2C3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6A5BA38-A732-42ED-B9BB-81BDD3BB04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7D1F16C-2548-4FFE-AF72-F24418D564E3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398839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4F929E-2F1D-4406-9057-6C8251939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A9C806-229B-4A8D-AFA7-03EDD985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26A3070-CE06-4CEE-A226-D97212C3B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C887375E-F637-44FE-AF63-8A8B04BD6ACA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493591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24676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32B504-645A-42DC-ABCE-1D8DD23450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304" y="1996560"/>
            <a:ext cx="5335021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defRPr sz="1092"/>
            </a:lvl2pPr>
            <a:lvl3pPr>
              <a:spcAft>
                <a:spcPts val="364"/>
              </a:spcAft>
              <a:defRPr sz="970"/>
            </a:lvl3pPr>
            <a:lvl4pPr>
              <a:spcAft>
                <a:spcPts val="364"/>
              </a:spcAft>
              <a:defRPr sz="849"/>
            </a:lvl4pPr>
            <a:lvl5pPr>
              <a:spcAft>
                <a:spcPts val="364"/>
              </a:spcAft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F4306BB-6547-4B5E-8784-4CBAC01B610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0675" y="1996560"/>
            <a:ext cx="5335021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defRPr sz="1092"/>
            </a:lvl2pPr>
            <a:lvl3pPr>
              <a:spcAft>
                <a:spcPts val="364"/>
              </a:spcAft>
              <a:defRPr sz="970"/>
            </a:lvl3pPr>
            <a:lvl4pPr>
              <a:spcAft>
                <a:spcPts val="364"/>
              </a:spcAft>
              <a:defRPr sz="849"/>
            </a:lvl4pPr>
            <a:lvl5pPr>
              <a:spcAft>
                <a:spcPts val="364"/>
              </a:spcAft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6304" y="1529131"/>
            <a:ext cx="5335021" cy="300484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6E4A3A-D76E-4C23-88DA-34D816F1BC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0675" y="1529131"/>
            <a:ext cx="5335021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5207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24676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6304" y="1529131"/>
            <a:ext cx="3456798" cy="300484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03ED4545-9186-46F2-91B2-2AA7B708AC2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7601" y="1529131"/>
            <a:ext cx="3456798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6E4A3A-D76E-4C23-88DA-34D816F1BC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48898" y="1529131"/>
            <a:ext cx="3456798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8582A73-10C6-794D-81AF-73F50A3513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304" y="1996560"/>
            <a:ext cx="3456798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defRPr sz="1092"/>
            </a:lvl2pPr>
            <a:lvl3pPr>
              <a:spcAft>
                <a:spcPts val="364"/>
              </a:spcAft>
              <a:defRPr sz="970"/>
            </a:lvl3pPr>
            <a:lvl4pPr>
              <a:spcAft>
                <a:spcPts val="364"/>
              </a:spcAft>
              <a:defRPr sz="849"/>
            </a:lvl4pPr>
            <a:lvl5pPr>
              <a:spcAft>
                <a:spcPts val="364"/>
              </a:spcAft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AC58B05-1E3E-1043-A6B5-0A53CB7DD34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5495" y="1996560"/>
            <a:ext cx="3456798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defRPr sz="1092"/>
            </a:lvl2pPr>
            <a:lvl3pPr>
              <a:spcAft>
                <a:spcPts val="364"/>
              </a:spcAft>
              <a:defRPr sz="970"/>
            </a:lvl3pPr>
            <a:lvl4pPr>
              <a:spcAft>
                <a:spcPts val="364"/>
              </a:spcAft>
              <a:defRPr sz="849"/>
            </a:lvl4pPr>
            <a:lvl5pPr>
              <a:spcAft>
                <a:spcPts val="364"/>
              </a:spcAft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6E06685-E104-2249-A1AC-B2EC566C5F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50760" y="1996560"/>
            <a:ext cx="3456798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defRPr sz="1092"/>
            </a:lvl2pPr>
            <a:lvl3pPr>
              <a:spcAft>
                <a:spcPts val="364"/>
              </a:spcAft>
              <a:defRPr sz="970"/>
            </a:lvl3pPr>
            <a:lvl4pPr>
              <a:spcAft>
                <a:spcPts val="364"/>
              </a:spcAft>
              <a:defRPr sz="849"/>
            </a:lvl4pPr>
            <a:lvl5pPr>
              <a:spcAft>
                <a:spcPts val="364"/>
              </a:spcAft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1002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Text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89B312-7F05-4697-9E87-033701FA6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2D2B0C-092E-425B-B7A9-D5A5FD03D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7D1F16C-2548-4FFE-AF72-F24418D564E3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555233-33E3-477F-8D67-4FF2B6EA7D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7" y="577597"/>
            <a:ext cx="11013620" cy="787604"/>
          </a:xfrm>
        </p:spPr>
        <p:txBody>
          <a:bodyPr numCol="5" spcCol="144000"/>
          <a:lstStyle>
            <a:lvl1pPr>
              <a:spcBef>
                <a:spcPts val="1092"/>
              </a:spcBef>
              <a:defRPr sz="1455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19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79868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Gradient Pan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13574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5CB05DC6-B960-4F41-ACA5-722F02234C2C}"/>
              </a:ext>
            </a:extLst>
          </p:cNvPr>
          <p:cNvSpPr/>
          <p:nvPr userDrawn="1"/>
        </p:nvSpPr>
        <p:spPr>
          <a:xfrm>
            <a:off x="4478621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6BD8A16-8AA1-4A48-A03E-412ECD844E30}"/>
              </a:ext>
            </a:extLst>
          </p:cNvPr>
          <p:cNvSpPr/>
          <p:nvPr userDrawn="1"/>
        </p:nvSpPr>
        <p:spPr>
          <a:xfrm>
            <a:off x="8379604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88FE1B9-1B38-4607-85CD-8D3FEB0894B0}"/>
              </a:ext>
            </a:extLst>
          </p:cNvPr>
          <p:cNvSpPr/>
          <p:nvPr userDrawn="1"/>
        </p:nvSpPr>
        <p:spPr>
          <a:xfrm>
            <a:off x="577638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4" name="Text Placeholder 29">
            <a:extLst>
              <a:ext uri="{FF2B5EF4-FFF2-40B4-BE49-F238E27FC236}">
                <a16:creationId xmlns:a16="http://schemas.microsoft.com/office/drawing/2014/main" id="{1AF43CD3-74BD-42C3-9321-3A5E678B67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7090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2A91401C-CD03-4B80-B78A-FED6C1387A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7090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9">
            <a:extLst>
              <a:ext uri="{FF2B5EF4-FFF2-40B4-BE49-F238E27FC236}">
                <a16:creationId xmlns:a16="http://schemas.microsoft.com/office/drawing/2014/main" id="{987E1084-1588-4DFF-8B16-45159E5A7F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7090" y="2551053"/>
            <a:ext cx="2909728" cy="190437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9">
            <a:extLst>
              <a:ext uri="{FF2B5EF4-FFF2-40B4-BE49-F238E27FC236}">
                <a16:creationId xmlns:a16="http://schemas.microsoft.com/office/drawing/2014/main" id="{8C12D9D7-8C03-4D7A-B03B-C1BC41AB6B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41136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9">
            <a:extLst>
              <a:ext uri="{FF2B5EF4-FFF2-40B4-BE49-F238E27FC236}">
                <a16:creationId xmlns:a16="http://schemas.microsoft.com/office/drawing/2014/main" id="{F217037E-D485-4433-8172-120C59DAC4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41136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9">
            <a:extLst>
              <a:ext uri="{FF2B5EF4-FFF2-40B4-BE49-F238E27FC236}">
                <a16:creationId xmlns:a16="http://schemas.microsoft.com/office/drawing/2014/main" id="{99CF9FB5-3A52-4CBE-9EA9-E5B1B14F62C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41136" y="2551053"/>
            <a:ext cx="2909728" cy="190437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29">
            <a:extLst>
              <a:ext uri="{FF2B5EF4-FFF2-40B4-BE49-F238E27FC236}">
                <a16:creationId xmlns:a16="http://schemas.microsoft.com/office/drawing/2014/main" id="{2C483B3F-2A51-4389-A469-7247CC00F7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542118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29">
            <a:extLst>
              <a:ext uri="{FF2B5EF4-FFF2-40B4-BE49-F238E27FC236}">
                <a16:creationId xmlns:a16="http://schemas.microsoft.com/office/drawing/2014/main" id="{3167602A-C6EA-403C-BBD7-A1E2856EBF4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42118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4E6CC2EE-53D5-45F8-ABF1-A33B753B1C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42118" y="2551053"/>
            <a:ext cx="2909728" cy="190437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013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l-i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Dial-in Detail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4" y="2299040"/>
            <a:ext cx="3379179" cy="3749361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9484F1-8E49-054A-9340-C8D241F519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3384" y="2342855"/>
            <a:ext cx="3033496" cy="3705543"/>
          </a:xfrm>
        </p:spPr>
        <p:txBody>
          <a:bodyPr wrap="square" numCol="1" spcCol="756000" anchor="t">
            <a:noAutofit/>
          </a:bodyPr>
          <a:lstStyle>
            <a:lvl1pPr marL="0" indent="0">
              <a:spcBef>
                <a:spcPts val="97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latin typeface="Poppins" pitchFamily="2" charset="77"/>
                <a:cs typeface="Poppins" pitchFamily="2" charset="77"/>
              </a:defRPr>
            </a:lvl2pPr>
            <a:lvl3pPr marL="0" indent="0">
              <a:buFontTx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3pPr>
            <a:lvl5pPr>
              <a:defRPr/>
            </a:lvl5pPr>
          </a:lstStyle>
          <a:p>
            <a:pPr lvl="0"/>
            <a:r>
              <a:rPr lang="en-GB"/>
              <a:t>Topic</a:t>
            </a:r>
          </a:p>
          <a:p>
            <a:pPr lvl="1"/>
            <a:r>
              <a:rPr lang="en-GB"/>
              <a:t>Meeting title</a:t>
            </a:r>
          </a:p>
          <a:p>
            <a:pPr lvl="1"/>
            <a:endParaRPr lang="en-GB"/>
          </a:p>
          <a:p>
            <a:pPr lvl="0"/>
            <a:r>
              <a:rPr lang="en-GB"/>
              <a:t>Time</a:t>
            </a:r>
          </a:p>
          <a:p>
            <a:pPr lvl="1"/>
            <a:r>
              <a:rPr lang="en-GB"/>
              <a:t>MMM DD, YYYY</a:t>
            </a:r>
          </a:p>
          <a:p>
            <a:pPr lvl="1"/>
            <a:r>
              <a:rPr lang="en-GB"/>
              <a:t>04:00 PM CET/10:00 AM ET</a:t>
            </a:r>
          </a:p>
          <a:p>
            <a:pPr lvl="1"/>
            <a:endParaRPr lang="en-GB"/>
          </a:p>
          <a:p>
            <a:pPr lvl="0"/>
            <a:r>
              <a:rPr lang="en-GB"/>
              <a:t>Estimated call length</a:t>
            </a:r>
          </a:p>
          <a:p>
            <a:pPr lvl="1"/>
            <a:r>
              <a:rPr lang="en-GB"/>
              <a:t>30 minut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30A48F11-6954-3949-8D79-D73631815C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46667" y="2350101"/>
            <a:ext cx="4148729" cy="3705543"/>
          </a:xfrm>
        </p:spPr>
        <p:txBody>
          <a:bodyPr wrap="square" numCol="1" spcCol="756000" anchor="t">
            <a:noAutofit/>
          </a:bodyPr>
          <a:lstStyle>
            <a:lvl1pPr marL="0" indent="0">
              <a:spcBef>
                <a:spcPts val="97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  <a:lvl2pPr marL="0" marR="0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None/>
              <a:tabLst/>
              <a:defRPr sz="1395" b="0" i="0">
                <a:latin typeface="Poppins" pitchFamily="2" charset="77"/>
                <a:cs typeface="Poppins" pitchFamily="2" charset="77"/>
              </a:defRPr>
            </a:lvl2pPr>
            <a:lvl3pPr marL="0" indent="0">
              <a:buFontTx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3pPr>
            <a:lvl5pPr>
              <a:defRPr/>
            </a:lvl5pPr>
          </a:lstStyle>
          <a:p>
            <a:pPr lvl="0"/>
            <a:r>
              <a:rPr lang="en-GB"/>
              <a:t>Join Zoom meeting</a:t>
            </a:r>
          </a:p>
          <a:p>
            <a:pPr lvl="1"/>
            <a:r>
              <a:rPr lang="en-GB"/>
              <a:t>Https://</a:t>
            </a:r>
            <a:r>
              <a:rPr lang="en-GB" err="1"/>
              <a:t>zoom.us</a:t>
            </a:r>
            <a:r>
              <a:rPr lang="en-GB"/>
              <a:t>/#/########</a:t>
            </a:r>
          </a:p>
          <a:p>
            <a:pPr lvl="1"/>
            <a:endParaRPr lang="en-GB"/>
          </a:p>
          <a:p>
            <a:pPr lvl="0"/>
            <a:r>
              <a:rPr lang="en-GB"/>
              <a:t>Meeting ID</a:t>
            </a:r>
          </a:p>
          <a:p>
            <a:pPr lvl="1"/>
            <a:r>
              <a:rPr lang="en-GB"/>
              <a:t>985 717 469</a:t>
            </a:r>
          </a:p>
          <a:p>
            <a:pPr lvl="0"/>
            <a:r>
              <a:rPr lang="en-GB"/>
              <a:t>One tap mobile</a:t>
            </a:r>
          </a:p>
          <a:p>
            <a:pPr marL="0" marR="0" lvl="1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+ 00000000000, 00000000000# US (New York)</a:t>
            </a:r>
          </a:p>
          <a:p>
            <a:pPr lvl="0"/>
            <a:r>
              <a:rPr lang="en-GB"/>
              <a:t>Dial by your location </a:t>
            </a:r>
          </a:p>
          <a:p>
            <a:pPr lvl="1"/>
            <a:r>
              <a:rPr lang="en-GB"/>
              <a:t>+0 000 000 0000 US (New York)</a:t>
            </a:r>
            <a:br>
              <a:rPr lang="en-GB"/>
            </a:br>
            <a:r>
              <a:rPr lang="en-GB"/>
              <a:t>+ 0 000 000 0000 (Switzerland)</a:t>
            </a:r>
          </a:p>
          <a:p>
            <a:pPr lvl="0"/>
            <a:r>
              <a:rPr lang="en-GB"/>
              <a:t>Find your local number</a:t>
            </a:r>
          </a:p>
          <a:p>
            <a:pPr lvl="1"/>
            <a:r>
              <a:rPr lang="en-GB"/>
              <a:t>https://</a:t>
            </a:r>
            <a:r>
              <a:rPr lang="en-GB" err="1"/>
              <a:t>zoom.us</a:t>
            </a:r>
            <a:r>
              <a:rPr lang="en-GB"/>
              <a:t>/#/########</a:t>
            </a:r>
          </a:p>
        </p:txBody>
      </p:sp>
    </p:spTree>
    <p:extLst>
      <p:ext uri="{BB962C8B-B14F-4D97-AF65-F5344CB8AC3E}">
        <p14:creationId xmlns:p14="http://schemas.microsoft.com/office/powerpoint/2010/main" val="3915575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AECAAF-8652-4AFB-B35E-C43EE9FB1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0CB905-581A-49CB-83B0-7991CBCAE8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DFE788-4D57-4A3E-8E3F-D3463C7660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12984-CCA6-40C2-A876-382B8C68BCC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C0496-FD26-4E9E-9597-6200931D16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2DD875-8A8F-4CA5-9B83-0617A7020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6B2428-E456-463D-9B39-0CE3462EA6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98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l-i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53AAD03-F8BA-33E9-B4BC-1E54DDA000FA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30E9A30-9618-1927-81C0-23C2A2C2580A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Dial-in Detail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4" y="2289368"/>
            <a:ext cx="3379179" cy="3749361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9484F1-8E49-054A-9340-C8D241F519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3384" y="2311277"/>
            <a:ext cx="3033496" cy="3705543"/>
          </a:xfrm>
        </p:spPr>
        <p:txBody>
          <a:bodyPr wrap="square" numCol="1" spcCol="756000" anchor="t">
            <a:noAutofit/>
          </a:bodyPr>
          <a:lstStyle>
            <a:lvl1pPr marL="0" indent="0">
              <a:spcBef>
                <a:spcPts val="97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latin typeface="Poppins" pitchFamily="2" charset="77"/>
                <a:cs typeface="Poppins" pitchFamily="2" charset="77"/>
              </a:defRPr>
            </a:lvl2pPr>
            <a:lvl3pPr marL="0" indent="0">
              <a:buFontTx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3pPr>
            <a:lvl5pPr>
              <a:defRPr/>
            </a:lvl5pPr>
          </a:lstStyle>
          <a:p>
            <a:pPr lvl="0"/>
            <a:r>
              <a:rPr lang="en-GB"/>
              <a:t>Topic</a:t>
            </a:r>
          </a:p>
          <a:p>
            <a:pPr lvl="1"/>
            <a:r>
              <a:rPr lang="en-GB"/>
              <a:t>Meeting title</a:t>
            </a:r>
          </a:p>
          <a:p>
            <a:pPr lvl="1"/>
            <a:endParaRPr lang="en-GB"/>
          </a:p>
          <a:p>
            <a:pPr lvl="0"/>
            <a:r>
              <a:rPr lang="en-GB"/>
              <a:t>Time</a:t>
            </a:r>
          </a:p>
          <a:p>
            <a:pPr lvl="1"/>
            <a:r>
              <a:rPr lang="en-GB"/>
              <a:t>MMM DD, YYYY</a:t>
            </a:r>
          </a:p>
          <a:p>
            <a:pPr lvl="1"/>
            <a:r>
              <a:rPr lang="en-GB"/>
              <a:t>04:00 PM CET/10:00 AM ET</a:t>
            </a:r>
          </a:p>
          <a:p>
            <a:pPr lvl="1"/>
            <a:endParaRPr lang="en-GB"/>
          </a:p>
          <a:p>
            <a:pPr lvl="0"/>
            <a:r>
              <a:rPr lang="en-GB"/>
              <a:t>Estimated call length</a:t>
            </a:r>
          </a:p>
          <a:p>
            <a:pPr lvl="1"/>
            <a:r>
              <a:rPr lang="en-GB"/>
              <a:t>30 minut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30A48F11-6954-3949-8D79-D73631815C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46667" y="2313113"/>
            <a:ext cx="4148729" cy="3705543"/>
          </a:xfrm>
        </p:spPr>
        <p:txBody>
          <a:bodyPr wrap="square" numCol="1" spcCol="756000" anchor="t">
            <a:noAutofit/>
          </a:bodyPr>
          <a:lstStyle>
            <a:lvl1pPr marL="0" indent="0">
              <a:spcBef>
                <a:spcPts val="97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  <a:lvl2pPr marL="0" marR="0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None/>
              <a:tabLst/>
              <a:defRPr sz="1395" b="0" i="0">
                <a:latin typeface="Poppins" pitchFamily="2" charset="77"/>
                <a:cs typeface="Poppins" pitchFamily="2" charset="77"/>
              </a:defRPr>
            </a:lvl2pPr>
            <a:lvl3pPr marL="0" indent="0">
              <a:buFontTx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3pPr>
            <a:lvl5pPr>
              <a:defRPr/>
            </a:lvl5pPr>
          </a:lstStyle>
          <a:p>
            <a:pPr lvl="0"/>
            <a:r>
              <a:rPr lang="en-GB"/>
              <a:t>Join Zoom meeting</a:t>
            </a:r>
          </a:p>
          <a:p>
            <a:pPr lvl="1"/>
            <a:r>
              <a:rPr lang="en-GB"/>
              <a:t>Https://zoom.us/#/########</a:t>
            </a:r>
          </a:p>
          <a:p>
            <a:pPr lvl="1"/>
            <a:endParaRPr lang="en-GB"/>
          </a:p>
          <a:p>
            <a:pPr lvl="0"/>
            <a:r>
              <a:rPr lang="en-GB"/>
              <a:t>Meeting ID</a:t>
            </a:r>
          </a:p>
          <a:p>
            <a:pPr lvl="1"/>
            <a:r>
              <a:rPr lang="en-GB"/>
              <a:t>985 717 469</a:t>
            </a:r>
          </a:p>
          <a:p>
            <a:pPr lvl="0"/>
            <a:r>
              <a:rPr lang="en-GB"/>
              <a:t>One tap mobile</a:t>
            </a:r>
          </a:p>
          <a:p>
            <a:pPr marL="0" marR="0" lvl="1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+ 00000000000, 00000000000# US (New York)</a:t>
            </a:r>
          </a:p>
          <a:p>
            <a:pPr lvl="0"/>
            <a:r>
              <a:rPr lang="en-GB"/>
              <a:t>Dial by your location </a:t>
            </a:r>
          </a:p>
          <a:p>
            <a:pPr lvl="1"/>
            <a:r>
              <a:rPr lang="en-GB"/>
              <a:t>+0 000 000 0000 US (New York)</a:t>
            </a:r>
            <a:br>
              <a:rPr lang="en-GB"/>
            </a:br>
            <a:r>
              <a:rPr lang="en-GB"/>
              <a:t>+ 0 000 000 0000 (Switzerland)</a:t>
            </a:r>
          </a:p>
          <a:p>
            <a:pPr lvl="0"/>
            <a:r>
              <a:rPr lang="en-GB"/>
              <a:t>Find your local number</a:t>
            </a:r>
          </a:p>
          <a:p>
            <a:pPr lvl="1"/>
            <a:r>
              <a:rPr lang="en-GB"/>
              <a:t>https://zoom.us/#/########</a:t>
            </a:r>
          </a:p>
        </p:txBody>
      </p:sp>
    </p:spTree>
    <p:extLst>
      <p:ext uri="{BB962C8B-B14F-4D97-AF65-F5344CB8AC3E}">
        <p14:creationId xmlns:p14="http://schemas.microsoft.com/office/powerpoint/2010/main" val="2257542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3269428"/>
              </p:ext>
            </p:extLst>
          </p:nvPr>
        </p:nvGraphicFramePr>
        <p:xfrm>
          <a:off x="577221" y="2730107"/>
          <a:ext cx="11036724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918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542865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631061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9068787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2767645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867" y="2274402"/>
            <a:ext cx="2746511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622" y="2274402"/>
            <a:ext cx="2746176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799" y="2274402"/>
            <a:ext cx="277393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2767645" cy="460026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44867" y="3035786"/>
            <a:ext cx="2751133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5666" y="3035786"/>
            <a:ext cx="2751133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863644" y="3035786"/>
            <a:ext cx="2750300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901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44570549"/>
              </p:ext>
            </p:extLst>
          </p:nvPr>
        </p:nvGraphicFramePr>
        <p:xfrm>
          <a:off x="577222" y="2730107"/>
          <a:ext cx="11036930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7386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98170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5200179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740009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962482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2193914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9702" y="2276559"/>
            <a:ext cx="2212480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02182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096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14827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8970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0218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6096" y="3035786"/>
            <a:ext cx="2205910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414827" y="3035786"/>
            <a:ext cx="2205910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366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61344178"/>
              </p:ext>
            </p:extLst>
          </p:nvPr>
        </p:nvGraphicFramePr>
        <p:xfrm>
          <a:off x="577222" y="2730107"/>
          <a:ext cx="11036928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9488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61125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4459910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629999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814008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EED920D-5A0E-4D1A-B8B2-01481F89A849}"/>
              </a:ext>
            </a:extLst>
          </p:cNvPr>
          <p:cNvSpPr/>
          <p:nvPr/>
        </p:nvSpPr>
        <p:spPr>
          <a:xfrm>
            <a:off x="9988110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19253" y="2276559"/>
            <a:ext cx="1588608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191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3008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:a16="http://schemas.microsoft.com/office/drawing/2014/main" id="{0F502F2E-BE4E-4F98-AC09-F0807D222C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7211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19253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26191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0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930089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772119" y="3036328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8239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86811145"/>
              </p:ext>
            </p:extLst>
          </p:nvPr>
        </p:nvGraphicFramePr>
        <p:xfrm>
          <a:off x="577222" y="2730107"/>
          <a:ext cx="11036725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576675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998086781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24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343908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92459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550527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7085958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EED920D-5A0E-4D1A-B8B2-01481F89A849}"/>
              </a:ext>
            </a:extLst>
          </p:cNvPr>
          <p:cNvSpPr/>
          <p:nvPr/>
        </p:nvSpPr>
        <p:spPr>
          <a:xfrm>
            <a:off x="866664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1024732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51908" y="2276559"/>
            <a:ext cx="1588608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6594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127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75965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:a16="http://schemas.microsoft.com/office/drawing/2014/main" id="{0F502F2E-BE4E-4F98-AC09-F0807D222C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50651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25337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51908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26594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301279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75965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50651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6" name="Text Placeholder 71">
            <a:extLst>
              <a:ext uri="{FF2B5EF4-FFF2-40B4-BE49-F238E27FC236}">
                <a16:creationId xmlns:a16="http://schemas.microsoft.com/office/drawing/2014/main" id="{947BFEF4-7AA3-4A1C-B7FE-6DF1E40CA7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0025337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55"/>
              </a:spcAft>
              <a:buClrTx/>
              <a:buSzTx/>
              <a:buFontTx/>
              <a:buNone/>
              <a:tabLst/>
              <a:defRPr/>
            </a:pPr>
            <a:r>
              <a:rPr lang="en-US" sz="970" b="0" i="0">
                <a:solidFill>
                  <a:schemeClr val="tx1"/>
                </a:solidFill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9939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ivery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57195079"/>
              </p:ext>
            </p:extLst>
          </p:nvPr>
        </p:nvGraphicFramePr>
        <p:xfrm>
          <a:off x="577221" y="3126838"/>
          <a:ext cx="11049048" cy="2921564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6226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</a:tblGrid>
              <a:tr h="292156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Delivery Timelin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313051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530909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6298593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9066277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0372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3523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66673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FB9A9C-4C9E-469C-9D99-16BC91C138E0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6115" y="3366159"/>
            <a:ext cx="8012962" cy="460026"/>
          </a:xfrm>
          <a:solidFill>
            <a:schemeClr val="accent1"/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bg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D679B6E4-5400-4DE1-9F08-359DC2F09B7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431" y="3366159"/>
            <a:ext cx="245208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1F810C97-0A29-45C1-9D60-827E200D0F3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1483" y="3890527"/>
            <a:ext cx="2477593" cy="460026"/>
          </a:xfrm>
          <a:solidFill>
            <a:schemeClr val="accent1"/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bg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FC6BAC02-B885-47E1-A502-AA5052129E5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430" y="3890527"/>
            <a:ext cx="8012962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06BDC1B7-A02B-4772-BA3C-4B7BBCD848D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431" y="4414895"/>
            <a:ext cx="1078064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88A5BF89-FF15-4E22-A8D9-B81E4C8FB04E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927" y="4939264"/>
            <a:ext cx="953839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28A648F4-45A3-4893-B1D5-F9EAB33F1565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3246" y="5463631"/>
            <a:ext cx="3986725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9689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abl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063594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mbers / Objectives |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62EC026-4E6F-43DA-923D-6521DED0D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35950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2C007047-C920-4EB3-A695-D82C1E3FF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C4B654B1-39D8-4CAE-9F1C-A8E54F3E90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8467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97CE11CA-3102-4681-B4BA-0B37EB79C9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2319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DA0263E3-9D44-44C4-88DC-79995A9CEA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48759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219E0B61-44AD-498D-9A5E-D4CD2F464A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3444957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B5D028AE-F44C-46F5-9CEE-FD53C54043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55182" y="1487595"/>
            <a:ext cx="2759181" cy="52258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830D074D-01E1-4932-A37B-4050A540FB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855182" y="1904145"/>
            <a:ext cx="2759181" cy="4376255"/>
          </a:xfrm>
          <a:prstGeom prst="roundRect">
            <a:avLst>
              <a:gd name="adj" fmla="val 2681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078F100-7CF5-4CA5-B198-4D0776A22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3844870"/>
            <a:ext cx="5081284" cy="939362"/>
          </a:xfrm>
        </p:spPr>
        <p:txBody>
          <a:bodyPr/>
          <a:lstStyle>
            <a:lvl2pPr marL="216599" indent="-216599">
              <a:defRPr/>
            </a:lvl2pPr>
            <a:lvl3pPr marL="381213" indent="-174242">
              <a:defRPr/>
            </a:lvl3pPr>
            <a:lvl4pPr marL="926079" indent="-18386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3408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mbers / Objectives | Compan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DA0263E3-9D44-44C4-88DC-79995A9CEA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48759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219E0B61-44AD-498D-9A5E-D4CD2F464A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3444957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B5D028AE-F44C-46F5-9CEE-FD53C54043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55182" y="1487595"/>
            <a:ext cx="2759181" cy="52258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830D074D-01E1-4932-A37B-4050A540FB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855182" y="1904145"/>
            <a:ext cx="2759181" cy="4376255"/>
          </a:xfrm>
          <a:prstGeom prst="roundRect">
            <a:avLst>
              <a:gd name="adj" fmla="val 2681"/>
            </a:avLst>
          </a:prstGeom>
          <a:solidFill>
            <a:schemeClr val="bg1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C5CE2C7D-2E7C-4C4A-AD70-D95AE7635B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5060" y="1954398"/>
            <a:ext cx="2873834" cy="2537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C9D30B78-B412-4432-80AB-05215E5B05E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785451" y="1954398"/>
            <a:ext cx="2873834" cy="2537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1CA350-E600-49F4-98C4-196B708DFE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3844870"/>
            <a:ext cx="5081284" cy="939362"/>
          </a:xfrm>
        </p:spPr>
        <p:txBody>
          <a:bodyPr/>
          <a:lstStyle>
            <a:lvl2pPr marL="216599" indent="-216599">
              <a:defRPr/>
            </a:lvl2pPr>
            <a:lvl3pPr marL="381213" indent="-174242">
              <a:defRPr/>
            </a:lvl3pPr>
            <a:lvl4pPr marL="926079" indent="-18386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8016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| sourc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nfographic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23227BC4-3697-49CB-8C94-2ABB376D098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497044" y="3517204"/>
            <a:ext cx="9198321" cy="2537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2FEDC8-D0DD-425E-97D5-0F98C2977C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861" y="5903487"/>
            <a:ext cx="11048278" cy="148117"/>
          </a:xfrm>
        </p:spPr>
        <p:txBody>
          <a:bodyPr/>
          <a:lstStyle>
            <a:lvl1pPr>
              <a:defRPr sz="84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607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79471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2" name="Picture Placeholder 7">
            <a:extLst>
              <a:ext uri="{FF2B5EF4-FFF2-40B4-BE49-F238E27FC236}">
                <a16:creationId xmlns:a16="http://schemas.microsoft.com/office/drawing/2014/main" id="{6619BFD5-09E1-4FC5-85E9-AA0D4F90A8B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0681" y="4163789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3B63B8AA-3795-43D0-9A7E-B431EEF939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69043" y="1979471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CD81F978-7C37-4A2F-A2FB-25726566C18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69043" y="4163789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A34D31A6-0100-4F14-A575-2F91CDA458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6208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332C0157-8A57-4567-AD90-B772A579EC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29820" y="2336208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71F1D49-461A-49E8-B21D-5F49561734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11458" y="4520525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585FA147-1037-4901-8E81-747525FB4D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29820" y="4520525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</p:spTree>
    <p:extLst>
      <p:ext uri="{BB962C8B-B14F-4D97-AF65-F5344CB8AC3E}">
        <p14:creationId xmlns:p14="http://schemas.microsoft.com/office/powerpoint/2010/main" val="2474376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A4D69E7-E95E-D90E-DE6D-9C9D16112FC5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https://climate.nasa.gov/</a:t>
            </a:r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F8CE152-D4E5-5AF7-67AE-21CD7041A787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3269428"/>
              </p:ext>
            </p:extLst>
          </p:nvPr>
        </p:nvGraphicFramePr>
        <p:xfrm>
          <a:off x="577221" y="2730107"/>
          <a:ext cx="11036724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918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542865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631061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9068787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2767645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867" y="2274402"/>
            <a:ext cx="2746511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622" y="2274402"/>
            <a:ext cx="2746176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799" y="2274402"/>
            <a:ext cx="277393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2767645" cy="462526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44867" y="3035786"/>
            <a:ext cx="2751133" cy="4625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5666" y="3035786"/>
            <a:ext cx="2751133" cy="4625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863644" y="3035786"/>
            <a:ext cx="2750300" cy="4625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2853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80AF144C-4F83-4A53-AEB3-4893C96DD04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77638" y="5936408"/>
            <a:ext cx="11046352" cy="444898"/>
          </a:xfrm>
          <a:solidFill>
            <a:schemeClr val="bg2"/>
          </a:solidFill>
        </p:spPr>
        <p:txBody>
          <a:bodyPr tIns="108000" bIns="144000"/>
          <a:lstStyle>
            <a:lvl1pPr algn="ctr">
              <a:defRPr sz="1092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2323278-E89D-4D80-A18A-B49324F6E7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6E72E6E5-210D-43FE-B069-74E7F6C1BD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78519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67E7BAB-F631-4062-8A88-65F51EC442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78519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6BE899-EB40-48CF-AC4E-A642FFFB1AD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79402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48F6FBC-9928-4ECC-8454-6B4856741F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779402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8CE8A230-B6E3-43F3-A987-6673C06011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960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46543DE-6963-4E6B-8D97-FBAB40255BE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78960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C7F9CE2-C3F9-4791-8B8B-B5803FF1D6C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78079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37E3A2C-8F9E-4585-9298-05F9DDA873B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78079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21BD2F87-1775-4DA1-9F5C-C4C9D94FEDA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096317" y="5592104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3684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Multi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491CD948-AEDF-48BE-92C5-5538CE9FE7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65CB4B4F-829A-4844-A666-11265CE11D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3595500"/>
            <a:ext cx="11049048" cy="406867"/>
          </a:xfrm>
        </p:spPr>
        <p:txBody>
          <a:bodyPr numCol="6" spcCol="360000" anchor="b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6547738-490D-47DE-A148-663CEC533E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7638" y="4145140"/>
            <a:ext cx="11036725" cy="294885"/>
          </a:xfrm>
        </p:spPr>
        <p:txBody>
          <a:bodyPr numCol="6" spcCol="360000"/>
          <a:lstStyle>
            <a:lvl1pPr marL="0" indent="0" algn="l">
              <a:buFont typeface="Arial" panose="020B0604020202020204" pitchFamily="34" charset="0"/>
              <a:buNone/>
              <a:defRPr sz="1092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 </a:t>
            </a:r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71E669C7-3F15-4404-9192-6B03E3E0872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46020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7">
            <a:extLst>
              <a:ext uri="{FF2B5EF4-FFF2-40B4-BE49-F238E27FC236}">
                <a16:creationId xmlns:a16="http://schemas.microsoft.com/office/drawing/2014/main" id="{6BDECDBF-1E7F-429C-B857-BC3BE17D9B4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375245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458D35B0-2ABD-4A88-AD9C-250F5B0BFFF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115016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7">
            <a:extLst>
              <a:ext uri="{FF2B5EF4-FFF2-40B4-BE49-F238E27FC236}">
                <a16:creationId xmlns:a16="http://schemas.microsoft.com/office/drawing/2014/main" id="{7B333D88-0458-48F5-97FB-D2D7718EC7C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856566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463A1320-1804-44CE-8DBA-867CC87A9DB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985791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797DADDD-4137-4C8B-B442-114D65CCBB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7134106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multi-colum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88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conography +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7177775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multi-colum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4327381"/>
            <a:ext cx="11049048" cy="406867"/>
          </a:xfrm>
        </p:spPr>
        <p:txBody>
          <a:bodyPr numCol="3" spcCol="720000" anchor="t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62016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59237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2135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conography +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1719313"/>
            <a:ext cx="11049048" cy="406867"/>
          </a:xfrm>
        </p:spPr>
        <p:txBody>
          <a:bodyPr numCol="3" spcCol="720000" anchor="t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62016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59237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BBCEB9F-975E-4B56-A29F-0854EDFB008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77638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9D6AFE-0A37-46FD-833E-9282879972A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69882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FC94985-AFDD-4DF6-992E-19087D2130F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23760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738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Multi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252E3C-0AA5-469B-ACE4-9A227101D8C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77638" y="2735923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E32ADA5-A0D2-4524-B1E4-2B46413B84B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877116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F999747-8F91-4BF8-B89A-418788FD50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176595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spcAft>
                <a:spcPts val="364"/>
              </a:spcAft>
              <a:defRPr>
                <a:latin typeface="Poppins" pitchFamily="2" charset="77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FF637A0C-4B6D-4207-A7D9-CAF1D2DFC8E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476073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9D094B4-29B2-4197-A8AD-66F9F9CAAF3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775551" y="2735923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4554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5+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+1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2323278-E89D-4D80-A18A-B49324F6E7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6E72E6E5-210D-43FE-B069-74E7F6C1BD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78519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67E7BAB-F631-4062-8A88-65F51EC442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78519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6BE899-EB40-48CF-AC4E-A642FFFB1AD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79402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48F6FBC-9928-4ECC-8454-6B4856741F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779402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8CE8A230-B6E3-43F3-A987-6673C06011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960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46543DE-6963-4E6B-8D97-FBAB40255BE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78960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C7F9CE2-C3F9-4791-8B8B-B5803FF1D6C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78079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37E3A2C-8F9E-4585-9298-05F9DDA873B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78079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AABBEEF-0FF4-4074-9C40-9B691395E8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58259" y="1638314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92962D6-56F3-48D3-9A11-82CCFC1CC0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511485" y="1551340"/>
            <a:ext cx="4584515" cy="257558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9095E28A-06FE-49A2-AAE0-DD1F0C107A6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511485" y="1918071"/>
            <a:ext cx="4584515" cy="25755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1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3 x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518361" cy="40313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7357175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D8794217-5EF6-484A-9789-939A04CBD6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859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E0AE9E36-7C00-4922-AA13-C35396AF38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9748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530D9E0-01F3-4B3E-A984-26FC050FE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637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DE89019-B2ED-4062-BEFD-1AF245BF4D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81859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6F488F1-69E1-4A48-8E9C-2F5EC2BFAB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79748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8756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5 x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518361" cy="40313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755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530D9E0-01F3-4B3E-A984-26FC050FE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638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D6BD4396-836B-4609-A351-6FA3B73A5F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40394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BEC8D12B-8172-4BD9-B198-FC940EA5F58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69276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4C3A68AC-120B-4739-BD77-EB8D9A277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47712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0A9A1E10-7F09-44CE-87BF-10DBCB2DD3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76594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F45A253A-F83B-4FD4-A131-FA4682A23A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62836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403F967D-B169-4689-B49E-43267F0A42D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491719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FD3AE7CA-391E-4375-9398-D249BBBFEA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46668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E4F804E3-C2DE-4602-B167-5B66CA4202B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75550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523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stat | b/g image / gra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DC44D74-3B3F-47E0-B848-9173CD01DCB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noFill/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508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/>
              <a:t>IVB 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508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D8794217-5EF6-484A-9789-939A04CBD6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05918" y="2107959"/>
            <a:ext cx="4214820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2128" b="0" i="0" spc="-637">
                <a:solidFill>
                  <a:schemeClr val="bg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.xm</a:t>
            </a:r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DE89019-B2ED-4062-BEFD-1AF245BF4D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05918" y="3480495"/>
            <a:ext cx="4214819" cy="29617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 sz="1698" b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115147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Map + pin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59EA77B-10F0-4804-A145-524336802D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11288" y="1509771"/>
            <a:ext cx="9195987" cy="453863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VB 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DBFC085-0C60-416E-8CFF-15E94416B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B553B6D6-CC16-4E40-914D-C81F67547F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127910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28651641-59C0-4E53-BC82-FBC2B7BB8D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7638" y="5974456"/>
            <a:ext cx="3140422" cy="171705"/>
          </a:xfrm>
        </p:spPr>
        <p:txBody>
          <a:bodyPr tIns="0" bIns="0" anchor="t" anchorCtr="0"/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55" b="1" i="0" baseline="3000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E20BD56E-0E17-4AED-B089-01FA1B56B6F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7638" y="5537888"/>
            <a:ext cx="3140422" cy="171705"/>
          </a:xfrm>
        </p:spPr>
        <p:txBody>
          <a:bodyPr tIns="0" bIns="0" anchor="t" anchorCtr="0"/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55" b="1" i="0" baseline="3000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C73E20F7-E9CB-484A-B765-8163DC385D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81812" y="4163432"/>
            <a:ext cx="2314188" cy="171705"/>
          </a:xfrm>
        </p:spPr>
        <p:txBody>
          <a:bodyPr wrap="square" tIns="0" bIns="0" anchor="t" anchorCtr="0">
            <a:spAutoFit/>
          </a:bodyPr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55" b="1" i="0" baseline="3000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3E398FEC-3245-4CB1-99A2-4E4EDB86690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24726" y="3036052"/>
            <a:ext cx="2314188" cy="171705"/>
          </a:xfrm>
        </p:spPr>
        <p:txBody>
          <a:bodyPr wrap="square" tIns="0" bIns="0" anchor="t" anchorCtr="0">
            <a:spAutoFit/>
          </a:bodyPr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55" b="1" i="0" baseline="3000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49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2FF1DC-CF48-177A-0FA8-023C9FDC6FF5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https://climate.nasa.gov/</a:t>
            </a:r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87B8410-B75E-B1ED-EB3A-F1C002E96106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44570549"/>
              </p:ext>
            </p:extLst>
          </p:nvPr>
        </p:nvGraphicFramePr>
        <p:xfrm>
          <a:off x="577222" y="2730107"/>
          <a:ext cx="11036930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7386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98170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5200179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740009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962482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2193914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9702" y="2274379"/>
            <a:ext cx="2212480" cy="30053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02182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096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14827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2193914" cy="641678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89702" y="3035786"/>
            <a:ext cx="2193914" cy="6416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02182" y="3035786"/>
            <a:ext cx="2193914" cy="6416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6096" y="3035786"/>
            <a:ext cx="2205910" cy="6416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414827" y="3035786"/>
            <a:ext cx="2205910" cy="6416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0598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vision | Centre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VB 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E04318B-A241-43E7-94D4-29E516C89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16700" y="577597"/>
            <a:ext cx="5558600" cy="1175806"/>
          </a:xfrm>
        </p:spPr>
        <p:txBody>
          <a:bodyPr lIns="0" tIns="0" rIns="0" bIns="0" anchor="b" anchorCtr="0"/>
          <a:lstStyle>
            <a:lvl1pPr algn="ctr">
              <a:defRPr sz="424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234693-3B2F-4AE8-AE43-6003C99CB8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9847" y="2162835"/>
            <a:ext cx="10991343" cy="571182"/>
          </a:xfrm>
        </p:spPr>
        <p:txBody>
          <a:bodyPr/>
          <a:lstStyle>
            <a:lvl1pPr algn="ctr">
              <a:defRPr sz="32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object 37">
            <a:extLst>
              <a:ext uri="{FF2B5EF4-FFF2-40B4-BE49-F238E27FC236}">
                <a16:creationId xmlns:a16="http://schemas.microsoft.com/office/drawing/2014/main" id="{254656CD-21F4-415A-855F-8FEF936CAD12}"/>
              </a:ext>
            </a:extLst>
          </p:cNvPr>
          <p:cNvSpPr/>
          <p:nvPr userDrawn="1"/>
        </p:nvSpPr>
        <p:spPr>
          <a:xfrm>
            <a:off x="3344643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38">
            <a:extLst>
              <a:ext uri="{FF2B5EF4-FFF2-40B4-BE49-F238E27FC236}">
                <a16:creationId xmlns:a16="http://schemas.microsoft.com/office/drawing/2014/main" id="{5C6A6A71-005C-4561-B24C-20036B336094}"/>
              </a:ext>
            </a:extLst>
          </p:cNvPr>
          <p:cNvSpPr/>
          <p:nvPr userDrawn="1"/>
        </p:nvSpPr>
        <p:spPr>
          <a:xfrm>
            <a:off x="9774588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40">
            <a:extLst>
              <a:ext uri="{FF2B5EF4-FFF2-40B4-BE49-F238E27FC236}">
                <a16:creationId xmlns:a16="http://schemas.microsoft.com/office/drawing/2014/main" id="{176FBC2B-5877-478A-BEB4-EDF0B54837C2}"/>
              </a:ext>
            </a:extLst>
          </p:cNvPr>
          <p:cNvSpPr txBox="1"/>
          <p:nvPr userDrawn="1"/>
        </p:nvSpPr>
        <p:spPr>
          <a:xfrm>
            <a:off x="577638" y="5241915"/>
            <a:ext cx="1696672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ssociated</a:t>
            </a:r>
            <a:r>
              <a:rPr sz="1395" b="0" i="0" spc="-61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with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8" name="object 41">
            <a:extLst>
              <a:ext uri="{FF2B5EF4-FFF2-40B4-BE49-F238E27FC236}">
                <a16:creationId xmlns:a16="http://schemas.microsoft.com/office/drawing/2014/main" id="{F38E41A8-ECE8-47B1-85AB-9824D1D80C00}"/>
              </a:ext>
            </a:extLst>
          </p:cNvPr>
          <p:cNvSpPr txBox="1"/>
          <p:nvPr userDrawn="1"/>
        </p:nvSpPr>
        <p:spPr>
          <a:xfrm>
            <a:off x="3915513" y="5241915"/>
            <a:ext cx="1743798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Supported</a:t>
            </a:r>
            <a:r>
              <a:rPr sz="1395" b="0" i="0" spc="-67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by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9" name="object 42">
            <a:extLst>
              <a:ext uri="{FF2B5EF4-FFF2-40B4-BE49-F238E27FC236}">
                <a16:creationId xmlns:a16="http://schemas.microsoft.com/office/drawing/2014/main" id="{E15DCFC0-DA16-4F9A-B70D-3C33C791B448}"/>
              </a:ext>
            </a:extLst>
          </p:cNvPr>
          <p:cNvSpPr txBox="1"/>
          <p:nvPr userDrawn="1"/>
        </p:nvSpPr>
        <p:spPr>
          <a:xfrm>
            <a:off x="10161465" y="5241915"/>
            <a:ext cx="1743797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Hosted</a:t>
            </a:r>
            <a:r>
              <a:rPr sz="1395" b="0" i="0" spc="-64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t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669283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ssion Statement | Left Alig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VB 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E04318B-A241-43E7-94D4-29E516C89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9848" y="1299878"/>
            <a:ext cx="7334965" cy="453525"/>
          </a:xfrm>
        </p:spPr>
        <p:txBody>
          <a:bodyPr lIns="0" tIns="0" rIns="0" bIns="0" anchor="b" anchorCtr="0"/>
          <a:lstStyle>
            <a:lvl1pPr algn="l">
              <a:defRPr sz="327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234693-3B2F-4AE8-AE43-6003C99CB8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9847" y="2162835"/>
            <a:ext cx="8255334" cy="296171"/>
          </a:xfrm>
        </p:spPr>
        <p:txBody>
          <a:bodyPr/>
          <a:lstStyle>
            <a:lvl1pPr algn="l">
              <a:defRPr sz="16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object 37">
            <a:extLst>
              <a:ext uri="{FF2B5EF4-FFF2-40B4-BE49-F238E27FC236}">
                <a16:creationId xmlns:a16="http://schemas.microsoft.com/office/drawing/2014/main" id="{254656CD-21F4-415A-855F-8FEF936CAD12}"/>
              </a:ext>
            </a:extLst>
          </p:cNvPr>
          <p:cNvSpPr/>
          <p:nvPr userDrawn="1"/>
        </p:nvSpPr>
        <p:spPr>
          <a:xfrm>
            <a:off x="3344643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38">
            <a:extLst>
              <a:ext uri="{FF2B5EF4-FFF2-40B4-BE49-F238E27FC236}">
                <a16:creationId xmlns:a16="http://schemas.microsoft.com/office/drawing/2014/main" id="{5C6A6A71-005C-4561-B24C-20036B336094}"/>
              </a:ext>
            </a:extLst>
          </p:cNvPr>
          <p:cNvSpPr/>
          <p:nvPr userDrawn="1"/>
        </p:nvSpPr>
        <p:spPr>
          <a:xfrm>
            <a:off x="9774588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40">
            <a:extLst>
              <a:ext uri="{FF2B5EF4-FFF2-40B4-BE49-F238E27FC236}">
                <a16:creationId xmlns:a16="http://schemas.microsoft.com/office/drawing/2014/main" id="{176FBC2B-5877-478A-BEB4-EDF0B54837C2}"/>
              </a:ext>
            </a:extLst>
          </p:cNvPr>
          <p:cNvSpPr txBox="1"/>
          <p:nvPr userDrawn="1"/>
        </p:nvSpPr>
        <p:spPr>
          <a:xfrm>
            <a:off x="599847" y="5241915"/>
            <a:ext cx="1880668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ssociated</a:t>
            </a:r>
            <a:r>
              <a:rPr sz="1395" b="0" i="0" spc="-61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with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8" name="object 41">
            <a:extLst>
              <a:ext uri="{FF2B5EF4-FFF2-40B4-BE49-F238E27FC236}">
                <a16:creationId xmlns:a16="http://schemas.microsoft.com/office/drawing/2014/main" id="{F38E41A8-ECE8-47B1-85AB-9824D1D80C00}"/>
              </a:ext>
            </a:extLst>
          </p:cNvPr>
          <p:cNvSpPr txBox="1"/>
          <p:nvPr userDrawn="1"/>
        </p:nvSpPr>
        <p:spPr>
          <a:xfrm>
            <a:off x="3915513" y="5241915"/>
            <a:ext cx="2180486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Supported</a:t>
            </a:r>
            <a:r>
              <a:rPr sz="1395" b="0" i="0" spc="-67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by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9" name="object 42">
            <a:extLst>
              <a:ext uri="{FF2B5EF4-FFF2-40B4-BE49-F238E27FC236}">
                <a16:creationId xmlns:a16="http://schemas.microsoft.com/office/drawing/2014/main" id="{E15DCFC0-DA16-4F9A-B70D-3C33C791B448}"/>
              </a:ext>
            </a:extLst>
          </p:cNvPr>
          <p:cNvSpPr txBox="1"/>
          <p:nvPr userDrawn="1"/>
        </p:nvSpPr>
        <p:spPr>
          <a:xfrm>
            <a:off x="10161465" y="5241915"/>
            <a:ext cx="1459271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Hosted</a:t>
            </a:r>
            <a:r>
              <a:rPr sz="1395" b="0" i="0" spc="-64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t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39" name="object 14">
            <a:extLst>
              <a:ext uri="{FF2B5EF4-FFF2-40B4-BE49-F238E27FC236}">
                <a16:creationId xmlns:a16="http://schemas.microsoft.com/office/drawing/2014/main" id="{EBA520A8-D9DC-4590-A234-60E794F86D19}"/>
              </a:ext>
            </a:extLst>
          </p:cNvPr>
          <p:cNvSpPr/>
          <p:nvPr userDrawn="1"/>
        </p:nvSpPr>
        <p:spPr>
          <a:xfrm>
            <a:off x="577850" y="5000063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497755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1ED4F-48C8-405A-BAF4-A471B383C9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8007" y="2863649"/>
            <a:ext cx="9195987" cy="1130703"/>
          </a:xfrm>
        </p:spPr>
        <p:txBody>
          <a:bodyPr anchor="ctr"/>
          <a:lstStyle>
            <a:lvl1pPr algn="ctr">
              <a:defRPr sz="4245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5211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1ED4F-48C8-405A-BAF4-A471B383C9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7044" y="3681455"/>
            <a:ext cx="9195987" cy="839551"/>
          </a:xfrm>
        </p:spPr>
        <p:txBody>
          <a:bodyPr anchor="ctr"/>
          <a:lstStyle>
            <a:lvl1pPr algn="ctr">
              <a:defRPr sz="2668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C1720A0-FC5D-48B5-9BF5-272126604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22749" y="2293692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833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gn-off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VB 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C1720A0-FC5D-48B5-9BF5-272126604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22749" y="2900500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56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6396" y="6482886"/>
            <a:ext cx="7575715" cy="111982"/>
          </a:xfrm>
        </p:spPr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408" y="6482886"/>
            <a:ext cx="897196" cy="111982"/>
          </a:xfrm>
        </p:spPr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96" y="459732"/>
            <a:ext cx="7789138" cy="403133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3205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6396" y="6482886"/>
            <a:ext cx="2112197" cy="111982"/>
          </a:xfrm>
        </p:spPr>
        <p:txBody>
          <a:bodyPr/>
          <a:lstStyle/>
          <a:p>
            <a:r>
              <a:rPr lang="en-GB"/>
              <a:t>IVB 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854743" y="6482886"/>
            <a:ext cx="897196" cy="111982"/>
          </a:xfrm>
        </p:spPr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96" y="459732"/>
            <a:ext cx="724676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32B504-645A-42DC-ABCE-1D8DD23450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061" y="1996560"/>
            <a:ext cx="3165635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061" y="1529131"/>
            <a:ext cx="3165635" cy="609719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442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80A369-44BF-6738-8542-D58C48E6F2EE}"/>
              </a:ext>
            </a:extLst>
          </p:cNvPr>
          <p:cNvSpPr/>
          <p:nvPr userDrawn="1"/>
        </p:nvSpPr>
        <p:spPr>
          <a:xfrm>
            <a:off x="0" y="1133477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8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4F929E-2F1D-4406-9057-6C8251939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2018"/>
          </a:xfrm>
        </p:spPr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A9C806-229B-4A8D-AFA7-03EDD985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C887375E-F637-44FE-AF63-8A8B04BD6ACA}"/>
              </a:ext>
            </a:extLst>
          </p:cNvPr>
          <p:cNvSpPr/>
          <p:nvPr userDrawn="1"/>
        </p:nvSpPr>
        <p:spPr>
          <a:xfrm>
            <a:off x="577853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CB4A9A2-FC87-8AAA-CAC8-029E24BC7E01}"/>
              </a:ext>
            </a:extLst>
          </p:cNvPr>
          <p:cNvSpPr/>
          <p:nvPr userDrawn="1"/>
        </p:nvSpPr>
        <p:spPr>
          <a:xfrm>
            <a:off x="0" y="-238120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26A3070-CE06-4CEE-A226-D97212C3B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8"/>
            <a:ext cx="10776161" cy="406867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102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6396" y="6482886"/>
            <a:ext cx="2112197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854743" y="6482886"/>
            <a:ext cx="897196" cy="111982"/>
          </a:xfrm>
        </p:spPr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96" y="459732"/>
            <a:ext cx="724676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32B504-645A-42DC-ABCE-1D8DD23450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061" y="1996560"/>
            <a:ext cx="3165635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061" y="1529131"/>
            <a:ext cx="3165635" cy="609719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770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6396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408" y="6482886"/>
            <a:ext cx="897196" cy="111982"/>
          </a:xfrm>
        </p:spPr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6396" y="459732"/>
            <a:ext cx="7789138" cy="403133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9694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9C2C1DE-611E-3743-0885-D4C3941B0EDC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https://climate.nasa.gov/</a:t>
            </a:r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D46D6AD-BF2D-D481-E55F-0F75081B15ED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61344178"/>
              </p:ext>
            </p:extLst>
          </p:nvPr>
        </p:nvGraphicFramePr>
        <p:xfrm>
          <a:off x="577222" y="2730107"/>
          <a:ext cx="11036928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9488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61125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4459910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629999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814008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EED920D-5A0E-4D1A-B8B2-01481F89A849}"/>
              </a:ext>
            </a:extLst>
          </p:cNvPr>
          <p:cNvSpPr/>
          <p:nvPr/>
        </p:nvSpPr>
        <p:spPr>
          <a:xfrm>
            <a:off x="9988110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19253" y="2274379"/>
            <a:ext cx="1588608" cy="30053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191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3008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:a16="http://schemas.microsoft.com/office/drawing/2014/main" id="{0F502F2E-BE4E-4F98-AC09-F0807D222C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7211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1588608" cy="820829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19253" y="3035786"/>
            <a:ext cx="1588608" cy="8208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261912" y="3035786"/>
            <a:ext cx="1588608" cy="8208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0" y="3035786"/>
            <a:ext cx="1588608" cy="8208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930089" y="3035786"/>
            <a:ext cx="1588608" cy="8208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772119" y="3036328"/>
            <a:ext cx="1588608" cy="8208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382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0981E17-5695-435B-969A-5EECE7102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1704030" cy="646908"/>
          </a:xfrm>
          <a:prstGeom prst="rect">
            <a:avLst/>
          </a:prstGeom>
        </p:spPr>
      </p:pic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523DD328-9428-4A62-9563-5F3EC36C155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1621607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4B1DB28-413A-41E9-A6F8-727DE05F8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3036723" cy="646908"/>
          </a:xfrm>
          <a:prstGeom prst="rect">
            <a:avLst/>
          </a:prstGeom>
        </p:spPr>
      </p:pic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570D610-DA38-4B7D-93BE-2E443F0EE1A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168800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F1B92ED-1DA4-42D5-94F1-A383F50976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6444"/>
            <a:ext cx="750929" cy="554493"/>
          </a:xfrm>
          <a:prstGeom prst="rect">
            <a:avLst/>
          </a:prstGeom>
        </p:spPr>
      </p:pic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F6DBB05F-4272-4D46-84A3-F2972EF1D50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785624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54F6A8A-3C2B-480E-A8DA-BC1ADCD083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48016" y="2773428"/>
            <a:ext cx="3471601" cy="1311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98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O/IVB/MI4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52B486E-2FE0-5945-AB2D-A92CFC70BC22}"/>
              </a:ext>
            </a:extLst>
          </p:cNvPr>
          <p:cNvGrpSpPr/>
          <p:nvPr userDrawn="1"/>
        </p:nvGrpSpPr>
        <p:grpSpPr>
          <a:xfrm>
            <a:off x="5736736" y="2773717"/>
            <a:ext cx="5894160" cy="1310567"/>
            <a:chOff x="10052050" y="830928"/>
            <a:chExt cx="9719224" cy="2161222"/>
          </a:xfrm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CDDE3331-DA96-1C26-BFD9-945E4284F7C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7053474" y="1245900"/>
              <a:ext cx="2717800" cy="1320800"/>
            </a:xfrm>
            <a:prstGeom prst="rect">
              <a:avLst/>
            </a:prstGeom>
          </p:spPr>
        </p:pic>
        <p:grpSp>
          <p:nvGrpSpPr>
            <p:cNvPr id="13" name="Graphic 7">
              <a:extLst>
                <a:ext uri="{FF2B5EF4-FFF2-40B4-BE49-F238E27FC236}">
                  <a16:creationId xmlns:a16="http://schemas.microsoft.com/office/drawing/2014/main" id="{95FFC965-5D96-47B7-D4BF-E215CD607DAA}"/>
                </a:ext>
              </a:extLst>
            </p:cNvPr>
            <p:cNvGrpSpPr/>
            <p:nvPr/>
          </p:nvGrpSpPr>
          <p:grpSpPr>
            <a:xfrm>
              <a:off x="13471525" y="1025434"/>
              <a:ext cx="2300287" cy="1703825"/>
              <a:chOff x="17694091" y="4768094"/>
              <a:chExt cx="2300287" cy="1703825"/>
            </a:xfrm>
            <a:solidFill>
              <a:srgbClr val="009ADE"/>
            </a:solidFill>
          </p:grpSpPr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91751827-70B9-17FE-A700-BF7A946D94F7}"/>
                  </a:ext>
                </a:extLst>
              </p:cNvPr>
              <p:cNvSpPr/>
              <p:nvPr/>
            </p:nvSpPr>
            <p:spPr>
              <a:xfrm>
                <a:off x="17694091" y="5680393"/>
                <a:ext cx="131445" cy="701992"/>
              </a:xfrm>
              <a:custGeom>
                <a:avLst/>
                <a:gdLst>
                  <a:gd name="connsiteX0" fmla="*/ 0 w 131445"/>
                  <a:gd name="connsiteY0" fmla="*/ 0 h 701992"/>
                  <a:gd name="connsiteX1" fmla="*/ 131445 w 131445"/>
                  <a:gd name="connsiteY1" fmla="*/ 0 h 701992"/>
                  <a:gd name="connsiteX2" fmla="*/ 131445 w 131445"/>
                  <a:gd name="connsiteY2" fmla="*/ 701992 h 701992"/>
                  <a:gd name="connsiteX3" fmla="*/ 0 w 131445"/>
                  <a:gd name="connsiteY3" fmla="*/ 701992 h 701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1445" h="701992">
                    <a:moveTo>
                      <a:pt x="0" y="0"/>
                    </a:moveTo>
                    <a:lnTo>
                      <a:pt x="131445" y="0"/>
                    </a:lnTo>
                    <a:lnTo>
                      <a:pt x="131445" y="701992"/>
                    </a:lnTo>
                    <a:lnTo>
                      <a:pt x="0" y="701992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2FB2CAFB-A986-D568-8361-8EA2D55B9202}"/>
                  </a:ext>
                </a:extLst>
              </p:cNvPr>
              <p:cNvSpPr/>
              <p:nvPr/>
            </p:nvSpPr>
            <p:spPr>
              <a:xfrm>
                <a:off x="17908403" y="5680392"/>
                <a:ext cx="640080" cy="701992"/>
              </a:xfrm>
              <a:custGeom>
                <a:avLst/>
                <a:gdLst>
                  <a:gd name="connsiteX0" fmla="*/ 640080 w 640080"/>
                  <a:gd name="connsiteY0" fmla="*/ 0 h 701992"/>
                  <a:gd name="connsiteX1" fmla="*/ 402907 w 640080"/>
                  <a:gd name="connsiteY1" fmla="*/ 701993 h 701992"/>
                  <a:gd name="connsiteX2" fmla="*/ 236220 w 640080"/>
                  <a:gd name="connsiteY2" fmla="*/ 701993 h 701992"/>
                  <a:gd name="connsiteX3" fmla="*/ 0 w 640080"/>
                  <a:gd name="connsiteY3" fmla="*/ 0 h 701992"/>
                  <a:gd name="connsiteX4" fmla="*/ 143828 w 640080"/>
                  <a:gd name="connsiteY4" fmla="*/ 0 h 701992"/>
                  <a:gd name="connsiteX5" fmla="*/ 320040 w 640080"/>
                  <a:gd name="connsiteY5" fmla="*/ 555308 h 701992"/>
                  <a:gd name="connsiteX6" fmla="*/ 495300 w 640080"/>
                  <a:gd name="connsiteY6" fmla="*/ 0 h 701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0080" h="701992">
                    <a:moveTo>
                      <a:pt x="640080" y="0"/>
                    </a:moveTo>
                    <a:lnTo>
                      <a:pt x="402907" y="701993"/>
                    </a:lnTo>
                    <a:lnTo>
                      <a:pt x="236220" y="701993"/>
                    </a:lnTo>
                    <a:lnTo>
                      <a:pt x="0" y="0"/>
                    </a:lnTo>
                    <a:lnTo>
                      <a:pt x="143828" y="0"/>
                    </a:lnTo>
                    <a:lnTo>
                      <a:pt x="320040" y="555308"/>
                    </a:lnTo>
                    <a:lnTo>
                      <a:pt x="495300" y="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9564609F-77FD-1369-13D5-9678B72CA30C}"/>
                  </a:ext>
                </a:extLst>
              </p:cNvPr>
              <p:cNvSpPr/>
              <p:nvPr/>
            </p:nvSpPr>
            <p:spPr>
              <a:xfrm>
                <a:off x="18629446" y="5680392"/>
                <a:ext cx="513476" cy="701992"/>
              </a:xfrm>
              <a:custGeom>
                <a:avLst/>
                <a:gdLst>
                  <a:gd name="connsiteX0" fmla="*/ 423863 w 513476"/>
                  <a:gd name="connsiteY0" fmla="*/ 340995 h 701992"/>
                  <a:gd name="connsiteX1" fmla="*/ 418147 w 513476"/>
                  <a:gd name="connsiteY1" fmla="*/ 338138 h 701992"/>
                  <a:gd name="connsiteX2" fmla="*/ 422910 w 513476"/>
                  <a:gd name="connsiteY2" fmla="*/ 334328 h 701992"/>
                  <a:gd name="connsiteX3" fmla="*/ 488632 w 513476"/>
                  <a:gd name="connsiteY3" fmla="*/ 195263 h 701992"/>
                  <a:gd name="connsiteX4" fmla="*/ 426720 w 513476"/>
                  <a:gd name="connsiteY4" fmla="*/ 54293 h 701992"/>
                  <a:gd name="connsiteX5" fmla="*/ 276225 w 513476"/>
                  <a:gd name="connsiteY5" fmla="*/ 0 h 701992"/>
                  <a:gd name="connsiteX6" fmla="*/ 0 w 513476"/>
                  <a:gd name="connsiteY6" fmla="*/ 0 h 701992"/>
                  <a:gd name="connsiteX7" fmla="*/ 0 w 513476"/>
                  <a:gd name="connsiteY7" fmla="*/ 701993 h 701992"/>
                  <a:gd name="connsiteX8" fmla="*/ 297180 w 513476"/>
                  <a:gd name="connsiteY8" fmla="*/ 701993 h 701992"/>
                  <a:gd name="connsiteX9" fmla="*/ 450532 w 513476"/>
                  <a:gd name="connsiteY9" fmla="*/ 645795 h 701992"/>
                  <a:gd name="connsiteX10" fmla="*/ 513397 w 513476"/>
                  <a:gd name="connsiteY10" fmla="*/ 500063 h 701992"/>
                  <a:gd name="connsiteX11" fmla="*/ 423863 w 513476"/>
                  <a:gd name="connsiteY11" fmla="*/ 340995 h 701992"/>
                  <a:gd name="connsiteX12" fmla="*/ 134302 w 513476"/>
                  <a:gd name="connsiteY12" fmla="*/ 121920 h 701992"/>
                  <a:gd name="connsiteX13" fmla="*/ 279082 w 513476"/>
                  <a:gd name="connsiteY13" fmla="*/ 121920 h 701992"/>
                  <a:gd name="connsiteX14" fmla="*/ 360045 w 513476"/>
                  <a:gd name="connsiteY14" fmla="*/ 204788 h 701992"/>
                  <a:gd name="connsiteX15" fmla="*/ 279082 w 513476"/>
                  <a:gd name="connsiteY15" fmla="*/ 287655 h 701992"/>
                  <a:gd name="connsiteX16" fmla="*/ 134302 w 513476"/>
                  <a:gd name="connsiteY16" fmla="*/ 287655 h 701992"/>
                  <a:gd name="connsiteX17" fmla="*/ 134302 w 513476"/>
                  <a:gd name="connsiteY17" fmla="*/ 121920 h 701992"/>
                  <a:gd name="connsiteX18" fmla="*/ 299085 w 513476"/>
                  <a:gd name="connsiteY18" fmla="*/ 579120 h 701992"/>
                  <a:gd name="connsiteX19" fmla="*/ 134302 w 513476"/>
                  <a:gd name="connsiteY19" fmla="*/ 579120 h 701992"/>
                  <a:gd name="connsiteX20" fmla="*/ 134302 w 513476"/>
                  <a:gd name="connsiteY20" fmla="*/ 403860 h 701992"/>
                  <a:gd name="connsiteX21" fmla="*/ 299085 w 513476"/>
                  <a:gd name="connsiteY21" fmla="*/ 403860 h 701992"/>
                  <a:gd name="connsiteX22" fmla="*/ 360997 w 513476"/>
                  <a:gd name="connsiteY22" fmla="*/ 428625 h 701992"/>
                  <a:gd name="connsiteX23" fmla="*/ 385763 w 513476"/>
                  <a:gd name="connsiteY23" fmla="*/ 490538 h 701992"/>
                  <a:gd name="connsiteX24" fmla="*/ 299085 w 513476"/>
                  <a:gd name="connsiteY24" fmla="*/ 579120 h 701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13476" h="701992">
                    <a:moveTo>
                      <a:pt x="423863" y="340995"/>
                    </a:moveTo>
                    <a:lnTo>
                      <a:pt x="418147" y="338138"/>
                    </a:lnTo>
                    <a:lnTo>
                      <a:pt x="422910" y="334328"/>
                    </a:lnTo>
                    <a:cubicBezTo>
                      <a:pt x="465772" y="300038"/>
                      <a:pt x="488632" y="251460"/>
                      <a:pt x="488632" y="195263"/>
                    </a:cubicBezTo>
                    <a:cubicBezTo>
                      <a:pt x="488632" y="140017"/>
                      <a:pt x="466725" y="89535"/>
                      <a:pt x="426720" y="54293"/>
                    </a:cubicBezTo>
                    <a:cubicBezTo>
                      <a:pt x="387667" y="19050"/>
                      <a:pt x="334327" y="0"/>
                      <a:pt x="276225" y="0"/>
                    </a:cubicBezTo>
                    <a:lnTo>
                      <a:pt x="0" y="0"/>
                    </a:lnTo>
                    <a:lnTo>
                      <a:pt x="0" y="701993"/>
                    </a:lnTo>
                    <a:lnTo>
                      <a:pt x="297180" y="701993"/>
                    </a:lnTo>
                    <a:cubicBezTo>
                      <a:pt x="356235" y="701993"/>
                      <a:pt x="411480" y="681990"/>
                      <a:pt x="450532" y="645795"/>
                    </a:cubicBezTo>
                    <a:cubicBezTo>
                      <a:pt x="491490" y="608648"/>
                      <a:pt x="513397" y="557213"/>
                      <a:pt x="513397" y="500063"/>
                    </a:cubicBezTo>
                    <a:cubicBezTo>
                      <a:pt x="515302" y="431483"/>
                      <a:pt x="482917" y="374333"/>
                      <a:pt x="423863" y="340995"/>
                    </a:cubicBezTo>
                    <a:close/>
                    <a:moveTo>
                      <a:pt x="134302" y="121920"/>
                    </a:moveTo>
                    <a:lnTo>
                      <a:pt x="279082" y="121920"/>
                    </a:lnTo>
                    <a:cubicBezTo>
                      <a:pt x="325755" y="121920"/>
                      <a:pt x="360045" y="156210"/>
                      <a:pt x="360045" y="204788"/>
                    </a:cubicBezTo>
                    <a:cubicBezTo>
                      <a:pt x="360045" y="251460"/>
                      <a:pt x="325755" y="287655"/>
                      <a:pt x="279082" y="287655"/>
                    </a:cubicBezTo>
                    <a:lnTo>
                      <a:pt x="134302" y="287655"/>
                    </a:lnTo>
                    <a:lnTo>
                      <a:pt x="134302" y="121920"/>
                    </a:lnTo>
                    <a:close/>
                    <a:moveTo>
                      <a:pt x="299085" y="579120"/>
                    </a:moveTo>
                    <a:lnTo>
                      <a:pt x="134302" y="579120"/>
                    </a:lnTo>
                    <a:lnTo>
                      <a:pt x="134302" y="403860"/>
                    </a:lnTo>
                    <a:lnTo>
                      <a:pt x="299085" y="403860"/>
                    </a:lnTo>
                    <a:cubicBezTo>
                      <a:pt x="322897" y="403860"/>
                      <a:pt x="344805" y="412433"/>
                      <a:pt x="360997" y="428625"/>
                    </a:cubicBezTo>
                    <a:cubicBezTo>
                      <a:pt x="377190" y="444817"/>
                      <a:pt x="385763" y="466725"/>
                      <a:pt x="385763" y="490538"/>
                    </a:cubicBezTo>
                    <a:cubicBezTo>
                      <a:pt x="385763" y="541973"/>
                      <a:pt x="349567" y="579120"/>
                      <a:pt x="299085" y="579120"/>
                    </a:cubicBez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3A6A9917-CF7E-336C-9B5F-742979B27DAE}"/>
                  </a:ext>
                </a:extLst>
              </p:cNvPr>
              <p:cNvSpPr/>
              <p:nvPr/>
            </p:nvSpPr>
            <p:spPr>
              <a:xfrm>
                <a:off x="18632303" y="5159375"/>
                <a:ext cx="1002982" cy="1002982"/>
              </a:xfrm>
              <a:custGeom>
                <a:avLst/>
                <a:gdLst>
                  <a:gd name="connsiteX0" fmla="*/ 1002982 w 1002982"/>
                  <a:gd name="connsiteY0" fmla="*/ 1002983 h 1002982"/>
                  <a:gd name="connsiteX1" fmla="*/ 859155 w 1002982"/>
                  <a:gd name="connsiteY1" fmla="*/ 1002983 h 1002982"/>
                  <a:gd name="connsiteX2" fmla="*/ 791527 w 1002982"/>
                  <a:gd name="connsiteY2" fmla="*/ 668655 h 1002982"/>
                  <a:gd name="connsiteX3" fmla="*/ 607695 w 1002982"/>
                  <a:gd name="connsiteY3" fmla="*/ 395288 h 1002982"/>
                  <a:gd name="connsiteX4" fmla="*/ 334328 w 1002982"/>
                  <a:gd name="connsiteY4" fmla="*/ 211455 h 1002982"/>
                  <a:gd name="connsiteX5" fmla="*/ 0 w 1002982"/>
                  <a:gd name="connsiteY5" fmla="*/ 143827 h 1002982"/>
                  <a:gd name="connsiteX6" fmla="*/ 0 w 1002982"/>
                  <a:gd name="connsiteY6" fmla="*/ 0 h 1002982"/>
                  <a:gd name="connsiteX7" fmla="*/ 390525 w 1002982"/>
                  <a:gd name="connsiteY7" fmla="*/ 79058 h 1002982"/>
                  <a:gd name="connsiteX8" fmla="*/ 709613 w 1002982"/>
                  <a:gd name="connsiteY8" fmla="*/ 294323 h 1002982"/>
                  <a:gd name="connsiteX9" fmla="*/ 924877 w 1002982"/>
                  <a:gd name="connsiteY9" fmla="*/ 613410 h 1002982"/>
                  <a:gd name="connsiteX10" fmla="*/ 1002982 w 1002982"/>
                  <a:gd name="connsiteY10" fmla="*/ 1002983 h 1002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02982" h="1002982">
                    <a:moveTo>
                      <a:pt x="1002982" y="1002983"/>
                    </a:moveTo>
                    <a:lnTo>
                      <a:pt x="859155" y="1002983"/>
                    </a:lnTo>
                    <a:cubicBezTo>
                      <a:pt x="859155" y="886778"/>
                      <a:pt x="836295" y="774383"/>
                      <a:pt x="791527" y="668655"/>
                    </a:cubicBezTo>
                    <a:cubicBezTo>
                      <a:pt x="748665" y="566738"/>
                      <a:pt x="686752" y="474345"/>
                      <a:pt x="607695" y="395288"/>
                    </a:cubicBezTo>
                    <a:cubicBezTo>
                      <a:pt x="528638" y="316230"/>
                      <a:pt x="437197" y="254317"/>
                      <a:pt x="334328" y="211455"/>
                    </a:cubicBezTo>
                    <a:cubicBezTo>
                      <a:pt x="228600" y="166688"/>
                      <a:pt x="116205" y="143827"/>
                      <a:pt x="0" y="143827"/>
                    </a:cubicBezTo>
                    <a:lnTo>
                      <a:pt x="0" y="0"/>
                    </a:lnTo>
                    <a:cubicBezTo>
                      <a:pt x="135255" y="0"/>
                      <a:pt x="266700" y="26670"/>
                      <a:pt x="390525" y="79058"/>
                    </a:cubicBezTo>
                    <a:cubicBezTo>
                      <a:pt x="509588" y="129540"/>
                      <a:pt x="617220" y="201930"/>
                      <a:pt x="709613" y="294323"/>
                    </a:cubicBezTo>
                    <a:cubicBezTo>
                      <a:pt x="802005" y="386715"/>
                      <a:pt x="874395" y="493395"/>
                      <a:pt x="924877" y="613410"/>
                    </a:cubicBezTo>
                    <a:cubicBezTo>
                      <a:pt x="976313" y="736283"/>
                      <a:pt x="1002982" y="867728"/>
                      <a:pt x="1002982" y="1002983"/>
                    </a:cubicBez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1DF40557-8E6B-74CA-787B-7453FA7AC1CC}"/>
                  </a:ext>
                </a:extLst>
              </p:cNvPr>
              <p:cNvSpPr/>
              <p:nvPr/>
            </p:nvSpPr>
            <p:spPr>
              <a:xfrm>
                <a:off x="18903766" y="5004118"/>
                <a:ext cx="927186" cy="1467802"/>
              </a:xfrm>
              <a:custGeom>
                <a:avLst/>
                <a:gdLst>
                  <a:gd name="connsiteX0" fmla="*/ 885825 w 927186"/>
                  <a:gd name="connsiteY0" fmla="*/ 1467803 h 1467802"/>
                  <a:gd name="connsiteX1" fmla="*/ 746760 w 927186"/>
                  <a:gd name="connsiteY1" fmla="*/ 1430655 h 1467802"/>
                  <a:gd name="connsiteX2" fmla="*/ 772477 w 927186"/>
                  <a:gd name="connsiteY2" fmla="*/ 1012508 h 1467802"/>
                  <a:gd name="connsiteX3" fmla="*/ 641032 w 927186"/>
                  <a:gd name="connsiteY3" fmla="*/ 630555 h 1467802"/>
                  <a:gd name="connsiteX4" fmla="*/ 375285 w 927186"/>
                  <a:gd name="connsiteY4" fmla="*/ 325755 h 1467802"/>
                  <a:gd name="connsiteX5" fmla="*/ 0 w 927186"/>
                  <a:gd name="connsiteY5" fmla="*/ 139065 h 1467802"/>
                  <a:gd name="connsiteX6" fmla="*/ 37147 w 927186"/>
                  <a:gd name="connsiteY6" fmla="*/ 0 h 1467802"/>
                  <a:gd name="connsiteX7" fmla="*/ 463868 w 927186"/>
                  <a:gd name="connsiteY7" fmla="*/ 211455 h 1467802"/>
                  <a:gd name="connsiteX8" fmla="*/ 765810 w 927186"/>
                  <a:gd name="connsiteY8" fmla="*/ 558165 h 1467802"/>
                  <a:gd name="connsiteX9" fmla="*/ 915352 w 927186"/>
                  <a:gd name="connsiteY9" fmla="*/ 992505 h 1467802"/>
                  <a:gd name="connsiteX10" fmla="*/ 885825 w 927186"/>
                  <a:gd name="connsiteY10" fmla="*/ 1467803 h 1467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27186" h="1467802">
                    <a:moveTo>
                      <a:pt x="885825" y="1467803"/>
                    </a:moveTo>
                    <a:lnTo>
                      <a:pt x="746760" y="1430655"/>
                    </a:lnTo>
                    <a:cubicBezTo>
                      <a:pt x="783907" y="1293495"/>
                      <a:pt x="792480" y="1152525"/>
                      <a:pt x="772477" y="1012508"/>
                    </a:cubicBezTo>
                    <a:cubicBezTo>
                      <a:pt x="753427" y="877253"/>
                      <a:pt x="709613" y="748665"/>
                      <a:pt x="641032" y="630555"/>
                    </a:cubicBezTo>
                    <a:cubicBezTo>
                      <a:pt x="572452" y="511493"/>
                      <a:pt x="482918" y="409575"/>
                      <a:pt x="375285" y="325755"/>
                    </a:cubicBezTo>
                    <a:cubicBezTo>
                      <a:pt x="263843" y="239078"/>
                      <a:pt x="138113" y="176213"/>
                      <a:pt x="0" y="139065"/>
                    </a:cubicBezTo>
                    <a:lnTo>
                      <a:pt x="37147" y="0"/>
                    </a:lnTo>
                    <a:cubicBezTo>
                      <a:pt x="193357" y="41910"/>
                      <a:pt x="337185" y="113347"/>
                      <a:pt x="463868" y="211455"/>
                    </a:cubicBezTo>
                    <a:cubicBezTo>
                      <a:pt x="585788" y="306705"/>
                      <a:pt x="687705" y="422910"/>
                      <a:pt x="765810" y="558165"/>
                    </a:cubicBezTo>
                    <a:cubicBezTo>
                      <a:pt x="843915" y="693420"/>
                      <a:pt x="894398" y="839153"/>
                      <a:pt x="915352" y="992505"/>
                    </a:cubicBezTo>
                    <a:cubicBezTo>
                      <a:pt x="938213" y="1151573"/>
                      <a:pt x="927735" y="1311592"/>
                      <a:pt x="885825" y="1467803"/>
                    </a:cubicBez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2757B51D-599A-16CB-4CD2-03D2D6A95C27}"/>
                  </a:ext>
                </a:extLst>
              </p:cNvPr>
              <p:cNvSpPr/>
              <p:nvPr/>
            </p:nvSpPr>
            <p:spPr>
              <a:xfrm>
                <a:off x="18344648" y="4768094"/>
                <a:ext cx="1649730" cy="1136135"/>
              </a:xfrm>
              <a:custGeom>
                <a:avLst/>
                <a:gdLst>
                  <a:gd name="connsiteX0" fmla="*/ 1509713 w 1649730"/>
                  <a:gd name="connsiteY0" fmla="*/ 1136136 h 1136135"/>
                  <a:gd name="connsiteX1" fmla="*/ 1313498 w 1649730"/>
                  <a:gd name="connsiteY1" fmla="*/ 680841 h 1136135"/>
                  <a:gd name="connsiteX2" fmla="*/ 969645 w 1649730"/>
                  <a:gd name="connsiteY2" fmla="*/ 347466 h 1136135"/>
                  <a:gd name="connsiteX3" fmla="*/ 525780 w 1649730"/>
                  <a:gd name="connsiteY3" fmla="*/ 167443 h 1136135"/>
                  <a:gd name="connsiteX4" fmla="*/ 29528 w 1649730"/>
                  <a:gd name="connsiteY4" fmla="*/ 171253 h 1136135"/>
                  <a:gd name="connsiteX5" fmla="*/ 0 w 1649730"/>
                  <a:gd name="connsiteY5" fmla="*/ 30283 h 1136135"/>
                  <a:gd name="connsiteX6" fmla="*/ 553403 w 1649730"/>
                  <a:gd name="connsiteY6" fmla="*/ 25521 h 1136135"/>
                  <a:gd name="connsiteX7" fmla="*/ 1047750 w 1649730"/>
                  <a:gd name="connsiteY7" fmla="*/ 226498 h 1136135"/>
                  <a:gd name="connsiteX8" fmla="*/ 1430655 w 1649730"/>
                  <a:gd name="connsiteY8" fmla="*/ 597973 h 1136135"/>
                  <a:gd name="connsiteX9" fmla="*/ 1649730 w 1649730"/>
                  <a:gd name="connsiteY9" fmla="*/ 1105656 h 1136135"/>
                  <a:gd name="connsiteX10" fmla="*/ 1509713 w 1649730"/>
                  <a:gd name="connsiteY10" fmla="*/ 1136136 h 1136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49730" h="1136135">
                    <a:moveTo>
                      <a:pt x="1509713" y="1136136"/>
                    </a:moveTo>
                    <a:cubicBezTo>
                      <a:pt x="1475423" y="971353"/>
                      <a:pt x="1408748" y="818001"/>
                      <a:pt x="1313498" y="680841"/>
                    </a:cubicBezTo>
                    <a:cubicBezTo>
                      <a:pt x="1221105" y="548443"/>
                      <a:pt x="1105853" y="436048"/>
                      <a:pt x="969645" y="347466"/>
                    </a:cubicBezTo>
                    <a:cubicBezTo>
                      <a:pt x="833438" y="258883"/>
                      <a:pt x="684848" y="197923"/>
                      <a:pt x="525780" y="167443"/>
                    </a:cubicBezTo>
                    <a:cubicBezTo>
                      <a:pt x="361950" y="135058"/>
                      <a:pt x="195263" y="136963"/>
                      <a:pt x="29528" y="171253"/>
                    </a:cubicBezTo>
                    <a:lnTo>
                      <a:pt x="0" y="30283"/>
                    </a:lnTo>
                    <a:cubicBezTo>
                      <a:pt x="183833" y="-8769"/>
                      <a:pt x="370523" y="-9722"/>
                      <a:pt x="553403" y="25521"/>
                    </a:cubicBezTo>
                    <a:cubicBezTo>
                      <a:pt x="730568" y="59811"/>
                      <a:pt x="896303" y="127438"/>
                      <a:pt x="1047750" y="226498"/>
                    </a:cubicBezTo>
                    <a:cubicBezTo>
                      <a:pt x="1199198" y="325558"/>
                      <a:pt x="1327785" y="450336"/>
                      <a:pt x="1430655" y="597973"/>
                    </a:cubicBezTo>
                    <a:cubicBezTo>
                      <a:pt x="1537335" y="751326"/>
                      <a:pt x="1610678" y="921823"/>
                      <a:pt x="1649730" y="1105656"/>
                    </a:cubicBezTo>
                    <a:lnTo>
                      <a:pt x="1509713" y="1136136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</p:grpSp>
        <p:grpSp>
          <p:nvGrpSpPr>
            <p:cNvPr id="20" name="Graphic 7">
              <a:extLst>
                <a:ext uri="{FF2B5EF4-FFF2-40B4-BE49-F238E27FC236}">
                  <a16:creationId xmlns:a16="http://schemas.microsoft.com/office/drawing/2014/main" id="{EC9CE241-850C-9F15-382C-798983939905}"/>
                </a:ext>
              </a:extLst>
            </p:cNvPr>
            <p:cNvGrpSpPr/>
            <p:nvPr/>
          </p:nvGrpSpPr>
          <p:grpSpPr>
            <a:xfrm>
              <a:off x="10052050" y="830928"/>
              <a:ext cx="6291837" cy="2161222"/>
              <a:chOff x="14274616" y="4573588"/>
              <a:chExt cx="6291837" cy="2161222"/>
            </a:xfrm>
            <a:solidFill>
              <a:srgbClr val="009ADE"/>
            </a:solidFill>
          </p:grpSpPr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B36B1308-5161-4CCF-0A12-ACAE04325136}"/>
                  </a:ext>
                </a:extLst>
              </p:cNvPr>
              <p:cNvSpPr/>
              <p:nvPr/>
            </p:nvSpPr>
            <p:spPr>
              <a:xfrm>
                <a:off x="14274616" y="4573588"/>
                <a:ext cx="2443162" cy="2161222"/>
              </a:xfrm>
              <a:custGeom>
                <a:avLst/>
                <a:gdLst>
                  <a:gd name="connsiteX0" fmla="*/ 404813 w 2443162"/>
                  <a:gd name="connsiteY0" fmla="*/ 1006793 h 2161222"/>
                  <a:gd name="connsiteX1" fmla="*/ 536258 w 2443162"/>
                  <a:gd name="connsiteY1" fmla="*/ 1006793 h 2161222"/>
                  <a:gd name="connsiteX2" fmla="*/ 541973 w 2443162"/>
                  <a:gd name="connsiteY2" fmla="*/ 989648 h 2161222"/>
                  <a:gd name="connsiteX3" fmla="*/ 542925 w 2443162"/>
                  <a:gd name="connsiteY3" fmla="*/ 973455 h 2161222"/>
                  <a:gd name="connsiteX4" fmla="*/ 543878 w 2443162"/>
                  <a:gd name="connsiteY4" fmla="*/ 957263 h 2161222"/>
                  <a:gd name="connsiteX5" fmla="*/ 545783 w 2443162"/>
                  <a:gd name="connsiteY5" fmla="*/ 941070 h 2161222"/>
                  <a:gd name="connsiteX6" fmla="*/ 547688 w 2443162"/>
                  <a:gd name="connsiteY6" fmla="*/ 924878 h 2161222"/>
                  <a:gd name="connsiteX7" fmla="*/ 549593 w 2443162"/>
                  <a:gd name="connsiteY7" fmla="*/ 909638 h 2161222"/>
                  <a:gd name="connsiteX8" fmla="*/ 552450 w 2443162"/>
                  <a:gd name="connsiteY8" fmla="*/ 893445 h 2161222"/>
                  <a:gd name="connsiteX9" fmla="*/ 555308 w 2443162"/>
                  <a:gd name="connsiteY9" fmla="*/ 878205 h 2161222"/>
                  <a:gd name="connsiteX10" fmla="*/ 559118 w 2443162"/>
                  <a:gd name="connsiteY10" fmla="*/ 862013 h 2161222"/>
                  <a:gd name="connsiteX11" fmla="*/ 562928 w 2443162"/>
                  <a:gd name="connsiteY11" fmla="*/ 846773 h 2161222"/>
                  <a:gd name="connsiteX12" fmla="*/ 566738 w 2443162"/>
                  <a:gd name="connsiteY12" fmla="*/ 831533 h 2161222"/>
                  <a:gd name="connsiteX13" fmla="*/ 576263 w 2443162"/>
                  <a:gd name="connsiteY13" fmla="*/ 801053 h 2161222"/>
                  <a:gd name="connsiteX14" fmla="*/ 581978 w 2443162"/>
                  <a:gd name="connsiteY14" fmla="*/ 785813 h 2161222"/>
                  <a:gd name="connsiteX15" fmla="*/ 587693 w 2443162"/>
                  <a:gd name="connsiteY15" fmla="*/ 770573 h 2161222"/>
                  <a:gd name="connsiteX16" fmla="*/ 593408 w 2443162"/>
                  <a:gd name="connsiteY16" fmla="*/ 756285 h 2161222"/>
                  <a:gd name="connsiteX17" fmla="*/ 600075 w 2443162"/>
                  <a:gd name="connsiteY17" fmla="*/ 741998 h 2161222"/>
                  <a:gd name="connsiteX18" fmla="*/ 606743 w 2443162"/>
                  <a:gd name="connsiteY18" fmla="*/ 727710 h 2161222"/>
                  <a:gd name="connsiteX19" fmla="*/ 613410 w 2443162"/>
                  <a:gd name="connsiteY19" fmla="*/ 713423 h 2161222"/>
                  <a:gd name="connsiteX20" fmla="*/ 620078 w 2443162"/>
                  <a:gd name="connsiteY20" fmla="*/ 699135 h 2161222"/>
                  <a:gd name="connsiteX21" fmla="*/ 627698 w 2443162"/>
                  <a:gd name="connsiteY21" fmla="*/ 684848 h 2161222"/>
                  <a:gd name="connsiteX22" fmla="*/ 635318 w 2443162"/>
                  <a:gd name="connsiteY22" fmla="*/ 671513 h 2161222"/>
                  <a:gd name="connsiteX23" fmla="*/ 643890 w 2443162"/>
                  <a:gd name="connsiteY23" fmla="*/ 658178 h 2161222"/>
                  <a:gd name="connsiteX24" fmla="*/ 652463 w 2443162"/>
                  <a:gd name="connsiteY24" fmla="*/ 644843 h 2161222"/>
                  <a:gd name="connsiteX25" fmla="*/ 661035 w 2443162"/>
                  <a:gd name="connsiteY25" fmla="*/ 631508 h 2161222"/>
                  <a:gd name="connsiteX26" fmla="*/ 670560 w 2443162"/>
                  <a:gd name="connsiteY26" fmla="*/ 619125 h 2161222"/>
                  <a:gd name="connsiteX27" fmla="*/ 680085 w 2443162"/>
                  <a:gd name="connsiteY27" fmla="*/ 606743 h 2161222"/>
                  <a:gd name="connsiteX28" fmla="*/ 689610 w 2443162"/>
                  <a:gd name="connsiteY28" fmla="*/ 594360 h 2161222"/>
                  <a:gd name="connsiteX29" fmla="*/ 700088 w 2443162"/>
                  <a:gd name="connsiteY29" fmla="*/ 582930 h 2161222"/>
                  <a:gd name="connsiteX30" fmla="*/ 710565 w 2443162"/>
                  <a:gd name="connsiteY30" fmla="*/ 571500 h 2161222"/>
                  <a:gd name="connsiteX31" fmla="*/ 721043 w 2443162"/>
                  <a:gd name="connsiteY31" fmla="*/ 560070 h 2161222"/>
                  <a:gd name="connsiteX32" fmla="*/ 731520 w 2443162"/>
                  <a:gd name="connsiteY32" fmla="*/ 548640 h 2161222"/>
                  <a:gd name="connsiteX33" fmla="*/ 635318 w 2443162"/>
                  <a:gd name="connsiteY33" fmla="*/ 451485 h 2161222"/>
                  <a:gd name="connsiteX34" fmla="*/ 621983 w 2443162"/>
                  <a:gd name="connsiteY34" fmla="*/ 464820 h 2161222"/>
                  <a:gd name="connsiteX35" fmla="*/ 609600 w 2443162"/>
                  <a:gd name="connsiteY35" fmla="*/ 479108 h 2161222"/>
                  <a:gd name="connsiteX36" fmla="*/ 597218 w 2443162"/>
                  <a:gd name="connsiteY36" fmla="*/ 493395 h 2161222"/>
                  <a:gd name="connsiteX37" fmla="*/ 585788 w 2443162"/>
                  <a:gd name="connsiteY37" fmla="*/ 507683 h 2161222"/>
                  <a:gd name="connsiteX38" fmla="*/ 574358 w 2443162"/>
                  <a:gd name="connsiteY38" fmla="*/ 522923 h 2161222"/>
                  <a:gd name="connsiteX39" fmla="*/ 562928 w 2443162"/>
                  <a:gd name="connsiteY39" fmla="*/ 538163 h 2161222"/>
                  <a:gd name="connsiteX40" fmla="*/ 552450 w 2443162"/>
                  <a:gd name="connsiteY40" fmla="*/ 553403 h 2161222"/>
                  <a:gd name="connsiteX41" fmla="*/ 541973 w 2443162"/>
                  <a:gd name="connsiteY41" fmla="*/ 568643 h 2161222"/>
                  <a:gd name="connsiteX42" fmla="*/ 532448 w 2443162"/>
                  <a:gd name="connsiteY42" fmla="*/ 583883 h 2161222"/>
                  <a:gd name="connsiteX43" fmla="*/ 521970 w 2443162"/>
                  <a:gd name="connsiteY43" fmla="*/ 600075 h 2161222"/>
                  <a:gd name="connsiteX44" fmla="*/ 512445 w 2443162"/>
                  <a:gd name="connsiteY44" fmla="*/ 616268 h 2161222"/>
                  <a:gd name="connsiteX45" fmla="*/ 502920 w 2443162"/>
                  <a:gd name="connsiteY45" fmla="*/ 632460 h 2161222"/>
                  <a:gd name="connsiteX46" fmla="*/ 494348 w 2443162"/>
                  <a:gd name="connsiteY46" fmla="*/ 649605 h 2161222"/>
                  <a:gd name="connsiteX47" fmla="*/ 485775 w 2443162"/>
                  <a:gd name="connsiteY47" fmla="*/ 666750 h 2161222"/>
                  <a:gd name="connsiteX48" fmla="*/ 477203 w 2443162"/>
                  <a:gd name="connsiteY48" fmla="*/ 683895 h 2161222"/>
                  <a:gd name="connsiteX49" fmla="*/ 469583 w 2443162"/>
                  <a:gd name="connsiteY49" fmla="*/ 701040 h 2161222"/>
                  <a:gd name="connsiteX50" fmla="*/ 461963 w 2443162"/>
                  <a:gd name="connsiteY50" fmla="*/ 719138 h 2161222"/>
                  <a:gd name="connsiteX51" fmla="*/ 455295 w 2443162"/>
                  <a:gd name="connsiteY51" fmla="*/ 737235 h 2161222"/>
                  <a:gd name="connsiteX52" fmla="*/ 448628 w 2443162"/>
                  <a:gd name="connsiteY52" fmla="*/ 755333 h 2161222"/>
                  <a:gd name="connsiteX53" fmla="*/ 442913 w 2443162"/>
                  <a:gd name="connsiteY53" fmla="*/ 773430 h 2161222"/>
                  <a:gd name="connsiteX54" fmla="*/ 437198 w 2443162"/>
                  <a:gd name="connsiteY54" fmla="*/ 792480 h 2161222"/>
                  <a:gd name="connsiteX55" fmla="*/ 431483 w 2443162"/>
                  <a:gd name="connsiteY55" fmla="*/ 811530 h 2161222"/>
                  <a:gd name="connsiteX56" fmla="*/ 426720 w 2443162"/>
                  <a:gd name="connsiteY56" fmla="*/ 830580 h 2161222"/>
                  <a:gd name="connsiteX57" fmla="*/ 421958 w 2443162"/>
                  <a:gd name="connsiteY57" fmla="*/ 849630 h 2161222"/>
                  <a:gd name="connsiteX58" fmla="*/ 418148 w 2443162"/>
                  <a:gd name="connsiteY58" fmla="*/ 868680 h 2161222"/>
                  <a:gd name="connsiteX59" fmla="*/ 414338 w 2443162"/>
                  <a:gd name="connsiteY59" fmla="*/ 888683 h 2161222"/>
                  <a:gd name="connsiteX60" fmla="*/ 411480 w 2443162"/>
                  <a:gd name="connsiteY60" fmla="*/ 907733 h 2161222"/>
                  <a:gd name="connsiteX61" fmla="*/ 408623 w 2443162"/>
                  <a:gd name="connsiteY61" fmla="*/ 927735 h 2161222"/>
                  <a:gd name="connsiteX62" fmla="*/ 406718 w 2443162"/>
                  <a:gd name="connsiteY62" fmla="*/ 947738 h 2161222"/>
                  <a:gd name="connsiteX63" fmla="*/ 404813 w 2443162"/>
                  <a:gd name="connsiteY63" fmla="*/ 967740 h 2161222"/>
                  <a:gd name="connsiteX64" fmla="*/ 403860 w 2443162"/>
                  <a:gd name="connsiteY64" fmla="*/ 987743 h 2161222"/>
                  <a:gd name="connsiteX65" fmla="*/ 404813 w 2443162"/>
                  <a:gd name="connsiteY65" fmla="*/ 1006793 h 2161222"/>
                  <a:gd name="connsiteX66" fmla="*/ 404813 w 2443162"/>
                  <a:gd name="connsiteY66" fmla="*/ 1006793 h 2161222"/>
                  <a:gd name="connsiteX67" fmla="*/ 1229678 w 2443162"/>
                  <a:gd name="connsiteY67" fmla="*/ 1350645 h 2161222"/>
                  <a:gd name="connsiteX68" fmla="*/ 1208723 w 2443162"/>
                  <a:gd name="connsiteY68" fmla="*/ 1358265 h 2161222"/>
                  <a:gd name="connsiteX69" fmla="*/ 1198245 w 2443162"/>
                  <a:gd name="connsiteY69" fmla="*/ 1362075 h 2161222"/>
                  <a:gd name="connsiteX70" fmla="*/ 1194435 w 2443162"/>
                  <a:gd name="connsiteY70" fmla="*/ 1365885 h 2161222"/>
                  <a:gd name="connsiteX71" fmla="*/ 1198245 w 2443162"/>
                  <a:gd name="connsiteY71" fmla="*/ 1744028 h 2161222"/>
                  <a:gd name="connsiteX72" fmla="*/ 1202055 w 2443162"/>
                  <a:gd name="connsiteY72" fmla="*/ 1768793 h 2161222"/>
                  <a:gd name="connsiteX73" fmla="*/ 1205865 w 2443162"/>
                  <a:gd name="connsiteY73" fmla="*/ 1786890 h 2161222"/>
                  <a:gd name="connsiteX74" fmla="*/ 1212533 w 2443162"/>
                  <a:gd name="connsiteY74" fmla="*/ 1797368 h 2161222"/>
                  <a:gd name="connsiteX75" fmla="*/ 1219200 w 2443162"/>
                  <a:gd name="connsiteY75" fmla="*/ 1801178 h 2161222"/>
                  <a:gd name="connsiteX76" fmla="*/ 1226820 w 2443162"/>
                  <a:gd name="connsiteY76" fmla="*/ 1797368 h 2161222"/>
                  <a:gd name="connsiteX77" fmla="*/ 1233488 w 2443162"/>
                  <a:gd name="connsiteY77" fmla="*/ 1786890 h 2161222"/>
                  <a:gd name="connsiteX78" fmla="*/ 1237298 w 2443162"/>
                  <a:gd name="connsiteY78" fmla="*/ 1768793 h 2161222"/>
                  <a:gd name="connsiteX79" fmla="*/ 1237298 w 2443162"/>
                  <a:gd name="connsiteY79" fmla="*/ 1743075 h 2161222"/>
                  <a:gd name="connsiteX80" fmla="*/ 1247775 w 2443162"/>
                  <a:gd name="connsiteY80" fmla="*/ 1343025 h 2161222"/>
                  <a:gd name="connsiteX81" fmla="*/ 1229678 w 2443162"/>
                  <a:gd name="connsiteY81" fmla="*/ 1350645 h 2161222"/>
                  <a:gd name="connsiteX82" fmla="*/ 1229678 w 2443162"/>
                  <a:gd name="connsiteY82" fmla="*/ 1350645 h 2161222"/>
                  <a:gd name="connsiteX83" fmla="*/ 1190625 w 2443162"/>
                  <a:gd name="connsiteY83" fmla="*/ 1226820 h 2161222"/>
                  <a:gd name="connsiteX84" fmla="*/ 1226820 w 2443162"/>
                  <a:gd name="connsiteY84" fmla="*/ 1216343 h 2161222"/>
                  <a:gd name="connsiteX85" fmla="*/ 1247775 w 2443162"/>
                  <a:gd name="connsiteY85" fmla="*/ 1209675 h 2161222"/>
                  <a:gd name="connsiteX86" fmla="*/ 1258253 w 2443162"/>
                  <a:gd name="connsiteY86" fmla="*/ 806768 h 2161222"/>
                  <a:gd name="connsiteX87" fmla="*/ 1215390 w 2443162"/>
                  <a:gd name="connsiteY87" fmla="*/ 817245 h 2161222"/>
                  <a:gd name="connsiteX88" fmla="*/ 1183958 w 2443162"/>
                  <a:gd name="connsiteY88" fmla="*/ 827723 h 2161222"/>
                  <a:gd name="connsiteX89" fmla="*/ 1190625 w 2443162"/>
                  <a:gd name="connsiteY89" fmla="*/ 1226820 h 2161222"/>
                  <a:gd name="connsiteX90" fmla="*/ 1190625 w 2443162"/>
                  <a:gd name="connsiteY90" fmla="*/ 1226820 h 2161222"/>
                  <a:gd name="connsiteX91" fmla="*/ 471488 w 2443162"/>
                  <a:gd name="connsiteY91" fmla="*/ 374333 h 2161222"/>
                  <a:gd name="connsiteX92" fmla="*/ 485775 w 2443162"/>
                  <a:gd name="connsiteY92" fmla="*/ 352425 h 2161222"/>
                  <a:gd name="connsiteX93" fmla="*/ 501015 w 2443162"/>
                  <a:gd name="connsiteY93" fmla="*/ 328613 h 2161222"/>
                  <a:gd name="connsiteX94" fmla="*/ 517208 w 2443162"/>
                  <a:gd name="connsiteY94" fmla="*/ 304800 h 2161222"/>
                  <a:gd name="connsiteX95" fmla="*/ 533400 w 2443162"/>
                  <a:gd name="connsiteY95" fmla="*/ 280988 h 2161222"/>
                  <a:gd name="connsiteX96" fmla="*/ 549593 w 2443162"/>
                  <a:gd name="connsiteY96" fmla="*/ 259080 h 2161222"/>
                  <a:gd name="connsiteX97" fmla="*/ 564833 w 2443162"/>
                  <a:gd name="connsiteY97" fmla="*/ 238125 h 2161222"/>
                  <a:gd name="connsiteX98" fmla="*/ 572453 w 2443162"/>
                  <a:gd name="connsiteY98" fmla="*/ 229553 h 2161222"/>
                  <a:gd name="connsiteX99" fmla="*/ 580073 w 2443162"/>
                  <a:gd name="connsiteY99" fmla="*/ 220980 h 2161222"/>
                  <a:gd name="connsiteX100" fmla="*/ 586740 w 2443162"/>
                  <a:gd name="connsiteY100" fmla="*/ 214313 h 2161222"/>
                  <a:gd name="connsiteX101" fmla="*/ 592455 w 2443162"/>
                  <a:gd name="connsiteY101" fmla="*/ 208598 h 2161222"/>
                  <a:gd name="connsiteX102" fmla="*/ 577215 w 2443162"/>
                  <a:gd name="connsiteY102" fmla="*/ 212408 h 2161222"/>
                  <a:gd name="connsiteX103" fmla="*/ 561975 w 2443162"/>
                  <a:gd name="connsiteY103" fmla="*/ 217170 h 2161222"/>
                  <a:gd name="connsiteX104" fmla="*/ 547688 w 2443162"/>
                  <a:gd name="connsiteY104" fmla="*/ 221933 h 2161222"/>
                  <a:gd name="connsiteX105" fmla="*/ 533400 w 2443162"/>
                  <a:gd name="connsiteY105" fmla="*/ 226695 h 2161222"/>
                  <a:gd name="connsiteX106" fmla="*/ 519113 w 2443162"/>
                  <a:gd name="connsiteY106" fmla="*/ 232410 h 2161222"/>
                  <a:gd name="connsiteX107" fmla="*/ 505778 w 2443162"/>
                  <a:gd name="connsiteY107" fmla="*/ 239078 h 2161222"/>
                  <a:gd name="connsiteX108" fmla="*/ 492443 w 2443162"/>
                  <a:gd name="connsiteY108" fmla="*/ 245745 h 2161222"/>
                  <a:gd name="connsiteX109" fmla="*/ 479108 w 2443162"/>
                  <a:gd name="connsiteY109" fmla="*/ 253365 h 2161222"/>
                  <a:gd name="connsiteX110" fmla="*/ 466725 w 2443162"/>
                  <a:gd name="connsiteY110" fmla="*/ 260985 h 2161222"/>
                  <a:gd name="connsiteX111" fmla="*/ 454343 w 2443162"/>
                  <a:gd name="connsiteY111" fmla="*/ 269558 h 2161222"/>
                  <a:gd name="connsiteX112" fmla="*/ 441960 w 2443162"/>
                  <a:gd name="connsiteY112" fmla="*/ 278130 h 2161222"/>
                  <a:gd name="connsiteX113" fmla="*/ 430530 w 2443162"/>
                  <a:gd name="connsiteY113" fmla="*/ 287655 h 2161222"/>
                  <a:gd name="connsiteX114" fmla="*/ 419100 w 2443162"/>
                  <a:gd name="connsiteY114" fmla="*/ 298133 h 2161222"/>
                  <a:gd name="connsiteX115" fmla="*/ 407670 w 2443162"/>
                  <a:gd name="connsiteY115" fmla="*/ 308610 h 2161222"/>
                  <a:gd name="connsiteX116" fmla="*/ 397193 w 2443162"/>
                  <a:gd name="connsiteY116" fmla="*/ 319088 h 2161222"/>
                  <a:gd name="connsiteX117" fmla="*/ 386715 w 2443162"/>
                  <a:gd name="connsiteY117" fmla="*/ 329565 h 2161222"/>
                  <a:gd name="connsiteX118" fmla="*/ 377190 w 2443162"/>
                  <a:gd name="connsiteY118" fmla="*/ 340995 h 2161222"/>
                  <a:gd name="connsiteX119" fmla="*/ 367665 w 2443162"/>
                  <a:gd name="connsiteY119" fmla="*/ 352425 h 2161222"/>
                  <a:gd name="connsiteX120" fmla="*/ 358140 w 2443162"/>
                  <a:gd name="connsiteY120" fmla="*/ 363855 h 2161222"/>
                  <a:gd name="connsiteX121" fmla="*/ 349568 w 2443162"/>
                  <a:gd name="connsiteY121" fmla="*/ 376238 h 2161222"/>
                  <a:gd name="connsiteX122" fmla="*/ 340995 w 2443162"/>
                  <a:gd name="connsiteY122" fmla="*/ 388620 h 2161222"/>
                  <a:gd name="connsiteX123" fmla="*/ 333375 w 2443162"/>
                  <a:gd name="connsiteY123" fmla="*/ 401955 h 2161222"/>
                  <a:gd name="connsiteX124" fmla="*/ 325755 w 2443162"/>
                  <a:gd name="connsiteY124" fmla="*/ 415290 h 2161222"/>
                  <a:gd name="connsiteX125" fmla="*/ 320040 w 2443162"/>
                  <a:gd name="connsiteY125" fmla="*/ 428625 h 2161222"/>
                  <a:gd name="connsiteX126" fmla="*/ 313373 w 2443162"/>
                  <a:gd name="connsiteY126" fmla="*/ 441960 h 2161222"/>
                  <a:gd name="connsiteX127" fmla="*/ 307658 w 2443162"/>
                  <a:gd name="connsiteY127" fmla="*/ 456248 h 2161222"/>
                  <a:gd name="connsiteX128" fmla="*/ 301943 w 2443162"/>
                  <a:gd name="connsiteY128" fmla="*/ 470535 h 2161222"/>
                  <a:gd name="connsiteX129" fmla="*/ 295275 w 2443162"/>
                  <a:gd name="connsiteY129" fmla="*/ 483870 h 2161222"/>
                  <a:gd name="connsiteX130" fmla="*/ 290513 w 2443162"/>
                  <a:gd name="connsiteY130" fmla="*/ 498158 h 2161222"/>
                  <a:gd name="connsiteX131" fmla="*/ 285750 w 2443162"/>
                  <a:gd name="connsiteY131" fmla="*/ 513398 h 2161222"/>
                  <a:gd name="connsiteX132" fmla="*/ 281940 w 2443162"/>
                  <a:gd name="connsiteY132" fmla="*/ 528638 h 2161222"/>
                  <a:gd name="connsiteX133" fmla="*/ 279083 w 2443162"/>
                  <a:gd name="connsiteY133" fmla="*/ 542925 h 2161222"/>
                  <a:gd name="connsiteX134" fmla="*/ 291465 w 2443162"/>
                  <a:gd name="connsiteY134" fmla="*/ 530543 h 2161222"/>
                  <a:gd name="connsiteX135" fmla="*/ 304800 w 2443162"/>
                  <a:gd name="connsiteY135" fmla="*/ 519113 h 2161222"/>
                  <a:gd name="connsiteX136" fmla="*/ 318135 w 2443162"/>
                  <a:gd name="connsiteY136" fmla="*/ 507683 h 2161222"/>
                  <a:gd name="connsiteX137" fmla="*/ 332423 w 2443162"/>
                  <a:gd name="connsiteY137" fmla="*/ 497205 h 2161222"/>
                  <a:gd name="connsiteX138" fmla="*/ 360045 w 2443162"/>
                  <a:gd name="connsiteY138" fmla="*/ 476250 h 2161222"/>
                  <a:gd name="connsiteX139" fmla="*/ 386715 w 2443162"/>
                  <a:gd name="connsiteY139" fmla="*/ 455295 h 2161222"/>
                  <a:gd name="connsiteX140" fmla="*/ 400050 w 2443162"/>
                  <a:gd name="connsiteY140" fmla="*/ 445770 h 2161222"/>
                  <a:gd name="connsiteX141" fmla="*/ 412433 w 2443162"/>
                  <a:gd name="connsiteY141" fmla="*/ 435293 h 2161222"/>
                  <a:gd name="connsiteX142" fmla="*/ 423863 w 2443162"/>
                  <a:gd name="connsiteY142" fmla="*/ 424815 h 2161222"/>
                  <a:gd name="connsiteX143" fmla="*/ 435293 w 2443162"/>
                  <a:gd name="connsiteY143" fmla="*/ 415290 h 2161222"/>
                  <a:gd name="connsiteX144" fmla="*/ 445770 w 2443162"/>
                  <a:gd name="connsiteY144" fmla="*/ 404813 h 2161222"/>
                  <a:gd name="connsiteX145" fmla="*/ 455295 w 2443162"/>
                  <a:gd name="connsiteY145" fmla="*/ 394335 h 2161222"/>
                  <a:gd name="connsiteX146" fmla="*/ 460058 w 2443162"/>
                  <a:gd name="connsiteY146" fmla="*/ 389573 h 2161222"/>
                  <a:gd name="connsiteX147" fmla="*/ 464820 w 2443162"/>
                  <a:gd name="connsiteY147" fmla="*/ 384810 h 2161222"/>
                  <a:gd name="connsiteX148" fmla="*/ 468630 w 2443162"/>
                  <a:gd name="connsiteY148" fmla="*/ 379095 h 2161222"/>
                  <a:gd name="connsiteX149" fmla="*/ 471488 w 2443162"/>
                  <a:gd name="connsiteY149" fmla="*/ 374333 h 2161222"/>
                  <a:gd name="connsiteX150" fmla="*/ 471488 w 2443162"/>
                  <a:gd name="connsiteY150" fmla="*/ 374333 h 2161222"/>
                  <a:gd name="connsiteX151" fmla="*/ 390525 w 2443162"/>
                  <a:gd name="connsiteY151" fmla="*/ 633413 h 2161222"/>
                  <a:gd name="connsiteX152" fmla="*/ 385763 w 2443162"/>
                  <a:gd name="connsiteY152" fmla="*/ 641033 h 2161222"/>
                  <a:gd name="connsiteX153" fmla="*/ 380048 w 2443162"/>
                  <a:gd name="connsiteY153" fmla="*/ 648653 h 2161222"/>
                  <a:gd name="connsiteX154" fmla="*/ 372428 w 2443162"/>
                  <a:gd name="connsiteY154" fmla="*/ 657225 h 2161222"/>
                  <a:gd name="connsiteX155" fmla="*/ 364808 w 2443162"/>
                  <a:gd name="connsiteY155" fmla="*/ 664845 h 2161222"/>
                  <a:gd name="connsiteX156" fmla="*/ 356235 w 2443162"/>
                  <a:gd name="connsiteY156" fmla="*/ 673418 h 2161222"/>
                  <a:gd name="connsiteX157" fmla="*/ 347663 w 2443162"/>
                  <a:gd name="connsiteY157" fmla="*/ 681990 h 2161222"/>
                  <a:gd name="connsiteX158" fmla="*/ 337185 w 2443162"/>
                  <a:gd name="connsiteY158" fmla="*/ 690563 h 2161222"/>
                  <a:gd name="connsiteX159" fmla="*/ 326708 w 2443162"/>
                  <a:gd name="connsiteY159" fmla="*/ 699135 h 2161222"/>
                  <a:gd name="connsiteX160" fmla="*/ 304800 w 2443162"/>
                  <a:gd name="connsiteY160" fmla="*/ 717233 h 2161222"/>
                  <a:gd name="connsiteX161" fmla="*/ 282893 w 2443162"/>
                  <a:gd name="connsiteY161" fmla="*/ 737235 h 2161222"/>
                  <a:gd name="connsiteX162" fmla="*/ 271463 w 2443162"/>
                  <a:gd name="connsiteY162" fmla="*/ 747713 h 2161222"/>
                  <a:gd name="connsiteX163" fmla="*/ 260033 w 2443162"/>
                  <a:gd name="connsiteY163" fmla="*/ 758190 h 2161222"/>
                  <a:gd name="connsiteX164" fmla="*/ 248603 w 2443162"/>
                  <a:gd name="connsiteY164" fmla="*/ 769620 h 2161222"/>
                  <a:gd name="connsiteX165" fmla="*/ 238125 w 2443162"/>
                  <a:gd name="connsiteY165" fmla="*/ 782003 h 2161222"/>
                  <a:gd name="connsiteX166" fmla="*/ 232410 w 2443162"/>
                  <a:gd name="connsiteY166" fmla="*/ 788670 h 2161222"/>
                  <a:gd name="connsiteX167" fmla="*/ 226695 w 2443162"/>
                  <a:gd name="connsiteY167" fmla="*/ 797243 h 2161222"/>
                  <a:gd name="connsiteX168" fmla="*/ 220980 w 2443162"/>
                  <a:gd name="connsiteY168" fmla="*/ 806768 h 2161222"/>
                  <a:gd name="connsiteX169" fmla="*/ 215265 w 2443162"/>
                  <a:gd name="connsiteY169" fmla="*/ 816293 h 2161222"/>
                  <a:gd name="connsiteX170" fmla="*/ 209550 w 2443162"/>
                  <a:gd name="connsiteY170" fmla="*/ 826770 h 2161222"/>
                  <a:gd name="connsiteX171" fmla="*/ 203835 w 2443162"/>
                  <a:gd name="connsiteY171" fmla="*/ 838200 h 2161222"/>
                  <a:gd name="connsiteX172" fmla="*/ 198120 w 2443162"/>
                  <a:gd name="connsiteY172" fmla="*/ 849630 h 2161222"/>
                  <a:gd name="connsiteX173" fmla="*/ 192405 w 2443162"/>
                  <a:gd name="connsiteY173" fmla="*/ 861060 h 2161222"/>
                  <a:gd name="connsiteX174" fmla="*/ 187643 w 2443162"/>
                  <a:gd name="connsiteY174" fmla="*/ 873443 h 2161222"/>
                  <a:gd name="connsiteX175" fmla="*/ 180975 w 2443162"/>
                  <a:gd name="connsiteY175" fmla="*/ 884873 h 2161222"/>
                  <a:gd name="connsiteX176" fmla="*/ 176213 w 2443162"/>
                  <a:gd name="connsiteY176" fmla="*/ 897255 h 2161222"/>
                  <a:gd name="connsiteX177" fmla="*/ 172403 w 2443162"/>
                  <a:gd name="connsiteY177" fmla="*/ 909638 h 2161222"/>
                  <a:gd name="connsiteX178" fmla="*/ 168593 w 2443162"/>
                  <a:gd name="connsiteY178" fmla="*/ 922020 h 2161222"/>
                  <a:gd name="connsiteX179" fmla="*/ 165735 w 2443162"/>
                  <a:gd name="connsiteY179" fmla="*/ 933450 h 2161222"/>
                  <a:gd name="connsiteX180" fmla="*/ 162878 w 2443162"/>
                  <a:gd name="connsiteY180" fmla="*/ 944880 h 2161222"/>
                  <a:gd name="connsiteX181" fmla="*/ 160020 w 2443162"/>
                  <a:gd name="connsiteY181" fmla="*/ 956310 h 2161222"/>
                  <a:gd name="connsiteX182" fmla="*/ 149543 w 2443162"/>
                  <a:gd name="connsiteY182" fmla="*/ 860108 h 2161222"/>
                  <a:gd name="connsiteX183" fmla="*/ 146685 w 2443162"/>
                  <a:gd name="connsiteY183" fmla="*/ 841058 h 2161222"/>
                  <a:gd name="connsiteX184" fmla="*/ 142875 w 2443162"/>
                  <a:gd name="connsiteY184" fmla="*/ 822008 h 2161222"/>
                  <a:gd name="connsiteX185" fmla="*/ 140018 w 2443162"/>
                  <a:gd name="connsiteY185" fmla="*/ 802958 h 2161222"/>
                  <a:gd name="connsiteX186" fmla="*/ 137160 w 2443162"/>
                  <a:gd name="connsiteY186" fmla="*/ 782955 h 2161222"/>
                  <a:gd name="connsiteX187" fmla="*/ 133350 w 2443162"/>
                  <a:gd name="connsiteY187" fmla="*/ 763905 h 2161222"/>
                  <a:gd name="connsiteX188" fmla="*/ 130493 w 2443162"/>
                  <a:gd name="connsiteY188" fmla="*/ 743903 h 2161222"/>
                  <a:gd name="connsiteX189" fmla="*/ 128588 w 2443162"/>
                  <a:gd name="connsiteY189" fmla="*/ 723900 h 2161222"/>
                  <a:gd name="connsiteX190" fmla="*/ 126683 w 2443162"/>
                  <a:gd name="connsiteY190" fmla="*/ 703898 h 2161222"/>
                  <a:gd name="connsiteX191" fmla="*/ 125730 w 2443162"/>
                  <a:gd name="connsiteY191" fmla="*/ 683895 h 2161222"/>
                  <a:gd name="connsiteX192" fmla="*/ 125730 w 2443162"/>
                  <a:gd name="connsiteY192" fmla="*/ 663893 h 2161222"/>
                  <a:gd name="connsiteX193" fmla="*/ 125730 w 2443162"/>
                  <a:gd name="connsiteY193" fmla="*/ 643890 h 2161222"/>
                  <a:gd name="connsiteX194" fmla="*/ 126683 w 2443162"/>
                  <a:gd name="connsiteY194" fmla="*/ 623888 h 2161222"/>
                  <a:gd name="connsiteX195" fmla="*/ 126683 w 2443162"/>
                  <a:gd name="connsiteY195" fmla="*/ 614363 h 2161222"/>
                  <a:gd name="connsiteX196" fmla="*/ 127635 w 2443162"/>
                  <a:gd name="connsiteY196" fmla="*/ 603885 h 2161222"/>
                  <a:gd name="connsiteX197" fmla="*/ 128588 w 2443162"/>
                  <a:gd name="connsiteY197" fmla="*/ 594360 h 2161222"/>
                  <a:gd name="connsiteX198" fmla="*/ 130493 w 2443162"/>
                  <a:gd name="connsiteY198" fmla="*/ 584835 h 2161222"/>
                  <a:gd name="connsiteX199" fmla="*/ 131445 w 2443162"/>
                  <a:gd name="connsiteY199" fmla="*/ 575310 h 2161222"/>
                  <a:gd name="connsiteX200" fmla="*/ 133350 w 2443162"/>
                  <a:gd name="connsiteY200" fmla="*/ 565785 h 2161222"/>
                  <a:gd name="connsiteX201" fmla="*/ 135255 w 2443162"/>
                  <a:gd name="connsiteY201" fmla="*/ 556260 h 2161222"/>
                  <a:gd name="connsiteX202" fmla="*/ 138113 w 2443162"/>
                  <a:gd name="connsiteY202" fmla="*/ 546735 h 2161222"/>
                  <a:gd name="connsiteX203" fmla="*/ 123825 w 2443162"/>
                  <a:gd name="connsiteY203" fmla="*/ 570548 h 2161222"/>
                  <a:gd name="connsiteX204" fmla="*/ 109538 w 2443162"/>
                  <a:gd name="connsiteY204" fmla="*/ 596265 h 2161222"/>
                  <a:gd name="connsiteX205" fmla="*/ 101918 w 2443162"/>
                  <a:gd name="connsiteY205" fmla="*/ 609600 h 2161222"/>
                  <a:gd name="connsiteX206" fmla="*/ 95250 w 2443162"/>
                  <a:gd name="connsiteY206" fmla="*/ 622935 h 2161222"/>
                  <a:gd name="connsiteX207" fmla="*/ 88583 w 2443162"/>
                  <a:gd name="connsiteY207" fmla="*/ 636270 h 2161222"/>
                  <a:gd name="connsiteX208" fmla="*/ 82868 w 2443162"/>
                  <a:gd name="connsiteY208" fmla="*/ 649605 h 2161222"/>
                  <a:gd name="connsiteX209" fmla="*/ 77153 w 2443162"/>
                  <a:gd name="connsiteY209" fmla="*/ 662940 h 2161222"/>
                  <a:gd name="connsiteX210" fmla="*/ 72390 w 2443162"/>
                  <a:gd name="connsiteY210" fmla="*/ 676275 h 2161222"/>
                  <a:gd name="connsiteX211" fmla="*/ 67628 w 2443162"/>
                  <a:gd name="connsiteY211" fmla="*/ 690563 h 2161222"/>
                  <a:gd name="connsiteX212" fmla="*/ 64770 w 2443162"/>
                  <a:gd name="connsiteY212" fmla="*/ 704850 h 2161222"/>
                  <a:gd name="connsiteX213" fmla="*/ 61913 w 2443162"/>
                  <a:gd name="connsiteY213" fmla="*/ 719138 h 2161222"/>
                  <a:gd name="connsiteX214" fmla="*/ 60008 w 2443162"/>
                  <a:gd name="connsiteY214" fmla="*/ 734378 h 2161222"/>
                  <a:gd name="connsiteX215" fmla="*/ 59055 w 2443162"/>
                  <a:gd name="connsiteY215" fmla="*/ 741998 h 2161222"/>
                  <a:gd name="connsiteX216" fmla="*/ 58103 w 2443162"/>
                  <a:gd name="connsiteY216" fmla="*/ 749618 h 2161222"/>
                  <a:gd name="connsiteX217" fmla="*/ 58103 w 2443162"/>
                  <a:gd name="connsiteY217" fmla="*/ 757238 h 2161222"/>
                  <a:gd name="connsiteX218" fmla="*/ 58103 w 2443162"/>
                  <a:gd name="connsiteY218" fmla="*/ 764858 h 2161222"/>
                  <a:gd name="connsiteX219" fmla="*/ 58103 w 2443162"/>
                  <a:gd name="connsiteY219" fmla="*/ 775335 h 2161222"/>
                  <a:gd name="connsiteX220" fmla="*/ 59055 w 2443162"/>
                  <a:gd name="connsiteY220" fmla="*/ 785813 h 2161222"/>
                  <a:gd name="connsiteX221" fmla="*/ 60008 w 2443162"/>
                  <a:gd name="connsiteY221" fmla="*/ 796290 h 2161222"/>
                  <a:gd name="connsiteX222" fmla="*/ 60960 w 2443162"/>
                  <a:gd name="connsiteY222" fmla="*/ 806768 h 2161222"/>
                  <a:gd name="connsiteX223" fmla="*/ 61913 w 2443162"/>
                  <a:gd name="connsiteY223" fmla="*/ 817245 h 2161222"/>
                  <a:gd name="connsiteX224" fmla="*/ 63818 w 2443162"/>
                  <a:gd name="connsiteY224" fmla="*/ 827723 h 2161222"/>
                  <a:gd name="connsiteX225" fmla="*/ 65723 w 2443162"/>
                  <a:gd name="connsiteY225" fmla="*/ 837248 h 2161222"/>
                  <a:gd name="connsiteX226" fmla="*/ 68580 w 2443162"/>
                  <a:gd name="connsiteY226" fmla="*/ 846773 h 2161222"/>
                  <a:gd name="connsiteX227" fmla="*/ 71438 w 2443162"/>
                  <a:gd name="connsiteY227" fmla="*/ 856298 h 2161222"/>
                  <a:gd name="connsiteX228" fmla="*/ 74295 w 2443162"/>
                  <a:gd name="connsiteY228" fmla="*/ 865823 h 2161222"/>
                  <a:gd name="connsiteX229" fmla="*/ 77153 w 2443162"/>
                  <a:gd name="connsiteY229" fmla="*/ 875348 h 2161222"/>
                  <a:gd name="connsiteX230" fmla="*/ 80963 w 2443162"/>
                  <a:gd name="connsiteY230" fmla="*/ 884873 h 2161222"/>
                  <a:gd name="connsiteX231" fmla="*/ 87630 w 2443162"/>
                  <a:gd name="connsiteY231" fmla="*/ 902970 h 2161222"/>
                  <a:gd name="connsiteX232" fmla="*/ 95250 w 2443162"/>
                  <a:gd name="connsiteY232" fmla="*/ 920115 h 2161222"/>
                  <a:gd name="connsiteX233" fmla="*/ 111443 w 2443162"/>
                  <a:gd name="connsiteY233" fmla="*/ 955358 h 2161222"/>
                  <a:gd name="connsiteX234" fmla="*/ 128588 w 2443162"/>
                  <a:gd name="connsiteY234" fmla="*/ 990600 h 2161222"/>
                  <a:gd name="connsiteX235" fmla="*/ 136208 w 2443162"/>
                  <a:gd name="connsiteY235" fmla="*/ 1008698 h 2161222"/>
                  <a:gd name="connsiteX236" fmla="*/ 143828 w 2443162"/>
                  <a:gd name="connsiteY236" fmla="*/ 1026795 h 2161222"/>
                  <a:gd name="connsiteX237" fmla="*/ 150495 w 2443162"/>
                  <a:gd name="connsiteY237" fmla="*/ 1044893 h 2161222"/>
                  <a:gd name="connsiteX238" fmla="*/ 156210 w 2443162"/>
                  <a:gd name="connsiteY238" fmla="*/ 1063943 h 2161222"/>
                  <a:gd name="connsiteX239" fmla="*/ 157163 w 2443162"/>
                  <a:gd name="connsiteY239" fmla="*/ 1058228 h 2161222"/>
                  <a:gd name="connsiteX240" fmla="*/ 158115 w 2443162"/>
                  <a:gd name="connsiteY240" fmla="*/ 1051560 h 2161222"/>
                  <a:gd name="connsiteX241" fmla="*/ 160020 w 2443162"/>
                  <a:gd name="connsiteY241" fmla="*/ 1044893 h 2161222"/>
                  <a:gd name="connsiteX242" fmla="*/ 161925 w 2443162"/>
                  <a:gd name="connsiteY242" fmla="*/ 1038225 h 2161222"/>
                  <a:gd name="connsiteX243" fmla="*/ 164783 w 2443162"/>
                  <a:gd name="connsiteY243" fmla="*/ 1031558 h 2161222"/>
                  <a:gd name="connsiteX244" fmla="*/ 167640 w 2443162"/>
                  <a:gd name="connsiteY244" fmla="*/ 1023938 h 2161222"/>
                  <a:gd name="connsiteX245" fmla="*/ 171450 w 2443162"/>
                  <a:gd name="connsiteY245" fmla="*/ 1016318 h 2161222"/>
                  <a:gd name="connsiteX246" fmla="*/ 175260 w 2443162"/>
                  <a:gd name="connsiteY246" fmla="*/ 1008698 h 2161222"/>
                  <a:gd name="connsiteX247" fmla="*/ 182880 w 2443162"/>
                  <a:gd name="connsiteY247" fmla="*/ 992505 h 2161222"/>
                  <a:gd name="connsiteX248" fmla="*/ 191453 w 2443162"/>
                  <a:gd name="connsiteY248" fmla="*/ 976313 h 2161222"/>
                  <a:gd name="connsiteX249" fmla="*/ 200978 w 2443162"/>
                  <a:gd name="connsiteY249" fmla="*/ 960120 h 2161222"/>
                  <a:gd name="connsiteX250" fmla="*/ 211455 w 2443162"/>
                  <a:gd name="connsiteY250" fmla="*/ 943928 h 2161222"/>
                  <a:gd name="connsiteX251" fmla="*/ 221933 w 2443162"/>
                  <a:gd name="connsiteY251" fmla="*/ 927735 h 2161222"/>
                  <a:gd name="connsiteX252" fmla="*/ 232410 w 2443162"/>
                  <a:gd name="connsiteY252" fmla="*/ 912495 h 2161222"/>
                  <a:gd name="connsiteX253" fmla="*/ 242888 w 2443162"/>
                  <a:gd name="connsiteY253" fmla="*/ 897255 h 2161222"/>
                  <a:gd name="connsiteX254" fmla="*/ 253365 w 2443162"/>
                  <a:gd name="connsiteY254" fmla="*/ 883920 h 2161222"/>
                  <a:gd name="connsiteX255" fmla="*/ 263843 w 2443162"/>
                  <a:gd name="connsiteY255" fmla="*/ 870585 h 2161222"/>
                  <a:gd name="connsiteX256" fmla="*/ 273368 w 2443162"/>
                  <a:gd name="connsiteY256" fmla="*/ 859155 h 2161222"/>
                  <a:gd name="connsiteX257" fmla="*/ 281940 w 2443162"/>
                  <a:gd name="connsiteY257" fmla="*/ 848678 h 2161222"/>
                  <a:gd name="connsiteX258" fmla="*/ 290513 w 2443162"/>
                  <a:gd name="connsiteY258" fmla="*/ 840105 h 2161222"/>
                  <a:gd name="connsiteX259" fmla="*/ 301943 w 2443162"/>
                  <a:gd name="connsiteY259" fmla="*/ 824865 h 2161222"/>
                  <a:gd name="connsiteX260" fmla="*/ 312420 w 2443162"/>
                  <a:gd name="connsiteY260" fmla="*/ 811530 h 2161222"/>
                  <a:gd name="connsiteX261" fmla="*/ 321945 w 2443162"/>
                  <a:gd name="connsiteY261" fmla="*/ 799148 h 2161222"/>
                  <a:gd name="connsiteX262" fmla="*/ 329565 w 2443162"/>
                  <a:gd name="connsiteY262" fmla="*/ 787718 h 2161222"/>
                  <a:gd name="connsiteX263" fmla="*/ 336233 w 2443162"/>
                  <a:gd name="connsiteY263" fmla="*/ 777240 h 2161222"/>
                  <a:gd name="connsiteX264" fmla="*/ 341948 w 2443162"/>
                  <a:gd name="connsiteY264" fmla="*/ 766763 h 2161222"/>
                  <a:gd name="connsiteX265" fmla="*/ 347663 w 2443162"/>
                  <a:gd name="connsiteY265" fmla="*/ 756285 h 2161222"/>
                  <a:gd name="connsiteX266" fmla="*/ 352425 w 2443162"/>
                  <a:gd name="connsiteY266" fmla="*/ 745808 h 2161222"/>
                  <a:gd name="connsiteX267" fmla="*/ 357188 w 2443162"/>
                  <a:gd name="connsiteY267" fmla="*/ 735330 h 2161222"/>
                  <a:gd name="connsiteX268" fmla="*/ 361950 w 2443162"/>
                  <a:gd name="connsiteY268" fmla="*/ 724853 h 2161222"/>
                  <a:gd name="connsiteX269" fmla="*/ 366713 w 2443162"/>
                  <a:gd name="connsiteY269" fmla="*/ 713423 h 2161222"/>
                  <a:gd name="connsiteX270" fmla="*/ 371475 w 2443162"/>
                  <a:gd name="connsiteY270" fmla="*/ 701040 h 2161222"/>
                  <a:gd name="connsiteX271" fmla="*/ 381953 w 2443162"/>
                  <a:gd name="connsiteY271" fmla="*/ 672465 h 2161222"/>
                  <a:gd name="connsiteX272" fmla="*/ 390525 w 2443162"/>
                  <a:gd name="connsiteY272" fmla="*/ 633413 h 2161222"/>
                  <a:gd name="connsiteX273" fmla="*/ 390525 w 2443162"/>
                  <a:gd name="connsiteY273" fmla="*/ 633413 h 2161222"/>
                  <a:gd name="connsiteX274" fmla="*/ 310515 w 2443162"/>
                  <a:gd name="connsiteY274" fmla="*/ 882968 h 2161222"/>
                  <a:gd name="connsiteX275" fmla="*/ 295275 w 2443162"/>
                  <a:gd name="connsiteY275" fmla="*/ 902970 h 2161222"/>
                  <a:gd name="connsiteX276" fmla="*/ 280988 w 2443162"/>
                  <a:gd name="connsiteY276" fmla="*/ 922973 h 2161222"/>
                  <a:gd name="connsiteX277" fmla="*/ 266700 w 2443162"/>
                  <a:gd name="connsiteY277" fmla="*/ 942023 h 2161222"/>
                  <a:gd name="connsiteX278" fmla="*/ 253365 w 2443162"/>
                  <a:gd name="connsiteY278" fmla="*/ 961073 h 2161222"/>
                  <a:gd name="connsiteX279" fmla="*/ 240983 w 2443162"/>
                  <a:gd name="connsiteY279" fmla="*/ 979170 h 2161222"/>
                  <a:gd name="connsiteX280" fmla="*/ 229553 w 2443162"/>
                  <a:gd name="connsiteY280" fmla="*/ 998220 h 2161222"/>
                  <a:gd name="connsiteX281" fmla="*/ 224790 w 2443162"/>
                  <a:gd name="connsiteY281" fmla="*/ 1007745 h 2161222"/>
                  <a:gd name="connsiteX282" fmla="*/ 220028 w 2443162"/>
                  <a:gd name="connsiteY282" fmla="*/ 1017270 h 2161222"/>
                  <a:gd name="connsiteX283" fmla="*/ 215265 w 2443162"/>
                  <a:gd name="connsiteY283" fmla="*/ 1026795 h 2161222"/>
                  <a:gd name="connsiteX284" fmla="*/ 210503 w 2443162"/>
                  <a:gd name="connsiteY284" fmla="*/ 1036320 h 2161222"/>
                  <a:gd name="connsiteX285" fmla="*/ 205740 w 2443162"/>
                  <a:gd name="connsiteY285" fmla="*/ 1045845 h 2161222"/>
                  <a:gd name="connsiteX286" fmla="*/ 201930 w 2443162"/>
                  <a:gd name="connsiteY286" fmla="*/ 1055370 h 2161222"/>
                  <a:gd name="connsiteX287" fmla="*/ 198120 w 2443162"/>
                  <a:gd name="connsiteY287" fmla="*/ 1064895 h 2161222"/>
                  <a:gd name="connsiteX288" fmla="*/ 194310 w 2443162"/>
                  <a:gd name="connsiteY288" fmla="*/ 1075373 h 2161222"/>
                  <a:gd name="connsiteX289" fmla="*/ 191453 w 2443162"/>
                  <a:gd name="connsiteY289" fmla="*/ 1085850 h 2161222"/>
                  <a:gd name="connsiteX290" fmla="*/ 188595 w 2443162"/>
                  <a:gd name="connsiteY290" fmla="*/ 1096328 h 2161222"/>
                  <a:gd name="connsiteX291" fmla="*/ 186690 w 2443162"/>
                  <a:gd name="connsiteY291" fmla="*/ 1106805 h 2161222"/>
                  <a:gd name="connsiteX292" fmla="*/ 184785 w 2443162"/>
                  <a:gd name="connsiteY292" fmla="*/ 1118235 h 2161222"/>
                  <a:gd name="connsiteX293" fmla="*/ 182880 w 2443162"/>
                  <a:gd name="connsiteY293" fmla="*/ 1129665 h 2161222"/>
                  <a:gd name="connsiteX294" fmla="*/ 180975 w 2443162"/>
                  <a:gd name="connsiteY294" fmla="*/ 1141095 h 2161222"/>
                  <a:gd name="connsiteX295" fmla="*/ 180023 w 2443162"/>
                  <a:gd name="connsiteY295" fmla="*/ 1153478 h 2161222"/>
                  <a:gd name="connsiteX296" fmla="*/ 179070 w 2443162"/>
                  <a:gd name="connsiteY296" fmla="*/ 1165860 h 2161222"/>
                  <a:gd name="connsiteX297" fmla="*/ 179070 w 2443162"/>
                  <a:gd name="connsiteY297" fmla="*/ 1179195 h 2161222"/>
                  <a:gd name="connsiteX298" fmla="*/ 179070 w 2443162"/>
                  <a:gd name="connsiteY298" fmla="*/ 1192530 h 2161222"/>
                  <a:gd name="connsiteX299" fmla="*/ 179070 w 2443162"/>
                  <a:gd name="connsiteY299" fmla="*/ 1206818 h 2161222"/>
                  <a:gd name="connsiteX300" fmla="*/ 180023 w 2443162"/>
                  <a:gd name="connsiteY300" fmla="*/ 1221105 h 2161222"/>
                  <a:gd name="connsiteX301" fmla="*/ 177165 w 2443162"/>
                  <a:gd name="connsiteY301" fmla="*/ 1208723 h 2161222"/>
                  <a:gd name="connsiteX302" fmla="*/ 173355 w 2443162"/>
                  <a:gd name="connsiteY302" fmla="*/ 1196340 h 2161222"/>
                  <a:gd name="connsiteX303" fmla="*/ 169545 w 2443162"/>
                  <a:gd name="connsiteY303" fmla="*/ 1183958 h 2161222"/>
                  <a:gd name="connsiteX304" fmla="*/ 165735 w 2443162"/>
                  <a:gd name="connsiteY304" fmla="*/ 1171575 h 2161222"/>
                  <a:gd name="connsiteX305" fmla="*/ 160973 w 2443162"/>
                  <a:gd name="connsiteY305" fmla="*/ 1159193 h 2161222"/>
                  <a:gd name="connsiteX306" fmla="*/ 156210 w 2443162"/>
                  <a:gd name="connsiteY306" fmla="*/ 1146810 h 2161222"/>
                  <a:gd name="connsiteX307" fmla="*/ 150495 w 2443162"/>
                  <a:gd name="connsiteY307" fmla="*/ 1134428 h 2161222"/>
                  <a:gd name="connsiteX308" fmla="*/ 145733 w 2443162"/>
                  <a:gd name="connsiteY308" fmla="*/ 1122045 h 2161222"/>
                  <a:gd name="connsiteX309" fmla="*/ 133350 w 2443162"/>
                  <a:gd name="connsiteY309" fmla="*/ 1097280 h 2161222"/>
                  <a:gd name="connsiteX310" fmla="*/ 120968 w 2443162"/>
                  <a:gd name="connsiteY310" fmla="*/ 1072515 h 2161222"/>
                  <a:gd name="connsiteX311" fmla="*/ 107633 w 2443162"/>
                  <a:gd name="connsiteY311" fmla="*/ 1047750 h 2161222"/>
                  <a:gd name="connsiteX312" fmla="*/ 94298 w 2443162"/>
                  <a:gd name="connsiteY312" fmla="*/ 1023938 h 2161222"/>
                  <a:gd name="connsiteX313" fmla="*/ 81915 w 2443162"/>
                  <a:gd name="connsiteY313" fmla="*/ 1000125 h 2161222"/>
                  <a:gd name="connsiteX314" fmla="*/ 69533 w 2443162"/>
                  <a:gd name="connsiteY314" fmla="*/ 976313 h 2161222"/>
                  <a:gd name="connsiteX315" fmla="*/ 63818 w 2443162"/>
                  <a:gd name="connsiteY315" fmla="*/ 964883 h 2161222"/>
                  <a:gd name="connsiteX316" fmla="*/ 58103 w 2443162"/>
                  <a:gd name="connsiteY316" fmla="*/ 953453 h 2161222"/>
                  <a:gd name="connsiteX317" fmla="*/ 53340 w 2443162"/>
                  <a:gd name="connsiteY317" fmla="*/ 942023 h 2161222"/>
                  <a:gd name="connsiteX318" fmla="*/ 48578 w 2443162"/>
                  <a:gd name="connsiteY318" fmla="*/ 930593 h 2161222"/>
                  <a:gd name="connsiteX319" fmla="*/ 43815 w 2443162"/>
                  <a:gd name="connsiteY319" fmla="*/ 919163 h 2161222"/>
                  <a:gd name="connsiteX320" fmla="*/ 40005 w 2443162"/>
                  <a:gd name="connsiteY320" fmla="*/ 907733 h 2161222"/>
                  <a:gd name="connsiteX321" fmla="*/ 38100 w 2443162"/>
                  <a:gd name="connsiteY321" fmla="*/ 899160 h 2161222"/>
                  <a:gd name="connsiteX322" fmla="*/ 35243 w 2443162"/>
                  <a:gd name="connsiteY322" fmla="*/ 887730 h 2161222"/>
                  <a:gd name="connsiteX323" fmla="*/ 32385 w 2443162"/>
                  <a:gd name="connsiteY323" fmla="*/ 876300 h 2161222"/>
                  <a:gd name="connsiteX324" fmla="*/ 30480 w 2443162"/>
                  <a:gd name="connsiteY324" fmla="*/ 865823 h 2161222"/>
                  <a:gd name="connsiteX325" fmla="*/ 29528 w 2443162"/>
                  <a:gd name="connsiteY325" fmla="*/ 855345 h 2161222"/>
                  <a:gd name="connsiteX326" fmla="*/ 28575 w 2443162"/>
                  <a:gd name="connsiteY326" fmla="*/ 843915 h 2161222"/>
                  <a:gd name="connsiteX327" fmla="*/ 23813 w 2443162"/>
                  <a:gd name="connsiteY327" fmla="*/ 867728 h 2161222"/>
                  <a:gd name="connsiteX328" fmla="*/ 20003 w 2443162"/>
                  <a:gd name="connsiteY328" fmla="*/ 890588 h 2161222"/>
                  <a:gd name="connsiteX329" fmla="*/ 17145 w 2443162"/>
                  <a:gd name="connsiteY329" fmla="*/ 912495 h 2161222"/>
                  <a:gd name="connsiteX330" fmla="*/ 15240 w 2443162"/>
                  <a:gd name="connsiteY330" fmla="*/ 933450 h 2161222"/>
                  <a:gd name="connsiteX331" fmla="*/ 14288 w 2443162"/>
                  <a:gd name="connsiteY331" fmla="*/ 952500 h 2161222"/>
                  <a:gd name="connsiteX332" fmla="*/ 14288 w 2443162"/>
                  <a:gd name="connsiteY332" fmla="*/ 971550 h 2161222"/>
                  <a:gd name="connsiteX333" fmla="*/ 14288 w 2443162"/>
                  <a:gd name="connsiteY333" fmla="*/ 989648 h 2161222"/>
                  <a:gd name="connsiteX334" fmla="*/ 15240 w 2443162"/>
                  <a:gd name="connsiteY334" fmla="*/ 1006793 h 2161222"/>
                  <a:gd name="connsiteX335" fmla="*/ 17145 w 2443162"/>
                  <a:gd name="connsiteY335" fmla="*/ 1022985 h 2161222"/>
                  <a:gd name="connsiteX336" fmla="*/ 20003 w 2443162"/>
                  <a:gd name="connsiteY336" fmla="*/ 1038225 h 2161222"/>
                  <a:gd name="connsiteX337" fmla="*/ 23813 w 2443162"/>
                  <a:gd name="connsiteY337" fmla="*/ 1052513 h 2161222"/>
                  <a:gd name="connsiteX338" fmla="*/ 27623 w 2443162"/>
                  <a:gd name="connsiteY338" fmla="*/ 1066800 h 2161222"/>
                  <a:gd name="connsiteX339" fmla="*/ 32385 w 2443162"/>
                  <a:gd name="connsiteY339" fmla="*/ 1081088 h 2161222"/>
                  <a:gd name="connsiteX340" fmla="*/ 37148 w 2443162"/>
                  <a:gd name="connsiteY340" fmla="*/ 1094423 h 2161222"/>
                  <a:gd name="connsiteX341" fmla="*/ 42863 w 2443162"/>
                  <a:gd name="connsiteY341" fmla="*/ 1107758 h 2161222"/>
                  <a:gd name="connsiteX342" fmla="*/ 49530 w 2443162"/>
                  <a:gd name="connsiteY342" fmla="*/ 1120140 h 2161222"/>
                  <a:gd name="connsiteX343" fmla="*/ 56198 w 2443162"/>
                  <a:gd name="connsiteY343" fmla="*/ 1132523 h 2161222"/>
                  <a:gd name="connsiteX344" fmla="*/ 63818 w 2443162"/>
                  <a:gd name="connsiteY344" fmla="*/ 1144905 h 2161222"/>
                  <a:gd name="connsiteX345" fmla="*/ 71438 w 2443162"/>
                  <a:gd name="connsiteY345" fmla="*/ 1157288 h 2161222"/>
                  <a:gd name="connsiteX346" fmla="*/ 80010 w 2443162"/>
                  <a:gd name="connsiteY346" fmla="*/ 1168718 h 2161222"/>
                  <a:gd name="connsiteX347" fmla="*/ 88583 w 2443162"/>
                  <a:gd name="connsiteY347" fmla="*/ 1181100 h 2161222"/>
                  <a:gd name="connsiteX348" fmla="*/ 98108 w 2443162"/>
                  <a:gd name="connsiteY348" fmla="*/ 1192530 h 2161222"/>
                  <a:gd name="connsiteX349" fmla="*/ 107633 w 2443162"/>
                  <a:gd name="connsiteY349" fmla="*/ 1204913 h 2161222"/>
                  <a:gd name="connsiteX350" fmla="*/ 117158 w 2443162"/>
                  <a:gd name="connsiteY350" fmla="*/ 1217295 h 2161222"/>
                  <a:gd name="connsiteX351" fmla="*/ 138113 w 2443162"/>
                  <a:gd name="connsiteY351" fmla="*/ 1242060 h 2161222"/>
                  <a:gd name="connsiteX352" fmla="*/ 160020 w 2443162"/>
                  <a:gd name="connsiteY352" fmla="*/ 1268730 h 2161222"/>
                  <a:gd name="connsiteX353" fmla="*/ 171450 w 2443162"/>
                  <a:gd name="connsiteY353" fmla="*/ 1283018 h 2161222"/>
                  <a:gd name="connsiteX354" fmla="*/ 182880 w 2443162"/>
                  <a:gd name="connsiteY354" fmla="*/ 1297305 h 2161222"/>
                  <a:gd name="connsiteX355" fmla="*/ 195263 w 2443162"/>
                  <a:gd name="connsiteY355" fmla="*/ 1312545 h 2161222"/>
                  <a:gd name="connsiteX356" fmla="*/ 207645 w 2443162"/>
                  <a:gd name="connsiteY356" fmla="*/ 1328738 h 2161222"/>
                  <a:gd name="connsiteX357" fmla="*/ 206693 w 2443162"/>
                  <a:gd name="connsiteY357" fmla="*/ 1317308 h 2161222"/>
                  <a:gd name="connsiteX358" fmla="*/ 206693 w 2443162"/>
                  <a:gd name="connsiteY358" fmla="*/ 1305878 h 2161222"/>
                  <a:gd name="connsiteX359" fmla="*/ 206693 w 2443162"/>
                  <a:gd name="connsiteY359" fmla="*/ 1294448 h 2161222"/>
                  <a:gd name="connsiteX360" fmla="*/ 207645 w 2443162"/>
                  <a:gd name="connsiteY360" fmla="*/ 1283018 h 2161222"/>
                  <a:gd name="connsiteX361" fmla="*/ 209550 w 2443162"/>
                  <a:gd name="connsiteY361" fmla="*/ 1270635 h 2161222"/>
                  <a:gd name="connsiteX362" fmla="*/ 211455 w 2443162"/>
                  <a:gd name="connsiteY362" fmla="*/ 1258253 h 2161222"/>
                  <a:gd name="connsiteX363" fmla="*/ 214313 w 2443162"/>
                  <a:gd name="connsiteY363" fmla="*/ 1245870 h 2161222"/>
                  <a:gd name="connsiteX364" fmla="*/ 218123 w 2443162"/>
                  <a:gd name="connsiteY364" fmla="*/ 1233488 h 2161222"/>
                  <a:gd name="connsiteX365" fmla="*/ 221933 w 2443162"/>
                  <a:gd name="connsiteY365" fmla="*/ 1221105 h 2161222"/>
                  <a:gd name="connsiteX366" fmla="*/ 226695 w 2443162"/>
                  <a:gd name="connsiteY366" fmla="*/ 1207770 h 2161222"/>
                  <a:gd name="connsiteX367" fmla="*/ 231458 w 2443162"/>
                  <a:gd name="connsiteY367" fmla="*/ 1194435 h 2161222"/>
                  <a:gd name="connsiteX368" fmla="*/ 236220 w 2443162"/>
                  <a:gd name="connsiteY368" fmla="*/ 1181100 h 2161222"/>
                  <a:gd name="connsiteX369" fmla="*/ 246698 w 2443162"/>
                  <a:gd name="connsiteY369" fmla="*/ 1154430 h 2161222"/>
                  <a:gd name="connsiteX370" fmla="*/ 257175 w 2443162"/>
                  <a:gd name="connsiteY370" fmla="*/ 1126808 h 2161222"/>
                  <a:gd name="connsiteX371" fmla="*/ 268605 w 2443162"/>
                  <a:gd name="connsiteY371" fmla="*/ 1099185 h 2161222"/>
                  <a:gd name="connsiteX372" fmla="*/ 279083 w 2443162"/>
                  <a:gd name="connsiteY372" fmla="*/ 1070610 h 2161222"/>
                  <a:gd name="connsiteX373" fmla="*/ 283845 w 2443162"/>
                  <a:gd name="connsiteY373" fmla="*/ 1056323 h 2161222"/>
                  <a:gd name="connsiteX374" fmla="*/ 288608 w 2443162"/>
                  <a:gd name="connsiteY374" fmla="*/ 1042035 h 2161222"/>
                  <a:gd name="connsiteX375" fmla="*/ 293370 w 2443162"/>
                  <a:gd name="connsiteY375" fmla="*/ 1026795 h 2161222"/>
                  <a:gd name="connsiteX376" fmla="*/ 297180 w 2443162"/>
                  <a:gd name="connsiteY376" fmla="*/ 1011555 h 2161222"/>
                  <a:gd name="connsiteX377" fmla="*/ 300990 w 2443162"/>
                  <a:gd name="connsiteY377" fmla="*/ 996315 h 2161222"/>
                  <a:gd name="connsiteX378" fmla="*/ 303848 w 2443162"/>
                  <a:gd name="connsiteY378" fmla="*/ 981075 h 2161222"/>
                  <a:gd name="connsiteX379" fmla="*/ 306705 w 2443162"/>
                  <a:gd name="connsiteY379" fmla="*/ 964883 h 2161222"/>
                  <a:gd name="connsiteX380" fmla="*/ 308610 w 2443162"/>
                  <a:gd name="connsiteY380" fmla="*/ 949643 h 2161222"/>
                  <a:gd name="connsiteX381" fmla="*/ 309563 w 2443162"/>
                  <a:gd name="connsiteY381" fmla="*/ 933450 h 2161222"/>
                  <a:gd name="connsiteX382" fmla="*/ 310515 w 2443162"/>
                  <a:gd name="connsiteY382" fmla="*/ 917258 h 2161222"/>
                  <a:gd name="connsiteX383" fmla="*/ 310515 w 2443162"/>
                  <a:gd name="connsiteY383" fmla="*/ 901065 h 2161222"/>
                  <a:gd name="connsiteX384" fmla="*/ 310515 w 2443162"/>
                  <a:gd name="connsiteY384" fmla="*/ 882968 h 2161222"/>
                  <a:gd name="connsiteX385" fmla="*/ 310515 w 2443162"/>
                  <a:gd name="connsiteY385" fmla="*/ 882968 h 2161222"/>
                  <a:gd name="connsiteX386" fmla="*/ 332423 w 2443162"/>
                  <a:gd name="connsiteY386" fmla="*/ 1591628 h 2161222"/>
                  <a:gd name="connsiteX387" fmla="*/ 328613 w 2443162"/>
                  <a:gd name="connsiteY387" fmla="*/ 1579245 h 2161222"/>
                  <a:gd name="connsiteX388" fmla="*/ 325755 w 2443162"/>
                  <a:gd name="connsiteY388" fmla="*/ 1566863 h 2161222"/>
                  <a:gd name="connsiteX389" fmla="*/ 322898 w 2443162"/>
                  <a:gd name="connsiteY389" fmla="*/ 1553528 h 2161222"/>
                  <a:gd name="connsiteX390" fmla="*/ 320993 w 2443162"/>
                  <a:gd name="connsiteY390" fmla="*/ 1540193 h 2161222"/>
                  <a:gd name="connsiteX391" fmla="*/ 320040 w 2443162"/>
                  <a:gd name="connsiteY391" fmla="*/ 1526858 h 2161222"/>
                  <a:gd name="connsiteX392" fmla="*/ 319088 w 2443162"/>
                  <a:gd name="connsiteY392" fmla="*/ 1512570 h 2161222"/>
                  <a:gd name="connsiteX393" fmla="*/ 319088 w 2443162"/>
                  <a:gd name="connsiteY393" fmla="*/ 1498283 h 2161222"/>
                  <a:gd name="connsiteX394" fmla="*/ 319088 w 2443162"/>
                  <a:gd name="connsiteY394" fmla="*/ 1482090 h 2161222"/>
                  <a:gd name="connsiteX395" fmla="*/ 319088 w 2443162"/>
                  <a:gd name="connsiteY395" fmla="*/ 1467803 h 2161222"/>
                  <a:gd name="connsiteX396" fmla="*/ 320040 w 2443162"/>
                  <a:gd name="connsiteY396" fmla="*/ 1453515 h 2161222"/>
                  <a:gd name="connsiteX397" fmla="*/ 320993 w 2443162"/>
                  <a:gd name="connsiteY397" fmla="*/ 1438275 h 2161222"/>
                  <a:gd name="connsiteX398" fmla="*/ 321945 w 2443162"/>
                  <a:gd name="connsiteY398" fmla="*/ 1423035 h 2161222"/>
                  <a:gd name="connsiteX399" fmla="*/ 323850 w 2443162"/>
                  <a:gd name="connsiteY399" fmla="*/ 1390650 h 2161222"/>
                  <a:gd name="connsiteX400" fmla="*/ 326708 w 2443162"/>
                  <a:gd name="connsiteY400" fmla="*/ 1359218 h 2161222"/>
                  <a:gd name="connsiteX401" fmla="*/ 329565 w 2443162"/>
                  <a:gd name="connsiteY401" fmla="*/ 1327785 h 2161222"/>
                  <a:gd name="connsiteX402" fmla="*/ 331470 w 2443162"/>
                  <a:gd name="connsiteY402" fmla="*/ 1296353 h 2161222"/>
                  <a:gd name="connsiteX403" fmla="*/ 331470 w 2443162"/>
                  <a:gd name="connsiteY403" fmla="*/ 1280160 h 2161222"/>
                  <a:gd name="connsiteX404" fmla="*/ 331470 w 2443162"/>
                  <a:gd name="connsiteY404" fmla="*/ 1264920 h 2161222"/>
                  <a:gd name="connsiteX405" fmla="*/ 331470 w 2443162"/>
                  <a:gd name="connsiteY405" fmla="*/ 1248728 h 2161222"/>
                  <a:gd name="connsiteX406" fmla="*/ 331470 w 2443162"/>
                  <a:gd name="connsiteY406" fmla="*/ 1233488 h 2161222"/>
                  <a:gd name="connsiteX407" fmla="*/ 330518 w 2443162"/>
                  <a:gd name="connsiteY407" fmla="*/ 1218248 h 2161222"/>
                  <a:gd name="connsiteX408" fmla="*/ 328613 w 2443162"/>
                  <a:gd name="connsiteY408" fmla="*/ 1203008 h 2161222"/>
                  <a:gd name="connsiteX409" fmla="*/ 326708 w 2443162"/>
                  <a:gd name="connsiteY409" fmla="*/ 1187768 h 2161222"/>
                  <a:gd name="connsiteX410" fmla="*/ 323850 w 2443162"/>
                  <a:gd name="connsiteY410" fmla="*/ 1172528 h 2161222"/>
                  <a:gd name="connsiteX411" fmla="*/ 320040 w 2443162"/>
                  <a:gd name="connsiteY411" fmla="*/ 1157288 h 2161222"/>
                  <a:gd name="connsiteX412" fmla="*/ 314325 w 2443162"/>
                  <a:gd name="connsiteY412" fmla="*/ 1143000 h 2161222"/>
                  <a:gd name="connsiteX413" fmla="*/ 309563 w 2443162"/>
                  <a:gd name="connsiteY413" fmla="*/ 1128713 h 2161222"/>
                  <a:gd name="connsiteX414" fmla="*/ 303848 w 2443162"/>
                  <a:gd name="connsiteY414" fmla="*/ 1114425 h 2161222"/>
                  <a:gd name="connsiteX415" fmla="*/ 297180 w 2443162"/>
                  <a:gd name="connsiteY415" fmla="*/ 1137285 h 2161222"/>
                  <a:gd name="connsiteX416" fmla="*/ 290513 w 2443162"/>
                  <a:gd name="connsiteY416" fmla="*/ 1159193 h 2161222"/>
                  <a:gd name="connsiteX417" fmla="*/ 283845 w 2443162"/>
                  <a:gd name="connsiteY417" fmla="*/ 1181100 h 2161222"/>
                  <a:gd name="connsiteX418" fmla="*/ 277178 w 2443162"/>
                  <a:gd name="connsiteY418" fmla="*/ 1202055 h 2161222"/>
                  <a:gd name="connsiteX419" fmla="*/ 271463 w 2443162"/>
                  <a:gd name="connsiteY419" fmla="*/ 1223963 h 2161222"/>
                  <a:gd name="connsiteX420" fmla="*/ 265748 w 2443162"/>
                  <a:gd name="connsiteY420" fmla="*/ 1244918 h 2161222"/>
                  <a:gd name="connsiteX421" fmla="*/ 260985 w 2443162"/>
                  <a:gd name="connsiteY421" fmla="*/ 1266825 h 2161222"/>
                  <a:gd name="connsiteX422" fmla="*/ 257175 w 2443162"/>
                  <a:gd name="connsiteY422" fmla="*/ 1288733 h 2161222"/>
                  <a:gd name="connsiteX423" fmla="*/ 256223 w 2443162"/>
                  <a:gd name="connsiteY423" fmla="*/ 1300163 h 2161222"/>
                  <a:gd name="connsiteX424" fmla="*/ 255270 w 2443162"/>
                  <a:gd name="connsiteY424" fmla="*/ 1311593 h 2161222"/>
                  <a:gd name="connsiteX425" fmla="*/ 254318 w 2443162"/>
                  <a:gd name="connsiteY425" fmla="*/ 1323023 h 2161222"/>
                  <a:gd name="connsiteX426" fmla="*/ 253365 w 2443162"/>
                  <a:gd name="connsiteY426" fmla="*/ 1334453 h 2161222"/>
                  <a:gd name="connsiteX427" fmla="*/ 253365 w 2443162"/>
                  <a:gd name="connsiteY427" fmla="*/ 1345883 h 2161222"/>
                  <a:gd name="connsiteX428" fmla="*/ 253365 w 2443162"/>
                  <a:gd name="connsiteY428" fmla="*/ 1358265 h 2161222"/>
                  <a:gd name="connsiteX429" fmla="*/ 253365 w 2443162"/>
                  <a:gd name="connsiteY429" fmla="*/ 1370648 h 2161222"/>
                  <a:gd name="connsiteX430" fmla="*/ 254318 w 2443162"/>
                  <a:gd name="connsiteY430" fmla="*/ 1383030 h 2161222"/>
                  <a:gd name="connsiteX431" fmla="*/ 255270 w 2443162"/>
                  <a:gd name="connsiteY431" fmla="*/ 1395413 h 2161222"/>
                  <a:gd name="connsiteX432" fmla="*/ 256223 w 2443162"/>
                  <a:gd name="connsiteY432" fmla="*/ 1407795 h 2161222"/>
                  <a:gd name="connsiteX433" fmla="*/ 258128 w 2443162"/>
                  <a:gd name="connsiteY433" fmla="*/ 1421130 h 2161222"/>
                  <a:gd name="connsiteX434" fmla="*/ 260033 w 2443162"/>
                  <a:gd name="connsiteY434" fmla="*/ 1434465 h 2161222"/>
                  <a:gd name="connsiteX435" fmla="*/ 262890 w 2443162"/>
                  <a:gd name="connsiteY435" fmla="*/ 1447800 h 2161222"/>
                  <a:gd name="connsiteX436" fmla="*/ 265748 w 2443162"/>
                  <a:gd name="connsiteY436" fmla="*/ 1462088 h 2161222"/>
                  <a:gd name="connsiteX437" fmla="*/ 269558 w 2443162"/>
                  <a:gd name="connsiteY437" fmla="*/ 1476375 h 2161222"/>
                  <a:gd name="connsiteX438" fmla="*/ 273368 w 2443162"/>
                  <a:gd name="connsiteY438" fmla="*/ 1490663 h 2161222"/>
                  <a:gd name="connsiteX439" fmla="*/ 268605 w 2443162"/>
                  <a:gd name="connsiteY439" fmla="*/ 1483043 h 2161222"/>
                  <a:gd name="connsiteX440" fmla="*/ 261938 w 2443162"/>
                  <a:gd name="connsiteY440" fmla="*/ 1471613 h 2161222"/>
                  <a:gd name="connsiteX441" fmla="*/ 252413 w 2443162"/>
                  <a:gd name="connsiteY441" fmla="*/ 1456373 h 2161222"/>
                  <a:gd name="connsiteX442" fmla="*/ 240983 w 2443162"/>
                  <a:gd name="connsiteY442" fmla="*/ 1439228 h 2161222"/>
                  <a:gd name="connsiteX443" fmla="*/ 227648 w 2443162"/>
                  <a:gd name="connsiteY443" fmla="*/ 1419225 h 2161222"/>
                  <a:gd name="connsiteX444" fmla="*/ 211455 w 2443162"/>
                  <a:gd name="connsiteY444" fmla="*/ 1397318 h 2161222"/>
                  <a:gd name="connsiteX445" fmla="*/ 202883 w 2443162"/>
                  <a:gd name="connsiteY445" fmla="*/ 1386840 h 2161222"/>
                  <a:gd name="connsiteX446" fmla="*/ 193358 w 2443162"/>
                  <a:gd name="connsiteY446" fmla="*/ 1375410 h 2161222"/>
                  <a:gd name="connsiteX447" fmla="*/ 183833 w 2443162"/>
                  <a:gd name="connsiteY447" fmla="*/ 1363980 h 2161222"/>
                  <a:gd name="connsiteX448" fmla="*/ 173355 w 2443162"/>
                  <a:gd name="connsiteY448" fmla="*/ 1352550 h 2161222"/>
                  <a:gd name="connsiteX449" fmla="*/ 149543 w 2443162"/>
                  <a:gd name="connsiteY449" fmla="*/ 1323975 h 2161222"/>
                  <a:gd name="connsiteX450" fmla="*/ 124778 w 2443162"/>
                  <a:gd name="connsiteY450" fmla="*/ 1295400 h 2161222"/>
                  <a:gd name="connsiteX451" fmla="*/ 100013 w 2443162"/>
                  <a:gd name="connsiteY451" fmla="*/ 1266825 h 2161222"/>
                  <a:gd name="connsiteX452" fmla="*/ 76200 w 2443162"/>
                  <a:gd name="connsiteY452" fmla="*/ 1238250 h 2161222"/>
                  <a:gd name="connsiteX453" fmla="*/ 64770 w 2443162"/>
                  <a:gd name="connsiteY453" fmla="*/ 1219200 h 2161222"/>
                  <a:gd name="connsiteX454" fmla="*/ 53340 w 2443162"/>
                  <a:gd name="connsiteY454" fmla="*/ 1204913 h 2161222"/>
                  <a:gd name="connsiteX455" fmla="*/ 42863 w 2443162"/>
                  <a:gd name="connsiteY455" fmla="*/ 1190625 h 2161222"/>
                  <a:gd name="connsiteX456" fmla="*/ 32385 w 2443162"/>
                  <a:gd name="connsiteY456" fmla="*/ 1176338 h 2161222"/>
                  <a:gd name="connsiteX457" fmla="*/ 22860 w 2443162"/>
                  <a:gd name="connsiteY457" fmla="*/ 1163003 h 2161222"/>
                  <a:gd name="connsiteX458" fmla="*/ 14288 w 2443162"/>
                  <a:gd name="connsiteY458" fmla="*/ 1149668 h 2161222"/>
                  <a:gd name="connsiteX459" fmla="*/ 6668 w 2443162"/>
                  <a:gd name="connsiteY459" fmla="*/ 1137285 h 2161222"/>
                  <a:gd name="connsiteX460" fmla="*/ 0 w 2443162"/>
                  <a:gd name="connsiteY460" fmla="*/ 1124903 h 2161222"/>
                  <a:gd name="connsiteX461" fmla="*/ 953 w 2443162"/>
                  <a:gd name="connsiteY461" fmla="*/ 1154430 h 2161222"/>
                  <a:gd name="connsiteX462" fmla="*/ 2858 w 2443162"/>
                  <a:gd name="connsiteY462" fmla="*/ 1182053 h 2161222"/>
                  <a:gd name="connsiteX463" fmla="*/ 6668 w 2443162"/>
                  <a:gd name="connsiteY463" fmla="*/ 1208723 h 2161222"/>
                  <a:gd name="connsiteX464" fmla="*/ 12383 w 2443162"/>
                  <a:gd name="connsiteY464" fmla="*/ 1234440 h 2161222"/>
                  <a:gd name="connsiteX465" fmla="*/ 19050 w 2443162"/>
                  <a:gd name="connsiteY465" fmla="*/ 1258253 h 2161222"/>
                  <a:gd name="connsiteX466" fmla="*/ 26670 w 2443162"/>
                  <a:gd name="connsiteY466" fmla="*/ 1281113 h 2161222"/>
                  <a:gd name="connsiteX467" fmla="*/ 36195 w 2443162"/>
                  <a:gd name="connsiteY467" fmla="*/ 1303020 h 2161222"/>
                  <a:gd name="connsiteX468" fmla="*/ 46673 w 2443162"/>
                  <a:gd name="connsiteY468" fmla="*/ 1323975 h 2161222"/>
                  <a:gd name="connsiteX469" fmla="*/ 57150 w 2443162"/>
                  <a:gd name="connsiteY469" fmla="*/ 1343025 h 2161222"/>
                  <a:gd name="connsiteX470" fmla="*/ 69533 w 2443162"/>
                  <a:gd name="connsiteY470" fmla="*/ 1362075 h 2161222"/>
                  <a:gd name="connsiteX471" fmla="*/ 81915 w 2443162"/>
                  <a:gd name="connsiteY471" fmla="*/ 1380173 h 2161222"/>
                  <a:gd name="connsiteX472" fmla="*/ 95250 w 2443162"/>
                  <a:gd name="connsiteY472" fmla="*/ 1396365 h 2161222"/>
                  <a:gd name="connsiteX473" fmla="*/ 109538 w 2443162"/>
                  <a:gd name="connsiteY473" fmla="*/ 1412558 h 2161222"/>
                  <a:gd name="connsiteX474" fmla="*/ 123825 w 2443162"/>
                  <a:gd name="connsiteY474" fmla="*/ 1427798 h 2161222"/>
                  <a:gd name="connsiteX475" fmla="*/ 139065 w 2443162"/>
                  <a:gd name="connsiteY475" fmla="*/ 1442085 h 2161222"/>
                  <a:gd name="connsiteX476" fmla="*/ 154305 w 2443162"/>
                  <a:gd name="connsiteY476" fmla="*/ 1455420 h 2161222"/>
                  <a:gd name="connsiteX477" fmla="*/ 169545 w 2443162"/>
                  <a:gd name="connsiteY477" fmla="*/ 1467803 h 2161222"/>
                  <a:gd name="connsiteX478" fmla="*/ 184785 w 2443162"/>
                  <a:gd name="connsiteY478" fmla="*/ 1480185 h 2161222"/>
                  <a:gd name="connsiteX479" fmla="*/ 200025 w 2443162"/>
                  <a:gd name="connsiteY479" fmla="*/ 1490663 h 2161222"/>
                  <a:gd name="connsiteX480" fmla="*/ 215265 w 2443162"/>
                  <a:gd name="connsiteY480" fmla="*/ 1501140 h 2161222"/>
                  <a:gd name="connsiteX481" fmla="*/ 243840 w 2443162"/>
                  <a:gd name="connsiteY481" fmla="*/ 1520190 h 2161222"/>
                  <a:gd name="connsiteX482" fmla="*/ 269558 w 2443162"/>
                  <a:gd name="connsiteY482" fmla="*/ 1537335 h 2161222"/>
                  <a:gd name="connsiteX483" fmla="*/ 281940 w 2443162"/>
                  <a:gd name="connsiteY483" fmla="*/ 1544955 h 2161222"/>
                  <a:gd name="connsiteX484" fmla="*/ 292418 w 2443162"/>
                  <a:gd name="connsiteY484" fmla="*/ 1552575 h 2161222"/>
                  <a:gd name="connsiteX485" fmla="*/ 302895 w 2443162"/>
                  <a:gd name="connsiteY485" fmla="*/ 1559243 h 2161222"/>
                  <a:gd name="connsiteX486" fmla="*/ 311468 w 2443162"/>
                  <a:gd name="connsiteY486" fmla="*/ 1565910 h 2161222"/>
                  <a:gd name="connsiteX487" fmla="*/ 319088 w 2443162"/>
                  <a:gd name="connsiteY487" fmla="*/ 1572578 h 2161222"/>
                  <a:gd name="connsiteX488" fmla="*/ 325755 w 2443162"/>
                  <a:gd name="connsiteY488" fmla="*/ 1578293 h 2161222"/>
                  <a:gd name="connsiteX489" fmla="*/ 330518 w 2443162"/>
                  <a:gd name="connsiteY489" fmla="*/ 1584008 h 2161222"/>
                  <a:gd name="connsiteX490" fmla="*/ 332423 w 2443162"/>
                  <a:gd name="connsiteY490" fmla="*/ 1591628 h 2161222"/>
                  <a:gd name="connsiteX491" fmla="*/ 332423 w 2443162"/>
                  <a:gd name="connsiteY491" fmla="*/ 1591628 h 2161222"/>
                  <a:gd name="connsiteX492" fmla="*/ 177165 w 2443162"/>
                  <a:gd name="connsiteY492" fmla="*/ 813435 h 2161222"/>
                  <a:gd name="connsiteX493" fmla="*/ 182880 w 2443162"/>
                  <a:gd name="connsiteY493" fmla="*/ 797243 h 2161222"/>
                  <a:gd name="connsiteX494" fmla="*/ 189548 w 2443162"/>
                  <a:gd name="connsiteY494" fmla="*/ 782003 h 2161222"/>
                  <a:gd name="connsiteX495" fmla="*/ 197168 w 2443162"/>
                  <a:gd name="connsiteY495" fmla="*/ 766763 h 2161222"/>
                  <a:gd name="connsiteX496" fmla="*/ 205740 w 2443162"/>
                  <a:gd name="connsiteY496" fmla="*/ 753428 h 2161222"/>
                  <a:gd name="connsiteX497" fmla="*/ 215265 w 2443162"/>
                  <a:gd name="connsiteY497" fmla="*/ 740093 h 2161222"/>
                  <a:gd name="connsiteX498" fmla="*/ 224790 w 2443162"/>
                  <a:gd name="connsiteY498" fmla="*/ 727710 h 2161222"/>
                  <a:gd name="connsiteX499" fmla="*/ 235268 w 2443162"/>
                  <a:gd name="connsiteY499" fmla="*/ 716280 h 2161222"/>
                  <a:gd name="connsiteX500" fmla="*/ 245745 w 2443162"/>
                  <a:gd name="connsiteY500" fmla="*/ 704850 h 2161222"/>
                  <a:gd name="connsiteX501" fmla="*/ 256223 w 2443162"/>
                  <a:gd name="connsiteY501" fmla="*/ 694373 h 2161222"/>
                  <a:gd name="connsiteX502" fmla="*/ 267653 w 2443162"/>
                  <a:gd name="connsiteY502" fmla="*/ 683895 h 2161222"/>
                  <a:gd name="connsiteX503" fmla="*/ 279083 w 2443162"/>
                  <a:gd name="connsiteY503" fmla="*/ 673418 h 2161222"/>
                  <a:gd name="connsiteX504" fmla="*/ 290513 w 2443162"/>
                  <a:gd name="connsiteY504" fmla="*/ 663893 h 2161222"/>
                  <a:gd name="connsiteX505" fmla="*/ 315278 w 2443162"/>
                  <a:gd name="connsiteY505" fmla="*/ 643890 h 2161222"/>
                  <a:gd name="connsiteX506" fmla="*/ 340043 w 2443162"/>
                  <a:gd name="connsiteY506" fmla="*/ 624840 h 2161222"/>
                  <a:gd name="connsiteX507" fmla="*/ 352425 w 2443162"/>
                  <a:gd name="connsiteY507" fmla="*/ 615315 h 2161222"/>
                  <a:gd name="connsiteX508" fmla="*/ 364808 w 2443162"/>
                  <a:gd name="connsiteY508" fmla="*/ 605790 h 2161222"/>
                  <a:gd name="connsiteX509" fmla="*/ 377190 w 2443162"/>
                  <a:gd name="connsiteY509" fmla="*/ 595313 h 2161222"/>
                  <a:gd name="connsiteX510" fmla="*/ 389573 w 2443162"/>
                  <a:gd name="connsiteY510" fmla="*/ 584835 h 2161222"/>
                  <a:gd name="connsiteX511" fmla="*/ 401003 w 2443162"/>
                  <a:gd name="connsiteY511" fmla="*/ 574358 h 2161222"/>
                  <a:gd name="connsiteX512" fmla="*/ 412433 w 2443162"/>
                  <a:gd name="connsiteY512" fmla="*/ 563880 h 2161222"/>
                  <a:gd name="connsiteX513" fmla="*/ 423863 w 2443162"/>
                  <a:gd name="connsiteY513" fmla="*/ 553403 h 2161222"/>
                  <a:gd name="connsiteX514" fmla="*/ 434340 w 2443162"/>
                  <a:gd name="connsiteY514" fmla="*/ 541973 h 2161222"/>
                  <a:gd name="connsiteX515" fmla="*/ 444818 w 2443162"/>
                  <a:gd name="connsiteY515" fmla="*/ 529590 h 2161222"/>
                  <a:gd name="connsiteX516" fmla="*/ 455295 w 2443162"/>
                  <a:gd name="connsiteY516" fmla="*/ 516255 h 2161222"/>
                  <a:gd name="connsiteX517" fmla="*/ 464820 w 2443162"/>
                  <a:gd name="connsiteY517" fmla="*/ 502920 h 2161222"/>
                  <a:gd name="connsiteX518" fmla="*/ 473393 w 2443162"/>
                  <a:gd name="connsiteY518" fmla="*/ 488633 h 2161222"/>
                  <a:gd name="connsiteX519" fmla="*/ 481013 w 2443162"/>
                  <a:gd name="connsiteY519" fmla="*/ 473393 h 2161222"/>
                  <a:gd name="connsiteX520" fmla="*/ 487680 w 2443162"/>
                  <a:gd name="connsiteY520" fmla="*/ 458153 h 2161222"/>
                  <a:gd name="connsiteX521" fmla="*/ 493395 w 2443162"/>
                  <a:gd name="connsiteY521" fmla="*/ 441008 h 2161222"/>
                  <a:gd name="connsiteX522" fmla="*/ 499110 w 2443162"/>
                  <a:gd name="connsiteY522" fmla="*/ 422910 h 2161222"/>
                  <a:gd name="connsiteX523" fmla="*/ 486728 w 2443162"/>
                  <a:gd name="connsiteY523" fmla="*/ 434340 h 2161222"/>
                  <a:gd name="connsiteX524" fmla="*/ 476250 w 2443162"/>
                  <a:gd name="connsiteY524" fmla="*/ 445770 h 2161222"/>
                  <a:gd name="connsiteX525" fmla="*/ 462915 w 2443162"/>
                  <a:gd name="connsiteY525" fmla="*/ 456248 h 2161222"/>
                  <a:gd name="connsiteX526" fmla="*/ 449580 w 2443162"/>
                  <a:gd name="connsiteY526" fmla="*/ 465773 h 2161222"/>
                  <a:gd name="connsiteX527" fmla="*/ 436245 w 2443162"/>
                  <a:gd name="connsiteY527" fmla="*/ 475298 h 2161222"/>
                  <a:gd name="connsiteX528" fmla="*/ 421958 w 2443162"/>
                  <a:gd name="connsiteY528" fmla="*/ 484823 h 2161222"/>
                  <a:gd name="connsiteX529" fmla="*/ 408623 w 2443162"/>
                  <a:gd name="connsiteY529" fmla="*/ 493395 h 2161222"/>
                  <a:gd name="connsiteX530" fmla="*/ 394335 w 2443162"/>
                  <a:gd name="connsiteY530" fmla="*/ 502920 h 2161222"/>
                  <a:gd name="connsiteX531" fmla="*/ 366713 w 2443162"/>
                  <a:gd name="connsiteY531" fmla="*/ 521018 h 2161222"/>
                  <a:gd name="connsiteX532" fmla="*/ 339090 w 2443162"/>
                  <a:gd name="connsiteY532" fmla="*/ 540068 h 2161222"/>
                  <a:gd name="connsiteX533" fmla="*/ 324803 w 2443162"/>
                  <a:gd name="connsiteY533" fmla="*/ 550545 h 2161222"/>
                  <a:gd name="connsiteX534" fmla="*/ 311468 w 2443162"/>
                  <a:gd name="connsiteY534" fmla="*/ 561023 h 2161222"/>
                  <a:gd name="connsiteX535" fmla="*/ 298133 w 2443162"/>
                  <a:gd name="connsiteY535" fmla="*/ 572453 h 2161222"/>
                  <a:gd name="connsiteX536" fmla="*/ 285750 w 2443162"/>
                  <a:gd name="connsiteY536" fmla="*/ 581978 h 2161222"/>
                  <a:gd name="connsiteX537" fmla="*/ 274320 w 2443162"/>
                  <a:gd name="connsiteY537" fmla="*/ 594360 h 2161222"/>
                  <a:gd name="connsiteX538" fmla="*/ 263843 w 2443162"/>
                  <a:gd name="connsiteY538" fmla="*/ 606743 h 2161222"/>
                  <a:gd name="connsiteX539" fmla="*/ 254318 w 2443162"/>
                  <a:gd name="connsiteY539" fmla="*/ 619125 h 2161222"/>
                  <a:gd name="connsiteX540" fmla="*/ 245745 w 2443162"/>
                  <a:gd name="connsiteY540" fmla="*/ 631508 h 2161222"/>
                  <a:gd name="connsiteX541" fmla="*/ 237173 w 2443162"/>
                  <a:gd name="connsiteY541" fmla="*/ 643890 h 2161222"/>
                  <a:gd name="connsiteX542" fmla="*/ 228600 w 2443162"/>
                  <a:gd name="connsiteY542" fmla="*/ 657225 h 2161222"/>
                  <a:gd name="connsiteX543" fmla="*/ 220980 w 2443162"/>
                  <a:gd name="connsiteY543" fmla="*/ 670560 h 2161222"/>
                  <a:gd name="connsiteX544" fmla="*/ 214313 w 2443162"/>
                  <a:gd name="connsiteY544" fmla="*/ 684848 h 2161222"/>
                  <a:gd name="connsiteX545" fmla="*/ 220028 w 2443162"/>
                  <a:gd name="connsiteY545" fmla="*/ 663893 h 2161222"/>
                  <a:gd name="connsiteX546" fmla="*/ 225743 w 2443162"/>
                  <a:gd name="connsiteY546" fmla="*/ 642938 h 2161222"/>
                  <a:gd name="connsiteX547" fmla="*/ 231458 w 2443162"/>
                  <a:gd name="connsiteY547" fmla="*/ 621983 h 2161222"/>
                  <a:gd name="connsiteX548" fmla="*/ 236220 w 2443162"/>
                  <a:gd name="connsiteY548" fmla="*/ 601028 h 2161222"/>
                  <a:gd name="connsiteX549" fmla="*/ 240030 w 2443162"/>
                  <a:gd name="connsiteY549" fmla="*/ 580073 h 2161222"/>
                  <a:gd name="connsiteX550" fmla="*/ 242888 w 2443162"/>
                  <a:gd name="connsiteY550" fmla="*/ 560070 h 2161222"/>
                  <a:gd name="connsiteX551" fmla="*/ 243840 w 2443162"/>
                  <a:gd name="connsiteY551" fmla="*/ 550545 h 2161222"/>
                  <a:gd name="connsiteX552" fmla="*/ 244793 w 2443162"/>
                  <a:gd name="connsiteY552" fmla="*/ 541020 h 2161222"/>
                  <a:gd name="connsiteX553" fmla="*/ 244793 w 2443162"/>
                  <a:gd name="connsiteY553" fmla="*/ 531495 h 2161222"/>
                  <a:gd name="connsiteX554" fmla="*/ 244793 w 2443162"/>
                  <a:gd name="connsiteY554" fmla="*/ 521970 h 2161222"/>
                  <a:gd name="connsiteX555" fmla="*/ 247650 w 2443162"/>
                  <a:gd name="connsiteY555" fmla="*/ 496253 h 2161222"/>
                  <a:gd name="connsiteX556" fmla="*/ 249555 w 2443162"/>
                  <a:gd name="connsiteY556" fmla="*/ 477203 h 2161222"/>
                  <a:gd name="connsiteX557" fmla="*/ 251460 w 2443162"/>
                  <a:gd name="connsiteY557" fmla="*/ 461963 h 2161222"/>
                  <a:gd name="connsiteX558" fmla="*/ 254318 w 2443162"/>
                  <a:gd name="connsiteY558" fmla="*/ 449580 h 2161222"/>
                  <a:gd name="connsiteX559" fmla="*/ 255270 w 2443162"/>
                  <a:gd name="connsiteY559" fmla="*/ 443865 h 2161222"/>
                  <a:gd name="connsiteX560" fmla="*/ 257175 w 2443162"/>
                  <a:gd name="connsiteY560" fmla="*/ 438150 h 2161222"/>
                  <a:gd name="connsiteX561" fmla="*/ 259080 w 2443162"/>
                  <a:gd name="connsiteY561" fmla="*/ 431483 h 2161222"/>
                  <a:gd name="connsiteX562" fmla="*/ 261938 w 2443162"/>
                  <a:gd name="connsiteY562" fmla="*/ 423863 h 2161222"/>
                  <a:gd name="connsiteX563" fmla="*/ 269558 w 2443162"/>
                  <a:gd name="connsiteY563" fmla="*/ 405765 h 2161222"/>
                  <a:gd name="connsiteX564" fmla="*/ 280035 w 2443162"/>
                  <a:gd name="connsiteY564" fmla="*/ 381953 h 2161222"/>
                  <a:gd name="connsiteX565" fmla="*/ 283845 w 2443162"/>
                  <a:gd name="connsiteY565" fmla="*/ 375285 h 2161222"/>
                  <a:gd name="connsiteX566" fmla="*/ 290513 w 2443162"/>
                  <a:gd name="connsiteY566" fmla="*/ 365760 h 2161222"/>
                  <a:gd name="connsiteX567" fmla="*/ 296228 w 2443162"/>
                  <a:gd name="connsiteY567" fmla="*/ 356235 h 2161222"/>
                  <a:gd name="connsiteX568" fmla="*/ 300038 w 2443162"/>
                  <a:gd name="connsiteY568" fmla="*/ 349568 h 2161222"/>
                  <a:gd name="connsiteX569" fmla="*/ 292418 w 2443162"/>
                  <a:gd name="connsiteY569" fmla="*/ 355283 h 2161222"/>
                  <a:gd name="connsiteX570" fmla="*/ 285750 w 2443162"/>
                  <a:gd name="connsiteY570" fmla="*/ 360998 h 2161222"/>
                  <a:gd name="connsiteX571" fmla="*/ 279083 w 2443162"/>
                  <a:gd name="connsiteY571" fmla="*/ 366713 h 2161222"/>
                  <a:gd name="connsiteX572" fmla="*/ 272415 w 2443162"/>
                  <a:gd name="connsiteY572" fmla="*/ 372428 h 2161222"/>
                  <a:gd name="connsiteX573" fmla="*/ 266700 w 2443162"/>
                  <a:gd name="connsiteY573" fmla="*/ 376238 h 2161222"/>
                  <a:gd name="connsiteX574" fmla="*/ 260985 w 2443162"/>
                  <a:gd name="connsiteY574" fmla="*/ 381953 h 2161222"/>
                  <a:gd name="connsiteX575" fmla="*/ 255270 w 2443162"/>
                  <a:gd name="connsiteY575" fmla="*/ 387668 h 2161222"/>
                  <a:gd name="connsiteX576" fmla="*/ 249555 w 2443162"/>
                  <a:gd name="connsiteY576" fmla="*/ 393383 h 2161222"/>
                  <a:gd name="connsiteX577" fmla="*/ 243840 w 2443162"/>
                  <a:gd name="connsiteY577" fmla="*/ 400050 h 2161222"/>
                  <a:gd name="connsiteX578" fmla="*/ 238125 w 2443162"/>
                  <a:gd name="connsiteY578" fmla="*/ 406718 h 2161222"/>
                  <a:gd name="connsiteX579" fmla="*/ 233363 w 2443162"/>
                  <a:gd name="connsiteY579" fmla="*/ 412433 h 2161222"/>
                  <a:gd name="connsiteX580" fmla="*/ 228600 w 2443162"/>
                  <a:gd name="connsiteY580" fmla="*/ 420053 h 2161222"/>
                  <a:gd name="connsiteX581" fmla="*/ 223838 w 2443162"/>
                  <a:gd name="connsiteY581" fmla="*/ 426720 h 2161222"/>
                  <a:gd name="connsiteX582" fmla="*/ 219075 w 2443162"/>
                  <a:gd name="connsiteY582" fmla="*/ 433388 h 2161222"/>
                  <a:gd name="connsiteX583" fmla="*/ 214313 w 2443162"/>
                  <a:gd name="connsiteY583" fmla="*/ 440055 h 2161222"/>
                  <a:gd name="connsiteX584" fmla="*/ 210503 w 2443162"/>
                  <a:gd name="connsiteY584" fmla="*/ 446723 h 2161222"/>
                  <a:gd name="connsiteX585" fmla="*/ 206693 w 2443162"/>
                  <a:gd name="connsiteY585" fmla="*/ 454343 h 2161222"/>
                  <a:gd name="connsiteX586" fmla="*/ 202883 w 2443162"/>
                  <a:gd name="connsiteY586" fmla="*/ 461010 h 2161222"/>
                  <a:gd name="connsiteX587" fmla="*/ 199073 w 2443162"/>
                  <a:gd name="connsiteY587" fmla="*/ 468630 h 2161222"/>
                  <a:gd name="connsiteX588" fmla="*/ 196215 w 2443162"/>
                  <a:gd name="connsiteY588" fmla="*/ 476250 h 2161222"/>
                  <a:gd name="connsiteX589" fmla="*/ 190500 w 2443162"/>
                  <a:gd name="connsiteY589" fmla="*/ 491490 h 2161222"/>
                  <a:gd name="connsiteX590" fmla="*/ 184785 w 2443162"/>
                  <a:gd name="connsiteY590" fmla="*/ 507683 h 2161222"/>
                  <a:gd name="connsiteX591" fmla="*/ 180023 w 2443162"/>
                  <a:gd name="connsiteY591" fmla="*/ 523875 h 2161222"/>
                  <a:gd name="connsiteX592" fmla="*/ 176213 w 2443162"/>
                  <a:gd name="connsiteY592" fmla="*/ 541020 h 2161222"/>
                  <a:gd name="connsiteX593" fmla="*/ 171450 w 2443162"/>
                  <a:gd name="connsiteY593" fmla="*/ 557213 h 2161222"/>
                  <a:gd name="connsiteX594" fmla="*/ 168593 w 2443162"/>
                  <a:gd name="connsiteY594" fmla="*/ 575310 h 2161222"/>
                  <a:gd name="connsiteX595" fmla="*/ 167640 w 2443162"/>
                  <a:gd name="connsiteY595" fmla="*/ 590550 h 2161222"/>
                  <a:gd name="connsiteX596" fmla="*/ 166688 w 2443162"/>
                  <a:gd name="connsiteY596" fmla="*/ 605790 h 2161222"/>
                  <a:gd name="connsiteX597" fmla="*/ 166688 w 2443162"/>
                  <a:gd name="connsiteY597" fmla="*/ 621030 h 2161222"/>
                  <a:gd name="connsiteX598" fmla="*/ 165735 w 2443162"/>
                  <a:gd name="connsiteY598" fmla="*/ 635318 h 2161222"/>
                  <a:gd name="connsiteX599" fmla="*/ 165735 w 2443162"/>
                  <a:gd name="connsiteY599" fmla="*/ 650558 h 2161222"/>
                  <a:gd name="connsiteX600" fmla="*/ 165735 w 2443162"/>
                  <a:gd name="connsiteY600" fmla="*/ 664845 h 2161222"/>
                  <a:gd name="connsiteX601" fmla="*/ 165735 w 2443162"/>
                  <a:gd name="connsiteY601" fmla="*/ 679133 h 2161222"/>
                  <a:gd name="connsiteX602" fmla="*/ 166688 w 2443162"/>
                  <a:gd name="connsiteY602" fmla="*/ 693420 h 2161222"/>
                  <a:gd name="connsiteX603" fmla="*/ 168593 w 2443162"/>
                  <a:gd name="connsiteY603" fmla="*/ 721995 h 2161222"/>
                  <a:gd name="connsiteX604" fmla="*/ 171450 w 2443162"/>
                  <a:gd name="connsiteY604" fmla="*/ 751523 h 2161222"/>
                  <a:gd name="connsiteX605" fmla="*/ 174308 w 2443162"/>
                  <a:gd name="connsiteY605" fmla="*/ 782003 h 2161222"/>
                  <a:gd name="connsiteX606" fmla="*/ 177165 w 2443162"/>
                  <a:gd name="connsiteY606" fmla="*/ 813435 h 2161222"/>
                  <a:gd name="connsiteX607" fmla="*/ 177165 w 2443162"/>
                  <a:gd name="connsiteY607" fmla="*/ 813435 h 2161222"/>
                  <a:gd name="connsiteX608" fmla="*/ 520065 w 2443162"/>
                  <a:gd name="connsiteY608" fmla="*/ 1794510 h 2161222"/>
                  <a:gd name="connsiteX609" fmla="*/ 513398 w 2443162"/>
                  <a:gd name="connsiteY609" fmla="*/ 1784033 h 2161222"/>
                  <a:gd name="connsiteX610" fmla="*/ 506730 w 2443162"/>
                  <a:gd name="connsiteY610" fmla="*/ 1772603 h 2161222"/>
                  <a:gd name="connsiteX611" fmla="*/ 501015 w 2443162"/>
                  <a:gd name="connsiteY611" fmla="*/ 1761173 h 2161222"/>
                  <a:gd name="connsiteX612" fmla="*/ 495300 w 2443162"/>
                  <a:gd name="connsiteY612" fmla="*/ 1748790 h 2161222"/>
                  <a:gd name="connsiteX613" fmla="*/ 490538 w 2443162"/>
                  <a:gd name="connsiteY613" fmla="*/ 1736408 h 2161222"/>
                  <a:gd name="connsiteX614" fmla="*/ 485775 w 2443162"/>
                  <a:gd name="connsiteY614" fmla="*/ 1724025 h 2161222"/>
                  <a:gd name="connsiteX615" fmla="*/ 481965 w 2443162"/>
                  <a:gd name="connsiteY615" fmla="*/ 1710690 h 2161222"/>
                  <a:gd name="connsiteX616" fmla="*/ 478155 w 2443162"/>
                  <a:gd name="connsiteY616" fmla="*/ 1697355 h 2161222"/>
                  <a:gd name="connsiteX617" fmla="*/ 475298 w 2443162"/>
                  <a:gd name="connsiteY617" fmla="*/ 1683068 h 2161222"/>
                  <a:gd name="connsiteX618" fmla="*/ 471488 w 2443162"/>
                  <a:gd name="connsiteY618" fmla="*/ 1668780 h 2161222"/>
                  <a:gd name="connsiteX619" fmla="*/ 468630 w 2443162"/>
                  <a:gd name="connsiteY619" fmla="*/ 1654493 h 2161222"/>
                  <a:gd name="connsiteX620" fmla="*/ 465773 w 2443162"/>
                  <a:gd name="connsiteY620" fmla="*/ 1640205 h 2161222"/>
                  <a:gd name="connsiteX621" fmla="*/ 460058 w 2443162"/>
                  <a:gd name="connsiteY621" fmla="*/ 1611630 h 2161222"/>
                  <a:gd name="connsiteX622" fmla="*/ 454343 w 2443162"/>
                  <a:gd name="connsiteY622" fmla="*/ 1582103 h 2161222"/>
                  <a:gd name="connsiteX623" fmla="*/ 448628 w 2443162"/>
                  <a:gd name="connsiteY623" fmla="*/ 1552575 h 2161222"/>
                  <a:gd name="connsiteX624" fmla="*/ 441960 w 2443162"/>
                  <a:gd name="connsiteY624" fmla="*/ 1523048 h 2161222"/>
                  <a:gd name="connsiteX625" fmla="*/ 438150 w 2443162"/>
                  <a:gd name="connsiteY625" fmla="*/ 1507808 h 2161222"/>
                  <a:gd name="connsiteX626" fmla="*/ 434340 w 2443162"/>
                  <a:gd name="connsiteY626" fmla="*/ 1493520 h 2161222"/>
                  <a:gd name="connsiteX627" fmla="*/ 429578 w 2443162"/>
                  <a:gd name="connsiteY627" fmla="*/ 1479233 h 2161222"/>
                  <a:gd name="connsiteX628" fmla="*/ 424815 w 2443162"/>
                  <a:gd name="connsiteY628" fmla="*/ 1464945 h 2161222"/>
                  <a:gd name="connsiteX629" fmla="*/ 420053 w 2443162"/>
                  <a:gd name="connsiteY629" fmla="*/ 1450658 h 2161222"/>
                  <a:gd name="connsiteX630" fmla="*/ 414338 w 2443162"/>
                  <a:gd name="connsiteY630" fmla="*/ 1436370 h 2161222"/>
                  <a:gd name="connsiteX631" fmla="*/ 407670 w 2443162"/>
                  <a:gd name="connsiteY631" fmla="*/ 1423035 h 2161222"/>
                  <a:gd name="connsiteX632" fmla="*/ 401003 w 2443162"/>
                  <a:gd name="connsiteY632" fmla="*/ 1409700 h 2161222"/>
                  <a:gd name="connsiteX633" fmla="*/ 393383 w 2443162"/>
                  <a:gd name="connsiteY633" fmla="*/ 1396365 h 2161222"/>
                  <a:gd name="connsiteX634" fmla="*/ 384810 w 2443162"/>
                  <a:gd name="connsiteY634" fmla="*/ 1383983 h 2161222"/>
                  <a:gd name="connsiteX635" fmla="*/ 375285 w 2443162"/>
                  <a:gd name="connsiteY635" fmla="*/ 1371600 h 2161222"/>
                  <a:gd name="connsiteX636" fmla="*/ 365760 w 2443162"/>
                  <a:gd name="connsiteY636" fmla="*/ 1360170 h 2161222"/>
                  <a:gd name="connsiteX637" fmla="*/ 366713 w 2443162"/>
                  <a:gd name="connsiteY637" fmla="*/ 1385888 h 2161222"/>
                  <a:gd name="connsiteX638" fmla="*/ 367665 w 2443162"/>
                  <a:gd name="connsiteY638" fmla="*/ 1410653 h 2161222"/>
                  <a:gd name="connsiteX639" fmla="*/ 366713 w 2443162"/>
                  <a:gd name="connsiteY639" fmla="*/ 1435418 h 2161222"/>
                  <a:gd name="connsiteX640" fmla="*/ 366713 w 2443162"/>
                  <a:gd name="connsiteY640" fmla="*/ 1458278 h 2161222"/>
                  <a:gd name="connsiteX641" fmla="*/ 366713 w 2443162"/>
                  <a:gd name="connsiteY641" fmla="*/ 1480185 h 2161222"/>
                  <a:gd name="connsiteX642" fmla="*/ 366713 w 2443162"/>
                  <a:gd name="connsiteY642" fmla="*/ 1502093 h 2161222"/>
                  <a:gd name="connsiteX643" fmla="*/ 366713 w 2443162"/>
                  <a:gd name="connsiteY643" fmla="*/ 1523048 h 2161222"/>
                  <a:gd name="connsiteX644" fmla="*/ 366713 w 2443162"/>
                  <a:gd name="connsiteY644" fmla="*/ 1543050 h 2161222"/>
                  <a:gd name="connsiteX645" fmla="*/ 366713 w 2443162"/>
                  <a:gd name="connsiteY645" fmla="*/ 1553528 h 2161222"/>
                  <a:gd name="connsiteX646" fmla="*/ 367665 w 2443162"/>
                  <a:gd name="connsiteY646" fmla="*/ 1563053 h 2161222"/>
                  <a:gd name="connsiteX647" fmla="*/ 368618 w 2443162"/>
                  <a:gd name="connsiteY647" fmla="*/ 1572578 h 2161222"/>
                  <a:gd name="connsiteX648" fmla="*/ 369570 w 2443162"/>
                  <a:gd name="connsiteY648" fmla="*/ 1582103 h 2161222"/>
                  <a:gd name="connsiteX649" fmla="*/ 371475 w 2443162"/>
                  <a:gd name="connsiteY649" fmla="*/ 1591628 h 2161222"/>
                  <a:gd name="connsiteX650" fmla="*/ 373380 w 2443162"/>
                  <a:gd name="connsiteY650" fmla="*/ 1601153 h 2161222"/>
                  <a:gd name="connsiteX651" fmla="*/ 376238 w 2443162"/>
                  <a:gd name="connsiteY651" fmla="*/ 1610678 h 2161222"/>
                  <a:gd name="connsiteX652" fmla="*/ 379095 w 2443162"/>
                  <a:gd name="connsiteY652" fmla="*/ 1620203 h 2161222"/>
                  <a:gd name="connsiteX653" fmla="*/ 382905 w 2443162"/>
                  <a:gd name="connsiteY653" fmla="*/ 1629728 h 2161222"/>
                  <a:gd name="connsiteX654" fmla="*/ 386715 w 2443162"/>
                  <a:gd name="connsiteY654" fmla="*/ 1639253 h 2161222"/>
                  <a:gd name="connsiteX655" fmla="*/ 390525 w 2443162"/>
                  <a:gd name="connsiteY655" fmla="*/ 1648778 h 2161222"/>
                  <a:gd name="connsiteX656" fmla="*/ 395288 w 2443162"/>
                  <a:gd name="connsiteY656" fmla="*/ 1658303 h 2161222"/>
                  <a:gd name="connsiteX657" fmla="*/ 400050 w 2443162"/>
                  <a:gd name="connsiteY657" fmla="*/ 1666875 h 2161222"/>
                  <a:gd name="connsiteX658" fmla="*/ 405765 w 2443162"/>
                  <a:gd name="connsiteY658" fmla="*/ 1676400 h 2161222"/>
                  <a:gd name="connsiteX659" fmla="*/ 411480 w 2443162"/>
                  <a:gd name="connsiteY659" fmla="*/ 1685925 h 2161222"/>
                  <a:gd name="connsiteX660" fmla="*/ 418148 w 2443162"/>
                  <a:gd name="connsiteY660" fmla="*/ 1694498 h 2161222"/>
                  <a:gd name="connsiteX661" fmla="*/ 405765 w 2443162"/>
                  <a:gd name="connsiteY661" fmla="*/ 1684020 h 2161222"/>
                  <a:gd name="connsiteX662" fmla="*/ 392430 w 2443162"/>
                  <a:gd name="connsiteY662" fmla="*/ 1672590 h 2161222"/>
                  <a:gd name="connsiteX663" fmla="*/ 376238 w 2443162"/>
                  <a:gd name="connsiteY663" fmla="*/ 1660208 h 2161222"/>
                  <a:gd name="connsiteX664" fmla="*/ 359093 w 2443162"/>
                  <a:gd name="connsiteY664" fmla="*/ 1646873 h 2161222"/>
                  <a:gd name="connsiteX665" fmla="*/ 348615 w 2443162"/>
                  <a:gd name="connsiteY665" fmla="*/ 1640205 h 2161222"/>
                  <a:gd name="connsiteX666" fmla="*/ 338138 w 2443162"/>
                  <a:gd name="connsiteY666" fmla="*/ 1633538 h 2161222"/>
                  <a:gd name="connsiteX667" fmla="*/ 327660 w 2443162"/>
                  <a:gd name="connsiteY667" fmla="*/ 1626870 h 2161222"/>
                  <a:gd name="connsiteX668" fmla="*/ 316230 w 2443162"/>
                  <a:gd name="connsiteY668" fmla="*/ 1620203 h 2161222"/>
                  <a:gd name="connsiteX669" fmla="*/ 303848 w 2443162"/>
                  <a:gd name="connsiteY669" fmla="*/ 1613535 h 2161222"/>
                  <a:gd name="connsiteX670" fmla="*/ 290513 w 2443162"/>
                  <a:gd name="connsiteY670" fmla="*/ 1607820 h 2161222"/>
                  <a:gd name="connsiteX671" fmla="*/ 277178 w 2443162"/>
                  <a:gd name="connsiteY671" fmla="*/ 1602105 h 2161222"/>
                  <a:gd name="connsiteX672" fmla="*/ 262890 w 2443162"/>
                  <a:gd name="connsiteY672" fmla="*/ 1596390 h 2161222"/>
                  <a:gd name="connsiteX673" fmla="*/ 254318 w 2443162"/>
                  <a:gd name="connsiteY673" fmla="*/ 1593533 h 2161222"/>
                  <a:gd name="connsiteX674" fmla="*/ 245745 w 2443162"/>
                  <a:gd name="connsiteY674" fmla="*/ 1589723 h 2161222"/>
                  <a:gd name="connsiteX675" fmla="*/ 238125 w 2443162"/>
                  <a:gd name="connsiteY675" fmla="*/ 1585913 h 2161222"/>
                  <a:gd name="connsiteX676" fmla="*/ 230505 w 2443162"/>
                  <a:gd name="connsiteY676" fmla="*/ 1581150 h 2161222"/>
                  <a:gd name="connsiteX677" fmla="*/ 222885 w 2443162"/>
                  <a:gd name="connsiteY677" fmla="*/ 1576388 h 2161222"/>
                  <a:gd name="connsiteX678" fmla="*/ 215265 w 2443162"/>
                  <a:gd name="connsiteY678" fmla="*/ 1571625 h 2161222"/>
                  <a:gd name="connsiteX679" fmla="*/ 207645 w 2443162"/>
                  <a:gd name="connsiteY679" fmla="*/ 1566863 h 2161222"/>
                  <a:gd name="connsiteX680" fmla="*/ 200025 w 2443162"/>
                  <a:gd name="connsiteY680" fmla="*/ 1562100 h 2161222"/>
                  <a:gd name="connsiteX681" fmla="*/ 185738 w 2443162"/>
                  <a:gd name="connsiteY681" fmla="*/ 1551623 h 2161222"/>
                  <a:gd name="connsiteX682" fmla="*/ 172403 w 2443162"/>
                  <a:gd name="connsiteY682" fmla="*/ 1541145 h 2161222"/>
                  <a:gd name="connsiteX683" fmla="*/ 159068 w 2443162"/>
                  <a:gd name="connsiteY683" fmla="*/ 1529715 h 2161222"/>
                  <a:gd name="connsiteX684" fmla="*/ 146685 w 2443162"/>
                  <a:gd name="connsiteY684" fmla="*/ 1518285 h 2161222"/>
                  <a:gd name="connsiteX685" fmla="*/ 134303 w 2443162"/>
                  <a:gd name="connsiteY685" fmla="*/ 1505903 h 2161222"/>
                  <a:gd name="connsiteX686" fmla="*/ 122873 w 2443162"/>
                  <a:gd name="connsiteY686" fmla="*/ 1494473 h 2161222"/>
                  <a:gd name="connsiteX687" fmla="*/ 111443 w 2443162"/>
                  <a:gd name="connsiteY687" fmla="*/ 1482090 h 2161222"/>
                  <a:gd name="connsiteX688" fmla="*/ 100013 w 2443162"/>
                  <a:gd name="connsiteY688" fmla="*/ 1470660 h 2161222"/>
                  <a:gd name="connsiteX689" fmla="*/ 79058 w 2443162"/>
                  <a:gd name="connsiteY689" fmla="*/ 1447800 h 2161222"/>
                  <a:gd name="connsiteX690" fmla="*/ 59055 w 2443162"/>
                  <a:gd name="connsiteY690" fmla="*/ 1426845 h 2161222"/>
                  <a:gd name="connsiteX691" fmla="*/ 65723 w 2443162"/>
                  <a:gd name="connsiteY691" fmla="*/ 1443038 h 2161222"/>
                  <a:gd name="connsiteX692" fmla="*/ 75248 w 2443162"/>
                  <a:gd name="connsiteY692" fmla="*/ 1473518 h 2161222"/>
                  <a:gd name="connsiteX693" fmla="*/ 85725 w 2443162"/>
                  <a:gd name="connsiteY693" fmla="*/ 1502093 h 2161222"/>
                  <a:gd name="connsiteX694" fmla="*/ 97155 w 2443162"/>
                  <a:gd name="connsiteY694" fmla="*/ 1528763 h 2161222"/>
                  <a:gd name="connsiteX695" fmla="*/ 109538 w 2443162"/>
                  <a:gd name="connsiteY695" fmla="*/ 1553528 h 2161222"/>
                  <a:gd name="connsiteX696" fmla="*/ 122873 w 2443162"/>
                  <a:gd name="connsiteY696" fmla="*/ 1575435 h 2161222"/>
                  <a:gd name="connsiteX697" fmla="*/ 137160 w 2443162"/>
                  <a:gd name="connsiteY697" fmla="*/ 1596390 h 2161222"/>
                  <a:gd name="connsiteX698" fmla="*/ 152400 w 2443162"/>
                  <a:gd name="connsiteY698" fmla="*/ 1615440 h 2161222"/>
                  <a:gd name="connsiteX699" fmla="*/ 167640 w 2443162"/>
                  <a:gd name="connsiteY699" fmla="*/ 1632585 h 2161222"/>
                  <a:gd name="connsiteX700" fmla="*/ 183833 w 2443162"/>
                  <a:gd name="connsiteY700" fmla="*/ 1648778 h 2161222"/>
                  <a:gd name="connsiteX701" fmla="*/ 200025 w 2443162"/>
                  <a:gd name="connsiteY701" fmla="*/ 1663065 h 2161222"/>
                  <a:gd name="connsiteX702" fmla="*/ 217170 w 2443162"/>
                  <a:gd name="connsiteY702" fmla="*/ 1676400 h 2161222"/>
                  <a:gd name="connsiteX703" fmla="*/ 234315 w 2443162"/>
                  <a:gd name="connsiteY703" fmla="*/ 1687830 h 2161222"/>
                  <a:gd name="connsiteX704" fmla="*/ 251460 w 2443162"/>
                  <a:gd name="connsiteY704" fmla="*/ 1698308 h 2161222"/>
                  <a:gd name="connsiteX705" fmla="*/ 268605 w 2443162"/>
                  <a:gd name="connsiteY705" fmla="*/ 1707833 h 2161222"/>
                  <a:gd name="connsiteX706" fmla="*/ 286703 w 2443162"/>
                  <a:gd name="connsiteY706" fmla="*/ 1716405 h 2161222"/>
                  <a:gd name="connsiteX707" fmla="*/ 304800 w 2443162"/>
                  <a:gd name="connsiteY707" fmla="*/ 1724025 h 2161222"/>
                  <a:gd name="connsiteX708" fmla="*/ 321945 w 2443162"/>
                  <a:gd name="connsiteY708" fmla="*/ 1730693 h 2161222"/>
                  <a:gd name="connsiteX709" fmla="*/ 339090 w 2443162"/>
                  <a:gd name="connsiteY709" fmla="*/ 1736408 h 2161222"/>
                  <a:gd name="connsiteX710" fmla="*/ 356235 w 2443162"/>
                  <a:gd name="connsiteY710" fmla="*/ 1742123 h 2161222"/>
                  <a:gd name="connsiteX711" fmla="*/ 372428 w 2443162"/>
                  <a:gd name="connsiteY711" fmla="*/ 1746885 h 2161222"/>
                  <a:gd name="connsiteX712" fmla="*/ 404813 w 2443162"/>
                  <a:gd name="connsiteY712" fmla="*/ 1755458 h 2161222"/>
                  <a:gd name="connsiteX713" fmla="*/ 435293 w 2443162"/>
                  <a:gd name="connsiteY713" fmla="*/ 1763078 h 2161222"/>
                  <a:gd name="connsiteX714" fmla="*/ 449580 w 2443162"/>
                  <a:gd name="connsiteY714" fmla="*/ 1766888 h 2161222"/>
                  <a:gd name="connsiteX715" fmla="*/ 462915 w 2443162"/>
                  <a:gd name="connsiteY715" fmla="*/ 1770698 h 2161222"/>
                  <a:gd name="connsiteX716" fmla="*/ 475298 w 2443162"/>
                  <a:gd name="connsiteY716" fmla="*/ 1774508 h 2161222"/>
                  <a:gd name="connsiteX717" fmla="*/ 485775 w 2443162"/>
                  <a:gd name="connsiteY717" fmla="*/ 1778318 h 2161222"/>
                  <a:gd name="connsiteX718" fmla="*/ 496253 w 2443162"/>
                  <a:gd name="connsiteY718" fmla="*/ 1783080 h 2161222"/>
                  <a:gd name="connsiteX719" fmla="*/ 504825 w 2443162"/>
                  <a:gd name="connsiteY719" fmla="*/ 1787843 h 2161222"/>
                  <a:gd name="connsiteX720" fmla="*/ 512445 w 2443162"/>
                  <a:gd name="connsiteY720" fmla="*/ 1792605 h 2161222"/>
                  <a:gd name="connsiteX721" fmla="*/ 520065 w 2443162"/>
                  <a:gd name="connsiteY721" fmla="*/ 1794510 h 2161222"/>
                  <a:gd name="connsiteX722" fmla="*/ 520065 w 2443162"/>
                  <a:gd name="connsiteY722" fmla="*/ 1794510 h 2161222"/>
                  <a:gd name="connsiteX723" fmla="*/ 741045 w 2443162"/>
                  <a:gd name="connsiteY723" fmla="*/ 1945958 h 2161222"/>
                  <a:gd name="connsiteX724" fmla="*/ 736283 w 2443162"/>
                  <a:gd name="connsiteY724" fmla="*/ 1939290 h 2161222"/>
                  <a:gd name="connsiteX725" fmla="*/ 731520 w 2443162"/>
                  <a:gd name="connsiteY725" fmla="*/ 1931670 h 2161222"/>
                  <a:gd name="connsiteX726" fmla="*/ 726758 w 2443162"/>
                  <a:gd name="connsiteY726" fmla="*/ 1923098 h 2161222"/>
                  <a:gd name="connsiteX727" fmla="*/ 723900 w 2443162"/>
                  <a:gd name="connsiteY727" fmla="*/ 1914525 h 2161222"/>
                  <a:gd name="connsiteX728" fmla="*/ 715328 w 2443162"/>
                  <a:gd name="connsiteY728" fmla="*/ 1894523 h 2161222"/>
                  <a:gd name="connsiteX729" fmla="*/ 705803 w 2443162"/>
                  <a:gd name="connsiteY729" fmla="*/ 1872615 h 2161222"/>
                  <a:gd name="connsiteX730" fmla="*/ 696278 w 2443162"/>
                  <a:gd name="connsiteY730" fmla="*/ 1848803 h 2161222"/>
                  <a:gd name="connsiteX731" fmla="*/ 686753 w 2443162"/>
                  <a:gd name="connsiteY731" fmla="*/ 1824038 h 2161222"/>
                  <a:gd name="connsiteX732" fmla="*/ 675323 w 2443162"/>
                  <a:gd name="connsiteY732" fmla="*/ 1798320 h 2161222"/>
                  <a:gd name="connsiteX733" fmla="*/ 662940 w 2443162"/>
                  <a:gd name="connsiteY733" fmla="*/ 1772603 h 2161222"/>
                  <a:gd name="connsiteX734" fmla="*/ 656273 w 2443162"/>
                  <a:gd name="connsiteY734" fmla="*/ 1759268 h 2161222"/>
                  <a:gd name="connsiteX735" fmla="*/ 649605 w 2443162"/>
                  <a:gd name="connsiteY735" fmla="*/ 1745933 h 2161222"/>
                  <a:gd name="connsiteX736" fmla="*/ 641985 w 2443162"/>
                  <a:gd name="connsiteY736" fmla="*/ 1732598 h 2161222"/>
                  <a:gd name="connsiteX737" fmla="*/ 634365 w 2443162"/>
                  <a:gd name="connsiteY737" fmla="*/ 1719263 h 2161222"/>
                  <a:gd name="connsiteX738" fmla="*/ 625793 w 2443162"/>
                  <a:gd name="connsiteY738" fmla="*/ 1705928 h 2161222"/>
                  <a:gd name="connsiteX739" fmla="*/ 617220 w 2443162"/>
                  <a:gd name="connsiteY739" fmla="*/ 1693545 h 2161222"/>
                  <a:gd name="connsiteX740" fmla="*/ 607695 w 2443162"/>
                  <a:gd name="connsiteY740" fmla="*/ 1680210 h 2161222"/>
                  <a:gd name="connsiteX741" fmla="*/ 598170 w 2443162"/>
                  <a:gd name="connsiteY741" fmla="*/ 1667828 h 2161222"/>
                  <a:gd name="connsiteX742" fmla="*/ 587693 w 2443162"/>
                  <a:gd name="connsiteY742" fmla="*/ 1655445 h 2161222"/>
                  <a:gd name="connsiteX743" fmla="*/ 577215 w 2443162"/>
                  <a:gd name="connsiteY743" fmla="*/ 1644015 h 2161222"/>
                  <a:gd name="connsiteX744" fmla="*/ 565785 w 2443162"/>
                  <a:gd name="connsiteY744" fmla="*/ 1632585 h 2161222"/>
                  <a:gd name="connsiteX745" fmla="*/ 554355 w 2443162"/>
                  <a:gd name="connsiteY745" fmla="*/ 1622108 h 2161222"/>
                  <a:gd name="connsiteX746" fmla="*/ 541973 w 2443162"/>
                  <a:gd name="connsiteY746" fmla="*/ 1611630 h 2161222"/>
                  <a:gd name="connsiteX747" fmla="*/ 528638 w 2443162"/>
                  <a:gd name="connsiteY747" fmla="*/ 1601153 h 2161222"/>
                  <a:gd name="connsiteX748" fmla="*/ 515303 w 2443162"/>
                  <a:gd name="connsiteY748" fmla="*/ 1591628 h 2161222"/>
                  <a:gd name="connsiteX749" fmla="*/ 501015 w 2443162"/>
                  <a:gd name="connsiteY749" fmla="*/ 1583055 h 2161222"/>
                  <a:gd name="connsiteX750" fmla="*/ 515303 w 2443162"/>
                  <a:gd name="connsiteY750" fmla="*/ 1630680 h 2161222"/>
                  <a:gd name="connsiteX751" fmla="*/ 527685 w 2443162"/>
                  <a:gd name="connsiteY751" fmla="*/ 1675448 h 2161222"/>
                  <a:gd name="connsiteX752" fmla="*/ 533400 w 2443162"/>
                  <a:gd name="connsiteY752" fmla="*/ 1696403 h 2161222"/>
                  <a:gd name="connsiteX753" fmla="*/ 539115 w 2443162"/>
                  <a:gd name="connsiteY753" fmla="*/ 1716405 h 2161222"/>
                  <a:gd name="connsiteX754" fmla="*/ 545783 w 2443162"/>
                  <a:gd name="connsiteY754" fmla="*/ 1736408 h 2161222"/>
                  <a:gd name="connsiteX755" fmla="*/ 552450 w 2443162"/>
                  <a:gd name="connsiteY755" fmla="*/ 1755458 h 2161222"/>
                  <a:gd name="connsiteX756" fmla="*/ 556260 w 2443162"/>
                  <a:gd name="connsiteY756" fmla="*/ 1764983 h 2161222"/>
                  <a:gd name="connsiteX757" fmla="*/ 560070 w 2443162"/>
                  <a:gd name="connsiteY757" fmla="*/ 1773555 h 2161222"/>
                  <a:gd name="connsiteX758" fmla="*/ 564833 w 2443162"/>
                  <a:gd name="connsiteY758" fmla="*/ 1782128 h 2161222"/>
                  <a:gd name="connsiteX759" fmla="*/ 569595 w 2443162"/>
                  <a:gd name="connsiteY759" fmla="*/ 1790700 h 2161222"/>
                  <a:gd name="connsiteX760" fmla="*/ 574358 w 2443162"/>
                  <a:gd name="connsiteY760" fmla="*/ 1799273 h 2161222"/>
                  <a:gd name="connsiteX761" fmla="*/ 579120 w 2443162"/>
                  <a:gd name="connsiteY761" fmla="*/ 1807845 h 2161222"/>
                  <a:gd name="connsiteX762" fmla="*/ 583883 w 2443162"/>
                  <a:gd name="connsiteY762" fmla="*/ 1816418 h 2161222"/>
                  <a:gd name="connsiteX763" fmla="*/ 589598 w 2443162"/>
                  <a:gd name="connsiteY763" fmla="*/ 1824038 h 2161222"/>
                  <a:gd name="connsiteX764" fmla="*/ 595313 w 2443162"/>
                  <a:gd name="connsiteY764" fmla="*/ 1832610 h 2161222"/>
                  <a:gd name="connsiteX765" fmla="*/ 601980 w 2443162"/>
                  <a:gd name="connsiteY765" fmla="*/ 1840230 h 2161222"/>
                  <a:gd name="connsiteX766" fmla="*/ 608648 w 2443162"/>
                  <a:gd name="connsiteY766" fmla="*/ 1847850 h 2161222"/>
                  <a:gd name="connsiteX767" fmla="*/ 615315 w 2443162"/>
                  <a:gd name="connsiteY767" fmla="*/ 1855470 h 2161222"/>
                  <a:gd name="connsiteX768" fmla="*/ 622935 w 2443162"/>
                  <a:gd name="connsiteY768" fmla="*/ 1863090 h 2161222"/>
                  <a:gd name="connsiteX769" fmla="*/ 631508 w 2443162"/>
                  <a:gd name="connsiteY769" fmla="*/ 1870710 h 2161222"/>
                  <a:gd name="connsiteX770" fmla="*/ 640080 w 2443162"/>
                  <a:gd name="connsiteY770" fmla="*/ 1878330 h 2161222"/>
                  <a:gd name="connsiteX771" fmla="*/ 649605 w 2443162"/>
                  <a:gd name="connsiteY771" fmla="*/ 1885950 h 2161222"/>
                  <a:gd name="connsiteX772" fmla="*/ 634365 w 2443162"/>
                  <a:gd name="connsiteY772" fmla="*/ 1878330 h 2161222"/>
                  <a:gd name="connsiteX773" fmla="*/ 614363 w 2443162"/>
                  <a:gd name="connsiteY773" fmla="*/ 1869758 h 2161222"/>
                  <a:gd name="connsiteX774" fmla="*/ 590550 w 2443162"/>
                  <a:gd name="connsiteY774" fmla="*/ 1860233 h 2161222"/>
                  <a:gd name="connsiteX775" fmla="*/ 563880 w 2443162"/>
                  <a:gd name="connsiteY775" fmla="*/ 1850708 h 2161222"/>
                  <a:gd name="connsiteX776" fmla="*/ 549593 w 2443162"/>
                  <a:gd name="connsiteY776" fmla="*/ 1845945 h 2161222"/>
                  <a:gd name="connsiteX777" fmla="*/ 534353 w 2443162"/>
                  <a:gd name="connsiteY777" fmla="*/ 1841183 h 2161222"/>
                  <a:gd name="connsiteX778" fmla="*/ 519113 w 2443162"/>
                  <a:gd name="connsiteY778" fmla="*/ 1836420 h 2161222"/>
                  <a:gd name="connsiteX779" fmla="*/ 503873 w 2443162"/>
                  <a:gd name="connsiteY779" fmla="*/ 1832610 h 2161222"/>
                  <a:gd name="connsiteX780" fmla="*/ 488633 w 2443162"/>
                  <a:gd name="connsiteY780" fmla="*/ 1828800 h 2161222"/>
                  <a:gd name="connsiteX781" fmla="*/ 473393 w 2443162"/>
                  <a:gd name="connsiteY781" fmla="*/ 1824990 h 2161222"/>
                  <a:gd name="connsiteX782" fmla="*/ 458153 w 2443162"/>
                  <a:gd name="connsiteY782" fmla="*/ 1822133 h 2161222"/>
                  <a:gd name="connsiteX783" fmla="*/ 442913 w 2443162"/>
                  <a:gd name="connsiteY783" fmla="*/ 1819275 h 2161222"/>
                  <a:gd name="connsiteX784" fmla="*/ 429578 w 2443162"/>
                  <a:gd name="connsiteY784" fmla="*/ 1817370 h 2161222"/>
                  <a:gd name="connsiteX785" fmla="*/ 417195 w 2443162"/>
                  <a:gd name="connsiteY785" fmla="*/ 1815465 h 2161222"/>
                  <a:gd name="connsiteX786" fmla="*/ 405765 w 2443162"/>
                  <a:gd name="connsiteY786" fmla="*/ 1813560 h 2161222"/>
                  <a:gd name="connsiteX787" fmla="*/ 394335 w 2443162"/>
                  <a:gd name="connsiteY787" fmla="*/ 1811655 h 2161222"/>
                  <a:gd name="connsiteX788" fmla="*/ 383858 w 2443162"/>
                  <a:gd name="connsiteY788" fmla="*/ 1809750 h 2161222"/>
                  <a:gd name="connsiteX789" fmla="*/ 373380 w 2443162"/>
                  <a:gd name="connsiteY789" fmla="*/ 1806893 h 2161222"/>
                  <a:gd name="connsiteX790" fmla="*/ 363855 w 2443162"/>
                  <a:gd name="connsiteY790" fmla="*/ 1804035 h 2161222"/>
                  <a:gd name="connsiteX791" fmla="*/ 354330 w 2443162"/>
                  <a:gd name="connsiteY791" fmla="*/ 1801178 h 2161222"/>
                  <a:gd name="connsiteX792" fmla="*/ 344805 w 2443162"/>
                  <a:gd name="connsiteY792" fmla="*/ 1798320 h 2161222"/>
                  <a:gd name="connsiteX793" fmla="*/ 336233 w 2443162"/>
                  <a:gd name="connsiteY793" fmla="*/ 1795463 h 2161222"/>
                  <a:gd name="connsiteX794" fmla="*/ 328613 w 2443162"/>
                  <a:gd name="connsiteY794" fmla="*/ 1792605 h 2161222"/>
                  <a:gd name="connsiteX795" fmla="*/ 320993 w 2443162"/>
                  <a:gd name="connsiteY795" fmla="*/ 1789748 h 2161222"/>
                  <a:gd name="connsiteX796" fmla="*/ 306705 w 2443162"/>
                  <a:gd name="connsiteY796" fmla="*/ 1783080 h 2161222"/>
                  <a:gd name="connsiteX797" fmla="*/ 293370 w 2443162"/>
                  <a:gd name="connsiteY797" fmla="*/ 1776413 h 2161222"/>
                  <a:gd name="connsiteX798" fmla="*/ 280988 w 2443162"/>
                  <a:gd name="connsiteY798" fmla="*/ 1769745 h 2161222"/>
                  <a:gd name="connsiteX799" fmla="*/ 269558 w 2443162"/>
                  <a:gd name="connsiteY799" fmla="*/ 1763078 h 2161222"/>
                  <a:gd name="connsiteX800" fmla="*/ 259080 w 2443162"/>
                  <a:gd name="connsiteY800" fmla="*/ 1755458 h 2161222"/>
                  <a:gd name="connsiteX801" fmla="*/ 248603 w 2443162"/>
                  <a:gd name="connsiteY801" fmla="*/ 1748790 h 2161222"/>
                  <a:gd name="connsiteX802" fmla="*/ 238125 w 2443162"/>
                  <a:gd name="connsiteY802" fmla="*/ 1741170 h 2161222"/>
                  <a:gd name="connsiteX803" fmla="*/ 227648 w 2443162"/>
                  <a:gd name="connsiteY803" fmla="*/ 1734503 h 2161222"/>
                  <a:gd name="connsiteX804" fmla="*/ 217170 w 2443162"/>
                  <a:gd name="connsiteY804" fmla="*/ 1727835 h 2161222"/>
                  <a:gd name="connsiteX805" fmla="*/ 205740 w 2443162"/>
                  <a:gd name="connsiteY805" fmla="*/ 1721168 h 2161222"/>
                  <a:gd name="connsiteX806" fmla="*/ 221933 w 2443162"/>
                  <a:gd name="connsiteY806" fmla="*/ 1749743 h 2161222"/>
                  <a:gd name="connsiteX807" fmla="*/ 238125 w 2443162"/>
                  <a:gd name="connsiteY807" fmla="*/ 1775460 h 2161222"/>
                  <a:gd name="connsiteX808" fmla="*/ 255270 w 2443162"/>
                  <a:gd name="connsiteY808" fmla="*/ 1798320 h 2161222"/>
                  <a:gd name="connsiteX809" fmla="*/ 273368 w 2443162"/>
                  <a:gd name="connsiteY809" fmla="*/ 1819275 h 2161222"/>
                  <a:gd name="connsiteX810" fmla="*/ 291465 w 2443162"/>
                  <a:gd name="connsiteY810" fmla="*/ 1838325 h 2161222"/>
                  <a:gd name="connsiteX811" fmla="*/ 309563 w 2443162"/>
                  <a:gd name="connsiteY811" fmla="*/ 1855470 h 2161222"/>
                  <a:gd name="connsiteX812" fmla="*/ 328613 w 2443162"/>
                  <a:gd name="connsiteY812" fmla="*/ 1870710 h 2161222"/>
                  <a:gd name="connsiteX813" fmla="*/ 347663 w 2443162"/>
                  <a:gd name="connsiteY813" fmla="*/ 1884045 h 2161222"/>
                  <a:gd name="connsiteX814" fmla="*/ 366713 w 2443162"/>
                  <a:gd name="connsiteY814" fmla="*/ 1895475 h 2161222"/>
                  <a:gd name="connsiteX815" fmla="*/ 386715 w 2443162"/>
                  <a:gd name="connsiteY815" fmla="*/ 1905953 h 2161222"/>
                  <a:gd name="connsiteX816" fmla="*/ 406718 w 2443162"/>
                  <a:gd name="connsiteY816" fmla="*/ 1914525 h 2161222"/>
                  <a:gd name="connsiteX817" fmla="*/ 426720 w 2443162"/>
                  <a:gd name="connsiteY817" fmla="*/ 1921193 h 2161222"/>
                  <a:gd name="connsiteX818" fmla="*/ 446723 w 2443162"/>
                  <a:gd name="connsiteY818" fmla="*/ 1926908 h 2161222"/>
                  <a:gd name="connsiteX819" fmla="*/ 466725 w 2443162"/>
                  <a:gd name="connsiteY819" fmla="*/ 1931670 h 2161222"/>
                  <a:gd name="connsiteX820" fmla="*/ 486728 w 2443162"/>
                  <a:gd name="connsiteY820" fmla="*/ 1935480 h 2161222"/>
                  <a:gd name="connsiteX821" fmla="*/ 506730 w 2443162"/>
                  <a:gd name="connsiteY821" fmla="*/ 1938338 h 2161222"/>
                  <a:gd name="connsiteX822" fmla="*/ 525780 w 2443162"/>
                  <a:gd name="connsiteY822" fmla="*/ 1940243 h 2161222"/>
                  <a:gd name="connsiteX823" fmla="*/ 544830 w 2443162"/>
                  <a:gd name="connsiteY823" fmla="*/ 1941195 h 2161222"/>
                  <a:gd name="connsiteX824" fmla="*/ 562928 w 2443162"/>
                  <a:gd name="connsiteY824" fmla="*/ 1941195 h 2161222"/>
                  <a:gd name="connsiteX825" fmla="*/ 581025 w 2443162"/>
                  <a:gd name="connsiteY825" fmla="*/ 1941195 h 2161222"/>
                  <a:gd name="connsiteX826" fmla="*/ 615315 w 2443162"/>
                  <a:gd name="connsiteY826" fmla="*/ 1940243 h 2161222"/>
                  <a:gd name="connsiteX827" fmla="*/ 647700 w 2443162"/>
                  <a:gd name="connsiteY827" fmla="*/ 1939290 h 2161222"/>
                  <a:gd name="connsiteX828" fmla="*/ 662940 w 2443162"/>
                  <a:gd name="connsiteY828" fmla="*/ 1939290 h 2161222"/>
                  <a:gd name="connsiteX829" fmla="*/ 677228 w 2443162"/>
                  <a:gd name="connsiteY829" fmla="*/ 1939290 h 2161222"/>
                  <a:gd name="connsiteX830" fmla="*/ 690563 w 2443162"/>
                  <a:gd name="connsiteY830" fmla="*/ 1939290 h 2161222"/>
                  <a:gd name="connsiteX831" fmla="*/ 702945 w 2443162"/>
                  <a:gd name="connsiteY831" fmla="*/ 1939290 h 2161222"/>
                  <a:gd name="connsiteX832" fmla="*/ 714375 w 2443162"/>
                  <a:gd name="connsiteY832" fmla="*/ 1940243 h 2161222"/>
                  <a:gd name="connsiteX833" fmla="*/ 724853 w 2443162"/>
                  <a:gd name="connsiteY833" fmla="*/ 1942148 h 2161222"/>
                  <a:gd name="connsiteX834" fmla="*/ 734378 w 2443162"/>
                  <a:gd name="connsiteY834" fmla="*/ 1945005 h 2161222"/>
                  <a:gd name="connsiteX835" fmla="*/ 741045 w 2443162"/>
                  <a:gd name="connsiteY835" fmla="*/ 1945958 h 2161222"/>
                  <a:gd name="connsiteX836" fmla="*/ 741045 w 2443162"/>
                  <a:gd name="connsiteY836" fmla="*/ 1945958 h 2161222"/>
                  <a:gd name="connsiteX837" fmla="*/ 1972628 w 2443162"/>
                  <a:gd name="connsiteY837" fmla="*/ 374333 h 2161222"/>
                  <a:gd name="connsiteX838" fmla="*/ 1958340 w 2443162"/>
                  <a:gd name="connsiteY838" fmla="*/ 352425 h 2161222"/>
                  <a:gd name="connsiteX839" fmla="*/ 1943100 w 2443162"/>
                  <a:gd name="connsiteY839" fmla="*/ 328613 h 2161222"/>
                  <a:gd name="connsiteX840" fmla="*/ 1926908 w 2443162"/>
                  <a:gd name="connsiteY840" fmla="*/ 304800 h 2161222"/>
                  <a:gd name="connsiteX841" fmla="*/ 1910715 w 2443162"/>
                  <a:gd name="connsiteY841" fmla="*/ 280988 h 2161222"/>
                  <a:gd name="connsiteX842" fmla="*/ 1894523 w 2443162"/>
                  <a:gd name="connsiteY842" fmla="*/ 259080 h 2161222"/>
                  <a:gd name="connsiteX843" fmla="*/ 1879283 w 2443162"/>
                  <a:gd name="connsiteY843" fmla="*/ 238125 h 2161222"/>
                  <a:gd name="connsiteX844" fmla="*/ 1871663 w 2443162"/>
                  <a:gd name="connsiteY844" fmla="*/ 229553 h 2161222"/>
                  <a:gd name="connsiteX845" fmla="*/ 1864995 w 2443162"/>
                  <a:gd name="connsiteY845" fmla="*/ 220980 h 2161222"/>
                  <a:gd name="connsiteX846" fmla="*/ 1858328 w 2443162"/>
                  <a:gd name="connsiteY846" fmla="*/ 214313 h 2161222"/>
                  <a:gd name="connsiteX847" fmla="*/ 1852613 w 2443162"/>
                  <a:gd name="connsiteY847" fmla="*/ 208598 h 2161222"/>
                  <a:gd name="connsiteX848" fmla="*/ 1867853 w 2443162"/>
                  <a:gd name="connsiteY848" fmla="*/ 212408 h 2161222"/>
                  <a:gd name="connsiteX849" fmla="*/ 1883093 w 2443162"/>
                  <a:gd name="connsiteY849" fmla="*/ 217170 h 2161222"/>
                  <a:gd name="connsiteX850" fmla="*/ 1897380 w 2443162"/>
                  <a:gd name="connsiteY850" fmla="*/ 221933 h 2161222"/>
                  <a:gd name="connsiteX851" fmla="*/ 1911668 w 2443162"/>
                  <a:gd name="connsiteY851" fmla="*/ 226695 h 2161222"/>
                  <a:gd name="connsiteX852" fmla="*/ 1925955 w 2443162"/>
                  <a:gd name="connsiteY852" fmla="*/ 232410 h 2161222"/>
                  <a:gd name="connsiteX853" fmla="*/ 1940243 w 2443162"/>
                  <a:gd name="connsiteY853" fmla="*/ 239078 h 2161222"/>
                  <a:gd name="connsiteX854" fmla="*/ 1953578 w 2443162"/>
                  <a:gd name="connsiteY854" fmla="*/ 245745 h 2161222"/>
                  <a:gd name="connsiteX855" fmla="*/ 1966913 w 2443162"/>
                  <a:gd name="connsiteY855" fmla="*/ 253365 h 2161222"/>
                  <a:gd name="connsiteX856" fmla="*/ 1980248 w 2443162"/>
                  <a:gd name="connsiteY856" fmla="*/ 260985 h 2161222"/>
                  <a:gd name="connsiteX857" fmla="*/ 1992630 w 2443162"/>
                  <a:gd name="connsiteY857" fmla="*/ 269558 h 2161222"/>
                  <a:gd name="connsiteX858" fmla="*/ 2005013 w 2443162"/>
                  <a:gd name="connsiteY858" fmla="*/ 278130 h 2161222"/>
                  <a:gd name="connsiteX859" fmla="*/ 2016443 w 2443162"/>
                  <a:gd name="connsiteY859" fmla="*/ 287655 h 2161222"/>
                  <a:gd name="connsiteX860" fmla="*/ 2027873 w 2443162"/>
                  <a:gd name="connsiteY860" fmla="*/ 298133 h 2161222"/>
                  <a:gd name="connsiteX861" fmla="*/ 2038350 w 2443162"/>
                  <a:gd name="connsiteY861" fmla="*/ 308610 h 2161222"/>
                  <a:gd name="connsiteX862" fmla="*/ 2048828 w 2443162"/>
                  <a:gd name="connsiteY862" fmla="*/ 319088 h 2161222"/>
                  <a:gd name="connsiteX863" fmla="*/ 2059305 w 2443162"/>
                  <a:gd name="connsiteY863" fmla="*/ 329565 h 2161222"/>
                  <a:gd name="connsiteX864" fmla="*/ 2069783 w 2443162"/>
                  <a:gd name="connsiteY864" fmla="*/ 340995 h 2161222"/>
                  <a:gd name="connsiteX865" fmla="*/ 2079308 w 2443162"/>
                  <a:gd name="connsiteY865" fmla="*/ 352425 h 2161222"/>
                  <a:gd name="connsiteX866" fmla="*/ 2088833 w 2443162"/>
                  <a:gd name="connsiteY866" fmla="*/ 363855 h 2161222"/>
                  <a:gd name="connsiteX867" fmla="*/ 2097405 w 2443162"/>
                  <a:gd name="connsiteY867" fmla="*/ 376238 h 2161222"/>
                  <a:gd name="connsiteX868" fmla="*/ 2105978 w 2443162"/>
                  <a:gd name="connsiteY868" fmla="*/ 388620 h 2161222"/>
                  <a:gd name="connsiteX869" fmla="*/ 2113598 w 2443162"/>
                  <a:gd name="connsiteY869" fmla="*/ 401955 h 2161222"/>
                  <a:gd name="connsiteX870" fmla="*/ 2121218 w 2443162"/>
                  <a:gd name="connsiteY870" fmla="*/ 415290 h 2161222"/>
                  <a:gd name="connsiteX871" fmla="*/ 2127885 w 2443162"/>
                  <a:gd name="connsiteY871" fmla="*/ 428625 h 2161222"/>
                  <a:gd name="connsiteX872" fmla="*/ 2134553 w 2443162"/>
                  <a:gd name="connsiteY872" fmla="*/ 441960 h 2161222"/>
                  <a:gd name="connsiteX873" fmla="*/ 2141220 w 2443162"/>
                  <a:gd name="connsiteY873" fmla="*/ 456248 h 2161222"/>
                  <a:gd name="connsiteX874" fmla="*/ 2146935 w 2443162"/>
                  <a:gd name="connsiteY874" fmla="*/ 470535 h 2161222"/>
                  <a:gd name="connsiteX875" fmla="*/ 2151698 w 2443162"/>
                  <a:gd name="connsiteY875" fmla="*/ 484823 h 2161222"/>
                  <a:gd name="connsiteX876" fmla="*/ 2156460 w 2443162"/>
                  <a:gd name="connsiteY876" fmla="*/ 499110 h 2161222"/>
                  <a:gd name="connsiteX877" fmla="*/ 2161223 w 2443162"/>
                  <a:gd name="connsiteY877" fmla="*/ 514350 h 2161222"/>
                  <a:gd name="connsiteX878" fmla="*/ 2165033 w 2443162"/>
                  <a:gd name="connsiteY878" fmla="*/ 529590 h 2161222"/>
                  <a:gd name="connsiteX879" fmla="*/ 2168843 w 2443162"/>
                  <a:gd name="connsiteY879" fmla="*/ 544830 h 2161222"/>
                  <a:gd name="connsiteX880" fmla="*/ 2155508 w 2443162"/>
                  <a:gd name="connsiteY880" fmla="*/ 532448 h 2161222"/>
                  <a:gd name="connsiteX881" fmla="*/ 2142173 w 2443162"/>
                  <a:gd name="connsiteY881" fmla="*/ 521018 h 2161222"/>
                  <a:gd name="connsiteX882" fmla="*/ 2127885 w 2443162"/>
                  <a:gd name="connsiteY882" fmla="*/ 509588 h 2161222"/>
                  <a:gd name="connsiteX883" fmla="*/ 2114550 w 2443162"/>
                  <a:gd name="connsiteY883" fmla="*/ 499110 h 2161222"/>
                  <a:gd name="connsiteX884" fmla="*/ 2086928 w 2443162"/>
                  <a:gd name="connsiteY884" fmla="*/ 478155 h 2161222"/>
                  <a:gd name="connsiteX885" fmla="*/ 2060258 w 2443162"/>
                  <a:gd name="connsiteY885" fmla="*/ 457200 h 2161222"/>
                  <a:gd name="connsiteX886" fmla="*/ 2047875 w 2443162"/>
                  <a:gd name="connsiteY886" fmla="*/ 447675 h 2161222"/>
                  <a:gd name="connsiteX887" fmla="*/ 2035493 w 2443162"/>
                  <a:gd name="connsiteY887" fmla="*/ 437198 h 2161222"/>
                  <a:gd name="connsiteX888" fmla="*/ 2024063 w 2443162"/>
                  <a:gd name="connsiteY888" fmla="*/ 426720 h 2161222"/>
                  <a:gd name="connsiteX889" fmla="*/ 2012633 w 2443162"/>
                  <a:gd name="connsiteY889" fmla="*/ 417195 h 2161222"/>
                  <a:gd name="connsiteX890" fmla="*/ 2002155 w 2443162"/>
                  <a:gd name="connsiteY890" fmla="*/ 406718 h 2161222"/>
                  <a:gd name="connsiteX891" fmla="*/ 1992630 w 2443162"/>
                  <a:gd name="connsiteY891" fmla="*/ 396240 h 2161222"/>
                  <a:gd name="connsiteX892" fmla="*/ 1987868 w 2443162"/>
                  <a:gd name="connsiteY892" fmla="*/ 391478 h 2161222"/>
                  <a:gd name="connsiteX893" fmla="*/ 1984058 w 2443162"/>
                  <a:gd name="connsiteY893" fmla="*/ 386715 h 2161222"/>
                  <a:gd name="connsiteX894" fmla="*/ 1980248 w 2443162"/>
                  <a:gd name="connsiteY894" fmla="*/ 381000 h 2161222"/>
                  <a:gd name="connsiteX895" fmla="*/ 1972628 w 2443162"/>
                  <a:gd name="connsiteY895" fmla="*/ 374333 h 2161222"/>
                  <a:gd name="connsiteX896" fmla="*/ 1972628 w 2443162"/>
                  <a:gd name="connsiteY896" fmla="*/ 374333 h 2161222"/>
                  <a:gd name="connsiteX897" fmla="*/ 2059305 w 2443162"/>
                  <a:gd name="connsiteY897" fmla="*/ 635318 h 2161222"/>
                  <a:gd name="connsiteX898" fmla="*/ 2064068 w 2443162"/>
                  <a:gd name="connsiteY898" fmla="*/ 642938 h 2161222"/>
                  <a:gd name="connsiteX899" fmla="*/ 2069783 w 2443162"/>
                  <a:gd name="connsiteY899" fmla="*/ 650558 h 2161222"/>
                  <a:gd name="connsiteX900" fmla="*/ 2076450 w 2443162"/>
                  <a:gd name="connsiteY900" fmla="*/ 658178 h 2161222"/>
                  <a:gd name="connsiteX901" fmla="*/ 2084070 w 2443162"/>
                  <a:gd name="connsiteY901" fmla="*/ 665798 h 2161222"/>
                  <a:gd name="connsiteX902" fmla="*/ 2092643 w 2443162"/>
                  <a:gd name="connsiteY902" fmla="*/ 674370 h 2161222"/>
                  <a:gd name="connsiteX903" fmla="*/ 2102168 w 2443162"/>
                  <a:gd name="connsiteY903" fmla="*/ 682943 h 2161222"/>
                  <a:gd name="connsiteX904" fmla="*/ 2111693 w 2443162"/>
                  <a:gd name="connsiteY904" fmla="*/ 691515 h 2161222"/>
                  <a:gd name="connsiteX905" fmla="*/ 2121218 w 2443162"/>
                  <a:gd name="connsiteY905" fmla="*/ 700088 h 2161222"/>
                  <a:gd name="connsiteX906" fmla="*/ 2142173 w 2443162"/>
                  <a:gd name="connsiteY906" fmla="*/ 718185 h 2161222"/>
                  <a:gd name="connsiteX907" fmla="*/ 2164080 w 2443162"/>
                  <a:gd name="connsiteY907" fmla="*/ 738188 h 2161222"/>
                  <a:gd name="connsiteX908" fmla="*/ 2175510 w 2443162"/>
                  <a:gd name="connsiteY908" fmla="*/ 748665 h 2161222"/>
                  <a:gd name="connsiteX909" fmla="*/ 2186940 w 2443162"/>
                  <a:gd name="connsiteY909" fmla="*/ 759143 h 2161222"/>
                  <a:gd name="connsiteX910" fmla="*/ 2198370 w 2443162"/>
                  <a:gd name="connsiteY910" fmla="*/ 770573 h 2161222"/>
                  <a:gd name="connsiteX911" fmla="*/ 2208848 w 2443162"/>
                  <a:gd name="connsiteY911" fmla="*/ 782003 h 2161222"/>
                  <a:gd name="connsiteX912" fmla="*/ 2214563 w 2443162"/>
                  <a:gd name="connsiteY912" fmla="*/ 788670 h 2161222"/>
                  <a:gd name="connsiteX913" fmla="*/ 2220278 w 2443162"/>
                  <a:gd name="connsiteY913" fmla="*/ 797243 h 2161222"/>
                  <a:gd name="connsiteX914" fmla="*/ 2225993 w 2443162"/>
                  <a:gd name="connsiteY914" fmla="*/ 806768 h 2161222"/>
                  <a:gd name="connsiteX915" fmla="*/ 2231708 w 2443162"/>
                  <a:gd name="connsiteY915" fmla="*/ 816293 h 2161222"/>
                  <a:gd name="connsiteX916" fmla="*/ 2237423 w 2443162"/>
                  <a:gd name="connsiteY916" fmla="*/ 826770 h 2161222"/>
                  <a:gd name="connsiteX917" fmla="*/ 2243138 w 2443162"/>
                  <a:gd name="connsiteY917" fmla="*/ 837248 h 2161222"/>
                  <a:gd name="connsiteX918" fmla="*/ 2248853 w 2443162"/>
                  <a:gd name="connsiteY918" fmla="*/ 848678 h 2161222"/>
                  <a:gd name="connsiteX919" fmla="*/ 2253615 w 2443162"/>
                  <a:gd name="connsiteY919" fmla="*/ 860108 h 2161222"/>
                  <a:gd name="connsiteX920" fmla="*/ 2258378 w 2443162"/>
                  <a:gd name="connsiteY920" fmla="*/ 872490 h 2161222"/>
                  <a:gd name="connsiteX921" fmla="*/ 2263140 w 2443162"/>
                  <a:gd name="connsiteY921" fmla="*/ 884873 h 2161222"/>
                  <a:gd name="connsiteX922" fmla="*/ 2267903 w 2443162"/>
                  <a:gd name="connsiteY922" fmla="*/ 897255 h 2161222"/>
                  <a:gd name="connsiteX923" fmla="*/ 2272665 w 2443162"/>
                  <a:gd name="connsiteY923" fmla="*/ 909638 h 2161222"/>
                  <a:gd name="connsiteX924" fmla="*/ 2276475 w 2443162"/>
                  <a:gd name="connsiteY924" fmla="*/ 922020 h 2161222"/>
                  <a:gd name="connsiteX925" fmla="*/ 2280285 w 2443162"/>
                  <a:gd name="connsiteY925" fmla="*/ 934403 h 2161222"/>
                  <a:gd name="connsiteX926" fmla="*/ 2283143 w 2443162"/>
                  <a:gd name="connsiteY926" fmla="*/ 945833 h 2161222"/>
                  <a:gd name="connsiteX927" fmla="*/ 2286000 w 2443162"/>
                  <a:gd name="connsiteY927" fmla="*/ 957263 h 2161222"/>
                  <a:gd name="connsiteX928" fmla="*/ 2296478 w 2443162"/>
                  <a:gd name="connsiteY928" fmla="*/ 862013 h 2161222"/>
                  <a:gd name="connsiteX929" fmla="*/ 2299335 w 2443162"/>
                  <a:gd name="connsiteY929" fmla="*/ 842963 h 2161222"/>
                  <a:gd name="connsiteX930" fmla="*/ 2302193 w 2443162"/>
                  <a:gd name="connsiteY930" fmla="*/ 823913 h 2161222"/>
                  <a:gd name="connsiteX931" fmla="*/ 2306003 w 2443162"/>
                  <a:gd name="connsiteY931" fmla="*/ 804863 h 2161222"/>
                  <a:gd name="connsiteX932" fmla="*/ 2308860 w 2443162"/>
                  <a:gd name="connsiteY932" fmla="*/ 784860 h 2161222"/>
                  <a:gd name="connsiteX933" fmla="*/ 2311718 w 2443162"/>
                  <a:gd name="connsiteY933" fmla="*/ 764858 h 2161222"/>
                  <a:gd name="connsiteX934" fmla="*/ 2314575 w 2443162"/>
                  <a:gd name="connsiteY934" fmla="*/ 744855 h 2161222"/>
                  <a:gd name="connsiteX935" fmla="*/ 2316480 w 2443162"/>
                  <a:gd name="connsiteY935" fmla="*/ 724853 h 2161222"/>
                  <a:gd name="connsiteX936" fmla="*/ 2318385 w 2443162"/>
                  <a:gd name="connsiteY936" fmla="*/ 704850 h 2161222"/>
                  <a:gd name="connsiteX937" fmla="*/ 2319338 w 2443162"/>
                  <a:gd name="connsiteY937" fmla="*/ 684848 h 2161222"/>
                  <a:gd name="connsiteX938" fmla="*/ 2320290 w 2443162"/>
                  <a:gd name="connsiteY938" fmla="*/ 664845 h 2161222"/>
                  <a:gd name="connsiteX939" fmla="*/ 2320290 w 2443162"/>
                  <a:gd name="connsiteY939" fmla="*/ 644843 h 2161222"/>
                  <a:gd name="connsiteX940" fmla="*/ 2319338 w 2443162"/>
                  <a:gd name="connsiteY940" fmla="*/ 624840 h 2161222"/>
                  <a:gd name="connsiteX941" fmla="*/ 2318385 w 2443162"/>
                  <a:gd name="connsiteY941" fmla="*/ 615315 h 2161222"/>
                  <a:gd name="connsiteX942" fmla="*/ 2317433 w 2443162"/>
                  <a:gd name="connsiteY942" fmla="*/ 604838 h 2161222"/>
                  <a:gd name="connsiteX943" fmla="*/ 2316480 w 2443162"/>
                  <a:gd name="connsiteY943" fmla="*/ 595313 h 2161222"/>
                  <a:gd name="connsiteX944" fmla="*/ 2315528 w 2443162"/>
                  <a:gd name="connsiteY944" fmla="*/ 585788 h 2161222"/>
                  <a:gd name="connsiteX945" fmla="*/ 2313623 w 2443162"/>
                  <a:gd name="connsiteY945" fmla="*/ 576263 h 2161222"/>
                  <a:gd name="connsiteX946" fmla="*/ 2311718 w 2443162"/>
                  <a:gd name="connsiteY946" fmla="*/ 566738 h 2161222"/>
                  <a:gd name="connsiteX947" fmla="*/ 2309813 w 2443162"/>
                  <a:gd name="connsiteY947" fmla="*/ 557213 h 2161222"/>
                  <a:gd name="connsiteX948" fmla="*/ 2306955 w 2443162"/>
                  <a:gd name="connsiteY948" fmla="*/ 547688 h 2161222"/>
                  <a:gd name="connsiteX949" fmla="*/ 2321243 w 2443162"/>
                  <a:gd name="connsiteY949" fmla="*/ 573405 h 2161222"/>
                  <a:gd name="connsiteX950" fmla="*/ 2335530 w 2443162"/>
                  <a:gd name="connsiteY950" fmla="*/ 599123 h 2161222"/>
                  <a:gd name="connsiteX951" fmla="*/ 2342198 w 2443162"/>
                  <a:gd name="connsiteY951" fmla="*/ 612458 h 2161222"/>
                  <a:gd name="connsiteX952" fmla="*/ 2348865 w 2443162"/>
                  <a:gd name="connsiteY952" fmla="*/ 625793 h 2161222"/>
                  <a:gd name="connsiteX953" fmla="*/ 2354580 w 2443162"/>
                  <a:gd name="connsiteY953" fmla="*/ 639128 h 2161222"/>
                  <a:gd name="connsiteX954" fmla="*/ 2360295 w 2443162"/>
                  <a:gd name="connsiteY954" fmla="*/ 652463 h 2161222"/>
                  <a:gd name="connsiteX955" fmla="*/ 2365058 w 2443162"/>
                  <a:gd name="connsiteY955" fmla="*/ 665798 h 2161222"/>
                  <a:gd name="connsiteX956" fmla="*/ 2369820 w 2443162"/>
                  <a:gd name="connsiteY956" fmla="*/ 679133 h 2161222"/>
                  <a:gd name="connsiteX957" fmla="*/ 2374583 w 2443162"/>
                  <a:gd name="connsiteY957" fmla="*/ 693420 h 2161222"/>
                  <a:gd name="connsiteX958" fmla="*/ 2378393 w 2443162"/>
                  <a:gd name="connsiteY958" fmla="*/ 707708 h 2161222"/>
                  <a:gd name="connsiteX959" fmla="*/ 2381250 w 2443162"/>
                  <a:gd name="connsiteY959" fmla="*/ 721995 h 2161222"/>
                  <a:gd name="connsiteX960" fmla="*/ 2383155 w 2443162"/>
                  <a:gd name="connsiteY960" fmla="*/ 737235 h 2161222"/>
                  <a:gd name="connsiteX961" fmla="*/ 2384108 w 2443162"/>
                  <a:gd name="connsiteY961" fmla="*/ 744855 h 2161222"/>
                  <a:gd name="connsiteX962" fmla="*/ 2385060 w 2443162"/>
                  <a:gd name="connsiteY962" fmla="*/ 752475 h 2161222"/>
                  <a:gd name="connsiteX963" fmla="*/ 2385060 w 2443162"/>
                  <a:gd name="connsiteY963" fmla="*/ 760095 h 2161222"/>
                  <a:gd name="connsiteX964" fmla="*/ 2385060 w 2443162"/>
                  <a:gd name="connsiteY964" fmla="*/ 767715 h 2161222"/>
                  <a:gd name="connsiteX965" fmla="*/ 2385060 w 2443162"/>
                  <a:gd name="connsiteY965" fmla="*/ 778193 h 2161222"/>
                  <a:gd name="connsiteX966" fmla="*/ 2385060 w 2443162"/>
                  <a:gd name="connsiteY966" fmla="*/ 788670 h 2161222"/>
                  <a:gd name="connsiteX967" fmla="*/ 2384108 w 2443162"/>
                  <a:gd name="connsiteY967" fmla="*/ 799148 h 2161222"/>
                  <a:gd name="connsiteX968" fmla="*/ 2383155 w 2443162"/>
                  <a:gd name="connsiteY968" fmla="*/ 809625 h 2161222"/>
                  <a:gd name="connsiteX969" fmla="*/ 2381250 w 2443162"/>
                  <a:gd name="connsiteY969" fmla="*/ 820103 h 2161222"/>
                  <a:gd name="connsiteX970" fmla="*/ 2379345 w 2443162"/>
                  <a:gd name="connsiteY970" fmla="*/ 830580 h 2161222"/>
                  <a:gd name="connsiteX971" fmla="*/ 2377440 w 2443162"/>
                  <a:gd name="connsiteY971" fmla="*/ 840105 h 2161222"/>
                  <a:gd name="connsiteX972" fmla="*/ 2375535 w 2443162"/>
                  <a:gd name="connsiteY972" fmla="*/ 849630 h 2161222"/>
                  <a:gd name="connsiteX973" fmla="*/ 2372678 w 2443162"/>
                  <a:gd name="connsiteY973" fmla="*/ 859155 h 2161222"/>
                  <a:gd name="connsiteX974" fmla="*/ 2369820 w 2443162"/>
                  <a:gd name="connsiteY974" fmla="*/ 868680 h 2161222"/>
                  <a:gd name="connsiteX975" fmla="*/ 2366963 w 2443162"/>
                  <a:gd name="connsiteY975" fmla="*/ 878205 h 2161222"/>
                  <a:gd name="connsiteX976" fmla="*/ 2364105 w 2443162"/>
                  <a:gd name="connsiteY976" fmla="*/ 887730 h 2161222"/>
                  <a:gd name="connsiteX977" fmla="*/ 2357438 w 2443162"/>
                  <a:gd name="connsiteY977" fmla="*/ 905828 h 2161222"/>
                  <a:gd name="connsiteX978" fmla="*/ 2349818 w 2443162"/>
                  <a:gd name="connsiteY978" fmla="*/ 922973 h 2161222"/>
                  <a:gd name="connsiteX979" fmla="*/ 2333625 w 2443162"/>
                  <a:gd name="connsiteY979" fmla="*/ 958215 h 2161222"/>
                  <a:gd name="connsiteX980" fmla="*/ 2317433 w 2443162"/>
                  <a:gd name="connsiteY980" fmla="*/ 993458 h 2161222"/>
                  <a:gd name="connsiteX981" fmla="*/ 2309813 w 2443162"/>
                  <a:gd name="connsiteY981" fmla="*/ 1011555 h 2161222"/>
                  <a:gd name="connsiteX982" fmla="*/ 2302193 w 2443162"/>
                  <a:gd name="connsiteY982" fmla="*/ 1029653 h 2161222"/>
                  <a:gd name="connsiteX983" fmla="*/ 2295525 w 2443162"/>
                  <a:gd name="connsiteY983" fmla="*/ 1047750 h 2161222"/>
                  <a:gd name="connsiteX984" fmla="*/ 2288858 w 2443162"/>
                  <a:gd name="connsiteY984" fmla="*/ 1066800 h 2161222"/>
                  <a:gd name="connsiteX985" fmla="*/ 2287905 w 2443162"/>
                  <a:gd name="connsiteY985" fmla="*/ 1061085 h 2161222"/>
                  <a:gd name="connsiteX986" fmla="*/ 2286953 w 2443162"/>
                  <a:gd name="connsiteY986" fmla="*/ 1054418 h 2161222"/>
                  <a:gd name="connsiteX987" fmla="*/ 2285048 w 2443162"/>
                  <a:gd name="connsiteY987" fmla="*/ 1047750 h 2161222"/>
                  <a:gd name="connsiteX988" fmla="*/ 2283143 w 2443162"/>
                  <a:gd name="connsiteY988" fmla="*/ 1041083 h 2161222"/>
                  <a:gd name="connsiteX989" fmla="*/ 2280285 w 2443162"/>
                  <a:gd name="connsiteY989" fmla="*/ 1034415 h 2161222"/>
                  <a:gd name="connsiteX990" fmla="*/ 2277428 w 2443162"/>
                  <a:gd name="connsiteY990" fmla="*/ 1026795 h 2161222"/>
                  <a:gd name="connsiteX991" fmla="*/ 2274570 w 2443162"/>
                  <a:gd name="connsiteY991" fmla="*/ 1019175 h 2161222"/>
                  <a:gd name="connsiteX992" fmla="*/ 2270760 w 2443162"/>
                  <a:gd name="connsiteY992" fmla="*/ 1011555 h 2161222"/>
                  <a:gd name="connsiteX993" fmla="*/ 2263140 w 2443162"/>
                  <a:gd name="connsiteY993" fmla="*/ 996315 h 2161222"/>
                  <a:gd name="connsiteX994" fmla="*/ 2254568 w 2443162"/>
                  <a:gd name="connsiteY994" fmla="*/ 980123 h 2161222"/>
                  <a:gd name="connsiteX995" fmla="*/ 2245043 w 2443162"/>
                  <a:gd name="connsiteY995" fmla="*/ 963930 h 2161222"/>
                  <a:gd name="connsiteX996" fmla="*/ 2235518 w 2443162"/>
                  <a:gd name="connsiteY996" fmla="*/ 947738 h 2161222"/>
                  <a:gd name="connsiteX997" fmla="*/ 2225993 w 2443162"/>
                  <a:gd name="connsiteY997" fmla="*/ 932498 h 2161222"/>
                  <a:gd name="connsiteX998" fmla="*/ 2215515 w 2443162"/>
                  <a:gd name="connsiteY998" fmla="*/ 917258 h 2161222"/>
                  <a:gd name="connsiteX999" fmla="*/ 2205038 w 2443162"/>
                  <a:gd name="connsiteY999" fmla="*/ 902018 h 2161222"/>
                  <a:gd name="connsiteX1000" fmla="*/ 2194560 w 2443162"/>
                  <a:gd name="connsiteY1000" fmla="*/ 888683 h 2161222"/>
                  <a:gd name="connsiteX1001" fmla="*/ 2185035 w 2443162"/>
                  <a:gd name="connsiteY1001" fmla="*/ 875348 h 2161222"/>
                  <a:gd name="connsiteX1002" fmla="*/ 2176463 w 2443162"/>
                  <a:gd name="connsiteY1002" fmla="*/ 863918 h 2161222"/>
                  <a:gd name="connsiteX1003" fmla="*/ 2167890 w 2443162"/>
                  <a:gd name="connsiteY1003" fmla="*/ 853440 h 2161222"/>
                  <a:gd name="connsiteX1004" fmla="*/ 2160270 w 2443162"/>
                  <a:gd name="connsiteY1004" fmla="*/ 844868 h 2161222"/>
                  <a:gd name="connsiteX1005" fmla="*/ 2148840 w 2443162"/>
                  <a:gd name="connsiteY1005" fmla="*/ 829628 h 2161222"/>
                  <a:gd name="connsiteX1006" fmla="*/ 2138363 w 2443162"/>
                  <a:gd name="connsiteY1006" fmla="*/ 816293 h 2161222"/>
                  <a:gd name="connsiteX1007" fmla="*/ 2129790 w 2443162"/>
                  <a:gd name="connsiteY1007" fmla="*/ 803910 h 2161222"/>
                  <a:gd name="connsiteX1008" fmla="*/ 2122170 w 2443162"/>
                  <a:gd name="connsiteY1008" fmla="*/ 792480 h 2161222"/>
                  <a:gd name="connsiteX1009" fmla="*/ 2115503 w 2443162"/>
                  <a:gd name="connsiteY1009" fmla="*/ 782003 h 2161222"/>
                  <a:gd name="connsiteX1010" fmla="*/ 2109788 w 2443162"/>
                  <a:gd name="connsiteY1010" fmla="*/ 771525 h 2161222"/>
                  <a:gd name="connsiteX1011" fmla="*/ 2105025 w 2443162"/>
                  <a:gd name="connsiteY1011" fmla="*/ 761048 h 2161222"/>
                  <a:gd name="connsiteX1012" fmla="*/ 2100263 w 2443162"/>
                  <a:gd name="connsiteY1012" fmla="*/ 750570 h 2161222"/>
                  <a:gd name="connsiteX1013" fmla="*/ 2095500 w 2443162"/>
                  <a:gd name="connsiteY1013" fmla="*/ 740093 h 2161222"/>
                  <a:gd name="connsiteX1014" fmla="*/ 2091690 w 2443162"/>
                  <a:gd name="connsiteY1014" fmla="*/ 729615 h 2161222"/>
                  <a:gd name="connsiteX1015" fmla="*/ 2086928 w 2443162"/>
                  <a:gd name="connsiteY1015" fmla="*/ 718185 h 2161222"/>
                  <a:gd name="connsiteX1016" fmla="*/ 2082165 w 2443162"/>
                  <a:gd name="connsiteY1016" fmla="*/ 705803 h 2161222"/>
                  <a:gd name="connsiteX1017" fmla="*/ 2072640 w 2443162"/>
                  <a:gd name="connsiteY1017" fmla="*/ 677228 h 2161222"/>
                  <a:gd name="connsiteX1018" fmla="*/ 2059305 w 2443162"/>
                  <a:gd name="connsiteY1018" fmla="*/ 635318 h 2161222"/>
                  <a:gd name="connsiteX1019" fmla="*/ 2059305 w 2443162"/>
                  <a:gd name="connsiteY1019" fmla="*/ 635318 h 2161222"/>
                  <a:gd name="connsiteX1020" fmla="*/ 2132648 w 2443162"/>
                  <a:gd name="connsiteY1020" fmla="*/ 882968 h 2161222"/>
                  <a:gd name="connsiteX1021" fmla="*/ 2147888 w 2443162"/>
                  <a:gd name="connsiteY1021" fmla="*/ 902970 h 2161222"/>
                  <a:gd name="connsiteX1022" fmla="*/ 2162175 w 2443162"/>
                  <a:gd name="connsiteY1022" fmla="*/ 922020 h 2161222"/>
                  <a:gd name="connsiteX1023" fmla="*/ 2176463 w 2443162"/>
                  <a:gd name="connsiteY1023" fmla="*/ 941070 h 2161222"/>
                  <a:gd name="connsiteX1024" fmla="*/ 2189798 w 2443162"/>
                  <a:gd name="connsiteY1024" fmla="*/ 960120 h 2161222"/>
                  <a:gd name="connsiteX1025" fmla="*/ 2202180 w 2443162"/>
                  <a:gd name="connsiteY1025" fmla="*/ 978218 h 2161222"/>
                  <a:gd name="connsiteX1026" fmla="*/ 2212658 w 2443162"/>
                  <a:gd name="connsiteY1026" fmla="*/ 997268 h 2161222"/>
                  <a:gd name="connsiteX1027" fmla="*/ 2217420 w 2443162"/>
                  <a:gd name="connsiteY1027" fmla="*/ 1006793 h 2161222"/>
                  <a:gd name="connsiteX1028" fmla="*/ 2222183 w 2443162"/>
                  <a:gd name="connsiteY1028" fmla="*/ 1016318 h 2161222"/>
                  <a:gd name="connsiteX1029" fmla="*/ 2226945 w 2443162"/>
                  <a:gd name="connsiteY1029" fmla="*/ 1025843 h 2161222"/>
                  <a:gd name="connsiteX1030" fmla="*/ 2231708 w 2443162"/>
                  <a:gd name="connsiteY1030" fmla="*/ 1035368 h 2161222"/>
                  <a:gd name="connsiteX1031" fmla="*/ 2235518 w 2443162"/>
                  <a:gd name="connsiteY1031" fmla="*/ 1044893 h 2161222"/>
                  <a:gd name="connsiteX1032" fmla="*/ 2239328 w 2443162"/>
                  <a:gd name="connsiteY1032" fmla="*/ 1054418 h 2161222"/>
                  <a:gd name="connsiteX1033" fmla="*/ 2243138 w 2443162"/>
                  <a:gd name="connsiteY1033" fmla="*/ 1063943 h 2161222"/>
                  <a:gd name="connsiteX1034" fmla="*/ 2245995 w 2443162"/>
                  <a:gd name="connsiteY1034" fmla="*/ 1074420 h 2161222"/>
                  <a:gd name="connsiteX1035" fmla="*/ 2248853 w 2443162"/>
                  <a:gd name="connsiteY1035" fmla="*/ 1084898 h 2161222"/>
                  <a:gd name="connsiteX1036" fmla="*/ 2251710 w 2443162"/>
                  <a:gd name="connsiteY1036" fmla="*/ 1095375 h 2161222"/>
                  <a:gd name="connsiteX1037" fmla="*/ 2254568 w 2443162"/>
                  <a:gd name="connsiteY1037" fmla="*/ 1105853 h 2161222"/>
                  <a:gd name="connsiteX1038" fmla="*/ 2256473 w 2443162"/>
                  <a:gd name="connsiteY1038" fmla="*/ 1117283 h 2161222"/>
                  <a:gd name="connsiteX1039" fmla="*/ 2258378 w 2443162"/>
                  <a:gd name="connsiteY1039" fmla="*/ 1128713 h 2161222"/>
                  <a:gd name="connsiteX1040" fmla="*/ 2259330 w 2443162"/>
                  <a:gd name="connsiteY1040" fmla="*/ 1140143 h 2161222"/>
                  <a:gd name="connsiteX1041" fmla="*/ 2260283 w 2443162"/>
                  <a:gd name="connsiteY1041" fmla="*/ 1152525 h 2161222"/>
                  <a:gd name="connsiteX1042" fmla="*/ 2261235 w 2443162"/>
                  <a:gd name="connsiteY1042" fmla="*/ 1164908 h 2161222"/>
                  <a:gd name="connsiteX1043" fmla="*/ 2261235 w 2443162"/>
                  <a:gd name="connsiteY1043" fmla="*/ 1178243 h 2161222"/>
                  <a:gd name="connsiteX1044" fmla="*/ 2261235 w 2443162"/>
                  <a:gd name="connsiteY1044" fmla="*/ 1191578 h 2161222"/>
                  <a:gd name="connsiteX1045" fmla="*/ 2261235 w 2443162"/>
                  <a:gd name="connsiteY1045" fmla="*/ 1205865 h 2161222"/>
                  <a:gd name="connsiteX1046" fmla="*/ 2261235 w 2443162"/>
                  <a:gd name="connsiteY1046" fmla="*/ 1220153 h 2161222"/>
                  <a:gd name="connsiteX1047" fmla="*/ 2264093 w 2443162"/>
                  <a:gd name="connsiteY1047" fmla="*/ 1207770 h 2161222"/>
                  <a:gd name="connsiteX1048" fmla="*/ 2266950 w 2443162"/>
                  <a:gd name="connsiteY1048" fmla="*/ 1195388 h 2161222"/>
                  <a:gd name="connsiteX1049" fmla="*/ 2270760 w 2443162"/>
                  <a:gd name="connsiteY1049" fmla="*/ 1183005 h 2161222"/>
                  <a:gd name="connsiteX1050" fmla="*/ 2274570 w 2443162"/>
                  <a:gd name="connsiteY1050" fmla="*/ 1170623 h 2161222"/>
                  <a:gd name="connsiteX1051" fmla="*/ 2279333 w 2443162"/>
                  <a:gd name="connsiteY1051" fmla="*/ 1158240 h 2161222"/>
                  <a:gd name="connsiteX1052" fmla="*/ 2284095 w 2443162"/>
                  <a:gd name="connsiteY1052" fmla="*/ 1145858 h 2161222"/>
                  <a:gd name="connsiteX1053" fmla="*/ 2288858 w 2443162"/>
                  <a:gd name="connsiteY1053" fmla="*/ 1133475 h 2161222"/>
                  <a:gd name="connsiteX1054" fmla="*/ 2294573 w 2443162"/>
                  <a:gd name="connsiteY1054" fmla="*/ 1121093 h 2161222"/>
                  <a:gd name="connsiteX1055" fmla="*/ 2306003 w 2443162"/>
                  <a:gd name="connsiteY1055" fmla="*/ 1096328 h 2161222"/>
                  <a:gd name="connsiteX1056" fmla="*/ 2319338 w 2443162"/>
                  <a:gd name="connsiteY1056" fmla="*/ 1072515 h 2161222"/>
                  <a:gd name="connsiteX1057" fmla="*/ 2331720 w 2443162"/>
                  <a:gd name="connsiteY1057" fmla="*/ 1047750 h 2161222"/>
                  <a:gd name="connsiteX1058" fmla="*/ 2345055 w 2443162"/>
                  <a:gd name="connsiteY1058" fmla="*/ 1023938 h 2161222"/>
                  <a:gd name="connsiteX1059" fmla="*/ 2357438 w 2443162"/>
                  <a:gd name="connsiteY1059" fmla="*/ 1000125 h 2161222"/>
                  <a:gd name="connsiteX1060" fmla="*/ 2369820 w 2443162"/>
                  <a:gd name="connsiteY1060" fmla="*/ 976313 h 2161222"/>
                  <a:gd name="connsiteX1061" fmla="*/ 2375535 w 2443162"/>
                  <a:gd name="connsiteY1061" fmla="*/ 964883 h 2161222"/>
                  <a:gd name="connsiteX1062" fmla="*/ 2381250 w 2443162"/>
                  <a:gd name="connsiteY1062" fmla="*/ 953453 h 2161222"/>
                  <a:gd name="connsiteX1063" fmla="*/ 2386013 w 2443162"/>
                  <a:gd name="connsiteY1063" fmla="*/ 942023 h 2161222"/>
                  <a:gd name="connsiteX1064" fmla="*/ 2390775 w 2443162"/>
                  <a:gd name="connsiteY1064" fmla="*/ 930593 h 2161222"/>
                  <a:gd name="connsiteX1065" fmla="*/ 2395538 w 2443162"/>
                  <a:gd name="connsiteY1065" fmla="*/ 919163 h 2161222"/>
                  <a:gd name="connsiteX1066" fmla="*/ 2399348 w 2443162"/>
                  <a:gd name="connsiteY1066" fmla="*/ 907733 h 2161222"/>
                  <a:gd name="connsiteX1067" fmla="*/ 2403158 w 2443162"/>
                  <a:gd name="connsiteY1067" fmla="*/ 896303 h 2161222"/>
                  <a:gd name="connsiteX1068" fmla="*/ 2406015 w 2443162"/>
                  <a:gd name="connsiteY1068" fmla="*/ 884873 h 2161222"/>
                  <a:gd name="connsiteX1069" fmla="*/ 2408873 w 2443162"/>
                  <a:gd name="connsiteY1069" fmla="*/ 874395 h 2161222"/>
                  <a:gd name="connsiteX1070" fmla="*/ 2410778 w 2443162"/>
                  <a:gd name="connsiteY1070" fmla="*/ 863918 h 2161222"/>
                  <a:gd name="connsiteX1071" fmla="*/ 2411730 w 2443162"/>
                  <a:gd name="connsiteY1071" fmla="*/ 853440 h 2161222"/>
                  <a:gd name="connsiteX1072" fmla="*/ 2412683 w 2443162"/>
                  <a:gd name="connsiteY1072" fmla="*/ 842963 h 2161222"/>
                  <a:gd name="connsiteX1073" fmla="*/ 2417445 w 2443162"/>
                  <a:gd name="connsiteY1073" fmla="*/ 866775 h 2161222"/>
                  <a:gd name="connsiteX1074" fmla="*/ 2421255 w 2443162"/>
                  <a:gd name="connsiteY1074" fmla="*/ 889635 h 2161222"/>
                  <a:gd name="connsiteX1075" fmla="*/ 2424113 w 2443162"/>
                  <a:gd name="connsiteY1075" fmla="*/ 911543 h 2161222"/>
                  <a:gd name="connsiteX1076" fmla="*/ 2426018 w 2443162"/>
                  <a:gd name="connsiteY1076" fmla="*/ 931545 h 2161222"/>
                  <a:gd name="connsiteX1077" fmla="*/ 2426970 w 2443162"/>
                  <a:gd name="connsiteY1077" fmla="*/ 950595 h 2161222"/>
                  <a:gd name="connsiteX1078" fmla="*/ 2426970 w 2443162"/>
                  <a:gd name="connsiteY1078" fmla="*/ 969645 h 2161222"/>
                  <a:gd name="connsiteX1079" fmla="*/ 2426970 w 2443162"/>
                  <a:gd name="connsiteY1079" fmla="*/ 987743 h 2161222"/>
                  <a:gd name="connsiteX1080" fmla="*/ 2426018 w 2443162"/>
                  <a:gd name="connsiteY1080" fmla="*/ 1004888 h 2161222"/>
                  <a:gd name="connsiteX1081" fmla="*/ 2424113 w 2443162"/>
                  <a:gd name="connsiteY1081" fmla="*/ 1021080 h 2161222"/>
                  <a:gd name="connsiteX1082" fmla="*/ 2421255 w 2443162"/>
                  <a:gd name="connsiteY1082" fmla="*/ 1036320 h 2161222"/>
                  <a:gd name="connsiteX1083" fmla="*/ 2418398 w 2443162"/>
                  <a:gd name="connsiteY1083" fmla="*/ 1050608 h 2161222"/>
                  <a:gd name="connsiteX1084" fmla="*/ 2413635 w 2443162"/>
                  <a:gd name="connsiteY1084" fmla="*/ 1064895 h 2161222"/>
                  <a:gd name="connsiteX1085" fmla="*/ 2408873 w 2443162"/>
                  <a:gd name="connsiteY1085" fmla="*/ 1079183 h 2161222"/>
                  <a:gd name="connsiteX1086" fmla="*/ 2404110 w 2443162"/>
                  <a:gd name="connsiteY1086" fmla="*/ 1092518 h 2161222"/>
                  <a:gd name="connsiteX1087" fmla="*/ 2398395 w 2443162"/>
                  <a:gd name="connsiteY1087" fmla="*/ 1105853 h 2161222"/>
                  <a:gd name="connsiteX1088" fmla="*/ 2392680 w 2443162"/>
                  <a:gd name="connsiteY1088" fmla="*/ 1118235 h 2161222"/>
                  <a:gd name="connsiteX1089" fmla="*/ 2386013 w 2443162"/>
                  <a:gd name="connsiteY1089" fmla="*/ 1130618 h 2161222"/>
                  <a:gd name="connsiteX1090" fmla="*/ 2378393 w 2443162"/>
                  <a:gd name="connsiteY1090" fmla="*/ 1143000 h 2161222"/>
                  <a:gd name="connsiteX1091" fmla="*/ 2369820 w 2443162"/>
                  <a:gd name="connsiteY1091" fmla="*/ 1155383 h 2161222"/>
                  <a:gd name="connsiteX1092" fmla="*/ 2361248 w 2443162"/>
                  <a:gd name="connsiteY1092" fmla="*/ 1166813 h 2161222"/>
                  <a:gd name="connsiteX1093" fmla="*/ 2352675 w 2443162"/>
                  <a:gd name="connsiteY1093" fmla="*/ 1179195 h 2161222"/>
                  <a:gd name="connsiteX1094" fmla="*/ 2343150 w 2443162"/>
                  <a:gd name="connsiteY1094" fmla="*/ 1190625 h 2161222"/>
                  <a:gd name="connsiteX1095" fmla="*/ 2333625 w 2443162"/>
                  <a:gd name="connsiteY1095" fmla="*/ 1203008 h 2161222"/>
                  <a:gd name="connsiteX1096" fmla="*/ 2323148 w 2443162"/>
                  <a:gd name="connsiteY1096" fmla="*/ 1215390 h 2161222"/>
                  <a:gd name="connsiteX1097" fmla="*/ 2302193 w 2443162"/>
                  <a:gd name="connsiteY1097" fmla="*/ 1240155 h 2161222"/>
                  <a:gd name="connsiteX1098" fmla="*/ 2280285 w 2443162"/>
                  <a:gd name="connsiteY1098" fmla="*/ 1266825 h 2161222"/>
                  <a:gd name="connsiteX1099" fmla="*/ 2268855 w 2443162"/>
                  <a:gd name="connsiteY1099" fmla="*/ 1281113 h 2161222"/>
                  <a:gd name="connsiteX1100" fmla="*/ 2257425 w 2443162"/>
                  <a:gd name="connsiteY1100" fmla="*/ 1295400 h 2161222"/>
                  <a:gd name="connsiteX1101" fmla="*/ 2245995 w 2443162"/>
                  <a:gd name="connsiteY1101" fmla="*/ 1310640 h 2161222"/>
                  <a:gd name="connsiteX1102" fmla="*/ 2233613 w 2443162"/>
                  <a:gd name="connsiteY1102" fmla="*/ 1326833 h 2161222"/>
                  <a:gd name="connsiteX1103" fmla="*/ 2234565 w 2443162"/>
                  <a:gd name="connsiteY1103" fmla="*/ 1315403 h 2161222"/>
                  <a:gd name="connsiteX1104" fmla="*/ 2234565 w 2443162"/>
                  <a:gd name="connsiteY1104" fmla="*/ 1303973 h 2161222"/>
                  <a:gd name="connsiteX1105" fmla="*/ 2234565 w 2443162"/>
                  <a:gd name="connsiteY1105" fmla="*/ 1292543 h 2161222"/>
                  <a:gd name="connsiteX1106" fmla="*/ 2233613 w 2443162"/>
                  <a:gd name="connsiteY1106" fmla="*/ 1281113 h 2161222"/>
                  <a:gd name="connsiteX1107" fmla="*/ 2231708 w 2443162"/>
                  <a:gd name="connsiteY1107" fmla="*/ 1268730 h 2161222"/>
                  <a:gd name="connsiteX1108" fmla="*/ 2228850 w 2443162"/>
                  <a:gd name="connsiteY1108" fmla="*/ 1256348 h 2161222"/>
                  <a:gd name="connsiteX1109" fmla="*/ 2225993 w 2443162"/>
                  <a:gd name="connsiteY1109" fmla="*/ 1243965 h 2161222"/>
                  <a:gd name="connsiteX1110" fmla="*/ 2222183 w 2443162"/>
                  <a:gd name="connsiteY1110" fmla="*/ 1231583 h 2161222"/>
                  <a:gd name="connsiteX1111" fmla="*/ 2218373 w 2443162"/>
                  <a:gd name="connsiteY1111" fmla="*/ 1219200 h 2161222"/>
                  <a:gd name="connsiteX1112" fmla="*/ 2213610 w 2443162"/>
                  <a:gd name="connsiteY1112" fmla="*/ 1205865 h 2161222"/>
                  <a:gd name="connsiteX1113" fmla="*/ 2208848 w 2443162"/>
                  <a:gd name="connsiteY1113" fmla="*/ 1192530 h 2161222"/>
                  <a:gd name="connsiteX1114" fmla="*/ 2204085 w 2443162"/>
                  <a:gd name="connsiteY1114" fmla="*/ 1179195 h 2161222"/>
                  <a:gd name="connsiteX1115" fmla="*/ 2193608 w 2443162"/>
                  <a:gd name="connsiteY1115" fmla="*/ 1152525 h 2161222"/>
                  <a:gd name="connsiteX1116" fmla="*/ 2182178 w 2443162"/>
                  <a:gd name="connsiteY1116" fmla="*/ 1124903 h 2161222"/>
                  <a:gd name="connsiteX1117" fmla="*/ 2171700 w 2443162"/>
                  <a:gd name="connsiteY1117" fmla="*/ 1097280 h 2161222"/>
                  <a:gd name="connsiteX1118" fmla="*/ 2161223 w 2443162"/>
                  <a:gd name="connsiteY1118" fmla="*/ 1068705 h 2161222"/>
                  <a:gd name="connsiteX1119" fmla="*/ 2156460 w 2443162"/>
                  <a:gd name="connsiteY1119" fmla="*/ 1054418 h 2161222"/>
                  <a:gd name="connsiteX1120" fmla="*/ 2151698 w 2443162"/>
                  <a:gd name="connsiteY1120" fmla="*/ 1040130 h 2161222"/>
                  <a:gd name="connsiteX1121" fmla="*/ 2146935 w 2443162"/>
                  <a:gd name="connsiteY1121" fmla="*/ 1024890 h 2161222"/>
                  <a:gd name="connsiteX1122" fmla="*/ 2142173 w 2443162"/>
                  <a:gd name="connsiteY1122" fmla="*/ 1009650 h 2161222"/>
                  <a:gd name="connsiteX1123" fmla="*/ 2138363 w 2443162"/>
                  <a:gd name="connsiteY1123" fmla="*/ 994410 h 2161222"/>
                  <a:gd name="connsiteX1124" fmla="*/ 2135505 w 2443162"/>
                  <a:gd name="connsiteY1124" fmla="*/ 979170 h 2161222"/>
                  <a:gd name="connsiteX1125" fmla="*/ 2132648 w 2443162"/>
                  <a:gd name="connsiteY1125" fmla="*/ 962978 h 2161222"/>
                  <a:gd name="connsiteX1126" fmla="*/ 2130743 w 2443162"/>
                  <a:gd name="connsiteY1126" fmla="*/ 947738 h 2161222"/>
                  <a:gd name="connsiteX1127" fmla="*/ 2128838 w 2443162"/>
                  <a:gd name="connsiteY1127" fmla="*/ 931545 h 2161222"/>
                  <a:gd name="connsiteX1128" fmla="*/ 2128838 w 2443162"/>
                  <a:gd name="connsiteY1128" fmla="*/ 915353 h 2161222"/>
                  <a:gd name="connsiteX1129" fmla="*/ 2128838 w 2443162"/>
                  <a:gd name="connsiteY1129" fmla="*/ 899160 h 2161222"/>
                  <a:gd name="connsiteX1130" fmla="*/ 2132648 w 2443162"/>
                  <a:gd name="connsiteY1130" fmla="*/ 882968 h 2161222"/>
                  <a:gd name="connsiteX1131" fmla="*/ 2132648 w 2443162"/>
                  <a:gd name="connsiteY1131" fmla="*/ 882968 h 2161222"/>
                  <a:gd name="connsiteX1132" fmla="*/ 2111693 w 2443162"/>
                  <a:gd name="connsiteY1132" fmla="*/ 1592580 h 2161222"/>
                  <a:gd name="connsiteX1133" fmla="*/ 2115503 w 2443162"/>
                  <a:gd name="connsiteY1133" fmla="*/ 1580198 h 2161222"/>
                  <a:gd name="connsiteX1134" fmla="*/ 2118360 w 2443162"/>
                  <a:gd name="connsiteY1134" fmla="*/ 1567815 h 2161222"/>
                  <a:gd name="connsiteX1135" fmla="*/ 2121218 w 2443162"/>
                  <a:gd name="connsiteY1135" fmla="*/ 1554480 h 2161222"/>
                  <a:gd name="connsiteX1136" fmla="*/ 2123123 w 2443162"/>
                  <a:gd name="connsiteY1136" fmla="*/ 1541145 h 2161222"/>
                  <a:gd name="connsiteX1137" fmla="*/ 2124075 w 2443162"/>
                  <a:gd name="connsiteY1137" fmla="*/ 1527810 h 2161222"/>
                  <a:gd name="connsiteX1138" fmla="*/ 2125028 w 2443162"/>
                  <a:gd name="connsiteY1138" fmla="*/ 1513523 h 2161222"/>
                  <a:gd name="connsiteX1139" fmla="*/ 2125028 w 2443162"/>
                  <a:gd name="connsiteY1139" fmla="*/ 1499235 h 2161222"/>
                  <a:gd name="connsiteX1140" fmla="*/ 2125028 w 2443162"/>
                  <a:gd name="connsiteY1140" fmla="*/ 1483995 h 2161222"/>
                  <a:gd name="connsiteX1141" fmla="*/ 2125028 w 2443162"/>
                  <a:gd name="connsiteY1141" fmla="*/ 1468755 h 2161222"/>
                  <a:gd name="connsiteX1142" fmla="*/ 2124075 w 2443162"/>
                  <a:gd name="connsiteY1142" fmla="*/ 1453515 h 2161222"/>
                  <a:gd name="connsiteX1143" fmla="*/ 2123123 w 2443162"/>
                  <a:gd name="connsiteY1143" fmla="*/ 1438275 h 2161222"/>
                  <a:gd name="connsiteX1144" fmla="*/ 2122170 w 2443162"/>
                  <a:gd name="connsiteY1144" fmla="*/ 1423035 h 2161222"/>
                  <a:gd name="connsiteX1145" fmla="*/ 2119313 w 2443162"/>
                  <a:gd name="connsiteY1145" fmla="*/ 1391603 h 2161222"/>
                  <a:gd name="connsiteX1146" fmla="*/ 2116455 w 2443162"/>
                  <a:gd name="connsiteY1146" fmla="*/ 1360170 h 2161222"/>
                  <a:gd name="connsiteX1147" fmla="*/ 2114550 w 2443162"/>
                  <a:gd name="connsiteY1147" fmla="*/ 1328738 h 2161222"/>
                  <a:gd name="connsiteX1148" fmla="*/ 2112645 w 2443162"/>
                  <a:gd name="connsiteY1148" fmla="*/ 1297305 h 2161222"/>
                  <a:gd name="connsiteX1149" fmla="*/ 2111693 w 2443162"/>
                  <a:gd name="connsiteY1149" fmla="*/ 1281113 h 2161222"/>
                  <a:gd name="connsiteX1150" fmla="*/ 2111693 w 2443162"/>
                  <a:gd name="connsiteY1150" fmla="*/ 1265873 h 2161222"/>
                  <a:gd name="connsiteX1151" fmla="*/ 2112645 w 2443162"/>
                  <a:gd name="connsiteY1151" fmla="*/ 1249680 h 2161222"/>
                  <a:gd name="connsiteX1152" fmla="*/ 2112645 w 2443162"/>
                  <a:gd name="connsiteY1152" fmla="*/ 1233488 h 2161222"/>
                  <a:gd name="connsiteX1153" fmla="*/ 2113598 w 2443162"/>
                  <a:gd name="connsiteY1153" fmla="*/ 1217295 h 2161222"/>
                  <a:gd name="connsiteX1154" fmla="*/ 2115503 w 2443162"/>
                  <a:gd name="connsiteY1154" fmla="*/ 1202055 h 2161222"/>
                  <a:gd name="connsiteX1155" fmla="*/ 2117408 w 2443162"/>
                  <a:gd name="connsiteY1155" fmla="*/ 1185863 h 2161222"/>
                  <a:gd name="connsiteX1156" fmla="*/ 2120265 w 2443162"/>
                  <a:gd name="connsiteY1156" fmla="*/ 1170623 h 2161222"/>
                  <a:gd name="connsiteX1157" fmla="*/ 2124075 w 2443162"/>
                  <a:gd name="connsiteY1157" fmla="*/ 1155383 h 2161222"/>
                  <a:gd name="connsiteX1158" fmla="*/ 2128838 w 2443162"/>
                  <a:gd name="connsiteY1158" fmla="*/ 1140143 h 2161222"/>
                  <a:gd name="connsiteX1159" fmla="*/ 2134553 w 2443162"/>
                  <a:gd name="connsiteY1159" fmla="*/ 1124903 h 2161222"/>
                  <a:gd name="connsiteX1160" fmla="*/ 2140268 w 2443162"/>
                  <a:gd name="connsiteY1160" fmla="*/ 1109663 h 2161222"/>
                  <a:gd name="connsiteX1161" fmla="*/ 2146935 w 2443162"/>
                  <a:gd name="connsiteY1161" fmla="*/ 1132523 h 2161222"/>
                  <a:gd name="connsiteX1162" fmla="*/ 2153603 w 2443162"/>
                  <a:gd name="connsiteY1162" fmla="*/ 1154430 h 2161222"/>
                  <a:gd name="connsiteX1163" fmla="*/ 2160270 w 2443162"/>
                  <a:gd name="connsiteY1163" fmla="*/ 1176338 h 2161222"/>
                  <a:gd name="connsiteX1164" fmla="*/ 2165985 w 2443162"/>
                  <a:gd name="connsiteY1164" fmla="*/ 1197293 h 2161222"/>
                  <a:gd name="connsiteX1165" fmla="*/ 2171700 w 2443162"/>
                  <a:gd name="connsiteY1165" fmla="*/ 1219200 h 2161222"/>
                  <a:gd name="connsiteX1166" fmla="*/ 2177415 w 2443162"/>
                  <a:gd name="connsiteY1166" fmla="*/ 1240155 h 2161222"/>
                  <a:gd name="connsiteX1167" fmla="*/ 2182178 w 2443162"/>
                  <a:gd name="connsiteY1167" fmla="*/ 1262063 h 2161222"/>
                  <a:gd name="connsiteX1168" fmla="*/ 2185988 w 2443162"/>
                  <a:gd name="connsiteY1168" fmla="*/ 1283970 h 2161222"/>
                  <a:gd name="connsiteX1169" fmla="*/ 2187893 w 2443162"/>
                  <a:gd name="connsiteY1169" fmla="*/ 1295400 h 2161222"/>
                  <a:gd name="connsiteX1170" fmla="*/ 2188845 w 2443162"/>
                  <a:gd name="connsiteY1170" fmla="*/ 1306830 h 2161222"/>
                  <a:gd name="connsiteX1171" fmla="*/ 2189798 w 2443162"/>
                  <a:gd name="connsiteY1171" fmla="*/ 1318260 h 2161222"/>
                  <a:gd name="connsiteX1172" fmla="*/ 2189798 w 2443162"/>
                  <a:gd name="connsiteY1172" fmla="*/ 1329690 h 2161222"/>
                  <a:gd name="connsiteX1173" fmla="*/ 2190750 w 2443162"/>
                  <a:gd name="connsiteY1173" fmla="*/ 1341120 h 2161222"/>
                  <a:gd name="connsiteX1174" fmla="*/ 2190750 w 2443162"/>
                  <a:gd name="connsiteY1174" fmla="*/ 1353503 h 2161222"/>
                  <a:gd name="connsiteX1175" fmla="*/ 2190750 w 2443162"/>
                  <a:gd name="connsiteY1175" fmla="*/ 1365885 h 2161222"/>
                  <a:gd name="connsiteX1176" fmla="*/ 2190750 w 2443162"/>
                  <a:gd name="connsiteY1176" fmla="*/ 1378268 h 2161222"/>
                  <a:gd name="connsiteX1177" fmla="*/ 2189798 w 2443162"/>
                  <a:gd name="connsiteY1177" fmla="*/ 1390650 h 2161222"/>
                  <a:gd name="connsiteX1178" fmla="*/ 2188845 w 2443162"/>
                  <a:gd name="connsiteY1178" fmla="*/ 1403033 h 2161222"/>
                  <a:gd name="connsiteX1179" fmla="*/ 2186940 w 2443162"/>
                  <a:gd name="connsiteY1179" fmla="*/ 1416368 h 2161222"/>
                  <a:gd name="connsiteX1180" fmla="*/ 2185035 w 2443162"/>
                  <a:gd name="connsiteY1180" fmla="*/ 1429703 h 2161222"/>
                  <a:gd name="connsiteX1181" fmla="*/ 2182178 w 2443162"/>
                  <a:gd name="connsiteY1181" fmla="*/ 1443038 h 2161222"/>
                  <a:gd name="connsiteX1182" fmla="*/ 2179320 w 2443162"/>
                  <a:gd name="connsiteY1182" fmla="*/ 1457325 h 2161222"/>
                  <a:gd name="connsiteX1183" fmla="*/ 2175510 w 2443162"/>
                  <a:gd name="connsiteY1183" fmla="*/ 1471613 h 2161222"/>
                  <a:gd name="connsiteX1184" fmla="*/ 2171700 w 2443162"/>
                  <a:gd name="connsiteY1184" fmla="*/ 1485900 h 2161222"/>
                  <a:gd name="connsiteX1185" fmla="*/ 2176463 w 2443162"/>
                  <a:gd name="connsiteY1185" fmla="*/ 1478280 h 2161222"/>
                  <a:gd name="connsiteX1186" fmla="*/ 2184083 w 2443162"/>
                  <a:gd name="connsiteY1186" fmla="*/ 1466850 h 2161222"/>
                  <a:gd name="connsiteX1187" fmla="*/ 2193608 w 2443162"/>
                  <a:gd name="connsiteY1187" fmla="*/ 1451610 h 2161222"/>
                  <a:gd name="connsiteX1188" fmla="*/ 2205038 w 2443162"/>
                  <a:gd name="connsiteY1188" fmla="*/ 1434465 h 2161222"/>
                  <a:gd name="connsiteX1189" fmla="*/ 2218373 w 2443162"/>
                  <a:gd name="connsiteY1189" fmla="*/ 1414463 h 2161222"/>
                  <a:gd name="connsiteX1190" fmla="*/ 2233613 w 2443162"/>
                  <a:gd name="connsiteY1190" fmla="*/ 1392555 h 2161222"/>
                  <a:gd name="connsiteX1191" fmla="*/ 2242185 w 2443162"/>
                  <a:gd name="connsiteY1191" fmla="*/ 1382078 h 2161222"/>
                  <a:gd name="connsiteX1192" fmla="*/ 2250758 w 2443162"/>
                  <a:gd name="connsiteY1192" fmla="*/ 1370648 h 2161222"/>
                  <a:gd name="connsiteX1193" fmla="*/ 2260283 w 2443162"/>
                  <a:gd name="connsiteY1193" fmla="*/ 1359218 h 2161222"/>
                  <a:gd name="connsiteX1194" fmla="*/ 2269808 w 2443162"/>
                  <a:gd name="connsiteY1194" fmla="*/ 1347788 h 2161222"/>
                  <a:gd name="connsiteX1195" fmla="*/ 2293620 w 2443162"/>
                  <a:gd name="connsiteY1195" fmla="*/ 1319213 h 2161222"/>
                  <a:gd name="connsiteX1196" fmla="*/ 2318385 w 2443162"/>
                  <a:gd name="connsiteY1196" fmla="*/ 1290638 h 2161222"/>
                  <a:gd name="connsiteX1197" fmla="*/ 2343150 w 2443162"/>
                  <a:gd name="connsiteY1197" fmla="*/ 1262063 h 2161222"/>
                  <a:gd name="connsiteX1198" fmla="*/ 2366963 w 2443162"/>
                  <a:gd name="connsiteY1198" fmla="*/ 1233488 h 2161222"/>
                  <a:gd name="connsiteX1199" fmla="*/ 2378393 w 2443162"/>
                  <a:gd name="connsiteY1199" fmla="*/ 1219200 h 2161222"/>
                  <a:gd name="connsiteX1200" fmla="*/ 2389823 w 2443162"/>
                  <a:gd name="connsiteY1200" fmla="*/ 1204913 h 2161222"/>
                  <a:gd name="connsiteX1201" fmla="*/ 2400300 w 2443162"/>
                  <a:gd name="connsiteY1201" fmla="*/ 1190625 h 2161222"/>
                  <a:gd name="connsiteX1202" fmla="*/ 2410778 w 2443162"/>
                  <a:gd name="connsiteY1202" fmla="*/ 1176338 h 2161222"/>
                  <a:gd name="connsiteX1203" fmla="*/ 2420303 w 2443162"/>
                  <a:gd name="connsiteY1203" fmla="*/ 1163003 h 2161222"/>
                  <a:gd name="connsiteX1204" fmla="*/ 2428875 w 2443162"/>
                  <a:gd name="connsiteY1204" fmla="*/ 1149668 h 2161222"/>
                  <a:gd name="connsiteX1205" fmla="*/ 2436495 w 2443162"/>
                  <a:gd name="connsiteY1205" fmla="*/ 1137285 h 2161222"/>
                  <a:gd name="connsiteX1206" fmla="*/ 2443163 w 2443162"/>
                  <a:gd name="connsiteY1206" fmla="*/ 1124903 h 2161222"/>
                  <a:gd name="connsiteX1207" fmla="*/ 2442210 w 2443162"/>
                  <a:gd name="connsiteY1207" fmla="*/ 1153478 h 2161222"/>
                  <a:gd name="connsiteX1208" fmla="*/ 2439353 w 2443162"/>
                  <a:gd name="connsiteY1208" fmla="*/ 1181100 h 2161222"/>
                  <a:gd name="connsiteX1209" fmla="*/ 2435543 w 2443162"/>
                  <a:gd name="connsiteY1209" fmla="*/ 1207770 h 2161222"/>
                  <a:gd name="connsiteX1210" fmla="*/ 2429828 w 2443162"/>
                  <a:gd name="connsiteY1210" fmla="*/ 1233488 h 2161222"/>
                  <a:gd name="connsiteX1211" fmla="*/ 2423160 w 2443162"/>
                  <a:gd name="connsiteY1211" fmla="*/ 1257300 h 2161222"/>
                  <a:gd name="connsiteX1212" fmla="*/ 2415540 w 2443162"/>
                  <a:gd name="connsiteY1212" fmla="*/ 1280160 h 2161222"/>
                  <a:gd name="connsiteX1213" fmla="*/ 2406015 w 2443162"/>
                  <a:gd name="connsiteY1213" fmla="*/ 1302068 h 2161222"/>
                  <a:gd name="connsiteX1214" fmla="*/ 2395538 w 2443162"/>
                  <a:gd name="connsiteY1214" fmla="*/ 1323023 h 2161222"/>
                  <a:gd name="connsiteX1215" fmla="*/ 2384108 w 2443162"/>
                  <a:gd name="connsiteY1215" fmla="*/ 1343025 h 2161222"/>
                  <a:gd name="connsiteX1216" fmla="*/ 2372678 w 2443162"/>
                  <a:gd name="connsiteY1216" fmla="*/ 1362075 h 2161222"/>
                  <a:gd name="connsiteX1217" fmla="*/ 2359343 w 2443162"/>
                  <a:gd name="connsiteY1217" fmla="*/ 1380173 h 2161222"/>
                  <a:gd name="connsiteX1218" fmla="*/ 2346008 w 2443162"/>
                  <a:gd name="connsiteY1218" fmla="*/ 1396365 h 2161222"/>
                  <a:gd name="connsiteX1219" fmla="*/ 2331720 w 2443162"/>
                  <a:gd name="connsiteY1219" fmla="*/ 1412558 h 2161222"/>
                  <a:gd name="connsiteX1220" fmla="*/ 2317433 w 2443162"/>
                  <a:gd name="connsiteY1220" fmla="*/ 1427798 h 2161222"/>
                  <a:gd name="connsiteX1221" fmla="*/ 2303145 w 2443162"/>
                  <a:gd name="connsiteY1221" fmla="*/ 1442085 h 2161222"/>
                  <a:gd name="connsiteX1222" fmla="*/ 2287905 w 2443162"/>
                  <a:gd name="connsiteY1222" fmla="*/ 1455420 h 2161222"/>
                  <a:gd name="connsiteX1223" fmla="*/ 2272665 w 2443162"/>
                  <a:gd name="connsiteY1223" fmla="*/ 1467803 h 2161222"/>
                  <a:gd name="connsiteX1224" fmla="*/ 2257425 w 2443162"/>
                  <a:gd name="connsiteY1224" fmla="*/ 1480185 h 2161222"/>
                  <a:gd name="connsiteX1225" fmla="*/ 2242185 w 2443162"/>
                  <a:gd name="connsiteY1225" fmla="*/ 1490663 h 2161222"/>
                  <a:gd name="connsiteX1226" fmla="*/ 2227898 w 2443162"/>
                  <a:gd name="connsiteY1226" fmla="*/ 1502093 h 2161222"/>
                  <a:gd name="connsiteX1227" fmla="*/ 2199323 w 2443162"/>
                  <a:gd name="connsiteY1227" fmla="*/ 1521143 h 2161222"/>
                  <a:gd name="connsiteX1228" fmla="*/ 2172653 w 2443162"/>
                  <a:gd name="connsiteY1228" fmla="*/ 1538288 h 2161222"/>
                  <a:gd name="connsiteX1229" fmla="*/ 2161223 w 2443162"/>
                  <a:gd name="connsiteY1229" fmla="*/ 1545908 h 2161222"/>
                  <a:gd name="connsiteX1230" fmla="*/ 2149793 w 2443162"/>
                  <a:gd name="connsiteY1230" fmla="*/ 1553528 h 2161222"/>
                  <a:gd name="connsiteX1231" fmla="*/ 2139315 w 2443162"/>
                  <a:gd name="connsiteY1231" fmla="*/ 1560195 h 2161222"/>
                  <a:gd name="connsiteX1232" fmla="*/ 2129790 w 2443162"/>
                  <a:gd name="connsiteY1232" fmla="*/ 1566863 h 2161222"/>
                  <a:gd name="connsiteX1233" fmla="*/ 2122170 w 2443162"/>
                  <a:gd name="connsiteY1233" fmla="*/ 1573530 h 2161222"/>
                  <a:gd name="connsiteX1234" fmla="*/ 2116455 w 2443162"/>
                  <a:gd name="connsiteY1234" fmla="*/ 1579245 h 2161222"/>
                  <a:gd name="connsiteX1235" fmla="*/ 2111693 w 2443162"/>
                  <a:gd name="connsiteY1235" fmla="*/ 1584960 h 2161222"/>
                  <a:gd name="connsiteX1236" fmla="*/ 2111693 w 2443162"/>
                  <a:gd name="connsiteY1236" fmla="*/ 1592580 h 2161222"/>
                  <a:gd name="connsiteX1237" fmla="*/ 2111693 w 2443162"/>
                  <a:gd name="connsiteY1237" fmla="*/ 1592580 h 2161222"/>
                  <a:gd name="connsiteX1238" fmla="*/ 1925003 w 2443162"/>
                  <a:gd name="connsiteY1238" fmla="*/ 1794510 h 2161222"/>
                  <a:gd name="connsiteX1239" fmla="*/ 1931670 w 2443162"/>
                  <a:gd name="connsiteY1239" fmla="*/ 1784033 h 2161222"/>
                  <a:gd name="connsiteX1240" fmla="*/ 1938338 w 2443162"/>
                  <a:gd name="connsiteY1240" fmla="*/ 1772603 h 2161222"/>
                  <a:gd name="connsiteX1241" fmla="*/ 1944053 w 2443162"/>
                  <a:gd name="connsiteY1241" fmla="*/ 1761173 h 2161222"/>
                  <a:gd name="connsiteX1242" fmla="*/ 1948815 w 2443162"/>
                  <a:gd name="connsiteY1242" fmla="*/ 1748790 h 2161222"/>
                  <a:gd name="connsiteX1243" fmla="*/ 1953578 w 2443162"/>
                  <a:gd name="connsiteY1243" fmla="*/ 1736408 h 2161222"/>
                  <a:gd name="connsiteX1244" fmla="*/ 1958340 w 2443162"/>
                  <a:gd name="connsiteY1244" fmla="*/ 1724025 h 2161222"/>
                  <a:gd name="connsiteX1245" fmla="*/ 1962150 w 2443162"/>
                  <a:gd name="connsiteY1245" fmla="*/ 1710690 h 2161222"/>
                  <a:gd name="connsiteX1246" fmla="*/ 1965960 w 2443162"/>
                  <a:gd name="connsiteY1246" fmla="*/ 1697355 h 2161222"/>
                  <a:gd name="connsiteX1247" fmla="*/ 1969770 w 2443162"/>
                  <a:gd name="connsiteY1247" fmla="*/ 1683068 h 2161222"/>
                  <a:gd name="connsiteX1248" fmla="*/ 1972628 w 2443162"/>
                  <a:gd name="connsiteY1248" fmla="*/ 1668780 h 2161222"/>
                  <a:gd name="connsiteX1249" fmla="*/ 1975485 w 2443162"/>
                  <a:gd name="connsiteY1249" fmla="*/ 1654493 h 2161222"/>
                  <a:gd name="connsiteX1250" fmla="*/ 1978343 w 2443162"/>
                  <a:gd name="connsiteY1250" fmla="*/ 1640205 h 2161222"/>
                  <a:gd name="connsiteX1251" fmla="*/ 1984058 w 2443162"/>
                  <a:gd name="connsiteY1251" fmla="*/ 1611630 h 2161222"/>
                  <a:gd name="connsiteX1252" fmla="*/ 1989773 w 2443162"/>
                  <a:gd name="connsiteY1252" fmla="*/ 1582103 h 2161222"/>
                  <a:gd name="connsiteX1253" fmla="*/ 1995488 w 2443162"/>
                  <a:gd name="connsiteY1253" fmla="*/ 1552575 h 2161222"/>
                  <a:gd name="connsiteX1254" fmla="*/ 2002155 w 2443162"/>
                  <a:gd name="connsiteY1254" fmla="*/ 1523048 h 2161222"/>
                  <a:gd name="connsiteX1255" fmla="*/ 2005965 w 2443162"/>
                  <a:gd name="connsiteY1255" fmla="*/ 1507808 h 2161222"/>
                  <a:gd name="connsiteX1256" fmla="*/ 2009775 w 2443162"/>
                  <a:gd name="connsiteY1256" fmla="*/ 1493520 h 2161222"/>
                  <a:gd name="connsiteX1257" fmla="*/ 2014538 w 2443162"/>
                  <a:gd name="connsiteY1257" fmla="*/ 1479233 h 2161222"/>
                  <a:gd name="connsiteX1258" fmla="*/ 2019300 w 2443162"/>
                  <a:gd name="connsiteY1258" fmla="*/ 1464945 h 2161222"/>
                  <a:gd name="connsiteX1259" fmla="*/ 2025015 w 2443162"/>
                  <a:gd name="connsiteY1259" fmla="*/ 1450658 h 2161222"/>
                  <a:gd name="connsiteX1260" fmla="*/ 2030730 w 2443162"/>
                  <a:gd name="connsiteY1260" fmla="*/ 1436370 h 2161222"/>
                  <a:gd name="connsiteX1261" fmla="*/ 2037398 w 2443162"/>
                  <a:gd name="connsiteY1261" fmla="*/ 1423035 h 2161222"/>
                  <a:gd name="connsiteX1262" fmla="*/ 2044065 w 2443162"/>
                  <a:gd name="connsiteY1262" fmla="*/ 1409700 h 2161222"/>
                  <a:gd name="connsiteX1263" fmla="*/ 2051685 w 2443162"/>
                  <a:gd name="connsiteY1263" fmla="*/ 1396365 h 2161222"/>
                  <a:gd name="connsiteX1264" fmla="*/ 2060258 w 2443162"/>
                  <a:gd name="connsiteY1264" fmla="*/ 1383983 h 2161222"/>
                  <a:gd name="connsiteX1265" fmla="*/ 2069783 w 2443162"/>
                  <a:gd name="connsiteY1265" fmla="*/ 1371600 h 2161222"/>
                  <a:gd name="connsiteX1266" fmla="*/ 2080260 w 2443162"/>
                  <a:gd name="connsiteY1266" fmla="*/ 1360170 h 2161222"/>
                  <a:gd name="connsiteX1267" fmla="*/ 2079308 w 2443162"/>
                  <a:gd name="connsiteY1267" fmla="*/ 1385888 h 2161222"/>
                  <a:gd name="connsiteX1268" fmla="*/ 2078355 w 2443162"/>
                  <a:gd name="connsiteY1268" fmla="*/ 1410653 h 2161222"/>
                  <a:gd name="connsiteX1269" fmla="*/ 2078355 w 2443162"/>
                  <a:gd name="connsiteY1269" fmla="*/ 1435418 h 2161222"/>
                  <a:gd name="connsiteX1270" fmla="*/ 2078355 w 2443162"/>
                  <a:gd name="connsiteY1270" fmla="*/ 1458278 h 2161222"/>
                  <a:gd name="connsiteX1271" fmla="*/ 2079308 w 2443162"/>
                  <a:gd name="connsiteY1271" fmla="*/ 1480185 h 2161222"/>
                  <a:gd name="connsiteX1272" fmla="*/ 2079308 w 2443162"/>
                  <a:gd name="connsiteY1272" fmla="*/ 1502093 h 2161222"/>
                  <a:gd name="connsiteX1273" fmla="*/ 2079308 w 2443162"/>
                  <a:gd name="connsiteY1273" fmla="*/ 1523048 h 2161222"/>
                  <a:gd name="connsiteX1274" fmla="*/ 2079308 w 2443162"/>
                  <a:gd name="connsiteY1274" fmla="*/ 1543050 h 2161222"/>
                  <a:gd name="connsiteX1275" fmla="*/ 2078355 w 2443162"/>
                  <a:gd name="connsiteY1275" fmla="*/ 1553528 h 2161222"/>
                  <a:gd name="connsiteX1276" fmla="*/ 2077403 w 2443162"/>
                  <a:gd name="connsiteY1276" fmla="*/ 1563053 h 2161222"/>
                  <a:gd name="connsiteX1277" fmla="*/ 2076450 w 2443162"/>
                  <a:gd name="connsiteY1277" fmla="*/ 1572578 h 2161222"/>
                  <a:gd name="connsiteX1278" fmla="*/ 2075498 w 2443162"/>
                  <a:gd name="connsiteY1278" fmla="*/ 1582103 h 2161222"/>
                  <a:gd name="connsiteX1279" fmla="*/ 2073593 w 2443162"/>
                  <a:gd name="connsiteY1279" fmla="*/ 1591628 h 2161222"/>
                  <a:gd name="connsiteX1280" fmla="*/ 2071688 w 2443162"/>
                  <a:gd name="connsiteY1280" fmla="*/ 1601153 h 2161222"/>
                  <a:gd name="connsiteX1281" fmla="*/ 2069783 w 2443162"/>
                  <a:gd name="connsiteY1281" fmla="*/ 1610678 h 2161222"/>
                  <a:gd name="connsiteX1282" fmla="*/ 2066925 w 2443162"/>
                  <a:gd name="connsiteY1282" fmla="*/ 1620203 h 2161222"/>
                  <a:gd name="connsiteX1283" fmla="*/ 2064068 w 2443162"/>
                  <a:gd name="connsiteY1283" fmla="*/ 1629728 h 2161222"/>
                  <a:gd name="connsiteX1284" fmla="*/ 2060258 w 2443162"/>
                  <a:gd name="connsiteY1284" fmla="*/ 1639253 h 2161222"/>
                  <a:gd name="connsiteX1285" fmla="*/ 2055495 w 2443162"/>
                  <a:gd name="connsiteY1285" fmla="*/ 1648778 h 2161222"/>
                  <a:gd name="connsiteX1286" fmla="*/ 2050733 w 2443162"/>
                  <a:gd name="connsiteY1286" fmla="*/ 1658303 h 2161222"/>
                  <a:gd name="connsiteX1287" fmla="*/ 2045018 w 2443162"/>
                  <a:gd name="connsiteY1287" fmla="*/ 1666875 h 2161222"/>
                  <a:gd name="connsiteX1288" fmla="*/ 2039303 w 2443162"/>
                  <a:gd name="connsiteY1288" fmla="*/ 1676400 h 2161222"/>
                  <a:gd name="connsiteX1289" fmla="*/ 2033588 w 2443162"/>
                  <a:gd name="connsiteY1289" fmla="*/ 1685925 h 2161222"/>
                  <a:gd name="connsiteX1290" fmla="*/ 2026920 w 2443162"/>
                  <a:gd name="connsiteY1290" fmla="*/ 1694498 h 2161222"/>
                  <a:gd name="connsiteX1291" fmla="*/ 2038350 w 2443162"/>
                  <a:gd name="connsiteY1291" fmla="*/ 1684020 h 2161222"/>
                  <a:gd name="connsiteX1292" fmla="*/ 2052638 w 2443162"/>
                  <a:gd name="connsiteY1292" fmla="*/ 1672590 h 2161222"/>
                  <a:gd name="connsiteX1293" fmla="*/ 2067878 w 2443162"/>
                  <a:gd name="connsiteY1293" fmla="*/ 1660208 h 2161222"/>
                  <a:gd name="connsiteX1294" fmla="*/ 2085023 w 2443162"/>
                  <a:gd name="connsiteY1294" fmla="*/ 1646873 h 2161222"/>
                  <a:gd name="connsiteX1295" fmla="*/ 2094548 w 2443162"/>
                  <a:gd name="connsiteY1295" fmla="*/ 1640205 h 2161222"/>
                  <a:gd name="connsiteX1296" fmla="*/ 2105025 w 2443162"/>
                  <a:gd name="connsiteY1296" fmla="*/ 1633538 h 2161222"/>
                  <a:gd name="connsiteX1297" fmla="*/ 2115503 w 2443162"/>
                  <a:gd name="connsiteY1297" fmla="*/ 1626870 h 2161222"/>
                  <a:gd name="connsiteX1298" fmla="*/ 2126933 w 2443162"/>
                  <a:gd name="connsiteY1298" fmla="*/ 1620203 h 2161222"/>
                  <a:gd name="connsiteX1299" fmla="*/ 2139315 w 2443162"/>
                  <a:gd name="connsiteY1299" fmla="*/ 1613535 h 2161222"/>
                  <a:gd name="connsiteX1300" fmla="*/ 2151698 w 2443162"/>
                  <a:gd name="connsiteY1300" fmla="*/ 1607820 h 2161222"/>
                  <a:gd name="connsiteX1301" fmla="*/ 2165033 w 2443162"/>
                  <a:gd name="connsiteY1301" fmla="*/ 1602105 h 2161222"/>
                  <a:gd name="connsiteX1302" fmla="*/ 2179320 w 2443162"/>
                  <a:gd name="connsiteY1302" fmla="*/ 1596390 h 2161222"/>
                  <a:gd name="connsiteX1303" fmla="*/ 2187893 w 2443162"/>
                  <a:gd name="connsiteY1303" fmla="*/ 1593533 h 2161222"/>
                  <a:gd name="connsiteX1304" fmla="*/ 2195513 w 2443162"/>
                  <a:gd name="connsiteY1304" fmla="*/ 1589723 h 2161222"/>
                  <a:gd name="connsiteX1305" fmla="*/ 2204085 w 2443162"/>
                  <a:gd name="connsiteY1305" fmla="*/ 1585913 h 2161222"/>
                  <a:gd name="connsiteX1306" fmla="*/ 2211705 w 2443162"/>
                  <a:gd name="connsiteY1306" fmla="*/ 1581150 h 2161222"/>
                  <a:gd name="connsiteX1307" fmla="*/ 2219325 w 2443162"/>
                  <a:gd name="connsiteY1307" fmla="*/ 1576388 h 2161222"/>
                  <a:gd name="connsiteX1308" fmla="*/ 2226945 w 2443162"/>
                  <a:gd name="connsiteY1308" fmla="*/ 1571625 h 2161222"/>
                  <a:gd name="connsiteX1309" fmla="*/ 2234565 w 2443162"/>
                  <a:gd name="connsiteY1309" fmla="*/ 1566863 h 2161222"/>
                  <a:gd name="connsiteX1310" fmla="*/ 2242185 w 2443162"/>
                  <a:gd name="connsiteY1310" fmla="*/ 1562100 h 2161222"/>
                  <a:gd name="connsiteX1311" fmla="*/ 2256473 w 2443162"/>
                  <a:gd name="connsiteY1311" fmla="*/ 1551623 h 2161222"/>
                  <a:gd name="connsiteX1312" fmla="*/ 2269808 w 2443162"/>
                  <a:gd name="connsiteY1312" fmla="*/ 1541145 h 2161222"/>
                  <a:gd name="connsiteX1313" fmla="*/ 2283143 w 2443162"/>
                  <a:gd name="connsiteY1313" fmla="*/ 1529715 h 2161222"/>
                  <a:gd name="connsiteX1314" fmla="*/ 2295525 w 2443162"/>
                  <a:gd name="connsiteY1314" fmla="*/ 1518285 h 2161222"/>
                  <a:gd name="connsiteX1315" fmla="*/ 2307908 w 2443162"/>
                  <a:gd name="connsiteY1315" fmla="*/ 1505903 h 2161222"/>
                  <a:gd name="connsiteX1316" fmla="*/ 2319338 w 2443162"/>
                  <a:gd name="connsiteY1316" fmla="*/ 1494473 h 2161222"/>
                  <a:gd name="connsiteX1317" fmla="*/ 2330768 w 2443162"/>
                  <a:gd name="connsiteY1317" fmla="*/ 1482090 h 2161222"/>
                  <a:gd name="connsiteX1318" fmla="*/ 2341245 w 2443162"/>
                  <a:gd name="connsiteY1318" fmla="*/ 1470660 h 2161222"/>
                  <a:gd name="connsiteX1319" fmla="*/ 2362200 w 2443162"/>
                  <a:gd name="connsiteY1319" fmla="*/ 1447800 h 2161222"/>
                  <a:gd name="connsiteX1320" fmla="*/ 2382203 w 2443162"/>
                  <a:gd name="connsiteY1320" fmla="*/ 1426845 h 2161222"/>
                  <a:gd name="connsiteX1321" fmla="*/ 2375535 w 2443162"/>
                  <a:gd name="connsiteY1321" fmla="*/ 1443038 h 2161222"/>
                  <a:gd name="connsiteX1322" fmla="*/ 2366010 w 2443162"/>
                  <a:gd name="connsiteY1322" fmla="*/ 1473518 h 2161222"/>
                  <a:gd name="connsiteX1323" fmla="*/ 2355533 w 2443162"/>
                  <a:gd name="connsiteY1323" fmla="*/ 1502093 h 2161222"/>
                  <a:gd name="connsiteX1324" fmla="*/ 2344103 w 2443162"/>
                  <a:gd name="connsiteY1324" fmla="*/ 1528763 h 2161222"/>
                  <a:gd name="connsiteX1325" fmla="*/ 2331720 w 2443162"/>
                  <a:gd name="connsiteY1325" fmla="*/ 1553528 h 2161222"/>
                  <a:gd name="connsiteX1326" fmla="*/ 2318385 w 2443162"/>
                  <a:gd name="connsiteY1326" fmla="*/ 1575435 h 2161222"/>
                  <a:gd name="connsiteX1327" fmla="*/ 2304098 w 2443162"/>
                  <a:gd name="connsiteY1327" fmla="*/ 1596390 h 2161222"/>
                  <a:gd name="connsiteX1328" fmla="*/ 2288858 w 2443162"/>
                  <a:gd name="connsiteY1328" fmla="*/ 1615440 h 2161222"/>
                  <a:gd name="connsiteX1329" fmla="*/ 2273618 w 2443162"/>
                  <a:gd name="connsiteY1329" fmla="*/ 1632585 h 2161222"/>
                  <a:gd name="connsiteX1330" fmla="*/ 2257425 w 2443162"/>
                  <a:gd name="connsiteY1330" fmla="*/ 1648778 h 2161222"/>
                  <a:gd name="connsiteX1331" fmla="*/ 2241233 w 2443162"/>
                  <a:gd name="connsiteY1331" fmla="*/ 1663065 h 2161222"/>
                  <a:gd name="connsiteX1332" fmla="*/ 2225040 w 2443162"/>
                  <a:gd name="connsiteY1332" fmla="*/ 1676400 h 2161222"/>
                  <a:gd name="connsiteX1333" fmla="*/ 2207895 w 2443162"/>
                  <a:gd name="connsiteY1333" fmla="*/ 1687830 h 2161222"/>
                  <a:gd name="connsiteX1334" fmla="*/ 2190750 w 2443162"/>
                  <a:gd name="connsiteY1334" fmla="*/ 1698308 h 2161222"/>
                  <a:gd name="connsiteX1335" fmla="*/ 2172653 w 2443162"/>
                  <a:gd name="connsiteY1335" fmla="*/ 1707833 h 2161222"/>
                  <a:gd name="connsiteX1336" fmla="*/ 2155508 w 2443162"/>
                  <a:gd name="connsiteY1336" fmla="*/ 1716405 h 2161222"/>
                  <a:gd name="connsiteX1337" fmla="*/ 2137410 w 2443162"/>
                  <a:gd name="connsiteY1337" fmla="*/ 1724025 h 2161222"/>
                  <a:gd name="connsiteX1338" fmla="*/ 2120265 w 2443162"/>
                  <a:gd name="connsiteY1338" fmla="*/ 1730693 h 2161222"/>
                  <a:gd name="connsiteX1339" fmla="*/ 2103120 w 2443162"/>
                  <a:gd name="connsiteY1339" fmla="*/ 1736408 h 2161222"/>
                  <a:gd name="connsiteX1340" fmla="*/ 2085975 w 2443162"/>
                  <a:gd name="connsiteY1340" fmla="*/ 1742123 h 2161222"/>
                  <a:gd name="connsiteX1341" fmla="*/ 2068830 w 2443162"/>
                  <a:gd name="connsiteY1341" fmla="*/ 1746885 h 2161222"/>
                  <a:gd name="connsiteX1342" fmla="*/ 2036445 w 2443162"/>
                  <a:gd name="connsiteY1342" fmla="*/ 1755458 h 2161222"/>
                  <a:gd name="connsiteX1343" fmla="*/ 2005965 w 2443162"/>
                  <a:gd name="connsiteY1343" fmla="*/ 1763078 h 2161222"/>
                  <a:gd name="connsiteX1344" fmla="*/ 1991678 w 2443162"/>
                  <a:gd name="connsiteY1344" fmla="*/ 1766888 h 2161222"/>
                  <a:gd name="connsiteX1345" fmla="*/ 1978343 w 2443162"/>
                  <a:gd name="connsiteY1345" fmla="*/ 1770698 h 2161222"/>
                  <a:gd name="connsiteX1346" fmla="*/ 1965960 w 2443162"/>
                  <a:gd name="connsiteY1346" fmla="*/ 1774508 h 2161222"/>
                  <a:gd name="connsiteX1347" fmla="*/ 1954530 w 2443162"/>
                  <a:gd name="connsiteY1347" fmla="*/ 1778318 h 2161222"/>
                  <a:gd name="connsiteX1348" fmla="*/ 1944053 w 2443162"/>
                  <a:gd name="connsiteY1348" fmla="*/ 1783080 h 2161222"/>
                  <a:gd name="connsiteX1349" fmla="*/ 1934528 w 2443162"/>
                  <a:gd name="connsiteY1349" fmla="*/ 1787843 h 2161222"/>
                  <a:gd name="connsiteX1350" fmla="*/ 1926908 w 2443162"/>
                  <a:gd name="connsiteY1350" fmla="*/ 1792605 h 2161222"/>
                  <a:gd name="connsiteX1351" fmla="*/ 1925003 w 2443162"/>
                  <a:gd name="connsiteY1351" fmla="*/ 1794510 h 2161222"/>
                  <a:gd name="connsiteX1352" fmla="*/ 1925003 w 2443162"/>
                  <a:gd name="connsiteY1352" fmla="*/ 1794510 h 2161222"/>
                  <a:gd name="connsiteX1353" fmla="*/ 1703070 w 2443162"/>
                  <a:gd name="connsiteY1353" fmla="*/ 1945958 h 2161222"/>
                  <a:gd name="connsiteX1354" fmla="*/ 1707833 w 2443162"/>
                  <a:gd name="connsiteY1354" fmla="*/ 1939290 h 2161222"/>
                  <a:gd name="connsiteX1355" fmla="*/ 1712595 w 2443162"/>
                  <a:gd name="connsiteY1355" fmla="*/ 1931670 h 2161222"/>
                  <a:gd name="connsiteX1356" fmla="*/ 1717358 w 2443162"/>
                  <a:gd name="connsiteY1356" fmla="*/ 1923098 h 2161222"/>
                  <a:gd name="connsiteX1357" fmla="*/ 1722120 w 2443162"/>
                  <a:gd name="connsiteY1357" fmla="*/ 1914525 h 2161222"/>
                  <a:gd name="connsiteX1358" fmla="*/ 1730693 w 2443162"/>
                  <a:gd name="connsiteY1358" fmla="*/ 1894523 h 2161222"/>
                  <a:gd name="connsiteX1359" fmla="*/ 1740218 w 2443162"/>
                  <a:gd name="connsiteY1359" fmla="*/ 1872615 h 2161222"/>
                  <a:gd name="connsiteX1360" fmla="*/ 1749743 w 2443162"/>
                  <a:gd name="connsiteY1360" fmla="*/ 1848803 h 2161222"/>
                  <a:gd name="connsiteX1361" fmla="*/ 1760220 w 2443162"/>
                  <a:gd name="connsiteY1361" fmla="*/ 1824038 h 2161222"/>
                  <a:gd name="connsiteX1362" fmla="*/ 1771650 w 2443162"/>
                  <a:gd name="connsiteY1362" fmla="*/ 1798320 h 2161222"/>
                  <a:gd name="connsiteX1363" fmla="*/ 1784033 w 2443162"/>
                  <a:gd name="connsiteY1363" fmla="*/ 1772603 h 2161222"/>
                  <a:gd name="connsiteX1364" fmla="*/ 1790700 w 2443162"/>
                  <a:gd name="connsiteY1364" fmla="*/ 1759268 h 2161222"/>
                  <a:gd name="connsiteX1365" fmla="*/ 1797368 w 2443162"/>
                  <a:gd name="connsiteY1365" fmla="*/ 1745933 h 2161222"/>
                  <a:gd name="connsiteX1366" fmla="*/ 1804988 w 2443162"/>
                  <a:gd name="connsiteY1366" fmla="*/ 1732598 h 2161222"/>
                  <a:gd name="connsiteX1367" fmla="*/ 1812608 w 2443162"/>
                  <a:gd name="connsiteY1367" fmla="*/ 1719263 h 2161222"/>
                  <a:gd name="connsiteX1368" fmla="*/ 1820228 w 2443162"/>
                  <a:gd name="connsiteY1368" fmla="*/ 1705928 h 2161222"/>
                  <a:gd name="connsiteX1369" fmla="*/ 1828800 w 2443162"/>
                  <a:gd name="connsiteY1369" fmla="*/ 1693545 h 2161222"/>
                  <a:gd name="connsiteX1370" fmla="*/ 1838325 w 2443162"/>
                  <a:gd name="connsiteY1370" fmla="*/ 1680210 h 2161222"/>
                  <a:gd name="connsiteX1371" fmla="*/ 1847850 w 2443162"/>
                  <a:gd name="connsiteY1371" fmla="*/ 1667828 h 2161222"/>
                  <a:gd name="connsiteX1372" fmla="*/ 1858328 w 2443162"/>
                  <a:gd name="connsiteY1372" fmla="*/ 1655445 h 2161222"/>
                  <a:gd name="connsiteX1373" fmla="*/ 1868805 w 2443162"/>
                  <a:gd name="connsiteY1373" fmla="*/ 1644015 h 2161222"/>
                  <a:gd name="connsiteX1374" fmla="*/ 1879283 w 2443162"/>
                  <a:gd name="connsiteY1374" fmla="*/ 1632585 h 2161222"/>
                  <a:gd name="connsiteX1375" fmla="*/ 1891665 w 2443162"/>
                  <a:gd name="connsiteY1375" fmla="*/ 1622108 h 2161222"/>
                  <a:gd name="connsiteX1376" fmla="*/ 1904048 w 2443162"/>
                  <a:gd name="connsiteY1376" fmla="*/ 1611630 h 2161222"/>
                  <a:gd name="connsiteX1377" fmla="*/ 1917383 w 2443162"/>
                  <a:gd name="connsiteY1377" fmla="*/ 1601153 h 2161222"/>
                  <a:gd name="connsiteX1378" fmla="*/ 1931670 w 2443162"/>
                  <a:gd name="connsiteY1378" fmla="*/ 1591628 h 2161222"/>
                  <a:gd name="connsiteX1379" fmla="*/ 1945958 w 2443162"/>
                  <a:gd name="connsiteY1379" fmla="*/ 1583055 h 2161222"/>
                  <a:gd name="connsiteX1380" fmla="*/ 1931670 w 2443162"/>
                  <a:gd name="connsiteY1380" fmla="*/ 1630680 h 2161222"/>
                  <a:gd name="connsiteX1381" fmla="*/ 1919288 w 2443162"/>
                  <a:gd name="connsiteY1381" fmla="*/ 1675448 h 2161222"/>
                  <a:gd name="connsiteX1382" fmla="*/ 1913573 w 2443162"/>
                  <a:gd name="connsiteY1382" fmla="*/ 1696403 h 2161222"/>
                  <a:gd name="connsiteX1383" fmla="*/ 1907858 w 2443162"/>
                  <a:gd name="connsiteY1383" fmla="*/ 1716405 h 2161222"/>
                  <a:gd name="connsiteX1384" fmla="*/ 1902143 w 2443162"/>
                  <a:gd name="connsiteY1384" fmla="*/ 1736408 h 2161222"/>
                  <a:gd name="connsiteX1385" fmla="*/ 1895475 w 2443162"/>
                  <a:gd name="connsiteY1385" fmla="*/ 1755458 h 2161222"/>
                  <a:gd name="connsiteX1386" fmla="*/ 1891665 w 2443162"/>
                  <a:gd name="connsiteY1386" fmla="*/ 1764983 h 2161222"/>
                  <a:gd name="connsiteX1387" fmla="*/ 1887855 w 2443162"/>
                  <a:gd name="connsiteY1387" fmla="*/ 1773555 h 2161222"/>
                  <a:gd name="connsiteX1388" fmla="*/ 1884045 w 2443162"/>
                  <a:gd name="connsiteY1388" fmla="*/ 1782128 h 2161222"/>
                  <a:gd name="connsiteX1389" fmla="*/ 1879283 w 2443162"/>
                  <a:gd name="connsiteY1389" fmla="*/ 1790700 h 2161222"/>
                  <a:gd name="connsiteX1390" fmla="*/ 1874520 w 2443162"/>
                  <a:gd name="connsiteY1390" fmla="*/ 1799273 h 2161222"/>
                  <a:gd name="connsiteX1391" fmla="*/ 1869758 w 2443162"/>
                  <a:gd name="connsiteY1391" fmla="*/ 1807845 h 2161222"/>
                  <a:gd name="connsiteX1392" fmla="*/ 1864043 w 2443162"/>
                  <a:gd name="connsiteY1392" fmla="*/ 1816418 h 2161222"/>
                  <a:gd name="connsiteX1393" fmla="*/ 1858328 w 2443162"/>
                  <a:gd name="connsiteY1393" fmla="*/ 1824038 h 2161222"/>
                  <a:gd name="connsiteX1394" fmla="*/ 1852613 w 2443162"/>
                  <a:gd name="connsiteY1394" fmla="*/ 1832610 h 2161222"/>
                  <a:gd name="connsiteX1395" fmla="*/ 1846898 w 2443162"/>
                  <a:gd name="connsiteY1395" fmla="*/ 1840230 h 2161222"/>
                  <a:gd name="connsiteX1396" fmla="*/ 1840230 w 2443162"/>
                  <a:gd name="connsiteY1396" fmla="*/ 1847850 h 2161222"/>
                  <a:gd name="connsiteX1397" fmla="*/ 1832610 w 2443162"/>
                  <a:gd name="connsiteY1397" fmla="*/ 1855470 h 2161222"/>
                  <a:gd name="connsiteX1398" fmla="*/ 1824990 w 2443162"/>
                  <a:gd name="connsiteY1398" fmla="*/ 1863090 h 2161222"/>
                  <a:gd name="connsiteX1399" fmla="*/ 1817370 w 2443162"/>
                  <a:gd name="connsiteY1399" fmla="*/ 1870710 h 2161222"/>
                  <a:gd name="connsiteX1400" fmla="*/ 1808798 w 2443162"/>
                  <a:gd name="connsiteY1400" fmla="*/ 1878330 h 2161222"/>
                  <a:gd name="connsiteX1401" fmla="*/ 1800225 w 2443162"/>
                  <a:gd name="connsiteY1401" fmla="*/ 1885950 h 2161222"/>
                  <a:gd name="connsiteX1402" fmla="*/ 1815465 w 2443162"/>
                  <a:gd name="connsiteY1402" fmla="*/ 1878330 h 2161222"/>
                  <a:gd name="connsiteX1403" fmla="*/ 1835468 w 2443162"/>
                  <a:gd name="connsiteY1403" fmla="*/ 1869758 h 2161222"/>
                  <a:gd name="connsiteX1404" fmla="*/ 1859280 w 2443162"/>
                  <a:gd name="connsiteY1404" fmla="*/ 1860233 h 2161222"/>
                  <a:gd name="connsiteX1405" fmla="*/ 1885950 w 2443162"/>
                  <a:gd name="connsiteY1405" fmla="*/ 1850708 h 2161222"/>
                  <a:gd name="connsiteX1406" fmla="*/ 1900238 w 2443162"/>
                  <a:gd name="connsiteY1406" fmla="*/ 1845945 h 2161222"/>
                  <a:gd name="connsiteX1407" fmla="*/ 1914525 w 2443162"/>
                  <a:gd name="connsiteY1407" fmla="*/ 1841183 h 2161222"/>
                  <a:gd name="connsiteX1408" fmla="*/ 1929765 w 2443162"/>
                  <a:gd name="connsiteY1408" fmla="*/ 1836420 h 2161222"/>
                  <a:gd name="connsiteX1409" fmla="*/ 1945005 w 2443162"/>
                  <a:gd name="connsiteY1409" fmla="*/ 1832610 h 2161222"/>
                  <a:gd name="connsiteX1410" fmla="*/ 1960245 w 2443162"/>
                  <a:gd name="connsiteY1410" fmla="*/ 1828800 h 2161222"/>
                  <a:gd name="connsiteX1411" fmla="*/ 1975485 w 2443162"/>
                  <a:gd name="connsiteY1411" fmla="*/ 1824990 h 2161222"/>
                  <a:gd name="connsiteX1412" fmla="*/ 1990725 w 2443162"/>
                  <a:gd name="connsiteY1412" fmla="*/ 1822133 h 2161222"/>
                  <a:gd name="connsiteX1413" fmla="*/ 2005965 w 2443162"/>
                  <a:gd name="connsiteY1413" fmla="*/ 1819275 h 2161222"/>
                  <a:gd name="connsiteX1414" fmla="*/ 2019300 w 2443162"/>
                  <a:gd name="connsiteY1414" fmla="*/ 1817370 h 2161222"/>
                  <a:gd name="connsiteX1415" fmla="*/ 2031683 w 2443162"/>
                  <a:gd name="connsiteY1415" fmla="*/ 1815465 h 2161222"/>
                  <a:gd name="connsiteX1416" fmla="*/ 2043113 w 2443162"/>
                  <a:gd name="connsiteY1416" fmla="*/ 1813560 h 2161222"/>
                  <a:gd name="connsiteX1417" fmla="*/ 2054543 w 2443162"/>
                  <a:gd name="connsiteY1417" fmla="*/ 1811655 h 2161222"/>
                  <a:gd name="connsiteX1418" fmla="*/ 2065020 w 2443162"/>
                  <a:gd name="connsiteY1418" fmla="*/ 1809750 h 2161222"/>
                  <a:gd name="connsiteX1419" fmla="*/ 2075498 w 2443162"/>
                  <a:gd name="connsiteY1419" fmla="*/ 1806893 h 2161222"/>
                  <a:gd name="connsiteX1420" fmla="*/ 2085023 w 2443162"/>
                  <a:gd name="connsiteY1420" fmla="*/ 1804035 h 2161222"/>
                  <a:gd name="connsiteX1421" fmla="*/ 2094548 w 2443162"/>
                  <a:gd name="connsiteY1421" fmla="*/ 1801178 h 2161222"/>
                  <a:gd name="connsiteX1422" fmla="*/ 2103120 w 2443162"/>
                  <a:gd name="connsiteY1422" fmla="*/ 1798320 h 2161222"/>
                  <a:gd name="connsiteX1423" fmla="*/ 2111693 w 2443162"/>
                  <a:gd name="connsiteY1423" fmla="*/ 1795463 h 2161222"/>
                  <a:gd name="connsiteX1424" fmla="*/ 2120265 w 2443162"/>
                  <a:gd name="connsiteY1424" fmla="*/ 1792605 h 2161222"/>
                  <a:gd name="connsiteX1425" fmla="*/ 2127885 w 2443162"/>
                  <a:gd name="connsiteY1425" fmla="*/ 1789748 h 2161222"/>
                  <a:gd name="connsiteX1426" fmla="*/ 2142173 w 2443162"/>
                  <a:gd name="connsiteY1426" fmla="*/ 1783080 h 2161222"/>
                  <a:gd name="connsiteX1427" fmla="*/ 2155508 w 2443162"/>
                  <a:gd name="connsiteY1427" fmla="*/ 1776413 h 2161222"/>
                  <a:gd name="connsiteX1428" fmla="*/ 2167890 w 2443162"/>
                  <a:gd name="connsiteY1428" fmla="*/ 1769745 h 2161222"/>
                  <a:gd name="connsiteX1429" fmla="*/ 2179320 w 2443162"/>
                  <a:gd name="connsiteY1429" fmla="*/ 1763078 h 2161222"/>
                  <a:gd name="connsiteX1430" fmla="*/ 2189798 w 2443162"/>
                  <a:gd name="connsiteY1430" fmla="*/ 1755458 h 2161222"/>
                  <a:gd name="connsiteX1431" fmla="*/ 2200275 w 2443162"/>
                  <a:gd name="connsiteY1431" fmla="*/ 1748790 h 2161222"/>
                  <a:gd name="connsiteX1432" fmla="*/ 2210753 w 2443162"/>
                  <a:gd name="connsiteY1432" fmla="*/ 1741170 h 2161222"/>
                  <a:gd name="connsiteX1433" fmla="*/ 2221230 w 2443162"/>
                  <a:gd name="connsiteY1433" fmla="*/ 1734503 h 2161222"/>
                  <a:gd name="connsiteX1434" fmla="*/ 2232660 w 2443162"/>
                  <a:gd name="connsiteY1434" fmla="*/ 1727835 h 2161222"/>
                  <a:gd name="connsiteX1435" fmla="*/ 2244090 w 2443162"/>
                  <a:gd name="connsiteY1435" fmla="*/ 1721168 h 2161222"/>
                  <a:gd name="connsiteX1436" fmla="*/ 2227898 w 2443162"/>
                  <a:gd name="connsiteY1436" fmla="*/ 1749743 h 2161222"/>
                  <a:gd name="connsiteX1437" fmla="*/ 2211705 w 2443162"/>
                  <a:gd name="connsiteY1437" fmla="*/ 1775460 h 2161222"/>
                  <a:gd name="connsiteX1438" fmla="*/ 2194560 w 2443162"/>
                  <a:gd name="connsiteY1438" fmla="*/ 1798320 h 2161222"/>
                  <a:gd name="connsiteX1439" fmla="*/ 2177415 w 2443162"/>
                  <a:gd name="connsiteY1439" fmla="*/ 1819275 h 2161222"/>
                  <a:gd name="connsiteX1440" fmla="*/ 2159318 w 2443162"/>
                  <a:gd name="connsiteY1440" fmla="*/ 1838325 h 2161222"/>
                  <a:gd name="connsiteX1441" fmla="*/ 2140268 w 2443162"/>
                  <a:gd name="connsiteY1441" fmla="*/ 1855470 h 2161222"/>
                  <a:gd name="connsiteX1442" fmla="*/ 2121218 w 2443162"/>
                  <a:gd name="connsiteY1442" fmla="*/ 1870710 h 2161222"/>
                  <a:gd name="connsiteX1443" fmla="*/ 2102168 w 2443162"/>
                  <a:gd name="connsiteY1443" fmla="*/ 1884045 h 2161222"/>
                  <a:gd name="connsiteX1444" fmla="*/ 2082165 w 2443162"/>
                  <a:gd name="connsiteY1444" fmla="*/ 1895475 h 2161222"/>
                  <a:gd name="connsiteX1445" fmla="*/ 2062163 w 2443162"/>
                  <a:gd name="connsiteY1445" fmla="*/ 1905953 h 2161222"/>
                  <a:gd name="connsiteX1446" fmla="*/ 2042160 w 2443162"/>
                  <a:gd name="connsiteY1446" fmla="*/ 1914525 h 2161222"/>
                  <a:gd name="connsiteX1447" fmla="*/ 2022158 w 2443162"/>
                  <a:gd name="connsiteY1447" fmla="*/ 1921193 h 2161222"/>
                  <a:gd name="connsiteX1448" fmla="*/ 2002155 w 2443162"/>
                  <a:gd name="connsiteY1448" fmla="*/ 1926908 h 2161222"/>
                  <a:gd name="connsiteX1449" fmla="*/ 1982153 w 2443162"/>
                  <a:gd name="connsiteY1449" fmla="*/ 1931670 h 2161222"/>
                  <a:gd name="connsiteX1450" fmla="*/ 1962150 w 2443162"/>
                  <a:gd name="connsiteY1450" fmla="*/ 1935480 h 2161222"/>
                  <a:gd name="connsiteX1451" fmla="*/ 1943100 w 2443162"/>
                  <a:gd name="connsiteY1451" fmla="*/ 1938338 h 2161222"/>
                  <a:gd name="connsiteX1452" fmla="*/ 1924050 w 2443162"/>
                  <a:gd name="connsiteY1452" fmla="*/ 1940243 h 2161222"/>
                  <a:gd name="connsiteX1453" fmla="*/ 1905000 w 2443162"/>
                  <a:gd name="connsiteY1453" fmla="*/ 1941195 h 2161222"/>
                  <a:gd name="connsiteX1454" fmla="*/ 1885950 w 2443162"/>
                  <a:gd name="connsiteY1454" fmla="*/ 1941195 h 2161222"/>
                  <a:gd name="connsiteX1455" fmla="*/ 1867853 w 2443162"/>
                  <a:gd name="connsiteY1455" fmla="*/ 1941195 h 2161222"/>
                  <a:gd name="connsiteX1456" fmla="*/ 1833563 w 2443162"/>
                  <a:gd name="connsiteY1456" fmla="*/ 1940243 h 2161222"/>
                  <a:gd name="connsiteX1457" fmla="*/ 1801178 w 2443162"/>
                  <a:gd name="connsiteY1457" fmla="*/ 1939290 h 2161222"/>
                  <a:gd name="connsiteX1458" fmla="*/ 1785938 w 2443162"/>
                  <a:gd name="connsiteY1458" fmla="*/ 1939290 h 2161222"/>
                  <a:gd name="connsiteX1459" fmla="*/ 1771650 w 2443162"/>
                  <a:gd name="connsiteY1459" fmla="*/ 1939290 h 2161222"/>
                  <a:gd name="connsiteX1460" fmla="*/ 1758315 w 2443162"/>
                  <a:gd name="connsiteY1460" fmla="*/ 1939290 h 2161222"/>
                  <a:gd name="connsiteX1461" fmla="*/ 1745933 w 2443162"/>
                  <a:gd name="connsiteY1461" fmla="*/ 1939290 h 2161222"/>
                  <a:gd name="connsiteX1462" fmla="*/ 1734503 w 2443162"/>
                  <a:gd name="connsiteY1462" fmla="*/ 1940243 h 2161222"/>
                  <a:gd name="connsiteX1463" fmla="*/ 1724025 w 2443162"/>
                  <a:gd name="connsiteY1463" fmla="*/ 1942148 h 2161222"/>
                  <a:gd name="connsiteX1464" fmla="*/ 1714500 w 2443162"/>
                  <a:gd name="connsiteY1464" fmla="*/ 1945005 h 2161222"/>
                  <a:gd name="connsiteX1465" fmla="*/ 1703070 w 2443162"/>
                  <a:gd name="connsiteY1465" fmla="*/ 1945958 h 2161222"/>
                  <a:gd name="connsiteX1466" fmla="*/ 1703070 w 2443162"/>
                  <a:gd name="connsiteY1466" fmla="*/ 1945958 h 2161222"/>
                  <a:gd name="connsiteX1467" fmla="*/ 2267903 w 2443162"/>
                  <a:gd name="connsiteY1467" fmla="*/ 813435 h 2161222"/>
                  <a:gd name="connsiteX1468" fmla="*/ 2262188 w 2443162"/>
                  <a:gd name="connsiteY1468" fmla="*/ 797243 h 2161222"/>
                  <a:gd name="connsiteX1469" fmla="*/ 2255520 w 2443162"/>
                  <a:gd name="connsiteY1469" fmla="*/ 782003 h 2161222"/>
                  <a:gd name="connsiteX1470" fmla="*/ 2247900 w 2443162"/>
                  <a:gd name="connsiteY1470" fmla="*/ 766763 h 2161222"/>
                  <a:gd name="connsiteX1471" fmla="*/ 2239328 w 2443162"/>
                  <a:gd name="connsiteY1471" fmla="*/ 753428 h 2161222"/>
                  <a:gd name="connsiteX1472" fmla="*/ 2230755 w 2443162"/>
                  <a:gd name="connsiteY1472" fmla="*/ 740093 h 2161222"/>
                  <a:gd name="connsiteX1473" fmla="*/ 2220278 w 2443162"/>
                  <a:gd name="connsiteY1473" fmla="*/ 727710 h 2161222"/>
                  <a:gd name="connsiteX1474" fmla="*/ 2210753 w 2443162"/>
                  <a:gd name="connsiteY1474" fmla="*/ 716280 h 2161222"/>
                  <a:gd name="connsiteX1475" fmla="*/ 2200275 w 2443162"/>
                  <a:gd name="connsiteY1475" fmla="*/ 704850 h 2161222"/>
                  <a:gd name="connsiteX1476" fmla="*/ 2188845 w 2443162"/>
                  <a:gd name="connsiteY1476" fmla="*/ 694373 h 2161222"/>
                  <a:gd name="connsiteX1477" fmla="*/ 2177415 w 2443162"/>
                  <a:gd name="connsiteY1477" fmla="*/ 683895 h 2161222"/>
                  <a:gd name="connsiteX1478" fmla="*/ 2165985 w 2443162"/>
                  <a:gd name="connsiteY1478" fmla="*/ 673418 h 2161222"/>
                  <a:gd name="connsiteX1479" fmla="*/ 2153603 w 2443162"/>
                  <a:gd name="connsiteY1479" fmla="*/ 663893 h 2161222"/>
                  <a:gd name="connsiteX1480" fmla="*/ 2128838 w 2443162"/>
                  <a:gd name="connsiteY1480" fmla="*/ 643890 h 2161222"/>
                  <a:gd name="connsiteX1481" fmla="*/ 2103120 w 2443162"/>
                  <a:gd name="connsiteY1481" fmla="*/ 624840 h 2161222"/>
                  <a:gd name="connsiteX1482" fmla="*/ 2090738 w 2443162"/>
                  <a:gd name="connsiteY1482" fmla="*/ 615315 h 2161222"/>
                  <a:gd name="connsiteX1483" fmla="*/ 2078355 w 2443162"/>
                  <a:gd name="connsiteY1483" fmla="*/ 605790 h 2161222"/>
                  <a:gd name="connsiteX1484" fmla="*/ 2065973 w 2443162"/>
                  <a:gd name="connsiteY1484" fmla="*/ 595313 h 2161222"/>
                  <a:gd name="connsiteX1485" fmla="*/ 2053590 w 2443162"/>
                  <a:gd name="connsiteY1485" fmla="*/ 584835 h 2161222"/>
                  <a:gd name="connsiteX1486" fmla="*/ 2042160 w 2443162"/>
                  <a:gd name="connsiteY1486" fmla="*/ 574358 h 2161222"/>
                  <a:gd name="connsiteX1487" fmla="*/ 2030730 w 2443162"/>
                  <a:gd name="connsiteY1487" fmla="*/ 563880 h 2161222"/>
                  <a:gd name="connsiteX1488" fmla="*/ 2020253 w 2443162"/>
                  <a:gd name="connsiteY1488" fmla="*/ 553403 h 2161222"/>
                  <a:gd name="connsiteX1489" fmla="*/ 2009775 w 2443162"/>
                  <a:gd name="connsiteY1489" fmla="*/ 541973 h 2161222"/>
                  <a:gd name="connsiteX1490" fmla="*/ 1999298 w 2443162"/>
                  <a:gd name="connsiteY1490" fmla="*/ 529590 h 2161222"/>
                  <a:gd name="connsiteX1491" fmla="*/ 1989773 w 2443162"/>
                  <a:gd name="connsiteY1491" fmla="*/ 516255 h 2161222"/>
                  <a:gd name="connsiteX1492" fmla="*/ 1980248 w 2443162"/>
                  <a:gd name="connsiteY1492" fmla="*/ 502920 h 2161222"/>
                  <a:gd name="connsiteX1493" fmla="*/ 1971675 w 2443162"/>
                  <a:gd name="connsiteY1493" fmla="*/ 488633 h 2161222"/>
                  <a:gd name="connsiteX1494" fmla="*/ 1964055 w 2443162"/>
                  <a:gd name="connsiteY1494" fmla="*/ 473393 h 2161222"/>
                  <a:gd name="connsiteX1495" fmla="*/ 1957388 w 2443162"/>
                  <a:gd name="connsiteY1495" fmla="*/ 458153 h 2161222"/>
                  <a:gd name="connsiteX1496" fmla="*/ 1950720 w 2443162"/>
                  <a:gd name="connsiteY1496" fmla="*/ 441008 h 2161222"/>
                  <a:gd name="connsiteX1497" fmla="*/ 1945958 w 2443162"/>
                  <a:gd name="connsiteY1497" fmla="*/ 422910 h 2161222"/>
                  <a:gd name="connsiteX1498" fmla="*/ 1957388 w 2443162"/>
                  <a:gd name="connsiteY1498" fmla="*/ 434340 h 2161222"/>
                  <a:gd name="connsiteX1499" fmla="*/ 1969770 w 2443162"/>
                  <a:gd name="connsiteY1499" fmla="*/ 444818 h 2161222"/>
                  <a:gd name="connsiteX1500" fmla="*/ 1982153 w 2443162"/>
                  <a:gd name="connsiteY1500" fmla="*/ 455295 h 2161222"/>
                  <a:gd name="connsiteX1501" fmla="*/ 1995488 w 2443162"/>
                  <a:gd name="connsiteY1501" fmla="*/ 464820 h 2161222"/>
                  <a:gd name="connsiteX1502" fmla="*/ 2008823 w 2443162"/>
                  <a:gd name="connsiteY1502" fmla="*/ 474345 h 2161222"/>
                  <a:gd name="connsiteX1503" fmla="*/ 2022158 w 2443162"/>
                  <a:gd name="connsiteY1503" fmla="*/ 483870 h 2161222"/>
                  <a:gd name="connsiteX1504" fmla="*/ 2036445 w 2443162"/>
                  <a:gd name="connsiteY1504" fmla="*/ 492443 h 2161222"/>
                  <a:gd name="connsiteX1505" fmla="*/ 2050733 w 2443162"/>
                  <a:gd name="connsiteY1505" fmla="*/ 501968 h 2161222"/>
                  <a:gd name="connsiteX1506" fmla="*/ 2079308 w 2443162"/>
                  <a:gd name="connsiteY1506" fmla="*/ 520065 h 2161222"/>
                  <a:gd name="connsiteX1507" fmla="*/ 2106930 w 2443162"/>
                  <a:gd name="connsiteY1507" fmla="*/ 539115 h 2161222"/>
                  <a:gd name="connsiteX1508" fmla="*/ 2121218 w 2443162"/>
                  <a:gd name="connsiteY1508" fmla="*/ 549593 h 2161222"/>
                  <a:gd name="connsiteX1509" fmla="*/ 2134553 w 2443162"/>
                  <a:gd name="connsiteY1509" fmla="*/ 560070 h 2161222"/>
                  <a:gd name="connsiteX1510" fmla="*/ 2147888 w 2443162"/>
                  <a:gd name="connsiteY1510" fmla="*/ 571500 h 2161222"/>
                  <a:gd name="connsiteX1511" fmla="*/ 2161223 w 2443162"/>
                  <a:gd name="connsiteY1511" fmla="*/ 582930 h 2161222"/>
                  <a:gd name="connsiteX1512" fmla="*/ 2172653 w 2443162"/>
                  <a:gd name="connsiteY1512" fmla="*/ 595313 h 2161222"/>
                  <a:gd name="connsiteX1513" fmla="*/ 2183130 w 2443162"/>
                  <a:gd name="connsiteY1513" fmla="*/ 607695 h 2161222"/>
                  <a:gd name="connsiteX1514" fmla="*/ 2192655 w 2443162"/>
                  <a:gd name="connsiteY1514" fmla="*/ 620078 h 2161222"/>
                  <a:gd name="connsiteX1515" fmla="*/ 2201228 w 2443162"/>
                  <a:gd name="connsiteY1515" fmla="*/ 632460 h 2161222"/>
                  <a:gd name="connsiteX1516" fmla="*/ 2208848 w 2443162"/>
                  <a:gd name="connsiteY1516" fmla="*/ 644843 h 2161222"/>
                  <a:gd name="connsiteX1517" fmla="*/ 2216468 w 2443162"/>
                  <a:gd name="connsiteY1517" fmla="*/ 658178 h 2161222"/>
                  <a:gd name="connsiteX1518" fmla="*/ 2223135 w 2443162"/>
                  <a:gd name="connsiteY1518" fmla="*/ 671513 h 2161222"/>
                  <a:gd name="connsiteX1519" fmla="*/ 2230755 w 2443162"/>
                  <a:gd name="connsiteY1519" fmla="*/ 685800 h 2161222"/>
                  <a:gd name="connsiteX1520" fmla="*/ 2225040 w 2443162"/>
                  <a:gd name="connsiteY1520" fmla="*/ 664845 h 2161222"/>
                  <a:gd name="connsiteX1521" fmla="*/ 2220278 w 2443162"/>
                  <a:gd name="connsiteY1521" fmla="*/ 643890 h 2161222"/>
                  <a:gd name="connsiteX1522" fmla="*/ 2214563 w 2443162"/>
                  <a:gd name="connsiteY1522" fmla="*/ 622935 h 2161222"/>
                  <a:gd name="connsiteX1523" fmla="*/ 2209800 w 2443162"/>
                  <a:gd name="connsiteY1523" fmla="*/ 600075 h 2161222"/>
                  <a:gd name="connsiteX1524" fmla="*/ 2205990 w 2443162"/>
                  <a:gd name="connsiteY1524" fmla="*/ 579120 h 2161222"/>
                  <a:gd name="connsiteX1525" fmla="*/ 2202180 w 2443162"/>
                  <a:gd name="connsiteY1525" fmla="*/ 559118 h 2161222"/>
                  <a:gd name="connsiteX1526" fmla="*/ 2201228 w 2443162"/>
                  <a:gd name="connsiteY1526" fmla="*/ 549593 h 2161222"/>
                  <a:gd name="connsiteX1527" fmla="*/ 2200275 w 2443162"/>
                  <a:gd name="connsiteY1527" fmla="*/ 540068 h 2161222"/>
                  <a:gd name="connsiteX1528" fmla="*/ 2199323 w 2443162"/>
                  <a:gd name="connsiteY1528" fmla="*/ 530543 h 2161222"/>
                  <a:gd name="connsiteX1529" fmla="*/ 2199323 w 2443162"/>
                  <a:gd name="connsiteY1529" fmla="*/ 521018 h 2161222"/>
                  <a:gd name="connsiteX1530" fmla="*/ 2196465 w 2443162"/>
                  <a:gd name="connsiteY1530" fmla="*/ 495300 h 2161222"/>
                  <a:gd name="connsiteX1531" fmla="*/ 2194560 w 2443162"/>
                  <a:gd name="connsiteY1531" fmla="*/ 476250 h 2161222"/>
                  <a:gd name="connsiteX1532" fmla="*/ 2192655 w 2443162"/>
                  <a:gd name="connsiteY1532" fmla="*/ 461010 h 2161222"/>
                  <a:gd name="connsiteX1533" fmla="*/ 2189798 w 2443162"/>
                  <a:gd name="connsiteY1533" fmla="*/ 448628 h 2161222"/>
                  <a:gd name="connsiteX1534" fmla="*/ 2187893 w 2443162"/>
                  <a:gd name="connsiteY1534" fmla="*/ 442913 h 2161222"/>
                  <a:gd name="connsiteX1535" fmla="*/ 2185988 w 2443162"/>
                  <a:gd name="connsiteY1535" fmla="*/ 437198 h 2161222"/>
                  <a:gd name="connsiteX1536" fmla="*/ 2184083 w 2443162"/>
                  <a:gd name="connsiteY1536" fmla="*/ 430530 h 2161222"/>
                  <a:gd name="connsiteX1537" fmla="*/ 2181225 w 2443162"/>
                  <a:gd name="connsiteY1537" fmla="*/ 422910 h 2161222"/>
                  <a:gd name="connsiteX1538" fmla="*/ 2174558 w 2443162"/>
                  <a:gd name="connsiteY1538" fmla="*/ 404813 h 2161222"/>
                  <a:gd name="connsiteX1539" fmla="*/ 2164080 w 2443162"/>
                  <a:gd name="connsiteY1539" fmla="*/ 381000 h 2161222"/>
                  <a:gd name="connsiteX1540" fmla="*/ 2160270 w 2443162"/>
                  <a:gd name="connsiteY1540" fmla="*/ 374333 h 2161222"/>
                  <a:gd name="connsiteX1541" fmla="*/ 2154555 w 2443162"/>
                  <a:gd name="connsiteY1541" fmla="*/ 364808 h 2161222"/>
                  <a:gd name="connsiteX1542" fmla="*/ 2148840 w 2443162"/>
                  <a:gd name="connsiteY1542" fmla="*/ 355283 h 2161222"/>
                  <a:gd name="connsiteX1543" fmla="*/ 2145030 w 2443162"/>
                  <a:gd name="connsiteY1543" fmla="*/ 348615 h 2161222"/>
                  <a:gd name="connsiteX1544" fmla="*/ 2152650 w 2443162"/>
                  <a:gd name="connsiteY1544" fmla="*/ 354330 h 2161222"/>
                  <a:gd name="connsiteX1545" fmla="*/ 2160270 w 2443162"/>
                  <a:gd name="connsiteY1545" fmla="*/ 360045 h 2161222"/>
                  <a:gd name="connsiteX1546" fmla="*/ 2166938 w 2443162"/>
                  <a:gd name="connsiteY1546" fmla="*/ 365760 h 2161222"/>
                  <a:gd name="connsiteX1547" fmla="*/ 2173605 w 2443162"/>
                  <a:gd name="connsiteY1547" fmla="*/ 371475 h 2161222"/>
                  <a:gd name="connsiteX1548" fmla="*/ 2180273 w 2443162"/>
                  <a:gd name="connsiteY1548" fmla="*/ 377190 h 2161222"/>
                  <a:gd name="connsiteX1549" fmla="*/ 2185988 w 2443162"/>
                  <a:gd name="connsiteY1549" fmla="*/ 382905 h 2161222"/>
                  <a:gd name="connsiteX1550" fmla="*/ 2191703 w 2443162"/>
                  <a:gd name="connsiteY1550" fmla="*/ 388620 h 2161222"/>
                  <a:gd name="connsiteX1551" fmla="*/ 2197418 w 2443162"/>
                  <a:gd name="connsiteY1551" fmla="*/ 394335 h 2161222"/>
                  <a:gd name="connsiteX1552" fmla="*/ 2203133 w 2443162"/>
                  <a:gd name="connsiteY1552" fmla="*/ 400050 h 2161222"/>
                  <a:gd name="connsiteX1553" fmla="*/ 2207895 w 2443162"/>
                  <a:gd name="connsiteY1553" fmla="*/ 406718 h 2161222"/>
                  <a:gd name="connsiteX1554" fmla="*/ 2213610 w 2443162"/>
                  <a:gd name="connsiteY1554" fmla="*/ 412433 h 2161222"/>
                  <a:gd name="connsiteX1555" fmla="*/ 2218373 w 2443162"/>
                  <a:gd name="connsiteY1555" fmla="*/ 419100 h 2161222"/>
                  <a:gd name="connsiteX1556" fmla="*/ 2223135 w 2443162"/>
                  <a:gd name="connsiteY1556" fmla="*/ 425768 h 2161222"/>
                  <a:gd name="connsiteX1557" fmla="*/ 2227898 w 2443162"/>
                  <a:gd name="connsiteY1557" fmla="*/ 432435 h 2161222"/>
                  <a:gd name="connsiteX1558" fmla="*/ 2232660 w 2443162"/>
                  <a:gd name="connsiteY1558" fmla="*/ 439103 h 2161222"/>
                  <a:gd name="connsiteX1559" fmla="*/ 2236470 w 2443162"/>
                  <a:gd name="connsiteY1559" fmla="*/ 445770 h 2161222"/>
                  <a:gd name="connsiteX1560" fmla="*/ 2244090 w 2443162"/>
                  <a:gd name="connsiteY1560" fmla="*/ 460058 h 2161222"/>
                  <a:gd name="connsiteX1561" fmla="*/ 2250758 w 2443162"/>
                  <a:gd name="connsiteY1561" fmla="*/ 475298 h 2161222"/>
                  <a:gd name="connsiteX1562" fmla="*/ 2257425 w 2443162"/>
                  <a:gd name="connsiteY1562" fmla="*/ 490538 h 2161222"/>
                  <a:gd name="connsiteX1563" fmla="*/ 2263140 w 2443162"/>
                  <a:gd name="connsiteY1563" fmla="*/ 506730 h 2161222"/>
                  <a:gd name="connsiteX1564" fmla="*/ 2267903 w 2443162"/>
                  <a:gd name="connsiteY1564" fmla="*/ 522923 h 2161222"/>
                  <a:gd name="connsiteX1565" fmla="*/ 2272665 w 2443162"/>
                  <a:gd name="connsiteY1565" fmla="*/ 540068 h 2161222"/>
                  <a:gd name="connsiteX1566" fmla="*/ 2276475 w 2443162"/>
                  <a:gd name="connsiteY1566" fmla="*/ 557213 h 2161222"/>
                  <a:gd name="connsiteX1567" fmla="*/ 2279333 w 2443162"/>
                  <a:gd name="connsiteY1567" fmla="*/ 575310 h 2161222"/>
                  <a:gd name="connsiteX1568" fmla="*/ 2281238 w 2443162"/>
                  <a:gd name="connsiteY1568" fmla="*/ 590550 h 2161222"/>
                  <a:gd name="connsiteX1569" fmla="*/ 2282190 w 2443162"/>
                  <a:gd name="connsiteY1569" fmla="*/ 605790 h 2161222"/>
                  <a:gd name="connsiteX1570" fmla="*/ 2283143 w 2443162"/>
                  <a:gd name="connsiteY1570" fmla="*/ 621030 h 2161222"/>
                  <a:gd name="connsiteX1571" fmla="*/ 2283143 w 2443162"/>
                  <a:gd name="connsiteY1571" fmla="*/ 635318 h 2161222"/>
                  <a:gd name="connsiteX1572" fmla="*/ 2284095 w 2443162"/>
                  <a:gd name="connsiteY1572" fmla="*/ 650558 h 2161222"/>
                  <a:gd name="connsiteX1573" fmla="*/ 2283143 w 2443162"/>
                  <a:gd name="connsiteY1573" fmla="*/ 664845 h 2161222"/>
                  <a:gd name="connsiteX1574" fmla="*/ 2283143 w 2443162"/>
                  <a:gd name="connsiteY1574" fmla="*/ 679133 h 2161222"/>
                  <a:gd name="connsiteX1575" fmla="*/ 2282190 w 2443162"/>
                  <a:gd name="connsiteY1575" fmla="*/ 693420 h 2161222"/>
                  <a:gd name="connsiteX1576" fmla="*/ 2280285 w 2443162"/>
                  <a:gd name="connsiteY1576" fmla="*/ 721995 h 2161222"/>
                  <a:gd name="connsiteX1577" fmla="*/ 2277428 w 2443162"/>
                  <a:gd name="connsiteY1577" fmla="*/ 751523 h 2161222"/>
                  <a:gd name="connsiteX1578" fmla="*/ 2273618 w 2443162"/>
                  <a:gd name="connsiteY1578" fmla="*/ 782003 h 2161222"/>
                  <a:gd name="connsiteX1579" fmla="*/ 2267903 w 2443162"/>
                  <a:gd name="connsiteY1579" fmla="*/ 813435 h 2161222"/>
                  <a:gd name="connsiteX1580" fmla="*/ 2267903 w 2443162"/>
                  <a:gd name="connsiteY1580" fmla="*/ 813435 h 2161222"/>
                  <a:gd name="connsiteX1581" fmla="*/ 422910 w 2443162"/>
                  <a:gd name="connsiteY1581" fmla="*/ 1971675 h 2161222"/>
                  <a:gd name="connsiteX1582" fmla="*/ 438150 w 2443162"/>
                  <a:gd name="connsiteY1582" fmla="*/ 1981200 h 2161222"/>
                  <a:gd name="connsiteX1583" fmla="*/ 454343 w 2443162"/>
                  <a:gd name="connsiteY1583" fmla="*/ 1987868 h 2161222"/>
                  <a:gd name="connsiteX1584" fmla="*/ 471488 w 2443162"/>
                  <a:gd name="connsiteY1584" fmla="*/ 1992630 h 2161222"/>
                  <a:gd name="connsiteX1585" fmla="*/ 489585 w 2443162"/>
                  <a:gd name="connsiteY1585" fmla="*/ 1996440 h 2161222"/>
                  <a:gd name="connsiteX1586" fmla="*/ 508635 w 2443162"/>
                  <a:gd name="connsiteY1586" fmla="*/ 1998345 h 2161222"/>
                  <a:gd name="connsiteX1587" fmla="*/ 528638 w 2443162"/>
                  <a:gd name="connsiteY1587" fmla="*/ 1998345 h 2161222"/>
                  <a:gd name="connsiteX1588" fmla="*/ 549593 w 2443162"/>
                  <a:gd name="connsiteY1588" fmla="*/ 1998345 h 2161222"/>
                  <a:gd name="connsiteX1589" fmla="*/ 570548 w 2443162"/>
                  <a:gd name="connsiteY1589" fmla="*/ 1996440 h 2161222"/>
                  <a:gd name="connsiteX1590" fmla="*/ 592455 w 2443162"/>
                  <a:gd name="connsiteY1590" fmla="*/ 1993583 h 2161222"/>
                  <a:gd name="connsiteX1591" fmla="*/ 615315 w 2443162"/>
                  <a:gd name="connsiteY1591" fmla="*/ 1989773 h 2161222"/>
                  <a:gd name="connsiteX1592" fmla="*/ 639128 w 2443162"/>
                  <a:gd name="connsiteY1592" fmla="*/ 1985010 h 2161222"/>
                  <a:gd name="connsiteX1593" fmla="*/ 663893 w 2443162"/>
                  <a:gd name="connsiteY1593" fmla="*/ 1980248 h 2161222"/>
                  <a:gd name="connsiteX1594" fmla="*/ 714375 w 2443162"/>
                  <a:gd name="connsiteY1594" fmla="*/ 1968818 h 2161222"/>
                  <a:gd name="connsiteX1595" fmla="*/ 765810 w 2443162"/>
                  <a:gd name="connsiteY1595" fmla="*/ 1957388 h 2161222"/>
                  <a:gd name="connsiteX1596" fmla="*/ 792480 w 2443162"/>
                  <a:gd name="connsiteY1596" fmla="*/ 1951673 h 2161222"/>
                  <a:gd name="connsiteX1597" fmla="*/ 820103 w 2443162"/>
                  <a:gd name="connsiteY1597" fmla="*/ 1945958 h 2161222"/>
                  <a:gd name="connsiteX1598" fmla="*/ 847725 w 2443162"/>
                  <a:gd name="connsiteY1598" fmla="*/ 1941195 h 2161222"/>
                  <a:gd name="connsiteX1599" fmla="*/ 875348 w 2443162"/>
                  <a:gd name="connsiteY1599" fmla="*/ 1935480 h 2161222"/>
                  <a:gd name="connsiteX1600" fmla="*/ 903923 w 2443162"/>
                  <a:gd name="connsiteY1600" fmla="*/ 1930718 h 2161222"/>
                  <a:gd name="connsiteX1601" fmla="*/ 932498 w 2443162"/>
                  <a:gd name="connsiteY1601" fmla="*/ 1926908 h 2161222"/>
                  <a:gd name="connsiteX1602" fmla="*/ 961073 w 2443162"/>
                  <a:gd name="connsiteY1602" fmla="*/ 1924050 h 2161222"/>
                  <a:gd name="connsiteX1603" fmla="*/ 989648 w 2443162"/>
                  <a:gd name="connsiteY1603" fmla="*/ 1922145 h 2161222"/>
                  <a:gd name="connsiteX1604" fmla="*/ 1018223 w 2443162"/>
                  <a:gd name="connsiteY1604" fmla="*/ 1921193 h 2161222"/>
                  <a:gd name="connsiteX1605" fmla="*/ 1046798 w 2443162"/>
                  <a:gd name="connsiteY1605" fmla="*/ 1922145 h 2161222"/>
                  <a:gd name="connsiteX1606" fmla="*/ 1076325 w 2443162"/>
                  <a:gd name="connsiteY1606" fmla="*/ 1924050 h 2161222"/>
                  <a:gd name="connsiteX1607" fmla="*/ 1104900 w 2443162"/>
                  <a:gd name="connsiteY1607" fmla="*/ 1927860 h 2161222"/>
                  <a:gd name="connsiteX1608" fmla="*/ 1134428 w 2443162"/>
                  <a:gd name="connsiteY1608" fmla="*/ 1932623 h 2161222"/>
                  <a:gd name="connsiteX1609" fmla="*/ 1163003 w 2443162"/>
                  <a:gd name="connsiteY1609" fmla="*/ 1939290 h 2161222"/>
                  <a:gd name="connsiteX1610" fmla="*/ 1192530 w 2443162"/>
                  <a:gd name="connsiteY1610" fmla="*/ 1948815 h 2161222"/>
                  <a:gd name="connsiteX1611" fmla="*/ 1221105 w 2443162"/>
                  <a:gd name="connsiteY1611" fmla="*/ 1959293 h 2161222"/>
                  <a:gd name="connsiteX1612" fmla="*/ 1258253 w 2443162"/>
                  <a:gd name="connsiteY1612" fmla="*/ 1948815 h 2161222"/>
                  <a:gd name="connsiteX1613" fmla="*/ 1293495 w 2443162"/>
                  <a:gd name="connsiteY1613" fmla="*/ 1940243 h 2161222"/>
                  <a:gd name="connsiteX1614" fmla="*/ 1326833 w 2443162"/>
                  <a:gd name="connsiteY1614" fmla="*/ 1933575 h 2161222"/>
                  <a:gd name="connsiteX1615" fmla="*/ 1359218 w 2443162"/>
                  <a:gd name="connsiteY1615" fmla="*/ 1928813 h 2161222"/>
                  <a:gd name="connsiteX1616" fmla="*/ 1390650 w 2443162"/>
                  <a:gd name="connsiteY1616" fmla="*/ 1925003 h 2161222"/>
                  <a:gd name="connsiteX1617" fmla="*/ 1421130 w 2443162"/>
                  <a:gd name="connsiteY1617" fmla="*/ 1923098 h 2161222"/>
                  <a:gd name="connsiteX1618" fmla="*/ 1449705 w 2443162"/>
                  <a:gd name="connsiteY1618" fmla="*/ 1923098 h 2161222"/>
                  <a:gd name="connsiteX1619" fmla="*/ 1478280 w 2443162"/>
                  <a:gd name="connsiteY1619" fmla="*/ 1924050 h 2161222"/>
                  <a:gd name="connsiteX1620" fmla="*/ 1504950 w 2443162"/>
                  <a:gd name="connsiteY1620" fmla="*/ 1925955 h 2161222"/>
                  <a:gd name="connsiteX1621" fmla="*/ 1530668 w 2443162"/>
                  <a:gd name="connsiteY1621" fmla="*/ 1928813 h 2161222"/>
                  <a:gd name="connsiteX1622" fmla="*/ 1556385 w 2443162"/>
                  <a:gd name="connsiteY1622" fmla="*/ 1932623 h 2161222"/>
                  <a:gd name="connsiteX1623" fmla="*/ 1581150 w 2443162"/>
                  <a:gd name="connsiteY1623" fmla="*/ 1937385 h 2161222"/>
                  <a:gd name="connsiteX1624" fmla="*/ 1604963 w 2443162"/>
                  <a:gd name="connsiteY1624" fmla="*/ 1942148 h 2161222"/>
                  <a:gd name="connsiteX1625" fmla="*/ 1627823 w 2443162"/>
                  <a:gd name="connsiteY1625" fmla="*/ 1946910 h 2161222"/>
                  <a:gd name="connsiteX1626" fmla="*/ 1650683 w 2443162"/>
                  <a:gd name="connsiteY1626" fmla="*/ 1952625 h 2161222"/>
                  <a:gd name="connsiteX1627" fmla="*/ 1673543 w 2443162"/>
                  <a:gd name="connsiteY1627" fmla="*/ 1958340 h 2161222"/>
                  <a:gd name="connsiteX1628" fmla="*/ 1717358 w 2443162"/>
                  <a:gd name="connsiteY1628" fmla="*/ 1969770 h 2161222"/>
                  <a:gd name="connsiteX1629" fmla="*/ 1759268 w 2443162"/>
                  <a:gd name="connsiteY1629" fmla="*/ 1980248 h 2161222"/>
                  <a:gd name="connsiteX1630" fmla="*/ 1780223 w 2443162"/>
                  <a:gd name="connsiteY1630" fmla="*/ 1985010 h 2161222"/>
                  <a:gd name="connsiteX1631" fmla="*/ 1801178 w 2443162"/>
                  <a:gd name="connsiteY1631" fmla="*/ 1989773 h 2161222"/>
                  <a:gd name="connsiteX1632" fmla="*/ 1822133 w 2443162"/>
                  <a:gd name="connsiteY1632" fmla="*/ 1993583 h 2161222"/>
                  <a:gd name="connsiteX1633" fmla="*/ 1843088 w 2443162"/>
                  <a:gd name="connsiteY1633" fmla="*/ 1996440 h 2161222"/>
                  <a:gd name="connsiteX1634" fmla="*/ 1864043 w 2443162"/>
                  <a:gd name="connsiteY1634" fmla="*/ 1998345 h 2161222"/>
                  <a:gd name="connsiteX1635" fmla="*/ 1884998 w 2443162"/>
                  <a:gd name="connsiteY1635" fmla="*/ 1998345 h 2161222"/>
                  <a:gd name="connsiteX1636" fmla="*/ 1906905 w 2443162"/>
                  <a:gd name="connsiteY1636" fmla="*/ 1998345 h 2161222"/>
                  <a:gd name="connsiteX1637" fmla="*/ 1928813 w 2443162"/>
                  <a:gd name="connsiteY1637" fmla="*/ 1996440 h 2161222"/>
                  <a:gd name="connsiteX1638" fmla="*/ 1951673 w 2443162"/>
                  <a:gd name="connsiteY1638" fmla="*/ 1993583 h 2161222"/>
                  <a:gd name="connsiteX1639" fmla="*/ 1974533 w 2443162"/>
                  <a:gd name="connsiteY1639" fmla="*/ 1987868 h 2161222"/>
                  <a:gd name="connsiteX1640" fmla="*/ 1998345 w 2443162"/>
                  <a:gd name="connsiteY1640" fmla="*/ 1981200 h 2161222"/>
                  <a:gd name="connsiteX1641" fmla="*/ 2023110 w 2443162"/>
                  <a:gd name="connsiteY1641" fmla="*/ 1972628 h 2161222"/>
                  <a:gd name="connsiteX1642" fmla="*/ 2001203 w 2443162"/>
                  <a:gd name="connsiteY1642" fmla="*/ 1992630 h 2161222"/>
                  <a:gd name="connsiteX1643" fmla="*/ 1978343 w 2443162"/>
                  <a:gd name="connsiteY1643" fmla="*/ 2009775 h 2161222"/>
                  <a:gd name="connsiteX1644" fmla="*/ 1955483 w 2443162"/>
                  <a:gd name="connsiteY1644" fmla="*/ 2025015 h 2161222"/>
                  <a:gd name="connsiteX1645" fmla="*/ 1931670 w 2443162"/>
                  <a:gd name="connsiteY1645" fmla="*/ 2038350 h 2161222"/>
                  <a:gd name="connsiteX1646" fmla="*/ 1907858 w 2443162"/>
                  <a:gd name="connsiteY1646" fmla="*/ 2048828 h 2161222"/>
                  <a:gd name="connsiteX1647" fmla="*/ 1883093 w 2443162"/>
                  <a:gd name="connsiteY1647" fmla="*/ 2057400 h 2161222"/>
                  <a:gd name="connsiteX1648" fmla="*/ 1857375 w 2443162"/>
                  <a:gd name="connsiteY1648" fmla="*/ 2064068 h 2161222"/>
                  <a:gd name="connsiteX1649" fmla="*/ 1831658 w 2443162"/>
                  <a:gd name="connsiteY1649" fmla="*/ 2069783 h 2161222"/>
                  <a:gd name="connsiteX1650" fmla="*/ 1805940 w 2443162"/>
                  <a:gd name="connsiteY1650" fmla="*/ 2073593 h 2161222"/>
                  <a:gd name="connsiteX1651" fmla="*/ 1779270 w 2443162"/>
                  <a:gd name="connsiteY1651" fmla="*/ 2075498 h 2161222"/>
                  <a:gd name="connsiteX1652" fmla="*/ 1752600 w 2443162"/>
                  <a:gd name="connsiteY1652" fmla="*/ 2076450 h 2161222"/>
                  <a:gd name="connsiteX1653" fmla="*/ 1726883 w 2443162"/>
                  <a:gd name="connsiteY1653" fmla="*/ 2076450 h 2161222"/>
                  <a:gd name="connsiteX1654" fmla="*/ 1701165 w 2443162"/>
                  <a:gd name="connsiteY1654" fmla="*/ 2074545 h 2161222"/>
                  <a:gd name="connsiteX1655" fmla="*/ 1674495 w 2443162"/>
                  <a:gd name="connsiteY1655" fmla="*/ 2071688 h 2161222"/>
                  <a:gd name="connsiteX1656" fmla="*/ 1648778 w 2443162"/>
                  <a:gd name="connsiteY1656" fmla="*/ 2068830 h 2161222"/>
                  <a:gd name="connsiteX1657" fmla="*/ 1623060 w 2443162"/>
                  <a:gd name="connsiteY1657" fmla="*/ 2064068 h 2161222"/>
                  <a:gd name="connsiteX1658" fmla="*/ 1597343 w 2443162"/>
                  <a:gd name="connsiteY1658" fmla="*/ 2059305 h 2161222"/>
                  <a:gd name="connsiteX1659" fmla="*/ 1571625 w 2443162"/>
                  <a:gd name="connsiteY1659" fmla="*/ 2053590 h 2161222"/>
                  <a:gd name="connsiteX1660" fmla="*/ 1546860 w 2443162"/>
                  <a:gd name="connsiteY1660" fmla="*/ 2047875 h 2161222"/>
                  <a:gd name="connsiteX1661" fmla="*/ 1522095 w 2443162"/>
                  <a:gd name="connsiteY1661" fmla="*/ 2042160 h 2161222"/>
                  <a:gd name="connsiteX1662" fmla="*/ 1474470 w 2443162"/>
                  <a:gd name="connsiteY1662" fmla="*/ 2029778 h 2161222"/>
                  <a:gd name="connsiteX1663" fmla="*/ 1428750 w 2443162"/>
                  <a:gd name="connsiteY1663" fmla="*/ 2018348 h 2161222"/>
                  <a:gd name="connsiteX1664" fmla="*/ 1406843 w 2443162"/>
                  <a:gd name="connsiteY1664" fmla="*/ 2012633 h 2161222"/>
                  <a:gd name="connsiteX1665" fmla="*/ 1385888 w 2443162"/>
                  <a:gd name="connsiteY1665" fmla="*/ 2006918 h 2161222"/>
                  <a:gd name="connsiteX1666" fmla="*/ 1365885 w 2443162"/>
                  <a:gd name="connsiteY1666" fmla="*/ 2002155 h 2161222"/>
                  <a:gd name="connsiteX1667" fmla="*/ 1346835 w 2443162"/>
                  <a:gd name="connsiteY1667" fmla="*/ 1997393 h 2161222"/>
                  <a:gd name="connsiteX1668" fmla="*/ 1328738 w 2443162"/>
                  <a:gd name="connsiteY1668" fmla="*/ 1994535 h 2161222"/>
                  <a:gd name="connsiteX1669" fmla="*/ 1311593 w 2443162"/>
                  <a:gd name="connsiteY1669" fmla="*/ 1991678 h 2161222"/>
                  <a:gd name="connsiteX1670" fmla="*/ 1295400 w 2443162"/>
                  <a:gd name="connsiteY1670" fmla="*/ 1990725 h 2161222"/>
                  <a:gd name="connsiteX1671" fmla="*/ 1280160 w 2443162"/>
                  <a:gd name="connsiteY1671" fmla="*/ 1990725 h 2161222"/>
                  <a:gd name="connsiteX1672" fmla="*/ 1298258 w 2443162"/>
                  <a:gd name="connsiteY1672" fmla="*/ 2000250 h 2161222"/>
                  <a:gd name="connsiteX1673" fmla="*/ 1315403 w 2443162"/>
                  <a:gd name="connsiteY1673" fmla="*/ 2009775 h 2161222"/>
                  <a:gd name="connsiteX1674" fmla="*/ 1330643 w 2443162"/>
                  <a:gd name="connsiteY1674" fmla="*/ 2019300 h 2161222"/>
                  <a:gd name="connsiteX1675" fmla="*/ 1345883 w 2443162"/>
                  <a:gd name="connsiteY1675" fmla="*/ 2028825 h 2161222"/>
                  <a:gd name="connsiteX1676" fmla="*/ 1361123 w 2443162"/>
                  <a:gd name="connsiteY1676" fmla="*/ 2039303 h 2161222"/>
                  <a:gd name="connsiteX1677" fmla="*/ 1375410 w 2443162"/>
                  <a:gd name="connsiteY1677" fmla="*/ 2048828 h 2161222"/>
                  <a:gd name="connsiteX1678" fmla="*/ 1388745 w 2443162"/>
                  <a:gd name="connsiteY1678" fmla="*/ 2059305 h 2161222"/>
                  <a:gd name="connsiteX1679" fmla="*/ 1402080 w 2443162"/>
                  <a:gd name="connsiteY1679" fmla="*/ 2069783 h 2161222"/>
                  <a:gd name="connsiteX1680" fmla="*/ 1414463 w 2443162"/>
                  <a:gd name="connsiteY1680" fmla="*/ 2080260 h 2161222"/>
                  <a:gd name="connsiteX1681" fmla="*/ 1425893 w 2443162"/>
                  <a:gd name="connsiteY1681" fmla="*/ 2090738 h 2161222"/>
                  <a:gd name="connsiteX1682" fmla="*/ 1437323 w 2443162"/>
                  <a:gd name="connsiteY1682" fmla="*/ 2101215 h 2161222"/>
                  <a:gd name="connsiteX1683" fmla="*/ 1447800 w 2443162"/>
                  <a:gd name="connsiteY1683" fmla="*/ 2111693 h 2161222"/>
                  <a:gd name="connsiteX1684" fmla="*/ 1458278 w 2443162"/>
                  <a:gd name="connsiteY1684" fmla="*/ 2122170 h 2161222"/>
                  <a:gd name="connsiteX1685" fmla="*/ 1468755 w 2443162"/>
                  <a:gd name="connsiteY1685" fmla="*/ 2132648 h 2161222"/>
                  <a:gd name="connsiteX1686" fmla="*/ 1478280 w 2443162"/>
                  <a:gd name="connsiteY1686" fmla="*/ 2143125 h 2161222"/>
                  <a:gd name="connsiteX1687" fmla="*/ 1487805 w 2443162"/>
                  <a:gd name="connsiteY1687" fmla="*/ 2153603 h 2161222"/>
                  <a:gd name="connsiteX1688" fmla="*/ 1472565 w 2443162"/>
                  <a:gd name="connsiteY1688" fmla="*/ 2155508 h 2161222"/>
                  <a:gd name="connsiteX1689" fmla="*/ 1458278 w 2443162"/>
                  <a:gd name="connsiteY1689" fmla="*/ 2157413 h 2161222"/>
                  <a:gd name="connsiteX1690" fmla="*/ 1443990 w 2443162"/>
                  <a:gd name="connsiteY1690" fmla="*/ 2159318 h 2161222"/>
                  <a:gd name="connsiteX1691" fmla="*/ 1428750 w 2443162"/>
                  <a:gd name="connsiteY1691" fmla="*/ 2161223 h 2161222"/>
                  <a:gd name="connsiteX1692" fmla="*/ 1421130 w 2443162"/>
                  <a:gd name="connsiteY1692" fmla="*/ 2149793 h 2161222"/>
                  <a:gd name="connsiteX1693" fmla="*/ 1413510 w 2443162"/>
                  <a:gd name="connsiteY1693" fmla="*/ 2138363 h 2161222"/>
                  <a:gd name="connsiteX1694" fmla="*/ 1403985 w 2443162"/>
                  <a:gd name="connsiteY1694" fmla="*/ 2127885 h 2161222"/>
                  <a:gd name="connsiteX1695" fmla="*/ 1394460 w 2443162"/>
                  <a:gd name="connsiteY1695" fmla="*/ 2117408 h 2161222"/>
                  <a:gd name="connsiteX1696" fmla="*/ 1383983 w 2443162"/>
                  <a:gd name="connsiteY1696" fmla="*/ 2106930 h 2161222"/>
                  <a:gd name="connsiteX1697" fmla="*/ 1372553 w 2443162"/>
                  <a:gd name="connsiteY1697" fmla="*/ 2096453 h 2161222"/>
                  <a:gd name="connsiteX1698" fmla="*/ 1360170 w 2443162"/>
                  <a:gd name="connsiteY1698" fmla="*/ 2085975 h 2161222"/>
                  <a:gd name="connsiteX1699" fmla="*/ 1346835 w 2443162"/>
                  <a:gd name="connsiteY1699" fmla="*/ 2075498 h 2161222"/>
                  <a:gd name="connsiteX1700" fmla="*/ 1333500 w 2443162"/>
                  <a:gd name="connsiteY1700" fmla="*/ 2065020 h 2161222"/>
                  <a:gd name="connsiteX1701" fmla="*/ 1319213 w 2443162"/>
                  <a:gd name="connsiteY1701" fmla="*/ 2054543 h 2161222"/>
                  <a:gd name="connsiteX1702" fmla="*/ 1303973 w 2443162"/>
                  <a:gd name="connsiteY1702" fmla="*/ 2044065 h 2161222"/>
                  <a:gd name="connsiteX1703" fmla="*/ 1288733 w 2443162"/>
                  <a:gd name="connsiteY1703" fmla="*/ 2034540 h 2161222"/>
                  <a:gd name="connsiteX1704" fmla="*/ 1272540 w 2443162"/>
                  <a:gd name="connsiteY1704" fmla="*/ 2025015 h 2161222"/>
                  <a:gd name="connsiteX1705" fmla="*/ 1255395 w 2443162"/>
                  <a:gd name="connsiteY1705" fmla="*/ 2015490 h 2161222"/>
                  <a:gd name="connsiteX1706" fmla="*/ 1237298 w 2443162"/>
                  <a:gd name="connsiteY1706" fmla="*/ 2005965 h 2161222"/>
                  <a:gd name="connsiteX1707" fmla="*/ 1218248 w 2443162"/>
                  <a:gd name="connsiteY1707" fmla="*/ 1996440 h 2161222"/>
                  <a:gd name="connsiteX1708" fmla="*/ 1202055 w 2443162"/>
                  <a:gd name="connsiteY1708" fmla="*/ 2002155 h 2161222"/>
                  <a:gd name="connsiteX1709" fmla="*/ 1186815 w 2443162"/>
                  <a:gd name="connsiteY1709" fmla="*/ 2007870 h 2161222"/>
                  <a:gd name="connsiteX1710" fmla="*/ 1171575 w 2443162"/>
                  <a:gd name="connsiteY1710" fmla="*/ 2014538 h 2161222"/>
                  <a:gd name="connsiteX1711" fmla="*/ 1156335 w 2443162"/>
                  <a:gd name="connsiteY1711" fmla="*/ 2021205 h 2161222"/>
                  <a:gd name="connsiteX1712" fmla="*/ 1141095 w 2443162"/>
                  <a:gd name="connsiteY1712" fmla="*/ 2028825 h 2161222"/>
                  <a:gd name="connsiteX1713" fmla="*/ 1126808 w 2443162"/>
                  <a:gd name="connsiteY1713" fmla="*/ 2037398 h 2161222"/>
                  <a:gd name="connsiteX1714" fmla="*/ 1112520 w 2443162"/>
                  <a:gd name="connsiteY1714" fmla="*/ 2045970 h 2161222"/>
                  <a:gd name="connsiteX1715" fmla="*/ 1098233 w 2443162"/>
                  <a:gd name="connsiteY1715" fmla="*/ 2056448 h 2161222"/>
                  <a:gd name="connsiteX1716" fmla="*/ 1084898 w 2443162"/>
                  <a:gd name="connsiteY1716" fmla="*/ 2066925 h 2161222"/>
                  <a:gd name="connsiteX1717" fmla="*/ 1071563 w 2443162"/>
                  <a:gd name="connsiteY1717" fmla="*/ 2078355 h 2161222"/>
                  <a:gd name="connsiteX1718" fmla="*/ 1059180 w 2443162"/>
                  <a:gd name="connsiteY1718" fmla="*/ 2089785 h 2161222"/>
                  <a:gd name="connsiteX1719" fmla="*/ 1046798 w 2443162"/>
                  <a:gd name="connsiteY1719" fmla="*/ 2102168 h 2161222"/>
                  <a:gd name="connsiteX1720" fmla="*/ 1035368 w 2443162"/>
                  <a:gd name="connsiteY1720" fmla="*/ 2115503 h 2161222"/>
                  <a:gd name="connsiteX1721" fmla="*/ 1023938 w 2443162"/>
                  <a:gd name="connsiteY1721" fmla="*/ 2129790 h 2161222"/>
                  <a:gd name="connsiteX1722" fmla="*/ 1012508 w 2443162"/>
                  <a:gd name="connsiteY1722" fmla="*/ 2145030 h 2161222"/>
                  <a:gd name="connsiteX1723" fmla="*/ 1002030 w 2443162"/>
                  <a:gd name="connsiteY1723" fmla="*/ 2160270 h 2161222"/>
                  <a:gd name="connsiteX1724" fmla="*/ 987743 w 2443162"/>
                  <a:gd name="connsiteY1724" fmla="*/ 2158365 h 2161222"/>
                  <a:gd name="connsiteX1725" fmla="*/ 972503 w 2443162"/>
                  <a:gd name="connsiteY1725" fmla="*/ 2156460 h 2161222"/>
                  <a:gd name="connsiteX1726" fmla="*/ 958215 w 2443162"/>
                  <a:gd name="connsiteY1726" fmla="*/ 2154555 h 2161222"/>
                  <a:gd name="connsiteX1727" fmla="*/ 943928 w 2443162"/>
                  <a:gd name="connsiteY1727" fmla="*/ 2152650 h 2161222"/>
                  <a:gd name="connsiteX1728" fmla="*/ 954405 w 2443162"/>
                  <a:gd name="connsiteY1728" fmla="*/ 2142173 h 2161222"/>
                  <a:gd name="connsiteX1729" fmla="*/ 964883 w 2443162"/>
                  <a:gd name="connsiteY1729" fmla="*/ 2131695 h 2161222"/>
                  <a:gd name="connsiteX1730" fmla="*/ 975360 w 2443162"/>
                  <a:gd name="connsiteY1730" fmla="*/ 2121218 h 2161222"/>
                  <a:gd name="connsiteX1731" fmla="*/ 985838 w 2443162"/>
                  <a:gd name="connsiteY1731" fmla="*/ 2110740 h 2161222"/>
                  <a:gd name="connsiteX1732" fmla="*/ 997268 w 2443162"/>
                  <a:gd name="connsiteY1732" fmla="*/ 2100263 h 2161222"/>
                  <a:gd name="connsiteX1733" fmla="*/ 1008698 w 2443162"/>
                  <a:gd name="connsiteY1733" fmla="*/ 2089785 h 2161222"/>
                  <a:gd name="connsiteX1734" fmla="*/ 1021080 w 2443162"/>
                  <a:gd name="connsiteY1734" fmla="*/ 2079308 h 2161222"/>
                  <a:gd name="connsiteX1735" fmla="*/ 1033463 w 2443162"/>
                  <a:gd name="connsiteY1735" fmla="*/ 2068830 h 2161222"/>
                  <a:gd name="connsiteX1736" fmla="*/ 1045845 w 2443162"/>
                  <a:gd name="connsiteY1736" fmla="*/ 2058353 h 2161222"/>
                  <a:gd name="connsiteX1737" fmla="*/ 1059180 w 2443162"/>
                  <a:gd name="connsiteY1737" fmla="*/ 2047875 h 2161222"/>
                  <a:gd name="connsiteX1738" fmla="*/ 1073468 w 2443162"/>
                  <a:gd name="connsiteY1738" fmla="*/ 2037398 h 2161222"/>
                  <a:gd name="connsiteX1739" fmla="*/ 1087755 w 2443162"/>
                  <a:gd name="connsiteY1739" fmla="*/ 2027873 h 2161222"/>
                  <a:gd name="connsiteX1740" fmla="*/ 1102995 w 2443162"/>
                  <a:gd name="connsiteY1740" fmla="*/ 2018348 h 2161222"/>
                  <a:gd name="connsiteX1741" fmla="*/ 1119188 w 2443162"/>
                  <a:gd name="connsiteY1741" fmla="*/ 2008823 h 2161222"/>
                  <a:gd name="connsiteX1742" fmla="*/ 1135380 w 2443162"/>
                  <a:gd name="connsiteY1742" fmla="*/ 2000250 h 2161222"/>
                  <a:gd name="connsiteX1743" fmla="*/ 1152525 w 2443162"/>
                  <a:gd name="connsiteY1743" fmla="*/ 1990725 h 2161222"/>
                  <a:gd name="connsiteX1744" fmla="*/ 1141095 w 2443162"/>
                  <a:gd name="connsiteY1744" fmla="*/ 1989773 h 2161222"/>
                  <a:gd name="connsiteX1745" fmla="*/ 1127760 w 2443162"/>
                  <a:gd name="connsiteY1745" fmla="*/ 1989773 h 2161222"/>
                  <a:gd name="connsiteX1746" fmla="*/ 1113473 w 2443162"/>
                  <a:gd name="connsiteY1746" fmla="*/ 1991678 h 2161222"/>
                  <a:gd name="connsiteX1747" fmla="*/ 1098233 w 2443162"/>
                  <a:gd name="connsiteY1747" fmla="*/ 1993583 h 2161222"/>
                  <a:gd name="connsiteX1748" fmla="*/ 1081088 w 2443162"/>
                  <a:gd name="connsiteY1748" fmla="*/ 1997393 h 2161222"/>
                  <a:gd name="connsiteX1749" fmla="*/ 1062990 w 2443162"/>
                  <a:gd name="connsiteY1749" fmla="*/ 2002155 h 2161222"/>
                  <a:gd name="connsiteX1750" fmla="*/ 1043940 w 2443162"/>
                  <a:gd name="connsiteY1750" fmla="*/ 2006918 h 2161222"/>
                  <a:gd name="connsiteX1751" fmla="*/ 1022985 w 2443162"/>
                  <a:gd name="connsiteY1751" fmla="*/ 2011680 h 2161222"/>
                  <a:gd name="connsiteX1752" fmla="*/ 979170 w 2443162"/>
                  <a:gd name="connsiteY1752" fmla="*/ 2023110 h 2161222"/>
                  <a:gd name="connsiteX1753" fmla="*/ 932498 w 2443162"/>
                  <a:gd name="connsiteY1753" fmla="*/ 2035493 h 2161222"/>
                  <a:gd name="connsiteX1754" fmla="*/ 907733 w 2443162"/>
                  <a:gd name="connsiteY1754" fmla="*/ 2041208 h 2161222"/>
                  <a:gd name="connsiteX1755" fmla="*/ 882968 w 2443162"/>
                  <a:gd name="connsiteY1755" fmla="*/ 2046923 h 2161222"/>
                  <a:gd name="connsiteX1756" fmla="*/ 857250 w 2443162"/>
                  <a:gd name="connsiteY1756" fmla="*/ 2052638 h 2161222"/>
                  <a:gd name="connsiteX1757" fmla="*/ 831533 w 2443162"/>
                  <a:gd name="connsiteY1757" fmla="*/ 2057400 h 2161222"/>
                  <a:gd name="connsiteX1758" fmla="*/ 805815 w 2443162"/>
                  <a:gd name="connsiteY1758" fmla="*/ 2062163 h 2161222"/>
                  <a:gd name="connsiteX1759" fmla="*/ 779145 w 2443162"/>
                  <a:gd name="connsiteY1759" fmla="*/ 2065973 h 2161222"/>
                  <a:gd name="connsiteX1760" fmla="*/ 752475 w 2443162"/>
                  <a:gd name="connsiteY1760" fmla="*/ 2068830 h 2161222"/>
                  <a:gd name="connsiteX1761" fmla="*/ 725805 w 2443162"/>
                  <a:gd name="connsiteY1761" fmla="*/ 2070735 h 2161222"/>
                  <a:gd name="connsiteX1762" fmla="*/ 699135 w 2443162"/>
                  <a:gd name="connsiteY1762" fmla="*/ 2071688 h 2161222"/>
                  <a:gd name="connsiteX1763" fmla="*/ 672465 w 2443162"/>
                  <a:gd name="connsiteY1763" fmla="*/ 2071688 h 2161222"/>
                  <a:gd name="connsiteX1764" fmla="*/ 645795 w 2443162"/>
                  <a:gd name="connsiteY1764" fmla="*/ 2069783 h 2161222"/>
                  <a:gd name="connsiteX1765" fmla="*/ 619125 w 2443162"/>
                  <a:gd name="connsiteY1765" fmla="*/ 2065973 h 2161222"/>
                  <a:gd name="connsiteX1766" fmla="*/ 593408 w 2443162"/>
                  <a:gd name="connsiteY1766" fmla="*/ 2061210 h 2161222"/>
                  <a:gd name="connsiteX1767" fmla="*/ 567690 w 2443162"/>
                  <a:gd name="connsiteY1767" fmla="*/ 2054543 h 2161222"/>
                  <a:gd name="connsiteX1768" fmla="*/ 541973 w 2443162"/>
                  <a:gd name="connsiteY1768" fmla="*/ 2045970 h 2161222"/>
                  <a:gd name="connsiteX1769" fmla="*/ 516255 w 2443162"/>
                  <a:gd name="connsiteY1769" fmla="*/ 2035493 h 2161222"/>
                  <a:gd name="connsiteX1770" fmla="*/ 491490 w 2443162"/>
                  <a:gd name="connsiteY1770" fmla="*/ 2023110 h 2161222"/>
                  <a:gd name="connsiteX1771" fmla="*/ 467678 w 2443162"/>
                  <a:gd name="connsiteY1771" fmla="*/ 2007870 h 2161222"/>
                  <a:gd name="connsiteX1772" fmla="*/ 443865 w 2443162"/>
                  <a:gd name="connsiteY1772" fmla="*/ 1990725 h 2161222"/>
                  <a:gd name="connsiteX1773" fmla="*/ 422910 w 2443162"/>
                  <a:gd name="connsiteY1773" fmla="*/ 1971675 h 2161222"/>
                  <a:gd name="connsiteX1774" fmla="*/ 422910 w 2443162"/>
                  <a:gd name="connsiteY1774" fmla="*/ 1971675 h 2161222"/>
                  <a:gd name="connsiteX1775" fmla="*/ 1270635 w 2443162"/>
                  <a:gd name="connsiteY1775" fmla="*/ 1442085 h 2161222"/>
                  <a:gd name="connsiteX1776" fmla="*/ 1270635 w 2443162"/>
                  <a:gd name="connsiteY1776" fmla="*/ 1456373 h 2161222"/>
                  <a:gd name="connsiteX1777" fmla="*/ 1272540 w 2443162"/>
                  <a:gd name="connsiteY1777" fmla="*/ 1469708 h 2161222"/>
                  <a:gd name="connsiteX1778" fmla="*/ 1272540 w 2443162"/>
                  <a:gd name="connsiteY1778" fmla="*/ 1483043 h 2161222"/>
                  <a:gd name="connsiteX1779" fmla="*/ 1272540 w 2443162"/>
                  <a:gd name="connsiteY1779" fmla="*/ 1496378 h 2161222"/>
                  <a:gd name="connsiteX1780" fmla="*/ 1285875 w 2443162"/>
                  <a:gd name="connsiteY1780" fmla="*/ 1504950 h 2161222"/>
                  <a:gd name="connsiteX1781" fmla="*/ 1300163 w 2443162"/>
                  <a:gd name="connsiteY1781" fmla="*/ 1513523 h 2161222"/>
                  <a:gd name="connsiteX1782" fmla="*/ 1306830 w 2443162"/>
                  <a:gd name="connsiteY1782" fmla="*/ 1518285 h 2161222"/>
                  <a:gd name="connsiteX1783" fmla="*/ 1313498 w 2443162"/>
                  <a:gd name="connsiteY1783" fmla="*/ 1523048 h 2161222"/>
                  <a:gd name="connsiteX1784" fmla="*/ 1320165 w 2443162"/>
                  <a:gd name="connsiteY1784" fmla="*/ 1528763 h 2161222"/>
                  <a:gd name="connsiteX1785" fmla="*/ 1326833 w 2443162"/>
                  <a:gd name="connsiteY1785" fmla="*/ 1534478 h 2161222"/>
                  <a:gd name="connsiteX1786" fmla="*/ 1333500 w 2443162"/>
                  <a:gd name="connsiteY1786" fmla="*/ 1541145 h 2161222"/>
                  <a:gd name="connsiteX1787" fmla="*/ 1340168 w 2443162"/>
                  <a:gd name="connsiteY1787" fmla="*/ 1548765 h 2161222"/>
                  <a:gd name="connsiteX1788" fmla="*/ 1345883 w 2443162"/>
                  <a:gd name="connsiteY1788" fmla="*/ 1556385 h 2161222"/>
                  <a:gd name="connsiteX1789" fmla="*/ 1351598 w 2443162"/>
                  <a:gd name="connsiteY1789" fmla="*/ 1564958 h 2161222"/>
                  <a:gd name="connsiteX1790" fmla="*/ 1357313 w 2443162"/>
                  <a:gd name="connsiteY1790" fmla="*/ 1574483 h 2161222"/>
                  <a:gd name="connsiteX1791" fmla="*/ 1362075 w 2443162"/>
                  <a:gd name="connsiteY1791" fmla="*/ 1584008 h 2161222"/>
                  <a:gd name="connsiteX1792" fmla="*/ 1366838 w 2443162"/>
                  <a:gd name="connsiteY1792" fmla="*/ 1594485 h 2161222"/>
                  <a:gd name="connsiteX1793" fmla="*/ 1370648 w 2443162"/>
                  <a:gd name="connsiteY1793" fmla="*/ 1605915 h 2161222"/>
                  <a:gd name="connsiteX1794" fmla="*/ 1370648 w 2443162"/>
                  <a:gd name="connsiteY1794" fmla="*/ 1597343 h 2161222"/>
                  <a:gd name="connsiteX1795" fmla="*/ 1370648 w 2443162"/>
                  <a:gd name="connsiteY1795" fmla="*/ 1589723 h 2161222"/>
                  <a:gd name="connsiteX1796" fmla="*/ 1370648 w 2443162"/>
                  <a:gd name="connsiteY1796" fmla="*/ 1583055 h 2161222"/>
                  <a:gd name="connsiteX1797" fmla="*/ 1370648 w 2443162"/>
                  <a:gd name="connsiteY1797" fmla="*/ 1575435 h 2161222"/>
                  <a:gd name="connsiteX1798" fmla="*/ 1369695 w 2443162"/>
                  <a:gd name="connsiteY1798" fmla="*/ 1568768 h 2161222"/>
                  <a:gd name="connsiteX1799" fmla="*/ 1368743 w 2443162"/>
                  <a:gd name="connsiteY1799" fmla="*/ 1562100 h 2161222"/>
                  <a:gd name="connsiteX1800" fmla="*/ 1367790 w 2443162"/>
                  <a:gd name="connsiteY1800" fmla="*/ 1555433 h 2161222"/>
                  <a:gd name="connsiteX1801" fmla="*/ 1366838 w 2443162"/>
                  <a:gd name="connsiteY1801" fmla="*/ 1548765 h 2161222"/>
                  <a:gd name="connsiteX1802" fmla="*/ 1364933 w 2443162"/>
                  <a:gd name="connsiteY1802" fmla="*/ 1542098 h 2161222"/>
                  <a:gd name="connsiteX1803" fmla="*/ 1363028 w 2443162"/>
                  <a:gd name="connsiteY1803" fmla="*/ 1536383 h 2161222"/>
                  <a:gd name="connsiteX1804" fmla="*/ 1361123 w 2443162"/>
                  <a:gd name="connsiteY1804" fmla="*/ 1530668 h 2161222"/>
                  <a:gd name="connsiteX1805" fmla="*/ 1358265 w 2443162"/>
                  <a:gd name="connsiteY1805" fmla="*/ 1524953 h 2161222"/>
                  <a:gd name="connsiteX1806" fmla="*/ 1355408 w 2443162"/>
                  <a:gd name="connsiteY1806" fmla="*/ 1519238 h 2161222"/>
                  <a:gd name="connsiteX1807" fmla="*/ 1352550 w 2443162"/>
                  <a:gd name="connsiteY1807" fmla="*/ 1513523 h 2161222"/>
                  <a:gd name="connsiteX1808" fmla="*/ 1349693 w 2443162"/>
                  <a:gd name="connsiteY1808" fmla="*/ 1507808 h 2161222"/>
                  <a:gd name="connsiteX1809" fmla="*/ 1346835 w 2443162"/>
                  <a:gd name="connsiteY1809" fmla="*/ 1502093 h 2161222"/>
                  <a:gd name="connsiteX1810" fmla="*/ 1343025 w 2443162"/>
                  <a:gd name="connsiteY1810" fmla="*/ 1497330 h 2161222"/>
                  <a:gd name="connsiteX1811" fmla="*/ 1339215 w 2443162"/>
                  <a:gd name="connsiteY1811" fmla="*/ 1492568 h 2161222"/>
                  <a:gd name="connsiteX1812" fmla="*/ 1335405 w 2443162"/>
                  <a:gd name="connsiteY1812" fmla="*/ 1487805 h 2161222"/>
                  <a:gd name="connsiteX1813" fmla="*/ 1331595 w 2443162"/>
                  <a:gd name="connsiteY1813" fmla="*/ 1483043 h 2161222"/>
                  <a:gd name="connsiteX1814" fmla="*/ 1326833 w 2443162"/>
                  <a:gd name="connsiteY1814" fmla="*/ 1478280 h 2161222"/>
                  <a:gd name="connsiteX1815" fmla="*/ 1323975 w 2443162"/>
                  <a:gd name="connsiteY1815" fmla="*/ 1476375 h 2161222"/>
                  <a:gd name="connsiteX1816" fmla="*/ 1319213 w 2443162"/>
                  <a:gd name="connsiteY1816" fmla="*/ 1471613 h 2161222"/>
                  <a:gd name="connsiteX1817" fmla="*/ 1314450 w 2443162"/>
                  <a:gd name="connsiteY1817" fmla="*/ 1467803 h 2161222"/>
                  <a:gd name="connsiteX1818" fmla="*/ 1303973 w 2443162"/>
                  <a:gd name="connsiteY1818" fmla="*/ 1460183 h 2161222"/>
                  <a:gd name="connsiteX1819" fmla="*/ 1292543 w 2443162"/>
                  <a:gd name="connsiteY1819" fmla="*/ 1453515 h 2161222"/>
                  <a:gd name="connsiteX1820" fmla="*/ 1281113 w 2443162"/>
                  <a:gd name="connsiteY1820" fmla="*/ 1447800 h 2161222"/>
                  <a:gd name="connsiteX1821" fmla="*/ 1270635 w 2443162"/>
                  <a:gd name="connsiteY1821" fmla="*/ 1442085 h 2161222"/>
                  <a:gd name="connsiteX1822" fmla="*/ 1270635 w 2443162"/>
                  <a:gd name="connsiteY1822" fmla="*/ 1442085 h 2161222"/>
                  <a:gd name="connsiteX1823" fmla="*/ 1282065 w 2443162"/>
                  <a:gd name="connsiteY1823" fmla="*/ 1024890 h 2161222"/>
                  <a:gd name="connsiteX1824" fmla="*/ 1282065 w 2443162"/>
                  <a:gd name="connsiteY1824" fmla="*/ 1036320 h 2161222"/>
                  <a:gd name="connsiteX1825" fmla="*/ 1282065 w 2443162"/>
                  <a:gd name="connsiteY1825" fmla="*/ 1048703 h 2161222"/>
                  <a:gd name="connsiteX1826" fmla="*/ 1282065 w 2443162"/>
                  <a:gd name="connsiteY1826" fmla="*/ 1060133 h 2161222"/>
                  <a:gd name="connsiteX1827" fmla="*/ 1281113 w 2443162"/>
                  <a:gd name="connsiteY1827" fmla="*/ 1071563 h 2161222"/>
                  <a:gd name="connsiteX1828" fmla="*/ 1282065 w 2443162"/>
                  <a:gd name="connsiteY1828" fmla="*/ 1082993 h 2161222"/>
                  <a:gd name="connsiteX1829" fmla="*/ 1282065 w 2443162"/>
                  <a:gd name="connsiteY1829" fmla="*/ 1094423 h 2161222"/>
                  <a:gd name="connsiteX1830" fmla="*/ 1281113 w 2443162"/>
                  <a:gd name="connsiteY1830" fmla="*/ 1105853 h 2161222"/>
                  <a:gd name="connsiteX1831" fmla="*/ 1281113 w 2443162"/>
                  <a:gd name="connsiteY1831" fmla="*/ 1117283 h 2161222"/>
                  <a:gd name="connsiteX1832" fmla="*/ 1292543 w 2443162"/>
                  <a:gd name="connsiteY1832" fmla="*/ 1121093 h 2161222"/>
                  <a:gd name="connsiteX1833" fmla="*/ 1303020 w 2443162"/>
                  <a:gd name="connsiteY1833" fmla="*/ 1125855 h 2161222"/>
                  <a:gd name="connsiteX1834" fmla="*/ 1307783 w 2443162"/>
                  <a:gd name="connsiteY1834" fmla="*/ 1128713 h 2161222"/>
                  <a:gd name="connsiteX1835" fmla="*/ 1312545 w 2443162"/>
                  <a:gd name="connsiteY1835" fmla="*/ 1131570 h 2161222"/>
                  <a:gd name="connsiteX1836" fmla="*/ 1317308 w 2443162"/>
                  <a:gd name="connsiteY1836" fmla="*/ 1134428 h 2161222"/>
                  <a:gd name="connsiteX1837" fmla="*/ 1321118 w 2443162"/>
                  <a:gd name="connsiteY1837" fmla="*/ 1138238 h 2161222"/>
                  <a:gd name="connsiteX1838" fmla="*/ 1324928 w 2443162"/>
                  <a:gd name="connsiteY1838" fmla="*/ 1142048 h 2161222"/>
                  <a:gd name="connsiteX1839" fmla="*/ 1327785 w 2443162"/>
                  <a:gd name="connsiteY1839" fmla="*/ 1145858 h 2161222"/>
                  <a:gd name="connsiteX1840" fmla="*/ 1330643 w 2443162"/>
                  <a:gd name="connsiteY1840" fmla="*/ 1150620 h 2161222"/>
                  <a:gd name="connsiteX1841" fmla="*/ 1332548 w 2443162"/>
                  <a:gd name="connsiteY1841" fmla="*/ 1155383 h 2161222"/>
                  <a:gd name="connsiteX1842" fmla="*/ 1333500 w 2443162"/>
                  <a:gd name="connsiteY1842" fmla="*/ 1160145 h 2161222"/>
                  <a:gd name="connsiteX1843" fmla="*/ 1334453 w 2443162"/>
                  <a:gd name="connsiteY1843" fmla="*/ 1165860 h 2161222"/>
                  <a:gd name="connsiteX1844" fmla="*/ 1334453 w 2443162"/>
                  <a:gd name="connsiteY1844" fmla="*/ 1172528 h 2161222"/>
                  <a:gd name="connsiteX1845" fmla="*/ 1334453 w 2443162"/>
                  <a:gd name="connsiteY1845" fmla="*/ 1179195 h 2161222"/>
                  <a:gd name="connsiteX1846" fmla="*/ 1333500 w 2443162"/>
                  <a:gd name="connsiteY1846" fmla="*/ 1186815 h 2161222"/>
                  <a:gd name="connsiteX1847" fmla="*/ 1331595 w 2443162"/>
                  <a:gd name="connsiteY1847" fmla="*/ 1193483 h 2161222"/>
                  <a:gd name="connsiteX1848" fmla="*/ 1327785 w 2443162"/>
                  <a:gd name="connsiteY1848" fmla="*/ 1199198 h 2161222"/>
                  <a:gd name="connsiteX1849" fmla="*/ 1323023 w 2443162"/>
                  <a:gd name="connsiteY1849" fmla="*/ 1204913 h 2161222"/>
                  <a:gd name="connsiteX1850" fmla="*/ 1317308 w 2443162"/>
                  <a:gd name="connsiteY1850" fmla="*/ 1210628 h 2161222"/>
                  <a:gd name="connsiteX1851" fmla="*/ 1310640 w 2443162"/>
                  <a:gd name="connsiteY1851" fmla="*/ 1215390 h 2161222"/>
                  <a:gd name="connsiteX1852" fmla="*/ 1303020 w 2443162"/>
                  <a:gd name="connsiteY1852" fmla="*/ 1220153 h 2161222"/>
                  <a:gd name="connsiteX1853" fmla="*/ 1294448 w 2443162"/>
                  <a:gd name="connsiteY1853" fmla="*/ 1223963 h 2161222"/>
                  <a:gd name="connsiteX1854" fmla="*/ 1284923 w 2443162"/>
                  <a:gd name="connsiteY1854" fmla="*/ 1227773 h 2161222"/>
                  <a:gd name="connsiteX1855" fmla="*/ 1275398 w 2443162"/>
                  <a:gd name="connsiteY1855" fmla="*/ 1231583 h 2161222"/>
                  <a:gd name="connsiteX1856" fmla="*/ 1265873 w 2443162"/>
                  <a:gd name="connsiteY1856" fmla="*/ 1235393 h 2161222"/>
                  <a:gd name="connsiteX1857" fmla="*/ 1255395 w 2443162"/>
                  <a:gd name="connsiteY1857" fmla="*/ 1239203 h 2161222"/>
                  <a:gd name="connsiteX1858" fmla="*/ 1233488 w 2443162"/>
                  <a:gd name="connsiteY1858" fmla="*/ 1245870 h 2161222"/>
                  <a:gd name="connsiteX1859" fmla="*/ 1210628 w 2443162"/>
                  <a:gd name="connsiteY1859" fmla="*/ 1252538 h 2161222"/>
                  <a:gd name="connsiteX1860" fmla="*/ 1199198 w 2443162"/>
                  <a:gd name="connsiteY1860" fmla="*/ 1256348 h 2161222"/>
                  <a:gd name="connsiteX1861" fmla="*/ 1187768 w 2443162"/>
                  <a:gd name="connsiteY1861" fmla="*/ 1260158 h 2161222"/>
                  <a:gd name="connsiteX1862" fmla="*/ 1177290 w 2443162"/>
                  <a:gd name="connsiteY1862" fmla="*/ 1263968 h 2161222"/>
                  <a:gd name="connsiteX1863" fmla="*/ 1166813 w 2443162"/>
                  <a:gd name="connsiteY1863" fmla="*/ 1268730 h 2161222"/>
                  <a:gd name="connsiteX1864" fmla="*/ 1156335 w 2443162"/>
                  <a:gd name="connsiteY1864" fmla="*/ 1273493 h 2161222"/>
                  <a:gd name="connsiteX1865" fmla="*/ 1146810 w 2443162"/>
                  <a:gd name="connsiteY1865" fmla="*/ 1278255 h 2161222"/>
                  <a:gd name="connsiteX1866" fmla="*/ 1137285 w 2443162"/>
                  <a:gd name="connsiteY1866" fmla="*/ 1283970 h 2161222"/>
                  <a:gd name="connsiteX1867" fmla="*/ 1128713 w 2443162"/>
                  <a:gd name="connsiteY1867" fmla="*/ 1290638 h 2161222"/>
                  <a:gd name="connsiteX1868" fmla="*/ 1121093 w 2443162"/>
                  <a:gd name="connsiteY1868" fmla="*/ 1297305 h 2161222"/>
                  <a:gd name="connsiteX1869" fmla="*/ 1114425 w 2443162"/>
                  <a:gd name="connsiteY1869" fmla="*/ 1304925 h 2161222"/>
                  <a:gd name="connsiteX1870" fmla="*/ 1108710 w 2443162"/>
                  <a:gd name="connsiteY1870" fmla="*/ 1313498 h 2161222"/>
                  <a:gd name="connsiteX1871" fmla="*/ 1103948 w 2443162"/>
                  <a:gd name="connsiteY1871" fmla="*/ 1322070 h 2161222"/>
                  <a:gd name="connsiteX1872" fmla="*/ 1100138 w 2443162"/>
                  <a:gd name="connsiteY1872" fmla="*/ 1332548 h 2161222"/>
                  <a:gd name="connsiteX1873" fmla="*/ 1097280 w 2443162"/>
                  <a:gd name="connsiteY1873" fmla="*/ 1343025 h 2161222"/>
                  <a:gd name="connsiteX1874" fmla="*/ 1096328 w 2443162"/>
                  <a:gd name="connsiteY1874" fmla="*/ 1354455 h 2161222"/>
                  <a:gd name="connsiteX1875" fmla="*/ 1096328 w 2443162"/>
                  <a:gd name="connsiteY1875" fmla="*/ 1365885 h 2161222"/>
                  <a:gd name="connsiteX1876" fmla="*/ 1097280 w 2443162"/>
                  <a:gd name="connsiteY1876" fmla="*/ 1370648 h 2161222"/>
                  <a:gd name="connsiteX1877" fmla="*/ 1097280 w 2443162"/>
                  <a:gd name="connsiteY1877" fmla="*/ 1374458 h 2161222"/>
                  <a:gd name="connsiteX1878" fmla="*/ 1098233 w 2443162"/>
                  <a:gd name="connsiteY1878" fmla="*/ 1378268 h 2161222"/>
                  <a:gd name="connsiteX1879" fmla="*/ 1099185 w 2443162"/>
                  <a:gd name="connsiteY1879" fmla="*/ 1382078 h 2161222"/>
                  <a:gd name="connsiteX1880" fmla="*/ 1100138 w 2443162"/>
                  <a:gd name="connsiteY1880" fmla="*/ 1385888 h 2161222"/>
                  <a:gd name="connsiteX1881" fmla="*/ 1101090 w 2443162"/>
                  <a:gd name="connsiteY1881" fmla="*/ 1389698 h 2161222"/>
                  <a:gd name="connsiteX1882" fmla="*/ 1102043 w 2443162"/>
                  <a:gd name="connsiteY1882" fmla="*/ 1393508 h 2161222"/>
                  <a:gd name="connsiteX1883" fmla="*/ 1103948 w 2443162"/>
                  <a:gd name="connsiteY1883" fmla="*/ 1396365 h 2161222"/>
                  <a:gd name="connsiteX1884" fmla="*/ 1107758 w 2443162"/>
                  <a:gd name="connsiteY1884" fmla="*/ 1402080 h 2161222"/>
                  <a:gd name="connsiteX1885" fmla="*/ 1112520 w 2443162"/>
                  <a:gd name="connsiteY1885" fmla="*/ 1407795 h 2161222"/>
                  <a:gd name="connsiteX1886" fmla="*/ 1117283 w 2443162"/>
                  <a:gd name="connsiteY1886" fmla="*/ 1412558 h 2161222"/>
                  <a:gd name="connsiteX1887" fmla="*/ 1122998 w 2443162"/>
                  <a:gd name="connsiteY1887" fmla="*/ 1418273 h 2161222"/>
                  <a:gd name="connsiteX1888" fmla="*/ 1134428 w 2443162"/>
                  <a:gd name="connsiteY1888" fmla="*/ 1427798 h 2161222"/>
                  <a:gd name="connsiteX1889" fmla="*/ 1145858 w 2443162"/>
                  <a:gd name="connsiteY1889" fmla="*/ 1436370 h 2161222"/>
                  <a:gd name="connsiteX1890" fmla="*/ 1157288 w 2443162"/>
                  <a:gd name="connsiteY1890" fmla="*/ 1443990 h 2161222"/>
                  <a:gd name="connsiteX1891" fmla="*/ 1167765 w 2443162"/>
                  <a:gd name="connsiteY1891" fmla="*/ 1451610 h 2161222"/>
                  <a:gd name="connsiteX1892" fmla="*/ 1166813 w 2443162"/>
                  <a:gd name="connsiteY1892" fmla="*/ 1441133 h 2161222"/>
                  <a:gd name="connsiteX1893" fmla="*/ 1166813 w 2443162"/>
                  <a:gd name="connsiteY1893" fmla="*/ 1430655 h 2161222"/>
                  <a:gd name="connsiteX1894" fmla="*/ 1165860 w 2443162"/>
                  <a:gd name="connsiteY1894" fmla="*/ 1420178 h 2161222"/>
                  <a:gd name="connsiteX1895" fmla="*/ 1165860 w 2443162"/>
                  <a:gd name="connsiteY1895" fmla="*/ 1409700 h 2161222"/>
                  <a:gd name="connsiteX1896" fmla="*/ 1165860 w 2443162"/>
                  <a:gd name="connsiteY1896" fmla="*/ 1399223 h 2161222"/>
                  <a:gd name="connsiteX1897" fmla="*/ 1165860 w 2443162"/>
                  <a:gd name="connsiteY1897" fmla="*/ 1388745 h 2161222"/>
                  <a:gd name="connsiteX1898" fmla="*/ 1164908 w 2443162"/>
                  <a:gd name="connsiteY1898" fmla="*/ 1378268 h 2161222"/>
                  <a:gd name="connsiteX1899" fmla="*/ 1164908 w 2443162"/>
                  <a:gd name="connsiteY1899" fmla="*/ 1367790 h 2161222"/>
                  <a:gd name="connsiteX1900" fmla="*/ 1164908 w 2443162"/>
                  <a:gd name="connsiteY1900" fmla="*/ 1364933 h 2161222"/>
                  <a:gd name="connsiteX1901" fmla="*/ 1165860 w 2443162"/>
                  <a:gd name="connsiteY1901" fmla="*/ 1362075 h 2161222"/>
                  <a:gd name="connsiteX1902" fmla="*/ 1166813 w 2443162"/>
                  <a:gd name="connsiteY1902" fmla="*/ 1359218 h 2161222"/>
                  <a:gd name="connsiteX1903" fmla="*/ 1167765 w 2443162"/>
                  <a:gd name="connsiteY1903" fmla="*/ 1356360 h 2161222"/>
                  <a:gd name="connsiteX1904" fmla="*/ 1169670 w 2443162"/>
                  <a:gd name="connsiteY1904" fmla="*/ 1354455 h 2161222"/>
                  <a:gd name="connsiteX1905" fmla="*/ 1171575 w 2443162"/>
                  <a:gd name="connsiteY1905" fmla="*/ 1351598 h 2161222"/>
                  <a:gd name="connsiteX1906" fmla="*/ 1173480 w 2443162"/>
                  <a:gd name="connsiteY1906" fmla="*/ 1349693 h 2161222"/>
                  <a:gd name="connsiteX1907" fmla="*/ 1175385 w 2443162"/>
                  <a:gd name="connsiteY1907" fmla="*/ 1347788 h 2161222"/>
                  <a:gd name="connsiteX1908" fmla="*/ 1181100 w 2443162"/>
                  <a:gd name="connsiteY1908" fmla="*/ 1343025 h 2161222"/>
                  <a:gd name="connsiteX1909" fmla="*/ 1187768 w 2443162"/>
                  <a:gd name="connsiteY1909" fmla="*/ 1339215 h 2161222"/>
                  <a:gd name="connsiteX1910" fmla="*/ 1194435 w 2443162"/>
                  <a:gd name="connsiteY1910" fmla="*/ 1335405 h 2161222"/>
                  <a:gd name="connsiteX1911" fmla="*/ 1203008 w 2443162"/>
                  <a:gd name="connsiteY1911" fmla="*/ 1331595 h 2161222"/>
                  <a:gd name="connsiteX1912" fmla="*/ 1211580 w 2443162"/>
                  <a:gd name="connsiteY1912" fmla="*/ 1327785 h 2161222"/>
                  <a:gd name="connsiteX1913" fmla="*/ 1221105 w 2443162"/>
                  <a:gd name="connsiteY1913" fmla="*/ 1323975 h 2161222"/>
                  <a:gd name="connsiteX1914" fmla="*/ 1230630 w 2443162"/>
                  <a:gd name="connsiteY1914" fmla="*/ 1320165 h 2161222"/>
                  <a:gd name="connsiteX1915" fmla="*/ 1241108 w 2443162"/>
                  <a:gd name="connsiteY1915" fmla="*/ 1316355 h 2161222"/>
                  <a:gd name="connsiteX1916" fmla="*/ 1262063 w 2443162"/>
                  <a:gd name="connsiteY1916" fmla="*/ 1309688 h 2161222"/>
                  <a:gd name="connsiteX1917" fmla="*/ 1283018 w 2443162"/>
                  <a:gd name="connsiteY1917" fmla="*/ 1303020 h 2161222"/>
                  <a:gd name="connsiteX1918" fmla="*/ 1298258 w 2443162"/>
                  <a:gd name="connsiteY1918" fmla="*/ 1298258 h 2161222"/>
                  <a:gd name="connsiteX1919" fmla="*/ 1313498 w 2443162"/>
                  <a:gd name="connsiteY1919" fmla="*/ 1293495 h 2161222"/>
                  <a:gd name="connsiteX1920" fmla="*/ 1328738 w 2443162"/>
                  <a:gd name="connsiteY1920" fmla="*/ 1288733 h 2161222"/>
                  <a:gd name="connsiteX1921" fmla="*/ 1343025 w 2443162"/>
                  <a:gd name="connsiteY1921" fmla="*/ 1283018 h 2161222"/>
                  <a:gd name="connsiteX1922" fmla="*/ 1349693 w 2443162"/>
                  <a:gd name="connsiteY1922" fmla="*/ 1280160 h 2161222"/>
                  <a:gd name="connsiteX1923" fmla="*/ 1356360 w 2443162"/>
                  <a:gd name="connsiteY1923" fmla="*/ 1277303 h 2161222"/>
                  <a:gd name="connsiteX1924" fmla="*/ 1363028 w 2443162"/>
                  <a:gd name="connsiteY1924" fmla="*/ 1273493 h 2161222"/>
                  <a:gd name="connsiteX1925" fmla="*/ 1368743 w 2443162"/>
                  <a:gd name="connsiteY1925" fmla="*/ 1269683 h 2161222"/>
                  <a:gd name="connsiteX1926" fmla="*/ 1374458 w 2443162"/>
                  <a:gd name="connsiteY1926" fmla="*/ 1265873 h 2161222"/>
                  <a:gd name="connsiteX1927" fmla="*/ 1380173 w 2443162"/>
                  <a:gd name="connsiteY1927" fmla="*/ 1262063 h 2161222"/>
                  <a:gd name="connsiteX1928" fmla="*/ 1385888 w 2443162"/>
                  <a:gd name="connsiteY1928" fmla="*/ 1258253 h 2161222"/>
                  <a:gd name="connsiteX1929" fmla="*/ 1390650 w 2443162"/>
                  <a:gd name="connsiteY1929" fmla="*/ 1253490 h 2161222"/>
                  <a:gd name="connsiteX1930" fmla="*/ 1395413 w 2443162"/>
                  <a:gd name="connsiteY1930" fmla="*/ 1248728 h 2161222"/>
                  <a:gd name="connsiteX1931" fmla="*/ 1400175 w 2443162"/>
                  <a:gd name="connsiteY1931" fmla="*/ 1243965 h 2161222"/>
                  <a:gd name="connsiteX1932" fmla="*/ 1404938 w 2443162"/>
                  <a:gd name="connsiteY1932" fmla="*/ 1239203 h 2161222"/>
                  <a:gd name="connsiteX1933" fmla="*/ 1408748 w 2443162"/>
                  <a:gd name="connsiteY1933" fmla="*/ 1234440 h 2161222"/>
                  <a:gd name="connsiteX1934" fmla="*/ 1412558 w 2443162"/>
                  <a:gd name="connsiteY1934" fmla="*/ 1228725 h 2161222"/>
                  <a:gd name="connsiteX1935" fmla="*/ 1416368 w 2443162"/>
                  <a:gd name="connsiteY1935" fmla="*/ 1223010 h 2161222"/>
                  <a:gd name="connsiteX1936" fmla="*/ 1419225 w 2443162"/>
                  <a:gd name="connsiteY1936" fmla="*/ 1217295 h 2161222"/>
                  <a:gd name="connsiteX1937" fmla="*/ 1422083 w 2443162"/>
                  <a:gd name="connsiteY1937" fmla="*/ 1211580 h 2161222"/>
                  <a:gd name="connsiteX1938" fmla="*/ 1423988 w 2443162"/>
                  <a:gd name="connsiteY1938" fmla="*/ 1204913 h 2161222"/>
                  <a:gd name="connsiteX1939" fmla="*/ 1425893 w 2443162"/>
                  <a:gd name="connsiteY1939" fmla="*/ 1198245 h 2161222"/>
                  <a:gd name="connsiteX1940" fmla="*/ 1426845 w 2443162"/>
                  <a:gd name="connsiteY1940" fmla="*/ 1191578 h 2161222"/>
                  <a:gd name="connsiteX1941" fmla="*/ 1427798 w 2443162"/>
                  <a:gd name="connsiteY1941" fmla="*/ 1183958 h 2161222"/>
                  <a:gd name="connsiteX1942" fmla="*/ 1428750 w 2443162"/>
                  <a:gd name="connsiteY1942" fmla="*/ 1177290 h 2161222"/>
                  <a:gd name="connsiteX1943" fmla="*/ 1428750 w 2443162"/>
                  <a:gd name="connsiteY1943" fmla="*/ 1169670 h 2161222"/>
                  <a:gd name="connsiteX1944" fmla="*/ 1428750 w 2443162"/>
                  <a:gd name="connsiteY1944" fmla="*/ 1162050 h 2161222"/>
                  <a:gd name="connsiteX1945" fmla="*/ 1427798 w 2443162"/>
                  <a:gd name="connsiteY1945" fmla="*/ 1153478 h 2161222"/>
                  <a:gd name="connsiteX1946" fmla="*/ 1427798 w 2443162"/>
                  <a:gd name="connsiteY1946" fmla="*/ 1147763 h 2161222"/>
                  <a:gd name="connsiteX1947" fmla="*/ 1426845 w 2443162"/>
                  <a:gd name="connsiteY1947" fmla="*/ 1142048 h 2161222"/>
                  <a:gd name="connsiteX1948" fmla="*/ 1425893 w 2443162"/>
                  <a:gd name="connsiteY1948" fmla="*/ 1136333 h 2161222"/>
                  <a:gd name="connsiteX1949" fmla="*/ 1424940 w 2443162"/>
                  <a:gd name="connsiteY1949" fmla="*/ 1130618 h 2161222"/>
                  <a:gd name="connsiteX1950" fmla="*/ 1423035 w 2443162"/>
                  <a:gd name="connsiteY1950" fmla="*/ 1124903 h 2161222"/>
                  <a:gd name="connsiteX1951" fmla="*/ 1421130 w 2443162"/>
                  <a:gd name="connsiteY1951" fmla="*/ 1119188 h 2161222"/>
                  <a:gd name="connsiteX1952" fmla="*/ 1419225 w 2443162"/>
                  <a:gd name="connsiteY1952" fmla="*/ 1113473 h 2161222"/>
                  <a:gd name="connsiteX1953" fmla="*/ 1416368 w 2443162"/>
                  <a:gd name="connsiteY1953" fmla="*/ 1108710 h 2161222"/>
                  <a:gd name="connsiteX1954" fmla="*/ 1413510 w 2443162"/>
                  <a:gd name="connsiteY1954" fmla="*/ 1103948 h 2161222"/>
                  <a:gd name="connsiteX1955" fmla="*/ 1409700 w 2443162"/>
                  <a:gd name="connsiteY1955" fmla="*/ 1099185 h 2161222"/>
                  <a:gd name="connsiteX1956" fmla="*/ 1405890 w 2443162"/>
                  <a:gd name="connsiteY1956" fmla="*/ 1094423 h 2161222"/>
                  <a:gd name="connsiteX1957" fmla="*/ 1402080 w 2443162"/>
                  <a:gd name="connsiteY1957" fmla="*/ 1089660 h 2161222"/>
                  <a:gd name="connsiteX1958" fmla="*/ 1398270 w 2443162"/>
                  <a:gd name="connsiteY1958" fmla="*/ 1084898 h 2161222"/>
                  <a:gd name="connsiteX1959" fmla="*/ 1393508 w 2443162"/>
                  <a:gd name="connsiteY1959" fmla="*/ 1080135 h 2161222"/>
                  <a:gd name="connsiteX1960" fmla="*/ 1388745 w 2443162"/>
                  <a:gd name="connsiteY1960" fmla="*/ 1076325 h 2161222"/>
                  <a:gd name="connsiteX1961" fmla="*/ 1383983 w 2443162"/>
                  <a:gd name="connsiteY1961" fmla="*/ 1072515 h 2161222"/>
                  <a:gd name="connsiteX1962" fmla="*/ 1373505 w 2443162"/>
                  <a:gd name="connsiteY1962" fmla="*/ 1064895 h 2161222"/>
                  <a:gd name="connsiteX1963" fmla="*/ 1363028 w 2443162"/>
                  <a:gd name="connsiteY1963" fmla="*/ 1058228 h 2161222"/>
                  <a:gd name="connsiteX1964" fmla="*/ 1351598 w 2443162"/>
                  <a:gd name="connsiteY1964" fmla="*/ 1051560 h 2161222"/>
                  <a:gd name="connsiteX1965" fmla="*/ 1339215 w 2443162"/>
                  <a:gd name="connsiteY1965" fmla="*/ 1044893 h 2161222"/>
                  <a:gd name="connsiteX1966" fmla="*/ 1325880 w 2443162"/>
                  <a:gd name="connsiteY1966" fmla="*/ 1039178 h 2161222"/>
                  <a:gd name="connsiteX1967" fmla="*/ 1312545 w 2443162"/>
                  <a:gd name="connsiteY1967" fmla="*/ 1033463 h 2161222"/>
                  <a:gd name="connsiteX1968" fmla="*/ 1298258 w 2443162"/>
                  <a:gd name="connsiteY1968" fmla="*/ 1027748 h 2161222"/>
                  <a:gd name="connsiteX1969" fmla="*/ 1282065 w 2443162"/>
                  <a:gd name="connsiteY1969" fmla="*/ 1024890 h 2161222"/>
                  <a:gd name="connsiteX1970" fmla="*/ 1282065 w 2443162"/>
                  <a:gd name="connsiteY1970" fmla="*/ 1024890 h 2161222"/>
                  <a:gd name="connsiteX1971" fmla="*/ 1297305 w 2443162"/>
                  <a:gd name="connsiteY1971" fmla="*/ 300038 h 2161222"/>
                  <a:gd name="connsiteX1972" fmla="*/ 1295400 w 2443162"/>
                  <a:gd name="connsiteY1972" fmla="*/ 344805 h 2161222"/>
                  <a:gd name="connsiteX1973" fmla="*/ 1294448 w 2443162"/>
                  <a:gd name="connsiteY1973" fmla="*/ 343853 h 2161222"/>
                  <a:gd name="connsiteX1974" fmla="*/ 1294448 w 2443162"/>
                  <a:gd name="connsiteY1974" fmla="*/ 353378 h 2161222"/>
                  <a:gd name="connsiteX1975" fmla="*/ 1292543 w 2443162"/>
                  <a:gd name="connsiteY1975" fmla="*/ 395288 h 2161222"/>
                  <a:gd name="connsiteX1976" fmla="*/ 1311593 w 2443162"/>
                  <a:gd name="connsiteY1976" fmla="*/ 399098 h 2161222"/>
                  <a:gd name="connsiteX1977" fmla="*/ 1329690 w 2443162"/>
                  <a:gd name="connsiteY1977" fmla="*/ 403860 h 2161222"/>
                  <a:gd name="connsiteX1978" fmla="*/ 1338263 w 2443162"/>
                  <a:gd name="connsiteY1978" fmla="*/ 406718 h 2161222"/>
                  <a:gd name="connsiteX1979" fmla="*/ 1345883 w 2443162"/>
                  <a:gd name="connsiteY1979" fmla="*/ 409575 h 2161222"/>
                  <a:gd name="connsiteX1980" fmla="*/ 1353503 w 2443162"/>
                  <a:gd name="connsiteY1980" fmla="*/ 412433 h 2161222"/>
                  <a:gd name="connsiteX1981" fmla="*/ 1361123 w 2443162"/>
                  <a:gd name="connsiteY1981" fmla="*/ 415290 h 2161222"/>
                  <a:gd name="connsiteX1982" fmla="*/ 1368743 w 2443162"/>
                  <a:gd name="connsiteY1982" fmla="*/ 418148 h 2161222"/>
                  <a:gd name="connsiteX1983" fmla="*/ 1375410 w 2443162"/>
                  <a:gd name="connsiteY1983" fmla="*/ 421005 h 2161222"/>
                  <a:gd name="connsiteX1984" fmla="*/ 1382078 w 2443162"/>
                  <a:gd name="connsiteY1984" fmla="*/ 423863 h 2161222"/>
                  <a:gd name="connsiteX1985" fmla="*/ 1388745 w 2443162"/>
                  <a:gd name="connsiteY1985" fmla="*/ 427673 h 2161222"/>
                  <a:gd name="connsiteX1986" fmla="*/ 1394460 w 2443162"/>
                  <a:gd name="connsiteY1986" fmla="*/ 431483 h 2161222"/>
                  <a:gd name="connsiteX1987" fmla="*/ 1400175 w 2443162"/>
                  <a:gd name="connsiteY1987" fmla="*/ 435293 h 2161222"/>
                  <a:gd name="connsiteX1988" fmla="*/ 1405890 w 2443162"/>
                  <a:gd name="connsiteY1988" fmla="*/ 439103 h 2161222"/>
                  <a:gd name="connsiteX1989" fmla="*/ 1410653 w 2443162"/>
                  <a:gd name="connsiteY1989" fmla="*/ 442913 h 2161222"/>
                  <a:gd name="connsiteX1990" fmla="*/ 1415415 w 2443162"/>
                  <a:gd name="connsiteY1990" fmla="*/ 447675 h 2161222"/>
                  <a:gd name="connsiteX1991" fmla="*/ 1420178 w 2443162"/>
                  <a:gd name="connsiteY1991" fmla="*/ 451485 h 2161222"/>
                  <a:gd name="connsiteX1992" fmla="*/ 1423988 w 2443162"/>
                  <a:gd name="connsiteY1992" fmla="*/ 456248 h 2161222"/>
                  <a:gd name="connsiteX1993" fmla="*/ 1427798 w 2443162"/>
                  <a:gd name="connsiteY1993" fmla="*/ 461010 h 2161222"/>
                  <a:gd name="connsiteX1994" fmla="*/ 1431608 w 2443162"/>
                  <a:gd name="connsiteY1994" fmla="*/ 465773 h 2161222"/>
                  <a:gd name="connsiteX1995" fmla="*/ 1434465 w 2443162"/>
                  <a:gd name="connsiteY1995" fmla="*/ 470535 h 2161222"/>
                  <a:gd name="connsiteX1996" fmla="*/ 1437323 w 2443162"/>
                  <a:gd name="connsiteY1996" fmla="*/ 475298 h 2161222"/>
                  <a:gd name="connsiteX1997" fmla="*/ 1440180 w 2443162"/>
                  <a:gd name="connsiteY1997" fmla="*/ 481013 h 2161222"/>
                  <a:gd name="connsiteX1998" fmla="*/ 1442085 w 2443162"/>
                  <a:gd name="connsiteY1998" fmla="*/ 485775 h 2161222"/>
                  <a:gd name="connsiteX1999" fmla="*/ 1443990 w 2443162"/>
                  <a:gd name="connsiteY1999" fmla="*/ 491490 h 2161222"/>
                  <a:gd name="connsiteX2000" fmla="*/ 1444943 w 2443162"/>
                  <a:gd name="connsiteY2000" fmla="*/ 497205 h 2161222"/>
                  <a:gd name="connsiteX2001" fmla="*/ 1445895 w 2443162"/>
                  <a:gd name="connsiteY2001" fmla="*/ 502920 h 2161222"/>
                  <a:gd name="connsiteX2002" fmla="*/ 1446848 w 2443162"/>
                  <a:gd name="connsiteY2002" fmla="*/ 508635 h 2161222"/>
                  <a:gd name="connsiteX2003" fmla="*/ 1446848 w 2443162"/>
                  <a:gd name="connsiteY2003" fmla="*/ 514350 h 2161222"/>
                  <a:gd name="connsiteX2004" fmla="*/ 1446848 w 2443162"/>
                  <a:gd name="connsiteY2004" fmla="*/ 520065 h 2161222"/>
                  <a:gd name="connsiteX2005" fmla="*/ 1446848 w 2443162"/>
                  <a:gd name="connsiteY2005" fmla="*/ 526733 h 2161222"/>
                  <a:gd name="connsiteX2006" fmla="*/ 1446848 w 2443162"/>
                  <a:gd name="connsiteY2006" fmla="*/ 534353 h 2161222"/>
                  <a:gd name="connsiteX2007" fmla="*/ 1445895 w 2443162"/>
                  <a:gd name="connsiteY2007" fmla="*/ 541020 h 2161222"/>
                  <a:gd name="connsiteX2008" fmla="*/ 1444943 w 2443162"/>
                  <a:gd name="connsiteY2008" fmla="*/ 548640 h 2161222"/>
                  <a:gd name="connsiteX2009" fmla="*/ 1443990 w 2443162"/>
                  <a:gd name="connsiteY2009" fmla="*/ 555308 h 2161222"/>
                  <a:gd name="connsiteX2010" fmla="*/ 1426845 w 2443162"/>
                  <a:gd name="connsiteY2010" fmla="*/ 547688 h 2161222"/>
                  <a:gd name="connsiteX2011" fmla="*/ 1408748 w 2443162"/>
                  <a:gd name="connsiteY2011" fmla="*/ 541020 h 2161222"/>
                  <a:gd name="connsiteX2012" fmla="*/ 1390650 w 2443162"/>
                  <a:gd name="connsiteY2012" fmla="*/ 534353 h 2161222"/>
                  <a:gd name="connsiteX2013" fmla="*/ 1372553 w 2443162"/>
                  <a:gd name="connsiteY2013" fmla="*/ 528638 h 2161222"/>
                  <a:gd name="connsiteX2014" fmla="*/ 1353503 w 2443162"/>
                  <a:gd name="connsiteY2014" fmla="*/ 523875 h 2161222"/>
                  <a:gd name="connsiteX2015" fmla="*/ 1334453 w 2443162"/>
                  <a:gd name="connsiteY2015" fmla="*/ 519113 h 2161222"/>
                  <a:gd name="connsiteX2016" fmla="*/ 1315403 w 2443162"/>
                  <a:gd name="connsiteY2016" fmla="*/ 515303 h 2161222"/>
                  <a:gd name="connsiteX2017" fmla="*/ 1296353 w 2443162"/>
                  <a:gd name="connsiteY2017" fmla="*/ 512445 h 2161222"/>
                  <a:gd name="connsiteX2018" fmla="*/ 1296353 w 2443162"/>
                  <a:gd name="connsiteY2018" fmla="*/ 541020 h 2161222"/>
                  <a:gd name="connsiteX2019" fmla="*/ 1314450 w 2443162"/>
                  <a:gd name="connsiteY2019" fmla="*/ 543878 h 2161222"/>
                  <a:gd name="connsiteX2020" fmla="*/ 1331595 w 2443162"/>
                  <a:gd name="connsiteY2020" fmla="*/ 547688 h 2161222"/>
                  <a:gd name="connsiteX2021" fmla="*/ 1348740 w 2443162"/>
                  <a:gd name="connsiteY2021" fmla="*/ 552450 h 2161222"/>
                  <a:gd name="connsiteX2022" fmla="*/ 1365885 w 2443162"/>
                  <a:gd name="connsiteY2022" fmla="*/ 557213 h 2161222"/>
                  <a:gd name="connsiteX2023" fmla="*/ 1383030 w 2443162"/>
                  <a:gd name="connsiteY2023" fmla="*/ 562928 h 2161222"/>
                  <a:gd name="connsiteX2024" fmla="*/ 1399223 w 2443162"/>
                  <a:gd name="connsiteY2024" fmla="*/ 568643 h 2161222"/>
                  <a:gd name="connsiteX2025" fmla="*/ 1416368 w 2443162"/>
                  <a:gd name="connsiteY2025" fmla="*/ 575310 h 2161222"/>
                  <a:gd name="connsiteX2026" fmla="*/ 1432560 w 2443162"/>
                  <a:gd name="connsiteY2026" fmla="*/ 581978 h 2161222"/>
                  <a:gd name="connsiteX2027" fmla="*/ 1429703 w 2443162"/>
                  <a:gd name="connsiteY2027" fmla="*/ 586740 h 2161222"/>
                  <a:gd name="connsiteX2028" fmla="*/ 1425893 w 2443162"/>
                  <a:gd name="connsiteY2028" fmla="*/ 591503 h 2161222"/>
                  <a:gd name="connsiteX2029" fmla="*/ 1422083 w 2443162"/>
                  <a:gd name="connsiteY2029" fmla="*/ 596265 h 2161222"/>
                  <a:gd name="connsiteX2030" fmla="*/ 1418273 w 2443162"/>
                  <a:gd name="connsiteY2030" fmla="*/ 601028 h 2161222"/>
                  <a:gd name="connsiteX2031" fmla="*/ 1414463 w 2443162"/>
                  <a:gd name="connsiteY2031" fmla="*/ 604838 h 2161222"/>
                  <a:gd name="connsiteX2032" fmla="*/ 1409700 w 2443162"/>
                  <a:gd name="connsiteY2032" fmla="*/ 608648 h 2161222"/>
                  <a:gd name="connsiteX2033" fmla="*/ 1404938 w 2443162"/>
                  <a:gd name="connsiteY2033" fmla="*/ 612458 h 2161222"/>
                  <a:gd name="connsiteX2034" fmla="*/ 1400175 w 2443162"/>
                  <a:gd name="connsiteY2034" fmla="*/ 616268 h 2161222"/>
                  <a:gd name="connsiteX2035" fmla="*/ 1395413 w 2443162"/>
                  <a:gd name="connsiteY2035" fmla="*/ 620078 h 2161222"/>
                  <a:gd name="connsiteX2036" fmla="*/ 1389698 w 2443162"/>
                  <a:gd name="connsiteY2036" fmla="*/ 623888 h 2161222"/>
                  <a:gd name="connsiteX2037" fmla="*/ 1384935 w 2443162"/>
                  <a:gd name="connsiteY2037" fmla="*/ 627698 h 2161222"/>
                  <a:gd name="connsiteX2038" fmla="*/ 1379220 w 2443162"/>
                  <a:gd name="connsiteY2038" fmla="*/ 630555 h 2161222"/>
                  <a:gd name="connsiteX2039" fmla="*/ 1366838 w 2443162"/>
                  <a:gd name="connsiteY2039" fmla="*/ 637223 h 2161222"/>
                  <a:gd name="connsiteX2040" fmla="*/ 1353503 w 2443162"/>
                  <a:gd name="connsiteY2040" fmla="*/ 642938 h 2161222"/>
                  <a:gd name="connsiteX2041" fmla="*/ 1340168 w 2443162"/>
                  <a:gd name="connsiteY2041" fmla="*/ 648653 h 2161222"/>
                  <a:gd name="connsiteX2042" fmla="*/ 1324928 w 2443162"/>
                  <a:gd name="connsiteY2042" fmla="*/ 654368 h 2161222"/>
                  <a:gd name="connsiteX2043" fmla="*/ 1309688 w 2443162"/>
                  <a:gd name="connsiteY2043" fmla="*/ 659130 h 2161222"/>
                  <a:gd name="connsiteX2044" fmla="*/ 1293495 w 2443162"/>
                  <a:gd name="connsiteY2044" fmla="*/ 663893 h 2161222"/>
                  <a:gd name="connsiteX2045" fmla="*/ 1277303 w 2443162"/>
                  <a:gd name="connsiteY2045" fmla="*/ 668655 h 2161222"/>
                  <a:gd name="connsiteX2046" fmla="*/ 1260158 w 2443162"/>
                  <a:gd name="connsiteY2046" fmla="*/ 673418 h 2161222"/>
                  <a:gd name="connsiteX2047" fmla="*/ 1242060 w 2443162"/>
                  <a:gd name="connsiteY2047" fmla="*/ 677228 h 2161222"/>
                  <a:gd name="connsiteX2048" fmla="*/ 1223010 w 2443162"/>
                  <a:gd name="connsiteY2048" fmla="*/ 681990 h 2161222"/>
                  <a:gd name="connsiteX2049" fmla="*/ 1202055 w 2443162"/>
                  <a:gd name="connsiteY2049" fmla="*/ 686753 h 2161222"/>
                  <a:gd name="connsiteX2050" fmla="*/ 1180148 w 2443162"/>
                  <a:gd name="connsiteY2050" fmla="*/ 691515 h 2161222"/>
                  <a:gd name="connsiteX2051" fmla="*/ 1169670 w 2443162"/>
                  <a:gd name="connsiteY2051" fmla="*/ 694373 h 2161222"/>
                  <a:gd name="connsiteX2052" fmla="*/ 1159193 w 2443162"/>
                  <a:gd name="connsiteY2052" fmla="*/ 697230 h 2161222"/>
                  <a:gd name="connsiteX2053" fmla="*/ 1147763 w 2443162"/>
                  <a:gd name="connsiteY2053" fmla="*/ 701040 h 2161222"/>
                  <a:gd name="connsiteX2054" fmla="*/ 1136333 w 2443162"/>
                  <a:gd name="connsiteY2054" fmla="*/ 704850 h 2161222"/>
                  <a:gd name="connsiteX2055" fmla="*/ 1125855 w 2443162"/>
                  <a:gd name="connsiteY2055" fmla="*/ 708660 h 2161222"/>
                  <a:gd name="connsiteX2056" fmla="*/ 1115378 w 2443162"/>
                  <a:gd name="connsiteY2056" fmla="*/ 713423 h 2161222"/>
                  <a:gd name="connsiteX2057" fmla="*/ 1104900 w 2443162"/>
                  <a:gd name="connsiteY2057" fmla="*/ 718185 h 2161222"/>
                  <a:gd name="connsiteX2058" fmla="*/ 1094423 w 2443162"/>
                  <a:gd name="connsiteY2058" fmla="*/ 722948 h 2161222"/>
                  <a:gd name="connsiteX2059" fmla="*/ 1083945 w 2443162"/>
                  <a:gd name="connsiteY2059" fmla="*/ 727710 h 2161222"/>
                  <a:gd name="connsiteX2060" fmla="*/ 1073468 w 2443162"/>
                  <a:gd name="connsiteY2060" fmla="*/ 733425 h 2161222"/>
                  <a:gd name="connsiteX2061" fmla="*/ 1062990 w 2443162"/>
                  <a:gd name="connsiteY2061" fmla="*/ 739140 h 2161222"/>
                  <a:gd name="connsiteX2062" fmla="*/ 1053465 w 2443162"/>
                  <a:gd name="connsiteY2062" fmla="*/ 744855 h 2161222"/>
                  <a:gd name="connsiteX2063" fmla="*/ 1043940 w 2443162"/>
                  <a:gd name="connsiteY2063" fmla="*/ 751523 h 2161222"/>
                  <a:gd name="connsiteX2064" fmla="*/ 1035368 w 2443162"/>
                  <a:gd name="connsiteY2064" fmla="*/ 758190 h 2161222"/>
                  <a:gd name="connsiteX2065" fmla="*/ 1026795 w 2443162"/>
                  <a:gd name="connsiteY2065" fmla="*/ 765810 h 2161222"/>
                  <a:gd name="connsiteX2066" fmla="*/ 1019175 w 2443162"/>
                  <a:gd name="connsiteY2066" fmla="*/ 773430 h 2161222"/>
                  <a:gd name="connsiteX2067" fmla="*/ 1011555 w 2443162"/>
                  <a:gd name="connsiteY2067" fmla="*/ 782003 h 2161222"/>
                  <a:gd name="connsiteX2068" fmla="*/ 1004888 w 2443162"/>
                  <a:gd name="connsiteY2068" fmla="*/ 790575 h 2161222"/>
                  <a:gd name="connsiteX2069" fmla="*/ 998220 w 2443162"/>
                  <a:gd name="connsiteY2069" fmla="*/ 800100 h 2161222"/>
                  <a:gd name="connsiteX2070" fmla="*/ 992505 w 2443162"/>
                  <a:gd name="connsiteY2070" fmla="*/ 809625 h 2161222"/>
                  <a:gd name="connsiteX2071" fmla="*/ 987743 w 2443162"/>
                  <a:gd name="connsiteY2071" fmla="*/ 820103 h 2161222"/>
                  <a:gd name="connsiteX2072" fmla="*/ 982980 w 2443162"/>
                  <a:gd name="connsiteY2072" fmla="*/ 830580 h 2161222"/>
                  <a:gd name="connsiteX2073" fmla="*/ 979170 w 2443162"/>
                  <a:gd name="connsiteY2073" fmla="*/ 841058 h 2161222"/>
                  <a:gd name="connsiteX2074" fmla="*/ 976313 w 2443162"/>
                  <a:gd name="connsiteY2074" fmla="*/ 852488 h 2161222"/>
                  <a:gd name="connsiteX2075" fmla="*/ 974408 w 2443162"/>
                  <a:gd name="connsiteY2075" fmla="*/ 863918 h 2161222"/>
                  <a:gd name="connsiteX2076" fmla="*/ 972503 w 2443162"/>
                  <a:gd name="connsiteY2076" fmla="*/ 876300 h 2161222"/>
                  <a:gd name="connsiteX2077" fmla="*/ 972503 w 2443162"/>
                  <a:gd name="connsiteY2077" fmla="*/ 889635 h 2161222"/>
                  <a:gd name="connsiteX2078" fmla="*/ 972503 w 2443162"/>
                  <a:gd name="connsiteY2078" fmla="*/ 902970 h 2161222"/>
                  <a:gd name="connsiteX2079" fmla="*/ 973455 w 2443162"/>
                  <a:gd name="connsiteY2079" fmla="*/ 914400 h 2161222"/>
                  <a:gd name="connsiteX2080" fmla="*/ 975360 w 2443162"/>
                  <a:gd name="connsiteY2080" fmla="*/ 924878 h 2161222"/>
                  <a:gd name="connsiteX2081" fmla="*/ 977265 w 2443162"/>
                  <a:gd name="connsiteY2081" fmla="*/ 935355 h 2161222"/>
                  <a:gd name="connsiteX2082" fmla="*/ 980123 w 2443162"/>
                  <a:gd name="connsiteY2082" fmla="*/ 945833 h 2161222"/>
                  <a:gd name="connsiteX2083" fmla="*/ 983933 w 2443162"/>
                  <a:gd name="connsiteY2083" fmla="*/ 955358 h 2161222"/>
                  <a:gd name="connsiteX2084" fmla="*/ 987743 w 2443162"/>
                  <a:gd name="connsiteY2084" fmla="*/ 964883 h 2161222"/>
                  <a:gd name="connsiteX2085" fmla="*/ 992505 w 2443162"/>
                  <a:gd name="connsiteY2085" fmla="*/ 973455 h 2161222"/>
                  <a:gd name="connsiteX2086" fmla="*/ 997268 w 2443162"/>
                  <a:gd name="connsiteY2086" fmla="*/ 982028 h 2161222"/>
                  <a:gd name="connsiteX2087" fmla="*/ 1002030 w 2443162"/>
                  <a:gd name="connsiteY2087" fmla="*/ 989648 h 2161222"/>
                  <a:gd name="connsiteX2088" fmla="*/ 1007745 w 2443162"/>
                  <a:gd name="connsiteY2088" fmla="*/ 997268 h 2161222"/>
                  <a:gd name="connsiteX2089" fmla="*/ 1013460 w 2443162"/>
                  <a:gd name="connsiteY2089" fmla="*/ 1004888 h 2161222"/>
                  <a:gd name="connsiteX2090" fmla="*/ 1019175 w 2443162"/>
                  <a:gd name="connsiteY2090" fmla="*/ 1011555 h 2161222"/>
                  <a:gd name="connsiteX2091" fmla="*/ 1025843 w 2443162"/>
                  <a:gd name="connsiteY2091" fmla="*/ 1018223 h 2161222"/>
                  <a:gd name="connsiteX2092" fmla="*/ 1032510 w 2443162"/>
                  <a:gd name="connsiteY2092" fmla="*/ 1023938 h 2161222"/>
                  <a:gd name="connsiteX2093" fmla="*/ 1039178 w 2443162"/>
                  <a:gd name="connsiteY2093" fmla="*/ 1029653 h 2161222"/>
                  <a:gd name="connsiteX2094" fmla="*/ 1045845 w 2443162"/>
                  <a:gd name="connsiteY2094" fmla="*/ 1035368 h 2161222"/>
                  <a:gd name="connsiteX2095" fmla="*/ 1053465 w 2443162"/>
                  <a:gd name="connsiteY2095" fmla="*/ 1041083 h 2161222"/>
                  <a:gd name="connsiteX2096" fmla="*/ 1061085 w 2443162"/>
                  <a:gd name="connsiteY2096" fmla="*/ 1045845 h 2161222"/>
                  <a:gd name="connsiteX2097" fmla="*/ 1068705 w 2443162"/>
                  <a:gd name="connsiteY2097" fmla="*/ 1050608 h 2161222"/>
                  <a:gd name="connsiteX2098" fmla="*/ 1076325 w 2443162"/>
                  <a:gd name="connsiteY2098" fmla="*/ 1055370 h 2161222"/>
                  <a:gd name="connsiteX2099" fmla="*/ 1083945 w 2443162"/>
                  <a:gd name="connsiteY2099" fmla="*/ 1059180 h 2161222"/>
                  <a:gd name="connsiteX2100" fmla="*/ 1091565 w 2443162"/>
                  <a:gd name="connsiteY2100" fmla="*/ 1062990 h 2161222"/>
                  <a:gd name="connsiteX2101" fmla="*/ 1099185 w 2443162"/>
                  <a:gd name="connsiteY2101" fmla="*/ 1066800 h 2161222"/>
                  <a:gd name="connsiteX2102" fmla="*/ 1106805 w 2443162"/>
                  <a:gd name="connsiteY2102" fmla="*/ 1069658 h 2161222"/>
                  <a:gd name="connsiteX2103" fmla="*/ 1122045 w 2443162"/>
                  <a:gd name="connsiteY2103" fmla="*/ 1075373 h 2161222"/>
                  <a:gd name="connsiteX2104" fmla="*/ 1136333 w 2443162"/>
                  <a:gd name="connsiteY2104" fmla="*/ 1080135 h 2161222"/>
                  <a:gd name="connsiteX2105" fmla="*/ 1149668 w 2443162"/>
                  <a:gd name="connsiteY2105" fmla="*/ 1083945 h 2161222"/>
                  <a:gd name="connsiteX2106" fmla="*/ 1162050 w 2443162"/>
                  <a:gd name="connsiteY2106" fmla="*/ 1087755 h 2161222"/>
                  <a:gd name="connsiteX2107" fmla="*/ 1161098 w 2443162"/>
                  <a:gd name="connsiteY2107" fmla="*/ 1075373 h 2161222"/>
                  <a:gd name="connsiteX2108" fmla="*/ 1161098 w 2443162"/>
                  <a:gd name="connsiteY2108" fmla="*/ 1062990 h 2161222"/>
                  <a:gd name="connsiteX2109" fmla="*/ 1161098 w 2443162"/>
                  <a:gd name="connsiteY2109" fmla="*/ 1050608 h 2161222"/>
                  <a:gd name="connsiteX2110" fmla="*/ 1161098 w 2443162"/>
                  <a:gd name="connsiteY2110" fmla="*/ 1038225 h 2161222"/>
                  <a:gd name="connsiteX2111" fmla="*/ 1160145 w 2443162"/>
                  <a:gd name="connsiteY2111" fmla="*/ 1025843 h 2161222"/>
                  <a:gd name="connsiteX2112" fmla="*/ 1160145 w 2443162"/>
                  <a:gd name="connsiteY2112" fmla="*/ 1011555 h 2161222"/>
                  <a:gd name="connsiteX2113" fmla="*/ 1160145 w 2443162"/>
                  <a:gd name="connsiteY2113" fmla="*/ 999173 h 2161222"/>
                  <a:gd name="connsiteX2114" fmla="*/ 1159193 w 2443162"/>
                  <a:gd name="connsiteY2114" fmla="*/ 986790 h 2161222"/>
                  <a:gd name="connsiteX2115" fmla="*/ 1152525 w 2443162"/>
                  <a:gd name="connsiteY2115" fmla="*/ 982980 h 2161222"/>
                  <a:gd name="connsiteX2116" fmla="*/ 1145858 w 2443162"/>
                  <a:gd name="connsiteY2116" fmla="*/ 979170 h 2161222"/>
                  <a:gd name="connsiteX2117" fmla="*/ 1139190 w 2443162"/>
                  <a:gd name="connsiteY2117" fmla="*/ 975360 h 2161222"/>
                  <a:gd name="connsiteX2118" fmla="*/ 1132523 w 2443162"/>
                  <a:gd name="connsiteY2118" fmla="*/ 971550 h 2161222"/>
                  <a:gd name="connsiteX2119" fmla="*/ 1126808 w 2443162"/>
                  <a:gd name="connsiteY2119" fmla="*/ 966788 h 2161222"/>
                  <a:gd name="connsiteX2120" fmla="*/ 1121093 w 2443162"/>
                  <a:gd name="connsiteY2120" fmla="*/ 962025 h 2161222"/>
                  <a:gd name="connsiteX2121" fmla="*/ 1115378 w 2443162"/>
                  <a:gd name="connsiteY2121" fmla="*/ 957263 h 2161222"/>
                  <a:gd name="connsiteX2122" fmla="*/ 1110615 w 2443162"/>
                  <a:gd name="connsiteY2122" fmla="*/ 951548 h 2161222"/>
                  <a:gd name="connsiteX2123" fmla="*/ 1105853 w 2443162"/>
                  <a:gd name="connsiteY2123" fmla="*/ 945833 h 2161222"/>
                  <a:gd name="connsiteX2124" fmla="*/ 1102043 w 2443162"/>
                  <a:gd name="connsiteY2124" fmla="*/ 939165 h 2161222"/>
                  <a:gd name="connsiteX2125" fmla="*/ 1098233 w 2443162"/>
                  <a:gd name="connsiteY2125" fmla="*/ 932498 h 2161222"/>
                  <a:gd name="connsiteX2126" fmla="*/ 1095375 w 2443162"/>
                  <a:gd name="connsiteY2126" fmla="*/ 924878 h 2161222"/>
                  <a:gd name="connsiteX2127" fmla="*/ 1094423 w 2443162"/>
                  <a:gd name="connsiteY2127" fmla="*/ 921068 h 2161222"/>
                  <a:gd name="connsiteX2128" fmla="*/ 1093470 w 2443162"/>
                  <a:gd name="connsiteY2128" fmla="*/ 917258 h 2161222"/>
                  <a:gd name="connsiteX2129" fmla="*/ 1092518 w 2443162"/>
                  <a:gd name="connsiteY2129" fmla="*/ 912495 h 2161222"/>
                  <a:gd name="connsiteX2130" fmla="*/ 1091565 w 2443162"/>
                  <a:gd name="connsiteY2130" fmla="*/ 907733 h 2161222"/>
                  <a:gd name="connsiteX2131" fmla="*/ 1091565 w 2443162"/>
                  <a:gd name="connsiteY2131" fmla="*/ 902970 h 2161222"/>
                  <a:gd name="connsiteX2132" fmla="*/ 1091565 w 2443162"/>
                  <a:gd name="connsiteY2132" fmla="*/ 898208 h 2161222"/>
                  <a:gd name="connsiteX2133" fmla="*/ 1091565 w 2443162"/>
                  <a:gd name="connsiteY2133" fmla="*/ 893445 h 2161222"/>
                  <a:gd name="connsiteX2134" fmla="*/ 1091565 w 2443162"/>
                  <a:gd name="connsiteY2134" fmla="*/ 888683 h 2161222"/>
                  <a:gd name="connsiteX2135" fmla="*/ 1092518 w 2443162"/>
                  <a:gd name="connsiteY2135" fmla="*/ 881063 h 2161222"/>
                  <a:gd name="connsiteX2136" fmla="*/ 1093470 w 2443162"/>
                  <a:gd name="connsiteY2136" fmla="*/ 874395 h 2161222"/>
                  <a:gd name="connsiteX2137" fmla="*/ 1096328 w 2443162"/>
                  <a:gd name="connsiteY2137" fmla="*/ 867728 h 2161222"/>
                  <a:gd name="connsiteX2138" fmla="*/ 1099185 w 2443162"/>
                  <a:gd name="connsiteY2138" fmla="*/ 862013 h 2161222"/>
                  <a:gd name="connsiteX2139" fmla="*/ 1102995 w 2443162"/>
                  <a:gd name="connsiteY2139" fmla="*/ 856298 h 2161222"/>
                  <a:gd name="connsiteX2140" fmla="*/ 1106805 w 2443162"/>
                  <a:gd name="connsiteY2140" fmla="*/ 850583 h 2161222"/>
                  <a:gd name="connsiteX2141" fmla="*/ 1111568 w 2443162"/>
                  <a:gd name="connsiteY2141" fmla="*/ 845820 h 2161222"/>
                  <a:gd name="connsiteX2142" fmla="*/ 1117283 w 2443162"/>
                  <a:gd name="connsiteY2142" fmla="*/ 841058 h 2161222"/>
                  <a:gd name="connsiteX2143" fmla="*/ 1122998 w 2443162"/>
                  <a:gd name="connsiteY2143" fmla="*/ 836295 h 2161222"/>
                  <a:gd name="connsiteX2144" fmla="*/ 1129665 w 2443162"/>
                  <a:gd name="connsiteY2144" fmla="*/ 831533 h 2161222"/>
                  <a:gd name="connsiteX2145" fmla="*/ 1136333 w 2443162"/>
                  <a:gd name="connsiteY2145" fmla="*/ 826770 h 2161222"/>
                  <a:gd name="connsiteX2146" fmla="*/ 1143953 w 2443162"/>
                  <a:gd name="connsiteY2146" fmla="*/ 822960 h 2161222"/>
                  <a:gd name="connsiteX2147" fmla="*/ 1152525 w 2443162"/>
                  <a:gd name="connsiteY2147" fmla="*/ 818198 h 2161222"/>
                  <a:gd name="connsiteX2148" fmla="*/ 1161098 w 2443162"/>
                  <a:gd name="connsiteY2148" fmla="*/ 814388 h 2161222"/>
                  <a:gd name="connsiteX2149" fmla="*/ 1170623 w 2443162"/>
                  <a:gd name="connsiteY2149" fmla="*/ 810578 h 2161222"/>
                  <a:gd name="connsiteX2150" fmla="*/ 1180148 w 2443162"/>
                  <a:gd name="connsiteY2150" fmla="*/ 806768 h 2161222"/>
                  <a:gd name="connsiteX2151" fmla="*/ 1200150 w 2443162"/>
                  <a:gd name="connsiteY2151" fmla="*/ 800100 h 2161222"/>
                  <a:gd name="connsiteX2152" fmla="*/ 1220153 w 2443162"/>
                  <a:gd name="connsiteY2152" fmla="*/ 794385 h 2161222"/>
                  <a:gd name="connsiteX2153" fmla="*/ 1242060 w 2443162"/>
                  <a:gd name="connsiteY2153" fmla="*/ 788670 h 2161222"/>
                  <a:gd name="connsiteX2154" fmla="*/ 1263968 w 2443162"/>
                  <a:gd name="connsiteY2154" fmla="*/ 782955 h 2161222"/>
                  <a:gd name="connsiteX2155" fmla="*/ 1308735 w 2443162"/>
                  <a:gd name="connsiteY2155" fmla="*/ 771525 h 2161222"/>
                  <a:gd name="connsiteX2156" fmla="*/ 1353503 w 2443162"/>
                  <a:gd name="connsiteY2156" fmla="*/ 759143 h 2161222"/>
                  <a:gd name="connsiteX2157" fmla="*/ 1370648 w 2443162"/>
                  <a:gd name="connsiteY2157" fmla="*/ 753428 h 2161222"/>
                  <a:gd name="connsiteX2158" fmla="*/ 1386840 w 2443162"/>
                  <a:gd name="connsiteY2158" fmla="*/ 747713 h 2161222"/>
                  <a:gd name="connsiteX2159" fmla="*/ 1402080 w 2443162"/>
                  <a:gd name="connsiteY2159" fmla="*/ 741998 h 2161222"/>
                  <a:gd name="connsiteX2160" fmla="*/ 1416368 w 2443162"/>
                  <a:gd name="connsiteY2160" fmla="*/ 736283 h 2161222"/>
                  <a:gd name="connsiteX2161" fmla="*/ 1430655 w 2443162"/>
                  <a:gd name="connsiteY2161" fmla="*/ 730568 h 2161222"/>
                  <a:gd name="connsiteX2162" fmla="*/ 1443038 w 2443162"/>
                  <a:gd name="connsiteY2162" fmla="*/ 724853 h 2161222"/>
                  <a:gd name="connsiteX2163" fmla="*/ 1455420 w 2443162"/>
                  <a:gd name="connsiteY2163" fmla="*/ 718185 h 2161222"/>
                  <a:gd name="connsiteX2164" fmla="*/ 1465898 w 2443162"/>
                  <a:gd name="connsiteY2164" fmla="*/ 712470 h 2161222"/>
                  <a:gd name="connsiteX2165" fmla="*/ 1476375 w 2443162"/>
                  <a:gd name="connsiteY2165" fmla="*/ 705803 h 2161222"/>
                  <a:gd name="connsiteX2166" fmla="*/ 1485900 w 2443162"/>
                  <a:gd name="connsiteY2166" fmla="*/ 699135 h 2161222"/>
                  <a:gd name="connsiteX2167" fmla="*/ 1494473 w 2443162"/>
                  <a:gd name="connsiteY2167" fmla="*/ 692468 h 2161222"/>
                  <a:gd name="connsiteX2168" fmla="*/ 1503045 w 2443162"/>
                  <a:gd name="connsiteY2168" fmla="*/ 685800 h 2161222"/>
                  <a:gd name="connsiteX2169" fmla="*/ 1510665 w 2443162"/>
                  <a:gd name="connsiteY2169" fmla="*/ 679133 h 2161222"/>
                  <a:gd name="connsiteX2170" fmla="*/ 1517333 w 2443162"/>
                  <a:gd name="connsiteY2170" fmla="*/ 671513 h 2161222"/>
                  <a:gd name="connsiteX2171" fmla="*/ 1523048 w 2443162"/>
                  <a:gd name="connsiteY2171" fmla="*/ 663893 h 2161222"/>
                  <a:gd name="connsiteX2172" fmla="*/ 1528763 w 2443162"/>
                  <a:gd name="connsiteY2172" fmla="*/ 656273 h 2161222"/>
                  <a:gd name="connsiteX2173" fmla="*/ 1533525 w 2443162"/>
                  <a:gd name="connsiteY2173" fmla="*/ 661035 h 2161222"/>
                  <a:gd name="connsiteX2174" fmla="*/ 1539240 w 2443162"/>
                  <a:gd name="connsiteY2174" fmla="*/ 665798 h 2161222"/>
                  <a:gd name="connsiteX2175" fmla="*/ 1544003 w 2443162"/>
                  <a:gd name="connsiteY2175" fmla="*/ 670560 h 2161222"/>
                  <a:gd name="connsiteX2176" fmla="*/ 1548765 w 2443162"/>
                  <a:gd name="connsiteY2176" fmla="*/ 675323 h 2161222"/>
                  <a:gd name="connsiteX2177" fmla="*/ 1547813 w 2443162"/>
                  <a:gd name="connsiteY2177" fmla="*/ 676275 h 2161222"/>
                  <a:gd name="connsiteX2178" fmla="*/ 1548765 w 2443162"/>
                  <a:gd name="connsiteY2178" fmla="*/ 676275 h 2161222"/>
                  <a:gd name="connsiteX2179" fmla="*/ 1549718 w 2443162"/>
                  <a:gd name="connsiteY2179" fmla="*/ 676275 h 2161222"/>
                  <a:gd name="connsiteX2180" fmla="*/ 1554480 w 2443162"/>
                  <a:gd name="connsiteY2180" fmla="*/ 681038 h 2161222"/>
                  <a:gd name="connsiteX2181" fmla="*/ 1457325 w 2443162"/>
                  <a:gd name="connsiteY2181" fmla="*/ 769620 h 2161222"/>
                  <a:gd name="connsiteX2182" fmla="*/ 1450658 w 2443162"/>
                  <a:gd name="connsiteY2182" fmla="*/ 763905 h 2161222"/>
                  <a:gd name="connsiteX2183" fmla="*/ 1443990 w 2443162"/>
                  <a:gd name="connsiteY2183" fmla="*/ 758190 h 2161222"/>
                  <a:gd name="connsiteX2184" fmla="*/ 1437323 w 2443162"/>
                  <a:gd name="connsiteY2184" fmla="*/ 752475 h 2161222"/>
                  <a:gd name="connsiteX2185" fmla="*/ 1430655 w 2443162"/>
                  <a:gd name="connsiteY2185" fmla="*/ 747713 h 2161222"/>
                  <a:gd name="connsiteX2186" fmla="*/ 1400175 w 2443162"/>
                  <a:gd name="connsiteY2186" fmla="*/ 757238 h 2161222"/>
                  <a:gd name="connsiteX2187" fmla="*/ 1410653 w 2443162"/>
                  <a:gd name="connsiteY2187" fmla="*/ 763905 h 2161222"/>
                  <a:gd name="connsiteX2188" fmla="*/ 1420178 w 2443162"/>
                  <a:gd name="connsiteY2188" fmla="*/ 771525 h 2161222"/>
                  <a:gd name="connsiteX2189" fmla="*/ 1429703 w 2443162"/>
                  <a:gd name="connsiteY2189" fmla="*/ 779145 h 2161222"/>
                  <a:gd name="connsiteX2190" fmla="*/ 1439228 w 2443162"/>
                  <a:gd name="connsiteY2190" fmla="*/ 787718 h 2161222"/>
                  <a:gd name="connsiteX2191" fmla="*/ 1401128 w 2443162"/>
                  <a:gd name="connsiteY2191" fmla="*/ 826770 h 2161222"/>
                  <a:gd name="connsiteX2192" fmla="*/ 1399223 w 2443162"/>
                  <a:gd name="connsiteY2192" fmla="*/ 824865 h 2161222"/>
                  <a:gd name="connsiteX2193" fmla="*/ 1357313 w 2443162"/>
                  <a:gd name="connsiteY2193" fmla="*/ 831533 h 2161222"/>
                  <a:gd name="connsiteX2194" fmla="*/ 1349693 w 2443162"/>
                  <a:gd name="connsiteY2194" fmla="*/ 842010 h 2161222"/>
                  <a:gd name="connsiteX2195" fmla="*/ 1340168 w 2443162"/>
                  <a:gd name="connsiteY2195" fmla="*/ 842010 h 2161222"/>
                  <a:gd name="connsiteX2196" fmla="*/ 1362075 w 2443162"/>
                  <a:gd name="connsiteY2196" fmla="*/ 819150 h 2161222"/>
                  <a:gd name="connsiteX2197" fmla="*/ 1355408 w 2443162"/>
                  <a:gd name="connsiteY2197" fmla="*/ 816293 h 2161222"/>
                  <a:gd name="connsiteX2198" fmla="*/ 1332548 w 2443162"/>
                  <a:gd name="connsiteY2198" fmla="*/ 845820 h 2161222"/>
                  <a:gd name="connsiteX2199" fmla="*/ 1337310 w 2443162"/>
                  <a:gd name="connsiteY2199" fmla="*/ 845820 h 2161222"/>
                  <a:gd name="connsiteX2200" fmla="*/ 1337310 w 2443162"/>
                  <a:gd name="connsiteY2200" fmla="*/ 856298 h 2161222"/>
                  <a:gd name="connsiteX2201" fmla="*/ 1343978 w 2443162"/>
                  <a:gd name="connsiteY2201" fmla="*/ 860108 h 2161222"/>
                  <a:gd name="connsiteX2202" fmla="*/ 1347788 w 2443162"/>
                  <a:gd name="connsiteY2202" fmla="*/ 870585 h 2161222"/>
                  <a:gd name="connsiteX2203" fmla="*/ 1335405 w 2443162"/>
                  <a:gd name="connsiteY2203" fmla="*/ 870585 h 2161222"/>
                  <a:gd name="connsiteX2204" fmla="*/ 1321118 w 2443162"/>
                  <a:gd name="connsiteY2204" fmla="*/ 870585 h 2161222"/>
                  <a:gd name="connsiteX2205" fmla="*/ 1285875 w 2443162"/>
                  <a:gd name="connsiteY2205" fmla="*/ 853440 h 2161222"/>
                  <a:gd name="connsiteX2206" fmla="*/ 1282065 w 2443162"/>
                  <a:gd name="connsiteY2206" fmla="*/ 998220 h 2161222"/>
                  <a:gd name="connsiteX2207" fmla="*/ 1313498 w 2443162"/>
                  <a:gd name="connsiteY2207" fmla="*/ 1008698 h 2161222"/>
                  <a:gd name="connsiteX2208" fmla="*/ 1344930 w 2443162"/>
                  <a:gd name="connsiteY2208" fmla="*/ 1022985 h 2161222"/>
                  <a:gd name="connsiteX2209" fmla="*/ 1373505 w 2443162"/>
                  <a:gd name="connsiteY2209" fmla="*/ 1037273 h 2161222"/>
                  <a:gd name="connsiteX2210" fmla="*/ 1398270 w 2443162"/>
                  <a:gd name="connsiteY2210" fmla="*/ 1058228 h 2161222"/>
                  <a:gd name="connsiteX2211" fmla="*/ 1423035 w 2443162"/>
                  <a:gd name="connsiteY2211" fmla="*/ 1079183 h 2161222"/>
                  <a:gd name="connsiteX2212" fmla="*/ 1440180 w 2443162"/>
                  <a:gd name="connsiteY2212" fmla="*/ 1106805 h 2161222"/>
                  <a:gd name="connsiteX2213" fmla="*/ 1450658 w 2443162"/>
                  <a:gd name="connsiteY2213" fmla="*/ 1138238 h 2161222"/>
                  <a:gd name="connsiteX2214" fmla="*/ 1454468 w 2443162"/>
                  <a:gd name="connsiteY2214" fmla="*/ 1156335 h 2161222"/>
                  <a:gd name="connsiteX2215" fmla="*/ 1454468 w 2443162"/>
                  <a:gd name="connsiteY2215" fmla="*/ 1173480 h 2161222"/>
                  <a:gd name="connsiteX2216" fmla="*/ 1450658 w 2443162"/>
                  <a:gd name="connsiteY2216" fmla="*/ 1208723 h 2161222"/>
                  <a:gd name="connsiteX2217" fmla="*/ 1440180 w 2443162"/>
                  <a:gd name="connsiteY2217" fmla="*/ 1237298 h 2161222"/>
                  <a:gd name="connsiteX2218" fmla="*/ 1419225 w 2443162"/>
                  <a:gd name="connsiteY2218" fmla="*/ 1265873 h 2161222"/>
                  <a:gd name="connsiteX2219" fmla="*/ 1394460 w 2443162"/>
                  <a:gd name="connsiteY2219" fmla="*/ 1286828 h 2161222"/>
                  <a:gd name="connsiteX2220" fmla="*/ 1390650 w 2443162"/>
                  <a:gd name="connsiteY2220" fmla="*/ 1290638 h 2161222"/>
                  <a:gd name="connsiteX2221" fmla="*/ 1378268 w 2443162"/>
                  <a:gd name="connsiteY2221" fmla="*/ 1298258 h 2161222"/>
                  <a:gd name="connsiteX2222" fmla="*/ 1369695 w 2443162"/>
                  <a:gd name="connsiteY2222" fmla="*/ 1303020 h 2161222"/>
                  <a:gd name="connsiteX2223" fmla="*/ 1361123 w 2443162"/>
                  <a:gd name="connsiteY2223" fmla="*/ 1307783 h 2161222"/>
                  <a:gd name="connsiteX2224" fmla="*/ 1352550 w 2443162"/>
                  <a:gd name="connsiteY2224" fmla="*/ 1311593 h 2161222"/>
                  <a:gd name="connsiteX2225" fmla="*/ 1343025 w 2443162"/>
                  <a:gd name="connsiteY2225" fmla="*/ 1315403 h 2161222"/>
                  <a:gd name="connsiteX2226" fmla="*/ 1334453 w 2443162"/>
                  <a:gd name="connsiteY2226" fmla="*/ 1319213 h 2161222"/>
                  <a:gd name="connsiteX2227" fmla="*/ 1286828 w 2443162"/>
                  <a:gd name="connsiteY2227" fmla="*/ 1333500 h 2161222"/>
                  <a:gd name="connsiteX2228" fmla="*/ 1282065 w 2443162"/>
                  <a:gd name="connsiteY2228" fmla="*/ 1334453 h 2161222"/>
                  <a:gd name="connsiteX2229" fmla="*/ 1276350 w 2443162"/>
                  <a:gd name="connsiteY2229" fmla="*/ 1335405 h 2161222"/>
                  <a:gd name="connsiteX2230" fmla="*/ 1276350 w 2443162"/>
                  <a:gd name="connsiteY2230" fmla="*/ 1337310 h 2161222"/>
                  <a:gd name="connsiteX2231" fmla="*/ 1274445 w 2443162"/>
                  <a:gd name="connsiteY2231" fmla="*/ 1337310 h 2161222"/>
                  <a:gd name="connsiteX2232" fmla="*/ 1270635 w 2443162"/>
                  <a:gd name="connsiteY2232" fmla="*/ 1414463 h 2161222"/>
                  <a:gd name="connsiteX2233" fmla="*/ 1295400 w 2443162"/>
                  <a:gd name="connsiteY2233" fmla="*/ 1424940 h 2161222"/>
                  <a:gd name="connsiteX2234" fmla="*/ 1320165 w 2443162"/>
                  <a:gd name="connsiteY2234" fmla="*/ 1439228 h 2161222"/>
                  <a:gd name="connsiteX2235" fmla="*/ 1341120 w 2443162"/>
                  <a:gd name="connsiteY2235" fmla="*/ 1457325 h 2161222"/>
                  <a:gd name="connsiteX2236" fmla="*/ 1362075 w 2443162"/>
                  <a:gd name="connsiteY2236" fmla="*/ 1478280 h 2161222"/>
                  <a:gd name="connsiteX2237" fmla="*/ 1367790 w 2443162"/>
                  <a:gd name="connsiteY2237" fmla="*/ 1487805 h 2161222"/>
                  <a:gd name="connsiteX2238" fmla="*/ 1379220 w 2443162"/>
                  <a:gd name="connsiteY2238" fmla="*/ 1509713 h 2161222"/>
                  <a:gd name="connsiteX2239" fmla="*/ 1389698 w 2443162"/>
                  <a:gd name="connsiteY2239" fmla="*/ 1534478 h 2161222"/>
                  <a:gd name="connsiteX2240" fmla="*/ 1396365 w 2443162"/>
                  <a:gd name="connsiteY2240" fmla="*/ 1569720 h 2161222"/>
                  <a:gd name="connsiteX2241" fmla="*/ 1396365 w 2443162"/>
                  <a:gd name="connsiteY2241" fmla="*/ 1612583 h 2161222"/>
                  <a:gd name="connsiteX2242" fmla="*/ 1396365 w 2443162"/>
                  <a:gd name="connsiteY2242" fmla="*/ 1633538 h 2161222"/>
                  <a:gd name="connsiteX2243" fmla="*/ 1389698 w 2443162"/>
                  <a:gd name="connsiteY2243" fmla="*/ 1644015 h 2161222"/>
                  <a:gd name="connsiteX2244" fmla="*/ 1382078 w 2443162"/>
                  <a:gd name="connsiteY2244" fmla="*/ 1650683 h 2161222"/>
                  <a:gd name="connsiteX2245" fmla="*/ 1382078 w 2443162"/>
                  <a:gd name="connsiteY2245" fmla="*/ 1650683 h 2161222"/>
                  <a:gd name="connsiteX2246" fmla="*/ 1383030 w 2443162"/>
                  <a:gd name="connsiteY2246" fmla="*/ 1651635 h 2161222"/>
                  <a:gd name="connsiteX2247" fmla="*/ 1367790 w 2443162"/>
                  <a:gd name="connsiteY2247" fmla="*/ 1655445 h 2161222"/>
                  <a:gd name="connsiteX2248" fmla="*/ 1353503 w 2443162"/>
                  <a:gd name="connsiteY2248" fmla="*/ 1659255 h 2161222"/>
                  <a:gd name="connsiteX2249" fmla="*/ 1338263 w 2443162"/>
                  <a:gd name="connsiteY2249" fmla="*/ 1662113 h 2161222"/>
                  <a:gd name="connsiteX2250" fmla="*/ 1323023 w 2443162"/>
                  <a:gd name="connsiteY2250" fmla="*/ 1664970 h 2161222"/>
                  <a:gd name="connsiteX2251" fmla="*/ 1307783 w 2443162"/>
                  <a:gd name="connsiteY2251" fmla="*/ 1666875 h 2161222"/>
                  <a:gd name="connsiteX2252" fmla="*/ 1292543 w 2443162"/>
                  <a:gd name="connsiteY2252" fmla="*/ 1668780 h 2161222"/>
                  <a:gd name="connsiteX2253" fmla="*/ 1277303 w 2443162"/>
                  <a:gd name="connsiteY2253" fmla="*/ 1669733 h 2161222"/>
                  <a:gd name="connsiteX2254" fmla="*/ 1262063 w 2443162"/>
                  <a:gd name="connsiteY2254" fmla="*/ 1670685 h 2161222"/>
                  <a:gd name="connsiteX2255" fmla="*/ 1261110 w 2443162"/>
                  <a:gd name="connsiteY2255" fmla="*/ 1700213 h 2161222"/>
                  <a:gd name="connsiteX2256" fmla="*/ 1276350 w 2443162"/>
                  <a:gd name="connsiteY2256" fmla="*/ 1699260 h 2161222"/>
                  <a:gd name="connsiteX2257" fmla="*/ 1291590 w 2443162"/>
                  <a:gd name="connsiteY2257" fmla="*/ 1697355 h 2161222"/>
                  <a:gd name="connsiteX2258" fmla="*/ 1306830 w 2443162"/>
                  <a:gd name="connsiteY2258" fmla="*/ 1695450 h 2161222"/>
                  <a:gd name="connsiteX2259" fmla="*/ 1322070 w 2443162"/>
                  <a:gd name="connsiteY2259" fmla="*/ 1693545 h 2161222"/>
                  <a:gd name="connsiteX2260" fmla="*/ 1337310 w 2443162"/>
                  <a:gd name="connsiteY2260" fmla="*/ 1691640 h 2161222"/>
                  <a:gd name="connsiteX2261" fmla="*/ 1352550 w 2443162"/>
                  <a:gd name="connsiteY2261" fmla="*/ 1688783 h 2161222"/>
                  <a:gd name="connsiteX2262" fmla="*/ 1367790 w 2443162"/>
                  <a:gd name="connsiteY2262" fmla="*/ 1685925 h 2161222"/>
                  <a:gd name="connsiteX2263" fmla="*/ 1383030 w 2443162"/>
                  <a:gd name="connsiteY2263" fmla="*/ 1682115 h 2161222"/>
                  <a:gd name="connsiteX2264" fmla="*/ 1397318 w 2443162"/>
                  <a:gd name="connsiteY2264" fmla="*/ 1678305 h 2161222"/>
                  <a:gd name="connsiteX2265" fmla="*/ 1412558 w 2443162"/>
                  <a:gd name="connsiteY2265" fmla="*/ 1674495 h 2161222"/>
                  <a:gd name="connsiteX2266" fmla="*/ 1426845 w 2443162"/>
                  <a:gd name="connsiteY2266" fmla="*/ 1669733 h 2161222"/>
                  <a:gd name="connsiteX2267" fmla="*/ 1441133 w 2443162"/>
                  <a:gd name="connsiteY2267" fmla="*/ 1664970 h 2161222"/>
                  <a:gd name="connsiteX2268" fmla="*/ 1455420 w 2443162"/>
                  <a:gd name="connsiteY2268" fmla="*/ 1659255 h 2161222"/>
                  <a:gd name="connsiteX2269" fmla="*/ 1469708 w 2443162"/>
                  <a:gd name="connsiteY2269" fmla="*/ 1654493 h 2161222"/>
                  <a:gd name="connsiteX2270" fmla="*/ 1483995 w 2443162"/>
                  <a:gd name="connsiteY2270" fmla="*/ 1648778 h 2161222"/>
                  <a:gd name="connsiteX2271" fmla="*/ 1497330 w 2443162"/>
                  <a:gd name="connsiteY2271" fmla="*/ 1643063 h 2161222"/>
                  <a:gd name="connsiteX2272" fmla="*/ 1510665 w 2443162"/>
                  <a:gd name="connsiteY2272" fmla="*/ 1637348 h 2161222"/>
                  <a:gd name="connsiteX2273" fmla="*/ 1524000 w 2443162"/>
                  <a:gd name="connsiteY2273" fmla="*/ 1630680 h 2161222"/>
                  <a:gd name="connsiteX2274" fmla="*/ 1537335 w 2443162"/>
                  <a:gd name="connsiteY2274" fmla="*/ 1624013 h 2161222"/>
                  <a:gd name="connsiteX2275" fmla="*/ 1550670 w 2443162"/>
                  <a:gd name="connsiteY2275" fmla="*/ 1616393 h 2161222"/>
                  <a:gd name="connsiteX2276" fmla="*/ 1564005 w 2443162"/>
                  <a:gd name="connsiteY2276" fmla="*/ 1609725 h 2161222"/>
                  <a:gd name="connsiteX2277" fmla="*/ 1576388 w 2443162"/>
                  <a:gd name="connsiteY2277" fmla="*/ 1602105 h 2161222"/>
                  <a:gd name="connsiteX2278" fmla="*/ 1588770 w 2443162"/>
                  <a:gd name="connsiteY2278" fmla="*/ 1594485 h 2161222"/>
                  <a:gd name="connsiteX2279" fmla="*/ 1601153 w 2443162"/>
                  <a:gd name="connsiteY2279" fmla="*/ 1585913 h 2161222"/>
                  <a:gd name="connsiteX2280" fmla="*/ 1612583 w 2443162"/>
                  <a:gd name="connsiteY2280" fmla="*/ 1577340 h 2161222"/>
                  <a:gd name="connsiteX2281" fmla="*/ 1624965 w 2443162"/>
                  <a:gd name="connsiteY2281" fmla="*/ 1568768 h 2161222"/>
                  <a:gd name="connsiteX2282" fmla="*/ 1636395 w 2443162"/>
                  <a:gd name="connsiteY2282" fmla="*/ 1560195 h 2161222"/>
                  <a:gd name="connsiteX2283" fmla="*/ 1647825 w 2443162"/>
                  <a:gd name="connsiteY2283" fmla="*/ 1550670 h 2161222"/>
                  <a:gd name="connsiteX2284" fmla="*/ 1659255 w 2443162"/>
                  <a:gd name="connsiteY2284" fmla="*/ 1541145 h 2161222"/>
                  <a:gd name="connsiteX2285" fmla="*/ 1670685 w 2443162"/>
                  <a:gd name="connsiteY2285" fmla="*/ 1531620 h 2161222"/>
                  <a:gd name="connsiteX2286" fmla="*/ 1681163 w 2443162"/>
                  <a:gd name="connsiteY2286" fmla="*/ 1522095 h 2161222"/>
                  <a:gd name="connsiteX2287" fmla="*/ 1691640 w 2443162"/>
                  <a:gd name="connsiteY2287" fmla="*/ 1511618 h 2161222"/>
                  <a:gd name="connsiteX2288" fmla="*/ 1788795 w 2443162"/>
                  <a:gd name="connsiteY2288" fmla="*/ 1608773 h 2161222"/>
                  <a:gd name="connsiteX2289" fmla="*/ 1774508 w 2443162"/>
                  <a:gd name="connsiteY2289" fmla="*/ 1622108 h 2161222"/>
                  <a:gd name="connsiteX2290" fmla="*/ 1760220 w 2443162"/>
                  <a:gd name="connsiteY2290" fmla="*/ 1635443 h 2161222"/>
                  <a:gd name="connsiteX2291" fmla="*/ 1745933 w 2443162"/>
                  <a:gd name="connsiteY2291" fmla="*/ 1647825 h 2161222"/>
                  <a:gd name="connsiteX2292" fmla="*/ 1730693 w 2443162"/>
                  <a:gd name="connsiteY2292" fmla="*/ 1660208 h 2161222"/>
                  <a:gd name="connsiteX2293" fmla="*/ 1715453 w 2443162"/>
                  <a:gd name="connsiteY2293" fmla="*/ 1671638 h 2161222"/>
                  <a:gd name="connsiteX2294" fmla="*/ 1700213 w 2443162"/>
                  <a:gd name="connsiteY2294" fmla="*/ 1683068 h 2161222"/>
                  <a:gd name="connsiteX2295" fmla="*/ 1684973 w 2443162"/>
                  <a:gd name="connsiteY2295" fmla="*/ 1694498 h 2161222"/>
                  <a:gd name="connsiteX2296" fmla="*/ 1669733 w 2443162"/>
                  <a:gd name="connsiteY2296" fmla="*/ 1704975 h 2161222"/>
                  <a:gd name="connsiteX2297" fmla="*/ 1653540 w 2443162"/>
                  <a:gd name="connsiteY2297" fmla="*/ 1715453 h 2161222"/>
                  <a:gd name="connsiteX2298" fmla="*/ 1637348 w 2443162"/>
                  <a:gd name="connsiteY2298" fmla="*/ 1724978 h 2161222"/>
                  <a:gd name="connsiteX2299" fmla="*/ 1621155 w 2443162"/>
                  <a:gd name="connsiteY2299" fmla="*/ 1734503 h 2161222"/>
                  <a:gd name="connsiteX2300" fmla="*/ 1604010 w 2443162"/>
                  <a:gd name="connsiteY2300" fmla="*/ 1744028 h 2161222"/>
                  <a:gd name="connsiteX2301" fmla="*/ 1586865 w 2443162"/>
                  <a:gd name="connsiteY2301" fmla="*/ 1752600 h 2161222"/>
                  <a:gd name="connsiteX2302" fmla="*/ 1569720 w 2443162"/>
                  <a:gd name="connsiteY2302" fmla="*/ 1761173 h 2161222"/>
                  <a:gd name="connsiteX2303" fmla="*/ 1552575 w 2443162"/>
                  <a:gd name="connsiteY2303" fmla="*/ 1769745 h 2161222"/>
                  <a:gd name="connsiteX2304" fmla="*/ 1534478 w 2443162"/>
                  <a:gd name="connsiteY2304" fmla="*/ 1777365 h 2161222"/>
                  <a:gd name="connsiteX2305" fmla="*/ 1516380 w 2443162"/>
                  <a:gd name="connsiteY2305" fmla="*/ 1784985 h 2161222"/>
                  <a:gd name="connsiteX2306" fmla="*/ 1498283 w 2443162"/>
                  <a:gd name="connsiteY2306" fmla="*/ 1791653 h 2161222"/>
                  <a:gd name="connsiteX2307" fmla="*/ 1479233 w 2443162"/>
                  <a:gd name="connsiteY2307" fmla="*/ 1798320 h 2161222"/>
                  <a:gd name="connsiteX2308" fmla="*/ 1460183 w 2443162"/>
                  <a:gd name="connsiteY2308" fmla="*/ 1804035 h 2161222"/>
                  <a:gd name="connsiteX2309" fmla="*/ 1441133 w 2443162"/>
                  <a:gd name="connsiteY2309" fmla="*/ 1808798 h 2161222"/>
                  <a:gd name="connsiteX2310" fmla="*/ 1422083 w 2443162"/>
                  <a:gd name="connsiteY2310" fmla="*/ 1813560 h 2161222"/>
                  <a:gd name="connsiteX2311" fmla="*/ 1403033 w 2443162"/>
                  <a:gd name="connsiteY2311" fmla="*/ 1818323 h 2161222"/>
                  <a:gd name="connsiteX2312" fmla="*/ 1383030 w 2443162"/>
                  <a:gd name="connsiteY2312" fmla="*/ 1822133 h 2161222"/>
                  <a:gd name="connsiteX2313" fmla="*/ 1363028 w 2443162"/>
                  <a:gd name="connsiteY2313" fmla="*/ 1825943 h 2161222"/>
                  <a:gd name="connsiteX2314" fmla="*/ 1343025 w 2443162"/>
                  <a:gd name="connsiteY2314" fmla="*/ 1828800 h 2161222"/>
                  <a:gd name="connsiteX2315" fmla="*/ 1323023 w 2443162"/>
                  <a:gd name="connsiteY2315" fmla="*/ 1831658 h 2161222"/>
                  <a:gd name="connsiteX2316" fmla="*/ 1303020 w 2443162"/>
                  <a:gd name="connsiteY2316" fmla="*/ 1833563 h 2161222"/>
                  <a:gd name="connsiteX2317" fmla="*/ 1283018 w 2443162"/>
                  <a:gd name="connsiteY2317" fmla="*/ 1835468 h 2161222"/>
                  <a:gd name="connsiteX2318" fmla="*/ 1262063 w 2443162"/>
                  <a:gd name="connsiteY2318" fmla="*/ 1836420 h 2161222"/>
                  <a:gd name="connsiteX2319" fmla="*/ 1242060 w 2443162"/>
                  <a:gd name="connsiteY2319" fmla="*/ 1837373 h 2161222"/>
                  <a:gd name="connsiteX2320" fmla="*/ 1221105 w 2443162"/>
                  <a:gd name="connsiteY2320" fmla="*/ 1837373 h 2161222"/>
                  <a:gd name="connsiteX2321" fmla="*/ 1201103 w 2443162"/>
                  <a:gd name="connsiteY2321" fmla="*/ 1837373 h 2161222"/>
                  <a:gd name="connsiteX2322" fmla="*/ 1181100 w 2443162"/>
                  <a:gd name="connsiteY2322" fmla="*/ 1836420 h 2161222"/>
                  <a:gd name="connsiteX2323" fmla="*/ 1161098 w 2443162"/>
                  <a:gd name="connsiteY2323" fmla="*/ 1835468 h 2161222"/>
                  <a:gd name="connsiteX2324" fmla="*/ 1141095 w 2443162"/>
                  <a:gd name="connsiteY2324" fmla="*/ 1833563 h 2161222"/>
                  <a:gd name="connsiteX2325" fmla="*/ 1121093 w 2443162"/>
                  <a:gd name="connsiteY2325" fmla="*/ 1831658 h 2161222"/>
                  <a:gd name="connsiteX2326" fmla="*/ 1101090 w 2443162"/>
                  <a:gd name="connsiteY2326" fmla="*/ 1828800 h 2161222"/>
                  <a:gd name="connsiteX2327" fmla="*/ 1081088 w 2443162"/>
                  <a:gd name="connsiteY2327" fmla="*/ 1825943 h 2161222"/>
                  <a:gd name="connsiteX2328" fmla="*/ 1062038 w 2443162"/>
                  <a:gd name="connsiteY2328" fmla="*/ 1822133 h 2161222"/>
                  <a:gd name="connsiteX2329" fmla="*/ 1042035 w 2443162"/>
                  <a:gd name="connsiteY2329" fmla="*/ 1817370 h 2161222"/>
                  <a:gd name="connsiteX2330" fmla="*/ 1022985 w 2443162"/>
                  <a:gd name="connsiteY2330" fmla="*/ 1812608 h 2161222"/>
                  <a:gd name="connsiteX2331" fmla="*/ 1003935 w 2443162"/>
                  <a:gd name="connsiteY2331" fmla="*/ 1807845 h 2161222"/>
                  <a:gd name="connsiteX2332" fmla="*/ 984885 w 2443162"/>
                  <a:gd name="connsiteY2332" fmla="*/ 1802130 h 2161222"/>
                  <a:gd name="connsiteX2333" fmla="*/ 966788 w 2443162"/>
                  <a:gd name="connsiteY2333" fmla="*/ 1796415 h 2161222"/>
                  <a:gd name="connsiteX2334" fmla="*/ 947738 w 2443162"/>
                  <a:gd name="connsiteY2334" fmla="*/ 1789748 h 2161222"/>
                  <a:gd name="connsiteX2335" fmla="*/ 929640 w 2443162"/>
                  <a:gd name="connsiteY2335" fmla="*/ 1783080 h 2161222"/>
                  <a:gd name="connsiteX2336" fmla="*/ 911543 w 2443162"/>
                  <a:gd name="connsiteY2336" fmla="*/ 1775460 h 2161222"/>
                  <a:gd name="connsiteX2337" fmla="*/ 893445 w 2443162"/>
                  <a:gd name="connsiteY2337" fmla="*/ 1767840 h 2161222"/>
                  <a:gd name="connsiteX2338" fmla="*/ 876300 w 2443162"/>
                  <a:gd name="connsiteY2338" fmla="*/ 1760220 h 2161222"/>
                  <a:gd name="connsiteX2339" fmla="*/ 859155 w 2443162"/>
                  <a:gd name="connsiteY2339" fmla="*/ 1751648 h 2161222"/>
                  <a:gd name="connsiteX2340" fmla="*/ 842010 w 2443162"/>
                  <a:gd name="connsiteY2340" fmla="*/ 1743075 h 2161222"/>
                  <a:gd name="connsiteX2341" fmla="*/ 824865 w 2443162"/>
                  <a:gd name="connsiteY2341" fmla="*/ 1733550 h 2161222"/>
                  <a:gd name="connsiteX2342" fmla="*/ 808673 w 2443162"/>
                  <a:gd name="connsiteY2342" fmla="*/ 1724025 h 2161222"/>
                  <a:gd name="connsiteX2343" fmla="*/ 792480 w 2443162"/>
                  <a:gd name="connsiteY2343" fmla="*/ 1714500 h 2161222"/>
                  <a:gd name="connsiteX2344" fmla="*/ 776288 w 2443162"/>
                  <a:gd name="connsiteY2344" fmla="*/ 1704023 h 2161222"/>
                  <a:gd name="connsiteX2345" fmla="*/ 760095 w 2443162"/>
                  <a:gd name="connsiteY2345" fmla="*/ 1693545 h 2161222"/>
                  <a:gd name="connsiteX2346" fmla="*/ 744855 w 2443162"/>
                  <a:gd name="connsiteY2346" fmla="*/ 1683068 h 2161222"/>
                  <a:gd name="connsiteX2347" fmla="*/ 729615 w 2443162"/>
                  <a:gd name="connsiteY2347" fmla="*/ 1671638 h 2161222"/>
                  <a:gd name="connsiteX2348" fmla="*/ 714375 w 2443162"/>
                  <a:gd name="connsiteY2348" fmla="*/ 1660208 h 2161222"/>
                  <a:gd name="connsiteX2349" fmla="*/ 699135 w 2443162"/>
                  <a:gd name="connsiteY2349" fmla="*/ 1647825 h 2161222"/>
                  <a:gd name="connsiteX2350" fmla="*/ 683895 w 2443162"/>
                  <a:gd name="connsiteY2350" fmla="*/ 1635443 h 2161222"/>
                  <a:gd name="connsiteX2351" fmla="*/ 669608 w 2443162"/>
                  <a:gd name="connsiteY2351" fmla="*/ 1622108 h 2161222"/>
                  <a:gd name="connsiteX2352" fmla="*/ 655320 w 2443162"/>
                  <a:gd name="connsiteY2352" fmla="*/ 1608773 h 2161222"/>
                  <a:gd name="connsiteX2353" fmla="*/ 753428 w 2443162"/>
                  <a:gd name="connsiteY2353" fmla="*/ 1514475 h 2161222"/>
                  <a:gd name="connsiteX2354" fmla="*/ 763905 w 2443162"/>
                  <a:gd name="connsiteY2354" fmla="*/ 1524000 h 2161222"/>
                  <a:gd name="connsiteX2355" fmla="*/ 774383 w 2443162"/>
                  <a:gd name="connsiteY2355" fmla="*/ 1533525 h 2161222"/>
                  <a:gd name="connsiteX2356" fmla="*/ 784860 w 2443162"/>
                  <a:gd name="connsiteY2356" fmla="*/ 1543050 h 2161222"/>
                  <a:gd name="connsiteX2357" fmla="*/ 795338 w 2443162"/>
                  <a:gd name="connsiteY2357" fmla="*/ 1551623 h 2161222"/>
                  <a:gd name="connsiteX2358" fmla="*/ 805815 w 2443162"/>
                  <a:gd name="connsiteY2358" fmla="*/ 1560195 h 2161222"/>
                  <a:gd name="connsiteX2359" fmla="*/ 817245 w 2443162"/>
                  <a:gd name="connsiteY2359" fmla="*/ 1568768 h 2161222"/>
                  <a:gd name="connsiteX2360" fmla="*/ 827723 w 2443162"/>
                  <a:gd name="connsiteY2360" fmla="*/ 1577340 h 2161222"/>
                  <a:gd name="connsiteX2361" fmla="*/ 839153 w 2443162"/>
                  <a:gd name="connsiteY2361" fmla="*/ 1584960 h 2161222"/>
                  <a:gd name="connsiteX2362" fmla="*/ 850583 w 2443162"/>
                  <a:gd name="connsiteY2362" fmla="*/ 1592580 h 2161222"/>
                  <a:gd name="connsiteX2363" fmla="*/ 862965 w 2443162"/>
                  <a:gd name="connsiteY2363" fmla="*/ 1600200 h 2161222"/>
                  <a:gd name="connsiteX2364" fmla="*/ 874395 w 2443162"/>
                  <a:gd name="connsiteY2364" fmla="*/ 1607820 h 2161222"/>
                  <a:gd name="connsiteX2365" fmla="*/ 886778 w 2443162"/>
                  <a:gd name="connsiteY2365" fmla="*/ 1614488 h 2161222"/>
                  <a:gd name="connsiteX2366" fmla="*/ 899160 w 2443162"/>
                  <a:gd name="connsiteY2366" fmla="*/ 1621155 h 2161222"/>
                  <a:gd name="connsiteX2367" fmla="*/ 911543 w 2443162"/>
                  <a:gd name="connsiteY2367" fmla="*/ 1627823 h 2161222"/>
                  <a:gd name="connsiteX2368" fmla="*/ 923925 w 2443162"/>
                  <a:gd name="connsiteY2368" fmla="*/ 1633538 h 2161222"/>
                  <a:gd name="connsiteX2369" fmla="*/ 936308 w 2443162"/>
                  <a:gd name="connsiteY2369" fmla="*/ 1639253 h 2161222"/>
                  <a:gd name="connsiteX2370" fmla="*/ 949643 w 2443162"/>
                  <a:gd name="connsiteY2370" fmla="*/ 1644968 h 2161222"/>
                  <a:gd name="connsiteX2371" fmla="*/ 962978 w 2443162"/>
                  <a:gd name="connsiteY2371" fmla="*/ 1650683 h 2161222"/>
                  <a:gd name="connsiteX2372" fmla="*/ 976313 w 2443162"/>
                  <a:gd name="connsiteY2372" fmla="*/ 1656398 h 2161222"/>
                  <a:gd name="connsiteX2373" fmla="*/ 989648 w 2443162"/>
                  <a:gd name="connsiteY2373" fmla="*/ 1661160 h 2161222"/>
                  <a:gd name="connsiteX2374" fmla="*/ 1002983 w 2443162"/>
                  <a:gd name="connsiteY2374" fmla="*/ 1665923 h 2161222"/>
                  <a:gd name="connsiteX2375" fmla="*/ 1016318 w 2443162"/>
                  <a:gd name="connsiteY2375" fmla="*/ 1670685 h 2161222"/>
                  <a:gd name="connsiteX2376" fmla="*/ 1029653 w 2443162"/>
                  <a:gd name="connsiteY2376" fmla="*/ 1675448 h 2161222"/>
                  <a:gd name="connsiteX2377" fmla="*/ 1043940 w 2443162"/>
                  <a:gd name="connsiteY2377" fmla="*/ 1679258 h 2161222"/>
                  <a:gd name="connsiteX2378" fmla="*/ 1058228 w 2443162"/>
                  <a:gd name="connsiteY2378" fmla="*/ 1683068 h 2161222"/>
                  <a:gd name="connsiteX2379" fmla="*/ 1072515 w 2443162"/>
                  <a:gd name="connsiteY2379" fmla="*/ 1685925 h 2161222"/>
                  <a:gd name="connsiteX2380" fmla="*/ 1086803 w 2443162"/>
                  <a:gd name="connsiteY2380" fmla="*/ 1688783 h 2161222"/>
                  <a:gd name="connsiteX2381" fmla="*/ 1101090 w 2443162"/>
                  <a:gd name="connsiteY2381" fmla="*/ 1691640 h 2161222"/>
                  <a:gd name="connsiteX2382" fmla="*/ 1115378 w 2443162"/>
                  <a:gd name="connsiteY2382" fmla="*/ 1694498 h 2161222"/>
                  <a:gd name="connsiteX2383" fmla="*/ 1129665 w 2443162"/>
                  <a:gd name="connsiteY2383" fmla="*/ 1696403 h 2161222"/>
                  <a:gd name="connsiteX2384" fmla="*/ 1143953 w 2443162"/>
                  <a:gd name="connsiteY2384" fmla="*/ 1698308 h 2161222"/>
                  <a:gd name="connsiteX2385" fmla="*/ 1159193 w 2443162"/>
                  <a:gd name="connsiteY2385" fmla="*/ 1700213 h 2161222"/>
                  <a:gd name="connsiteX2386" fmla="*/ 1159193 w 2443162"/>
                  <a:gd name="connsiteY2386" fmla="*/ 1670685 h 2161222"/>
                  <a:gd name="connsiteX2387" fmla="*/ 1145858 w 2443162"/>
                  <a:gd name="connsiteY2387" fmla="*/ 1669733 h 2161222"/>
                  <a:gd name="connsiteX2388" fmla="*/ 1131570 w 2443162"/>
                  <a:gd name="connsiteY2388" fmla="*/ 1667828 h 2161222"/>
                  <a:gd name="connsiteX2389" fmla="*/ 1118235 w 2443162"/>
                  <a:gd name="connsiteY2389" fmla="*/ 1665923 h 2161222"/>
                  <a:gd name="connsiteX2390" fmla="*/ 1103948 w 2443162"/>
                  <a:gd name="connsiteY2390" fmla="*/ 1663065 h 2161222"/>
                  <a:gd name="connsiteX2391" fmla="*/ 1090613 w 2443162"/>
                  <a:gd name="connsiteY2391" fmla="*/ 1660208 h 2161222"/>
                  <a:gd name="connsiteX2392" fmla="*/ 1077278 w 2443162"/>
                  <a:gd name="connsiteY2392" fmla="*/ 1657350 h 2161222"/>
                  <a:gd name="connsiteX2393" fmla="*/ 1063943 w 2443162"/>
                  <a:gd name="connsiteY2393" fmla="*/ 1654493 h 2161222"/>
                  <a:gd name="connsiteX2394" fmla="*/ 1050608 w 2443162"/>
                  <a:gd name="connsiteY2394" fmla="*/ 1650683 h 2161222"/>
                  <a:gd name="connsiteX2395" fmla="*/ 1037273 w 2443162"/>
                  <a:gd name="connsiteY2395" fmla="*/ 1646873 h 2161222"/>
                  <a:gd name="connsiteX2396" fmla="*/ 1023938 w 2443162"/>
                  <a:gd name="connsiteY2396" fmla="*/ 1643063 h 2161222"/>
                  <a:gd name="connsiteX2397" fmla="*/ 1011555 w 2443162"/>
                  <a:gd name="connsiteY2397" fmla="*/ 1638300 h 2161222"/>
                  <a:gd name="connsiteX2398" fmla="*/ 999173 w 2443162"/>
                  <a:gd name="connsiteY2398" fmla="*/ 1633538 h 2161222"/>
                  <a:gd name="connsiteX2399" fmla="*/ 986790 w 2443162"/>
                  <a:gd name="connsiteY2399" fmla="*/ 1628775 h 2161222"/>
                  <a:gd name="connsiteX2400" fmla="*/ 974408 w 2443162"/>
                  <a:gd name="connsiteY2400" fmla="*/ 1624013 h 2161222"/>
                  <a:gd name="connsiteX2401" fmla="*/ 962025 w 2443162"/>
                  <a:gd name="connsiteY2401" fmla="*/ 1618298 h 2161222"/>
                  <a:gd name="connsiteX2402" fmla="*/ 949643 w 2443162"/>
                  <a:gd name="connsiteY2402" fmla="*/ 1612583 h 2161222"/>
                  <a:gd name="connsiteX2403" fmla="*/ 937260 w 2443162"/>
                  <a:gd name="connsiteY2403" fmla="*/ 1606868 h 2161222"/>
                  <a:gd name="connsiteX2404" fmla="*/ 925830 w 2443162"/>
                  <a:gd name="connsiteY2404" fmla="*/ 1601153 h 2161222"/>
                  <a:gd name="connsiteX2405" fmla="*/ 914400 w 2443162"/>
                  <a:gd name="connsiteY2405" fmla="*/ 1595438 h 2161222"/>
                  <a:gd name="connsiteX2406" fmla="*/ 902970 w 2443162"/>
                  <a:gd name="connsiteY2406" fmla="*/ 1588770 h 2161222"/>
                  <a:gd name="connsiteX2407" fmla="*/ 891540 w 2443162"/>
                  <a:gd name="connsiteY2407" fmla="*/ 1582103 h 2161222"/>
                  <a:gd name="connsiteX2408" fmla="*/ 880110 w 2443162"/>
                  <a:gd name="connsiteY2408" fmla="*/ 1575435 h 2161222"/>
                  <a:gd name="connsiteX2409" fmla="*/ 868680 w 2443162"/>
                  <a:gd name="connsiteY2409" fmla="*/ 1568768 h 2161222"/>
                  <a:gd name="connsiteX2410" fmla="*/ 858203 w 2443162"/>
                  <a:gd name="connsiteY2410" fmla="*/ 1561148 h 2161222"/>
                  <a:gd name="connsiteX2411" fmla="*/ 847725 w 2443162"/>
                  <a:gd name="connsiteY2411" fmla="*/ 1553528 h 2161222"/>
                  <a:gd name="connsiteX2412" fmla="*/ 837248 w 2443162"/>
                  <a:gd name="connsiteY2412" fmla="*/ 1545908 h 2161222"/>
                  <a:gd name="connsiteX2413" fmla="*/ 826770 w 2443162"/>
                  <a:gd name="connsiteY2413" fmla="*/ 1537335 h 2161222"/>
                  <a:gd name="connsiteX2414" fmla="*/ 816293 w 2443162"/>
                  <a:gd name="connsiteY2414" fmla="*/ 1528763 h 2161222"/>
                  <a:gd name="connsiteX2415" fmla="*/ 805815 w 2443162"/>
                  <a:gd name="connsiteY2415" fmla="*/ 1520190 h 2161222"/>
                  <a:gd name="connsiteX2416" fmla="*/ 795338 w 2443162"/>
                  <a:gd name="connsiteY2416" fmla="*/ 1511618 h 2161222"/>
                  <a:gd name="connsiteX2417" fmla="*/ 785813 w 2443162"/>
                  <a:gd name="connsiteY2417" fmla="*/ 1503045 h 2161222"/>
                  <a:gd name="connsiteX2418" fmla="*/ 776288 w 2443162"/>
                  <a:gd name="connsiteY2418" fmla="*/ 1494473 h 2161222"/>
                  <a:gd name="connsiteX2419" fmla="*/ 801053 w 2443162"/>
                  <a:gd name="connsiteY2419" fmla="*/ 1469708 h 2161222"/>
                  <a:gd name="connsiteX2420" fmla="*/ 802958 w 2443162"/>
                  <a:gd name="connsiteY2420" fmla="*/ 1470660 h 2161222"/>
                  <a:gd name="connsiteX2421" fmla="*/ 839153 w 2443162"/>
                  <a:gd name="connsiteY2421" fmla="*/ 1473518 h 2161222"/>
                  <a:gd name="connsiteX2422" fmla="*/ 857250 w 2443162"/>
                  <a:gd name="connsiteY2422" fmla="*/ 1452563 h 2161222"/>
                  <a:gd name="connsiteX2423" fmla="*/ 906780 w 2443162"/>
                  <a:gd name="connsiteY2423" fmla="*/ 1456373 h 2161222"/>
                  <a:gd name="connsiteX2424" fmla="*/ 914400 w 2443162"/>
                  <a:gd name="connsiteY2424" fmla="*/ 1438275 h 2161222"/>
                  <a:gd name="connsiteX2425" fmla="*/ 914400 w 2443162"/>
                  <a:gd name="connsiteY2425" fmla="*/ 1431608 h 2161222"/>
                  <a:gd name="connsiteX2426" fmla="*/ 916305 w 2443162"/>
                  <a:gd name="connsiteY2426" fmla="*/ 1432560 h 2161222"/>
                  <a:gd name="connsiteX2427" fmla="*/ 916305 w 2443162"/>
                  <a:gd name="connsiteY2427" fmla="*/ 1431608 h 2161222"/>
                  <a:gd name="connsiteX2428" fmla="*/ 916305 w 2443162"/>
                  <a:gd name="connsiteY2428" fmla="*/ 1431608 h 2161222"/>
                  <a:gd name="connsiteX2429" fmla="*/ 929640 w 2443162"/>
                  <a:gd name="connsiteY2429" fmla="*/ 1441133 h 2161222"/>
                  <a:gd name="connsiteX2430" fmla="*/ 942975 w 2443162"/>
                  <a:gd name="connsiteY2430" fmla="*/ 1450658 h 2161222"/>
                  <a:gd name="connsiteX2431" fmla="*/ 957263 w 2443162"/>
                  <a:gd name="connsiteY2431" fmla="*/ 1459230 h 2161222"/>
                  <a:gd name="connsiteX2432" fmla="*/ 971550 w 2443162"/>
                  <a:gd name="connsiteY2432" fmla="*/ 1467803 h 2161222"/>
                  <a:gd name="connsiteX2433" fmla="*/ 986790 w 2443162"/>
                  <a:gd name="connsiteY2433" fmla="*/ 1475423 h 2161222"/>
                  <a:gd name="connsiteX2434" fmla="*/ 1002030 w 2443162"/>
                  <a:gd name="connsiteY2434" fmla="*/ 1483043 h 2161222"/>
                  <a:gd name="connsiteX2435" fmla="*/ 1017270 w 2443162"/>
                  <a:gd name="connsiteY2435" fmla="*/ 1489710 h 2161222"/>
                  <a:gd name="connsiteX2436" fmla="*/ 1032510 w 2443162"/>
                  <a:gd name="connsiteY2436" fmla="*/ 1496378 h 2161222"/>
                  <a:gd name="connsiteX2437" fmla="*/ 1047750 w 2443162"/>
                  <a:gd name="connsiteY2437" fmla="*/ 1502093 h 2161222"/>
                  <a:gd name="connsiteX2438" fmla="*/ 1062990 w 2443162"/>
                  <a:gd name="connsiteY2438" fmla="*/ 1507808 h 2161222"/>
                  <a:gd name="connsiteX2439" fmla="*/ 1079183 w 2443162"/>
                  <a:gd name="connsiteY2439" fmla="*/ 1512570 h 2161222"/>
                  <a:gd name="connsiteX2440" fmla="*/ 1095375 w 2443162"/>
                  <a:gd name="connsiteY2440" fmla="*/ 1517333 h 2161222"/>
                  <a:gd name="connsiteX2441" fmla="*/ 1111568 w 2443162"/>
                  <a:gd name="connsiteY2441" fmla="*/ 1522095 h 2161222"/>
                  <a:gd name="connsiteX2442" fmla="*/ 1128713 w 2443162"/>
                  <a:gd name="connsiteY2442" fmla="*/ 1525905 h 2161222"/>
                  <a:gd name="connsiteX2443" fmla="*/ 1145858 w 2443162"/>
                  <a:gd name="connsiteY2443" fmla="*/ 1528763 h 2161222"/>
                  <a:gd name="connsiteX2444" fmla="*/ 1163003 w 2443162"/>
                  <a:gd name="connsiteY2444" fmla="*/ 1531620 h 2161222"/>
                  <a:gd name="connsiteX2445" fmla="*/ 1163003 w 2443162"/>
                  <a:gd name="connsiteY2445" fmla="*/ 1501140 h 2161222"/>
                  <a:gd name="connsiteX2446" fmla="*/ 1143953 w 2443162"/>
                  <a:gd name="connsiteY2446" fmla="*/ 1498283 h 2161222"/>
                  <a:gd name="connsiteX2447" fmla="*/ 1124903 w 2443162"/>
                  <a:gd name="connsiteY2447" fmla="*/ 1494473 h 2161222"/>
                  <a:gd name="connsiteX2448" fmla="*/ 1105853 w 2443162"/>
                  <a:gd name="connsiteY2448" fmla="*/ 1489710 h 2161222"/>
                  <a:gd name="connsiteX2449" fmla="*/ 1087755 w 2443162"/>
                  <a:gd name="connsiteY2449" fmla="*/ 1484948 h 2161222"/>
                  <a:gd name="connsiteX2450" fmla="*/ 1069658 w 2443162"/>
                  <a:gd name="connsiteY2450" fmla="*/ 1479233 h 2161222"/>
                  <a:gd name="connsiteX2451" fmla="*/ 1051560 w 2443162"/>
                  <a:gd name="connsiteY2451" fmla="*/ 1472565 h 2161222"/>
                  <a:gd name="connsiteX2452" fmla="*/ 1034415 w 2443162"/>
                  <a:gd name="connsiteY2452" fmla="*/ 1465898 h 2161222"/>
                  <a:gd name="connsiteX2453" fmla="*/ 1017270 w 2443162"/>
                  <a:gd name="connsiteY2453" fmla="*/ 1458278 h 2161222"/>
                  <a:gd name="connsiteX2454" fmla="*/ 1001078 w 2443162"/>
                  <a:gd name="connsiteY2454" fmla="*/ 1449705 h 2161222"/>
                  <a:gd name="connsiteX2455" fmla="*/ 984885 w 2443162"/>
                  <a:gd name="connsiteY2455" fmla="*/ 1441133 h 2161222"/>
                  <a:gd name="connsiteX2456" fmla="*/ 969645 w 2443162"/>
                  <a:gd name="connsiteY2456" fmla="*/ 1431608 h 2161222"/>
                  <a:gd name="connsiteX2457" fmla="*/ 954405 w 2443162"/>
                  <a:gd name="connsiteY2457" fmla="*/ 1421130 h 2161222"/>
                  <a:gd name="connsiteX2458" fmla="*/ 939165 w 2443162"/>
                  <a:gd name="connsiteY2458" fmla="*/ 1410653 h 2161222"/>
                  <a:gd name="connsiteX2459" fmla="*/ 924878 w 2443162"/>
                  <a:gd name="connsiteY2459" fmla="*/ 1399223 h 2161222"/>
                  <a:gd name="connsiteX2460" fmla="*/ 910590 w 2443162"/>
                  <a:gd name="connsiteY2460" fmla="*/ 1387793 h 2161222"/>
                  <a:gd name="connsiteX2461" fmla="*/ 897255 w 2443162"/>
                  <a:gd name="connsiteY2461" fmla="*/ 1375410 h 2161222"/>
                  <a:gd name="connsiteX2462" fmla="*/ 995363 w 2443162"/>
                  <a:gd name="connsiteY2462" fmla="*/ 1277303 h 2161222"/>
                  <a:gd name="connsiteX2463" fmla="*/ 1003935 w 2443162"/>
                  <a:gd name="connsiteY2463" fmla="*/ 1284923 h 2161222"/>
                  <a:gd name="connsiteX2464" fmla="*/ 1012508 w 2443162"/>
                  <a:gd name="connsiteY2464" fmla="*/ 1292543 h 2161222"/>
                  <a:gd name="connsiteX2465" fmla="*/ 1022033 w 2443162"/>
                  <a:gd name="connsiteY2465" fmla="*/ 1299210 h 2161222"/>
                  <a:gd name="connsiteX2466" fmla="*/ 1031558 w 2443162"/>
                  <a:gd name="connsiteY2466" fmla="*/ 1305878 h 2161222"/>
                  <a:gd name="connsiteX2467" fmla="*/ 1041083 w 2443162"/>
                  <a:gd name="connsiteY2467" fmla="*/ 1312545 h 2161222"/>
                  <a:gd name="connsiteX2468" fmla="*/ 1051560 w 2443162"/>
                  <a:gd name="connsiteY2468" fmla="*/ 1318260 h 2161222"/>
                  <a:gd name="connsiteX2469" fmla="*/ 1062038 w 2443162"/>
                  <a:gd name="connsiteY2469" fmla="*/ 1323975 h 2161222"/>
                  <a:gd name="connsiteX2470" fmla="*/ 1072515 w 2443162"/>
                  <a:gd name="connsiteY2470" fmla="*/ 1329690 h 2161222"/>
                  <a:gd name="connsiteX2471" fmla="*/ 1072515 w 2443162"/>
                  <a:gd name="connsiteY2471" fmla="*/ 1327785 h 2161222"/>
                  <a:gd name="connsiteX2472" fmla="*/ 1076325 w 2443162"/>
                  <a:gd name="connsiteY2472" fmla="*/ 1313498 h 2161222"/>
                  <a:gd name="connsiteX2473" fmla="*/ 1081088 w 2443162"/>
                  <a:gd name="connsiteY2473" fmla="*/ 1303973 h 2161222"/>
                  <a:gd name="connsiteX2474" fmla="*/ 1071563 w 2443162"/>
                  <a:gd name="connsiteY2474" fmla="*/ 1299210 h 2161222"/>
                  <a:gd name="connsiteX2475" fmla="*/ 1062038 w 2443162"/>
                  <a:gd name="connsiteY2475" fmla="*/ 1294448 h 2161222"/>
                  <a:gd name="connsiteX2476" fmla="*/ 1053465 w 2443162"/>
                  <a:gd name="connsiteY2476" fmla="*/ 1289685 h 2161222"/>
                  <a:gd name="connsiteX2477" fmla="*/ 1044893 w 2443162"/>
                  <a:gd name="connsiteY2477" fmla="*/ 1283970 h 2161222"/>
                  <a:gd name="connsiteX2478" fmla="*/ 1036320 w 2443162"/>
                  <a:gd name="connsiteY2478" fmla="*/ 1278255 h 2161222"/>
                  <a:gd name="connsiteX2479" fmla="*/ 1027748 w 2443162"/>
                  <a:gd name="connsiteY2479" fmla="*/ 1271588 h 2161222"/>
                  <a:gd name="connsiteX2480" fmla="*/ 1019175 w 2443162"/>
                  <a:gd name="connsiteY2480" fmla="*/ 1264920 h 2161222"/>
                  <a:gd name="connsiteX2481" fmla="*/ 1011555 w 2443162"/>
                  <a:gd name="connsiteY2481" fmla="*/ 1258253 h 2161222"/>
                  <a:gd name="connsiteX2482" fmla="*/ 1110615 w 2443162"/>
                  <a:gd name="connsiteY2482" fmla="*/ 1159193 h 2161222"/>
                  <a:gd name="connsiteX2483" fmla="*/ 1116330 w 2443162"/>
                  <a:gd name="connsiteY2483" fmla="*/ 1163955 h 2161222"/>
                  <a:gd name="connsiteX2484" fmla="*/ 1122045 w 2443162"/>
                  <a:gd name="connsiteY2484" fmla="*/ 1168718 h 2161222"/>
                  <a:gd name="connsiteX2485" fmla="*/ 1128713 w 2443162"/>
                  <a:gd name="connsiteY2485" fmla="*/ 1172528 h 2161222"/>
                  <a:gd name="connsiteX2486" fmla="*/ 1134428 w 2443162"/>
                  <a:gd name="connsiteY2486" fmla="*/ 1176338 h 2161222"/>
                  <a:gd name="connsiteX2487" fmla="*/ 1141095 w 2443162"/>
                  <a:gd name="connsiteY2487" fmla="*/ 1180148 h 2161222"/>
                  <a:gd name="connsiteX2488" fmla="*/ 1147763 w 2443162"/>
                  <a:gd name="connsiteY2488" fmla="*/ 1183958 h 2161222"/>
                  <a:gd name="connsiteX2489" fmla="*/ 1154430 w 2443162"/>
                  <a:gd name="connsiteY2489" fmla="*/ 1186815 h 2161222"/>
                  <a:gd name="connsiteX2490" fmla="*/ 1161098 w 2443162"/>
                  <a:gd name="connsiteY2490" fmla="*/ 1189673 h 2161222"/>
                  <a:gd name="connsiteX2491" fmla="*/ 1161098 w 2443162"/>
                  <a:gd name="connsiteY2491" fmla="*/ 1161098 h 2161222"/>
                  <a:gd name="connsiteX2492" fmla="*/ 1152525 w 2443162"/>
                  <a:gd name="connsiteY2492" fmla="*/ 1157288 h 2161222"/>
                  <a:gd name="connsiteX2493" fmla="*/ 1143953 w 2443162"/>
                  <a:gd name="connsiteY2493" fmla="*/ 1152525 h 2161222"/>
                  <a:gd name="connsiteX2494" fmla="*/ 1135380 w 2443162"/>
                  <a:gd name="connsiteY2494" fmla="*/ 1147763 h 2161222"/>
                  <a:gd name="connsiteX2495" fmla="*/ 1127760 w 2443162"/>
                  <a:gd name="connsiteY2495" fmla="*/ 1142048 h 2161222"/>
                  <a:gd name="connsiteX2496" fmla="*/ 1157288 w 2443162"/>
                  <a:gd name="connsiteY2496" fmla="*/ 1112520 h 2161222"/>
                  <a:gd name="connsiteX2497" fmla="*/ 1126808 w 2443162"/>
                  <a:gd name="connsiteY2497" fmla="*/ 1102043 h 2161222"/>
                  <a:gd name="connsiteX2498" fmla="*/ 1106805 w 2443162"/>
                  <a:gd name="connsiteY2498" fmla="*/ 1122045 h 2161222"/>
                  <a:gd name="connsiteX2499" fmla="*/ 1101090 w 2443162"/>
                  <a:gd name="connsiteY2499" fmla="*/ 1114425 h 2161222"/>
                  <a:gd name="connsiteX2500" fmla="*/ 1095375 w 2443162"/>
                  <a:gd name="connsiteY2500" fmla="*/ 1105853 h 2161222"/>
                  <a:gd name="connsiteX2501" fmla="*/ 1089660 w 2443162"/>
                  <a:gd name="connsiteY2501" fmla="*/ 1097280 h 2161222"/>
                  <a:gd name="connsiteX2502" fmla="*/ 1084898 w 2443162"/>
                  <a:gd name="connsiteY2502" fmla="*/ 1087755 h 2161222"/>
                  <a:gd name="connsiteX2503" fmla="*/ 1064895 w 2443162"/>
                  <a:gd name="connsiteY2503" fmla="*/ 1081088 h 2161222"/>
                  <a:gd name="connsiteX2504" fmla="*/ 1061085 w 2443162"/>
                  <a:gd name="connsiteY2504" fmla="*/ 1079183 h 2161222"/>
                  <a:gd name="connsiteX2505" fmla="*/ 1059180 w 2443162"/>
                  <a:gd name="connsiteY2505" fmla="*/ 1078230 h 2161222"/>
                  <a:gd name="connsiteX2506" fmla="*/ 1034415 w 2443162"/>
                  <a:gd name="connsiteY2506" fmla="*/ 1063943 h 2161222"/>
                  <a:gd name="connsiteX2507" fmla="*/ 1013460 w 2443162"/>
                  <a:gd name="connsiteY2507" fmla="*/ 1049655 h 2161222"/>
                  <a:gd name="connsiteX2508" fmla="*/ 995363 w 2443162"/>
                  <a:gd name="connsiteY2508" fmla="*/ 1031558 h 2161222"/>
                  <a:gd name="connsiteX2509" fmla="*/ 978218 w 2443162"/>
                  <a:gd name="connsiteY2509" fmla="*/ 1014413 h 2161222"/>
                  <a:gd name="connsiteX2510" fmla="*/ 967740 w 2443162"/>
                  <a:gd name="connsiteY2510" fmla="*/ 993458 h 2161222"/>
                  <a:gd name="connsiteX2511" fmla="*/ 957263 w 2443162"/>
                  <a:gd name="connsiteY2511" fmla="*/ 972503 h 2161222"/>
                  <a:gd name="connsiteX2512" fmla="*/ 950595 w 2443162"/>
                  <a:gd name="connsiteY2512" fmla="*/ 947738 h 2161222"/>
                  <a:gd name="connsiteX2513" fmla="*/ 942975 w 2443162"/>
                  <a:gd name="connsiteY2513" fmla="*/ 922973 h 2161222"/>
                  <a:gd name="connsiteX2514" fmla="*/ 942975 w 2443162"/>
                  <a:gd name="connsiteY2514" fmla="*/ 894398 h 2161222"/>
                  <a:gd name="connsiteX2515" fmla="*/ 945833 w 2443162"/>
                  <a:gd name="connsiteY2515" fmla="*/ 862013 h 2161222"/>
                  <a:gd name="connsiteX2516" fmla="*/ 951548 w 2443162"/>
                  <a:gd name="connsiteY2516" fmla="*/ 832485 h 2161222"/>
                  <a:gd name="connsiteX2517" fmla="*/ 953453 w 2443162"/>
                  <a:gd name="connsiteY2517" fmla="*/ 824865 h 2161222"/>
                  <a:gd name="connsiteX2518" fmla="*/ 969645 w 2443162"/>
                  <a:gd name="connsiteY2518" fmla="*/ 788670 h 2161222"/>
                  <a:gd name="connsiteX2519" fmla="*/ 975360 w 2443162"/>
                  <a:gd name="connsiteY2519" fmla="*/ 778193 h 2161222"/>
                  <a:gd name="connsiteX2520" fmla="*/ 973455 w 2443162"/>
                  <a:gd name="connsiteY2520" fmla="*/ 780098 h 2161222"/>
                  <a:gd name="connsiteX2521" fmla="*/ 975360 w 2443162"/>
                  <a:gd name="connsiteY2521" fmla="*/ 775335 h 2161222"/>
                  <a:gd name="connsiteX2522" fmla="*/ 986790 w 2443162"/>
                  <a:gd name="connsiteY2522" fmla="*/ 761048 h 2161222"/>
                  <a:gd name="connsiteX2523" fmla="*/ 891540 w 2443162"/>
                  <a:gd name="connsiteY2523" fmla="*/ 665798 h 2161222"/>
                  <a:gd name="connsiteX2524" fmla="*/ 904875 w 2443162"/>
                  <a:gd name="connsiteY2524" fmla="*/ 653415 h 2161222"/>
                  <a:gd name="connsiteX2525" fmla="*/ 919163 w 2443162"/>
                  <a:gd name="connsiteY2525" fmla="*/ 641985 h 2161222"/>
                  <a:gd name="connsiteX2526" fmla="*/ 933450 w 2443162"/>
                  <a:gd name="connsiteY2526" fmla="*/ 631508 h 2161222"/>
                  <a:gd name="connsiteX2527" fmla="*/ 948690 w 2443162"/>
                  <a:gd name="connsiteY2527" fmla="*/ 621030 h 2161222"/>
                  <a:gd name="connsiteX2528" fmla="*/ 963930 w 2443162"/>
                  <a:gd name="connsiteY2528" fmla="*/ 610553 h 2161222"/>
                  <a:gd name="connsiteX2529" fmla="*/ 979170 w 2443162"/>
                  <a:gd name="connsiteY2529" fmla="*/ 601028 h 2161222"/>
                  <a:gd name="connsiteX2530" fmla="*/ 994410 w 2443162"/>
                  <a:gd name="connsiteY2530" fmla="*/ 592455 h 2161222"/>
                  <a:gd name="connsiteX2531" fmla="*/ 1009650 w 2443162"/>
                  <a:gd name="connsiteY2531" fmla="*/ 583883 h 2161222"/>
                  <a:gd name="connsiteX2532" fmla="*/ 1025843 w 2443162"/>
                  <a:gd name="connsiteY2532" fmla="*/ 576263 h 2161222"/>
                  <a:gd name="connsiteX2533" fmla="*/ 1042035 w 2443162"/>
                  <a:gd name="connsiteY2533" fmla="*/ 569595 h 2161222"/>
                  <a:gd name="connsiteX2534" fmla="*/ 1059180 w 2443162"/>
                  <a:gd name="connsiteY2534" fmla="*/ 562928 h 2161222"/>
                  <a:gd name="connsiteX2535" fmla="*/ 1076325 w 2443162"/>
                  <a:gd name="connsiteY2535" fmla="*/ 557213 h 2161222"/>
                  <a:gd name="connsiteX2536" fmla="*/ 1093470 w 2443162"/>
                  <a:gd name="connsiteY2536" fmla="*/ 551498 h 2161222"/>
                  <a:gd name="connsiteX2537" fmla="*/ 1111568 w 2443162"/>
                  <a:gd name="connsiteY2537" fmla="*/ 546735 h 2161222"/>
                  <a:gd name="connsiteX2538" fmla="*/ 1129665 w 2443162"/>
                  <a:gd name="connsiteY2538" fmla="*/ 542925 h 2161222"/>
                  <a:gd name="connsiteX2539" fmla="*/ 1148715 w 2443162"/>
                  <a:gd name="connsiteY2539" fmla="*/ 539115 h 2161222"/>
                  <a:gd name="connsiteX2540" fmla="*/ 1148715 w 2443162"/>
                  <a:gd name="connsiteY2540" fmla="*/ 509588 h 2161222"/>
                  <a:gd name="connsiteX2541" fmla="*/ 1128713 w 2443162"/>
                  <a:gd name="connsiteY2541" fmla="*/ 513398 h 2161222"/>
                  <a:gd name="connsiteX2542" fmla="*/ 1108710 w 2443162"/>
                  <a:gd name="connsiteY2542" fmla="*/ 517208 h 2161222"/>
                  <a:gd name="connsiteX2543" fmla="*/ 1089660 w 2443162"/>
                  <a:gd name="connsiteY2543" fmla="*/ 521970 h 2161222"/>
                  <a:gd name="connsiteX2544" fmla="*/ 1070610 w 2443162"/>
                  <a:gd name="connsiteY2544" fmla="*/ 527685 h 2161222"/>
                  <a:gd name="connsiteX2545" fmla="*/ 1051560 w 2443162"/>
                  <a:gd name="connsiteY2545" fmla="*/ 533400 h 2161222"/>
                  <a:gd name="connsiteX2546" fmla="*/ 1033463 w 2443162"/>
                  <a:gd name="connsiteY2546" fmla="*/ 540068 h 2161222"/>
                  <a:gd name="connsiteX2547" fmla="*/ 1015365 w 2443162"/>
                  <a:gd name="connsiteY2547" fmla="*/ 547688 h 2161222"/>
                  <a:gd name="connsiteX2548" fmla="*/ 997268 w 2443162"/>
                  <a:gd name="connsiteY2548" fmla="*/ 555308 h 2161222"/>
                  <a:gd name="connsiteX2549" fmla="*/ 980123 w 2443162"/>
                  <a:gd name="connsiteY2549" fmla="*/ 564833 h 2161222"/>
                  <a:gd name="connsiteX2550" fmla="*/ 962978 w 2443162"/>
                  <a:gd name="connsiteY2550" fmla="*/ 574358 h 2161222"/>
                  <a:gd name="connsiteX2551" fmla="*/ 946785 w 2443162"/>
                  <a:gd name="connsiteY2551" fmla="*/ 584835 h 2161222"/>
                  <a:gd name="connsiteX2552" fmla="*/ 930593 w 2443162"/>
                  <a:gd name="connsiteY2552" fmla="*/ 595313 h 2161222"/>
                  <a:gd name="connsiteX2553" fmla="*/ 915353 w 2443162"/>
                  <a:gd name="connsiteY2553" fmla="*/ 606743 h 2161222"/>
                  <a:gd name="connsiteX2554" fmla="*/ 900113 w 2443162"/>
                  <a:gd name="connsiteY2554" fmla="*/ 618173 h 2161222"/>
                  <a:gd name="connsiteX2555" fmla="*/ 884873 w 2443162"/>
                  <a:gd name="connsiteY2555" fmla="*/ 630555 h 2161222"/>
                  <a:gd name="connsiteX2556" fmla="*/ 870585 w 2443162"/>
                  <a:gd name="connsiteY2556" fmla="*/ 643890 h 2161222"/>
                  <a:gd name="connsiteX2557" fmla="*/ 857250 w 2443162"/>
                  <a:gd name="connsiteY2557" fmla="*/ 631508 h 2161222"/>
                  <a:gd name="connsiteX2558" fmla="*/ 842963 w 2443162"/>
                  <a:gd name="connsiteY2558" fmla="*/ 658178 h 2161222"/>
                  <a:gd name="connsiteX2559" fmla="*/ 850583 w 2443162"/>
                  <a:gd name="connsiteY2559" fmla="*/ 666750 h 2161222"/>
                  <a:gd name="connsiteX2560" fmla="*/ 842963 w 2443162"/>
                  <a:gd name="connsiteY2560" fmla="*/ 675323 h 2161222"/>
                  <a:gd name="connsiteX2561" fmla="*/ 835343 w 2443162"/>
                  <a:gd name="connsiteY2561" fmla="*/ 683895 h 2161222"/>
                  <a:gd name="connsiteX2562" fmla="*/ 827723 w 2443162"/>
                  <a:gd name="connsiteY2562" fmla="*/ 692468 h 2161222"/>
                  <a:gd name="connsiteX2563" fmla="*/ 820103 w 2443162"/>
                  <a:gd name="connsiteY2563" fmla="*/ 701040 h 2161222"/>
                  <a:gd name="connsiteX2564" fmla="*/ 813435 w 2443162"/>
                  <a:gd name="connsiteY2564" fmla="*/ 710565 h 2161222"/>
                  <a:gd name="connsiteX2565" fmla="*/ 806768 w 2443162"/>
                  <a:gd name="connsiteY2565" fmla="*/ 720090 h 2161222"/>
                  <a:gd name="connsiteX2566" fmla="*/ 800100 w 2443162"/>
                  <a:gd name="connsiteY2566" fmla="*/ 729615 h 2161222"/>
                  <a:gd name="connsiteX2567" fmla="*/ 793433 w 2443162"/>
                  <a:gd name="connsiteY2567" fmla="*/ 739140 h 2161222"/>
                  <a:gd name="connsiteX2568" fmla="*/ 786765 w 2443162"/>
                  <a:gd name="connsiteY2568" fmla="*/ 748665 h 2161222"/>
                  <a:gd name="connsiteX2569" fmla="*/ 781050 w 2443162"/>
                  <a:gd name="connsiteY2569" fmla="*/ 758190 h 2161222"/>
                  <a:gd name="connsiteX2570" fmla="*/ 775335 w 2443162"/>
                  <a:gd name="connsiteY2570" fmla="*/ 768668 h 2161222"/>
                  <a:gd name="connsiteX2571" fmla="*/ 769620 w 2443162"/>
                  <a:gd name="connsiteY2571" fmla="*/ 779145 h 2161222"/>
                  <a:gd name="connsiteX2572" fmla="*/ 764858 w 2443162"/>
                  <a:gd name="connsiteY2572" fmla="*/ 789623 h 2161222"/>
                  <a:gd name="connsiteX2573" fmla="*/ 760095 w 2443162"/>
                  <a:gd name="connsiteY2573" fmla="*/ 799148 h 2161222"/>
                  <a:gd name="connsiteX2574" fmla="*/ 754380 w 2443162"/>
                  <a:gd name="connsiteY2574" fmla="*/ 809625 h 2161222"/>
                  <a:gd name="connsiteX2575" fmla="*/ 749618 w 2443162"/>
                  <a:gd name="connsiteY2575" fmla="*/ 820103 h 2161222"/>
                  <a:gd name="connsiteX2576" fmla="*/ 744855 w 2443162"/>
                  <a:gd name="connsiteY2576" fmla="*/ 830580 h 2161222"/>
                  <a:gd name="connsiteX2577" fmla="*/ 740093 w 2443162"/>
                  <a:gd name="connsiteY2577" fmla="*/ 841058 h 2161222"/>
                  <a:gd name="connsiteX2578" fmla="*/ 736283 w 2443162"/>
                  <a:gd name="connsiteY2578" fmla="*/ 852488 h 2161222"/>
                  <a:gd name="connsiteX2579" fmla="*/ 733425 w 2443162"/>
                  <a:gd name="connsiteY2579" fmla="*/ 863918 h 2161222"/>
                  <a:gd name="connsiteX2580" fmla="*/ 729615 w 2443162"/>
                  <a:gd name="connsiteY2580" fmla="*/ 875348 h 2161222"/>
                  <a:gd name="connsiteX2581" fmla="*/ 726758 w 2443162"/>
                  <a:gd name="connsiteY2581" fmla="*/ 886778 h 2161222"/>
                  <a:gd name="connsiteX2582" fmla="*/ 723900 w 2443162"/>
                  <a:gd name="connsiteY2582" fmla="*/ 899160 h 2161222"/>
                  <a:gd name="connsiteX2583" fmla="*/ 721043 w 2443162"/>
                  <a:gd name="connsiteY2583" fmla="*/ 910590 h 2161222"/>
                  <a:gd name="connsiteX2584" fmla="*/ 718185 w 2443162"/>
                  <a:gd name="connsiteY2584" fmla="*/ 922020 h 2161222"/>
                  <a:gd name="connsiteX2585" fmla="*/ 716280 w 2443162"/>
                  <a:gd name="connsiteY2585" fmla="*/ 933450 h 2161222"/>
                  <a:gd name="connsiteX2586" fmla="*/ 714375 w 2443162"/>
                  <a:gd name="connsiteY2586" fmla="*/ 945833 h 2161222"/>
                  <a:gd name="connsiteX2587" fmla="*/ 712470 w 2443162"/>
                  <a:gd name="connsiteY2587" fmla="*/ 958215 h 2161222"/>
                  <a:gd name="connsiteX2588" fmla="*/ 711518 w 2443162"/>
                  <a:gd name="connsiteY2588" fmla="*/ 969645 h 2161222"/>
                  <a:gd name="connsiteX2589" fmla="*/ 710565 w 2443162"/>
                  <a:gd name="connsiteY2589" fmla="*/ 982028 h 2161222"/>
                  <a:gd name="connsiteX2590" fmla="*/ 709613 w 2443162"/>
                  <a:gd name="connsiteY2590" fmla="*/ 994410 h 2161222"/>
                  <a:gd name="connsiteX2591" fmla="*/ 709613 w 2443162"/>
                  <a:gd name="connsiteY2591" fmla="*/ 1006793 h 2161222"/>
                  <a:gd name="connsiteX2592" fmla="*/ 570548 w 2443162"/>
                  <a:gd name="connsiteY2592" fmla="*/ 1006793 h 2161222"/>
                  <a:gd name="connsiteX2593" fmla="*/ 570548 w 2443162"/>
                  <a:gd name="connsiteY2593" fmla="*/ 990600 h 2161222"/>
                  <a:gd name="connsiteX2594" fmla="*/ 571500 w 2443162"/>
                  <a:gd name="connsiteY2594" fmla="*/ 975360 h 2161222"/>
                  <a:gd name="connsiteX2595" fmla="*/ 572453 w 2443162"/>
                  <a:gd name="connsiteY2595" fmla="*/ 960120 h 2161222"/>
                  <a:gd name="connsiteX2596" fmla="*/ 574358 w 2443162"/>
                  <a:gd name="connsiteY2596" fmla="*/ 944880 h 2161222"/>
                  <a:gd name="connsiteX2597" fmla="*/ 576263 w 2443162"/>
                  <a:gd name="connsiteY2597" fmla="*/ 929640 h 2161222"/>
                  <a:gd name="connsiteX2598" fmla="*/ 579120 w 2443162"/>
                  <a:gd name="connsiteY2598" fmla="*/ 914400 h 2161222"/>
                  <a:gd name="connsiteX2599" fmla="*/ 581978 w 2443162"/>
                  <a:gd name="connsiteY2599" fmla="*/ 899160 h 2161222"/>
                  <a:gd name="connsiteX2600" fmla="*/ 584835 w 2443162"/>
                  <a:gd name="connsiteY2600" fmla="*/ 883920 h 2161222"/>
                  <a:gd name="connsiteX2601" fmla="*/ 588645 w 2443162"/>
                  <a:gd name="connsiteY2601" fmla="*/ 868680 h 2161222"/>
                  <a:gd name="connsiteX2602" fmla="*/ 592455 w 2443162"/>
                  <a:gd name="connsiteY2602" fmla="*/ 853440 h 2161222"/>
                  <a:gd name="connsiteX2603" fmla="*/ 596265 w 2443162"/>
                  <a:gd name="connsiteY2603" fmla="*/ 838200 h 2161222"/>
                  <a:gd name="connsiteX2604" fmla="*/ 601028 w 2443162"/>
                  <a:gd name="connsiteY2604" fmla="*/ 823913 h 2161222"/>
                  <a:gd name="connsiteX2605" fmla="*/ 605790 w 2443162"/>
                  <a:gd name="connsiteY2605" fmla="*/ 809625 h 2161222"/>
                  <a:gd name="connsiteX2606" fmla="*/ 611505 w 2443162"/>
                  <a:gd name="connsiteY2606" fmla="*/ 795338 h 2161222"/>
                  <a:gd name="connsiteX2607" fmla="*/ 616268 w 2443162"/>
                  <a:gd name="connsiteY2607" fmla="*/ 781050 h 2161222"/>
                  <a:gd name="connsiteX2608" fmla="*/ 621983 w 2443162"/>
                  <a:gd name="connsiteY2608" fmla="*/ 766763 h 2161222"/>
                  <a:gd name="connsiteX2609" fmla="*/ 627698 w 2443162"/>
                  <a:gd name="connsiteY2609" fmla="*/ 752475 h 2161222"/>
                  <a:gd name="connsiteX2610" fmla="*/ 633413 w 2443162"/>
                  <a:gd name="connsiteY2610" fmla="*/ 739140 h 2161222"/>
                  <a:gd name="connsiteX2611" fmla="*/ 640080 w 2443162"/>
                  <a:gd name="connsiteY2611" fmla="*/ 725805 h 2161222"/>
                  <a:gd name="connsiteX2612" fmla="*/ 646748 w 2443162"/>
                  <a:gd name="connsiteY2612" fmla="*/ 712470 h 2161222"/>
                  <a:gd name="connsiteX2613" fmla="*/ 653415 w 2443162"/>
                  <a:gd name="connsiteY2613" fmla="*/ 699135 h 2161222"/>
                  <a:gd name="connsiteX2614" fmla="*/ 661035 w 2443162"/>
                  <a:gd name="connsiteY2614" fmla="*/ 685800 h 2161222"/>
                  <a:gd name="connsiteX2615" fmla="*/ 668655 w 2443162"/>
                  <a:gd name="connsiteY2615" fmla="*/ 673418 h 2161222"/>
                  <a:gd name="connsiteX2616" fmla="*/ 677228 w 2443162"/>
                  <a:gd name="connsiteY2616" fmla="*/ 661035 h 2161222"/>
                  <a:gd name="connsiteX2617" fmla="*/ 685800 w 2443162"/>
                  <a:gd name="connsiteY2617" fmla="*/ 648653 h 2161222"/>
                  <a:gd name="connsiteX2618" fmla="*/ 694373 w 2443162"/>
                  <a:gd name="connsiteY2618" fmla="*/ 636270 h 2161222"/>
                  <a:gd name="connsiteX2619" fmla="*/ 702945 w 2443162"/>
                  <a:gd name="connsiteY2619" fmla="*/ 624840 h 2161222"/>
                  <a:gd name="connsiteX2620" fmla="*/ 712470 w 2443162"/>
                  <a:gd name="connsiteY2620" fmla="*/ 613410 h 2161222"/>
                  <a:gd name="connsiteX2621" fmla="*/ 721995 w 2443162"/>
                  <a:gd name="connsiteY2621" fmla="*/ 601980 h 2161222"/>
                  <a:gd name="connsiteX2622" fmla="*/ 731520 w 2443162"/>
                  <a:gd name="connsiteY2622" fmla="*/ 590550 h 2161222"/>
                  <a:gd name="connsiteX2623" fmla="*/ 741045 w 2443162"/>
                  <a:gd name="connsiteY2623" fmla="*/ 580073 h 2161222"/>
                  <a:gd name="connsiteX2624" fmla="*/ 751523 w 2443162"/>
                  <a:gd name="connsiteY2624" fmla="*/ 569595 h 2161222"/>
                  <a:gd name="connsiteX2625" fmla="*/ 795338 w 2443162"/>
                  <a:gd name="connsiteY2625" fmla="*/ 614363 h 2161222"/>
                  <a:gd name="connsiteX2626" fmla="*/ 826770 w 2443162"/>
                  <a:gd name="connsiteY2626" fmla="*/ 603885 h 2161222"/>
                  <a:gd name="connsiteX2627" fmla="*/ 772478 w 2443162"/>
                  <a:gd name="connsiteY2627" fmla="*/ 548640 h 2161222"/>
                  <a:gd name="connsiteX2628" fmla="*/ 783908 w 2443162"/>
                  <a:gd name="connsiteY2628" fmla="*/ 538163 h 2161222"/>
                  <a:gd name="connsiteX2629" fmla="*/ 795338 w 2443162"/>
                  <a:gd name="connsiteY2629" fmla="*/ 527685 h 2161222"/>
                  <a:gd name="connsiteX2630" fmla="*/ 807720 w 2443162"/>
                  <a:gd name="connsiteY2630" fmla="*/ 517208 h 2161222"/>
                  <a:gd name="connsiteX2631" fmla="*/ 820103 w 2443162"/>
                  <a:gd name="connsiteY2631" fmla="*/ 506730 h 2161222"/>
                  <a:gd name="connsiteX2632" fmla="*/ 832485 w 2443162"/>
                  <a:gd name="connsiteY2632" fmla="*/ 497205 h 2161222"/>
                  <a:gd name="connsiteX2633" fmla="*/ 844868 w 2443162"/>
                  <a:gd name="connsiteY2633" fmla="*/ 487680 h 2161222"/>
                  <a:gd name="connsiteX2634" fmla="*/ 858203 w 2443162"/>
                  <a:gd name="connsiteY2634" fmla="*/ 478155 h 2161222"/>
                  <a:gd name="connsiteX2635" fmla="*/ 871538 w 2443162"/>
                  <a:gd name="connsiteY2635" fmla="*/ 469583 h 2161222"/>
                  <a:gd name="connsiteX2636" fmla="*/ 894398 w 2443162"/>
                  <a:gd name="connsiteY2636" fmla="*/ 421958 h 2161222"/>
                  <a:gd name="connsiteX2637" fmla="*/ 876300 w 2443162"/>
                  <a:gd name="connsiteY2637" fmla="*/ 434340 h 2161222"/>
                  <a:gd name="connsiteX2638" fmla="*/ 857250 w 2443162"/>
                  <a:gd name="connsiteY2638" fmla="*/ 445770 h 2161222"/>
                  <a:gd name="connsiteX2639" fmla="*/ 838200 w 2443162"/>
                  <a:gd name="connsiteY2639" fmla="*/ 458153 h 2161222"/>
                  <a:gd name="connsiteX2640" fmla="*/ 820103 w 2443162"/>
                  <a:gd name="connsiteY2640" fmla="*/ 470535 h 2161222"/>
                  <a:gd name="connsiteX2641" fmla="*/ 802958 w 2443162"/>
                  <a:gd name="connsiteY2641" fmla="*/ 483870 h 2161222"/>
                  <a:gd name="connsiteX2642" fmla="*/ 785813 w 2443162"/>
                  <a:gd name="connsiteY2642" fmla="*/ 498158 h 2161222"/>
                  <a:gd name="connsiteX2643" fmla="*/ 769620 w 2443162"/>
                  <a:gd name="connsiteY2643" fmla="*/ 512445 h 2161222"/>
                  <a:gd name="connsiteX2644" fmla="*/ 752475 w 2443162"/>
                  <a:gd name="connsiteY2644" fmla="*/ 527685 h 2161222"/>
                  <a:gd name="connsiteX2645" fmla="*/ 656273 w 2443162"/>
                  <a:gd name="connsiteY2645" fmla="*/ 430530 h 2161222"/>
                  <a:gd name="connsiteX2646" fmla="*/ 667703 w 2443162"/>
                  <a:gd name="connsiteY2646" fmla="*/ 419100 h 2161222"/>
                  <a:gd name="connsiteX2647" fmla="*/ 680085 w 2443162"/>
                  <a:gd name="connsiteY2647" fmla="*/ 408623 h 2161222"/>
                  <a:gd name="connsiteX2648" fmla="*/ 692468 w 2443162"/>
                  <a:gd name="connsiteY2648" fmla="*/ 398145 h 2161222"/>
                  <a:gd name="connsiteX2649" fmla="*/ 704850 w 2443162"/>
                  <a:gd name="connsiteY2649" fmla="*/ 387668 h 2161222"/>
                  <a:gd name="connsiteX2650" fmla="*/ 718185 w 2443162"/>
                  <a:gd name="connsiteY2650" fmla="*/ 377190 h 2161222"/>
                  <a:gd name="connsiteX2651" fmla="*/ 731520 w 2443162"/>
                  <a:gd name="connsiteY2651" fmla="*/ 366713 h 2161222"/>
                  <a:gd name="connsiteX2652" fmla="*/ 744855 w 2443162"/>
                  <a:gd name="connsiteY2652" fmla="*/ 356235 h 2161222"/>
                  <a:gd name="connsiteX2653" fmla="*/ 758190 w 2443162"/>
                  <a:gd name="connsiteY2653" fmla="*/ 346710 h 2161222"/>
                  <a:gd name="connsiteX2654" fmla="*/ 771525 w 2443162"/>
                  <a:gd name="connsiteY2654" fmla="*/ 337185 h 2161222"/>
                  <a:gd name="connsiteX2655" fmla="*/ 785813 w 2443162"/>
                  <a:gd name="connsiteY2655" fmla="*/ 328613 h 2161222"/>
                  <a:gd name="connsiteX2656" fmla="*/ 800100 w 2443162"/>
                  <a:gd name="connsiteY2656" fmla="*/ 320040 h 2161222"/>
                  <a:gd name="connsiteX2657" fmla="*/ 814388 w 2443162"/>
                  <a:gd name="connsiteY2657" fmla="*/ 311468 h 2161222"/>
                  <a:gd name="connsiteX2658" fmla="*/ 829628 w 2443162"/>
                  <a:gd name="connsiteY2658" fmla="*/ 302895 h 2161222"/>
                  <a:gd name="connsiteX2659" fmla="*/ 843915 w 2443162"/>
                  <a:gd name="connsiteY2659" fmla="*/ 295275 h 2161222"/>
                  <a:gd name="connsiteX2660" fmla="*/ 859155 w 2443162"/>
                  <a:gd name="connsiteY2660" fmla="*/ 287655 h 2161222"/>
                  <a:gd name="connsiteX2661" fmla="*/ 874395 w 2443162"/>
                  <a:gd name="connsiteY2661" fmla="*/ 280035 h 2161222"/>
                  <a:gd name="connsiteX2662" fmla="*/ 889635 w 2443162"/>
                  <a:gd name="connsiteY2662" fmla="*/ 273368 h 2161222"/>
                  <a:gd name="connsiteX2663" fmla="*/ 904875 w 2443162"/>
                  <a:gd name="connsiteY2663" fmla="*/ 266700 h 2161222"/>
                  <a:gd name="connsiteX2664" fmla="*/ 920115 w 2443162"/>
                  <a:gd name="connsiteY2664" fmla="*/ 260033 h 2161222"/>
                  <a:gd name="connsiteX2665" fmla="*/ 935355 w 2443162"/>
                  <a:gd name="connsiteY2665" fmla="*/ 254318 h 2161222"/>
                  <a:gd name="connsiteX2666" fmla="*/ 950595 w 2443162"/>
                  <a:gd name="connsiteY2666" fmla="*/ 248603 h 2161222"/>
                  <a:gd name="connsiteX2667" fmla="*/ 966788 w 2443162"/>
                  <a:gd name="connsiteY2667" fmla="*/ 243840 h 2161222"/>
                  <a:gd name="connsiteX2668" fmla="*/ 982980 w 2443162"/>
                  <a:gd name="connsiteY2668" fmla="*/ 239078 h 2161222"/>
                  <a:gd name="connsiteX2669" fmla="*/ 999173 w 2443162"/>
                  <a:gd name="connsiteY2669" fmla="*/ 234315 h 2161222"/>
                  <a:gd name="connsiteX2670" fmla="*/ 1015365 w 2443162"/>
                  <a:gd name="connsiteY2670" fmla="*/ 229553 h 2161222"/>
                  <a:gd name="connsiteX2671" fmla="*/ 1031558 w 2443162"/>
                  <a:gd name="connsiteY2671" fmla="*/ 224790 h 2161222"/>
                  <a:gd name="connsiteX2672" fmla="*/ 1047750 w 2443162"/>
                  <a:gd name="connsiteY2672" fmla="*/ 220980 h 2161222"/>
                  <a:gd name="connsiteX2673" fmla="*/ 1064895 w 2443162"/>
                  <a:gd name="connsiteY2673" fmla="*/ 217170 h 2161222"/>
                  <a:gd name="connsiteX2674" fmla="*/ 1081088 w 2443162"/>
                  <a:gd name="connsiteY2674" fmla="*/ 214313 h 2161222"/>
                  <a:gd name="connsiteX2675" fmla="*/ 1098233 w 2443162"/>
                  <a:gd name="connsiteY2675" fmla="*/ 211455 h 2161222"/>
                  <a:gd name="connsiteX2676" fmla="*/ 1115378 w 2443162"/>
                  <a:gd name="connsiteY2676" fmla="*/ 209550 h 2161222"/>
                  <a:gd name="connsiteX2677" fmla="*/ 1132523 w 2443162"/>
                  <a:gd name="connsiteY2677" fmla="*/ 207645 h 2161222"/>
                  <a:gd name="connsiteX2678" fmla="*/ 1132523 w 2443162"/>
                  <a:gd name="connsiteY2678" fmla="*/ 178118 h 2161222"/>
                  <a:gd name="connsiteX2679" fmla="*/ 1092518 w 2443162"/>
                  <a:gd name="connsiteY2679" fmla="*/ 182880 h 2161222"/>
                  <a:gd name="connsiteX2680" fmla="*/ 1053465 w 2443162"/>
                  <a:gd name="connsiteY2680" fmla="*/ 189548 h 2161222"/>
                  <a:gd name="connsiteX2681" fmla="*/ 1014413 w 2443162"/>
                  <a:gd name="connsiteY2681" fmla="*/ 198120 h 2161222"/>
                  <a:gd name="connsiteX2682" fmla="*/ 977265 w 2443162"/>
                  <a:gd name="connsiteY2682" fmla="*/ 208598 h 2161222"/>
                  <a:gd name="connsiteX2683" fmla="*/ 940118 w 2443162"/>
                  <a:gd name="connsiteY2683" fmla="*/ 220028 h 2161222"/>
                  <a:gd name="connsiteX2684" fmla="*/ 903923 w 2443162"/>
                  <a:gd name="connsiteY2684" fmla="*/ 234315 h 2161222"/>
                  <a:gd name="connsiteX2685" fmla="*/ 868680 w 2443162"/>
                  <a:gd name="connsiteY2685" fmla="*/ 249555 h 2161222"/>
                  <a:gd name="connsiteX2686" fmla="*/ 835343 w 2443162"/>
                  <a:gd name="connsiteY2686" fmla="*/ 266700 h 2161222"/>
                  <a:gd name="connsiteX2687" fmla="*/ 802005 w 2443162"/>
                  <a:gd name="connsiteY2687" fmla="*/ 284798 h 2161222"/>
                  <a:gd name="connsiteX2688" fmla="*/ 769620 w 2443162"/>
                  <a:gd name="connsiteY2688" fmla="*/ 304800 h 2161222"/>
                  <a:gd name="connsiteX2689" fmla="*/ 738188 w 2443162"/>
                  <a:gd name="connsiteY2689" fmla="*/ 325755 h 2161222"/>
                  <a:gd name="connsiteX2690" fmla="*/ 707708 w 2443162"/>
                  <a:gd name="connsiteY2690" fmla="*/ 348615 h 2161222"/>
                  <a:gd name="connsiteX2691" fmla="*/ 678180 w 2443162"/>
                  <a:gd name="connsiteY2691" fmla="*/ 372428 h 2161222"/>
                  <a:gd name="connsiteX2692" fmla="*/ 649605 w 2443162"/>
                  <a:gd name="connsiteY2692" fmla="*/ 398145 h 2161222"/>
                  <a:gd name="connsiteX2693" fmla="*/ 622935 w 2443162"/>
                  <a:gd name="connsiteY2693" fmla="*/ 423863 h 2161222"/>
                  <a:gd name="connsiteX2694" fmla="*/ 596265 w 2443162"/>
                  <a:gd name="connsiteY2694" fmla="*/ 451485 h 2161222"/>
                  <a:gd name="connsiteX2695" fmla="*/ 571500 w 2443162"/>
                  <a:gd name="connsiteY2695" fmla="*/ 480060 h 2161222"/>
                  <a:gd name="connsiteX2696" fmla="*/ 547688 w 2443162"/>
                  <a:gd name="connsiteY2696" fmla="*/ 509588 h 2161222"/>
                  <a:gd name="connsiteX2697" fmla="*/ 523875 w 2443162"/>
                  <a:gd name="connsiteY2697" fmla="*/ 541020 h 2161222"/>
                  <a:gd name="connsiteX2698" fmla="*/ 502920 w 2443162"/>
                  <a:gd name="connsiteY2698" fmla="*/ 573405 h 2161222"/>
                  <a:gd name="connsiteX2699" fmla="*/ 482918 w 2443162"/>
                  <a:gd name="connsiteY2699" fmla="*/ 605790 h 2161222"/>
                  <a:gd name="connsiteX2700" fmla="*/ 464820 w 2443162"/>
                  <a:gd name="connsiteY2700" fmla="*/ 640080 h 2161222"/>
                  <a:gd name="connsiteX2701" fmla="*/ 448628 w 2443162"/>
                  <a:gd name="connsiteY2701" fmla="*/ 675323 h 2161222"/>
                  <a:gd name="connsiteX2702" fmla="*/ 433388 w 2443162"/>
                  <a:gd name="connsiteY2702" fmla="*/ 711518 h 2161222"/>
                  <a:gd name="connsiteX2703" fmla="*/ 420053 w 2443162"/>
                  <a:gd name="connsiteY2703" fmla="*/ 747713 h 2161222"/>
                  <a:gd name="connsiteX2704" fmla="*/ 408623 w 2443162"/>
                  <a:gd name="connsiteY2704" fmla="*/ 784860 h 2161222"/>
                  <a:gd name="connsiteX2705" fmla="*/ 398145 w 2443162"/>
                  <a:gd name="connsiteY2705" fmla="*/ 822960 h 2161222"/>
                  <a:gd name="connsiteX2706" fmla="*/ 389573 w 2443162"/>
                  <a:gd name="connsiteY2706" fmla="*/ 862013 h 2161222"/>
                  <a:gd name="connsiteX2707" fmla="*/ 382905 w 2443162"/>
                  <a:gd name="connsiteY2707" fmla="*/ 901065 h 2161222"/>
                  <a:gd name="connsiteX2708" fmla="*/ 378143 w 2443162"/>
                  <a:gd name="connsiteY2708" fmla="*/ 941070 h 2161222"/>
                  <a:gd name="connsiteX2709" fmla="*/ 375285 w 2443162"/>
                  <a:gd name="connsiteY2709" fmla="*/ 982028 h 2161222"/>
                  <a:gd name="connsiteX2710" fmla="*/ 374333 w 2443162"/>
                  <a:gd name="connsiteY2710" fmla="*/ 1022985 h 2161222"/>
                  <a:gd name="connsiteX2711" fmla="*/ 375285 w 2443162"/>
                  <a:gd name="connsiteY2711" fmla="*/ 1066800 h 2161222"/>
                  <a:gd name="connsiteX2712" fmla="*/ 378143 w 2443162"/>
                  <a:gd name="connsiteY2712" fmla="*/ 1109663 h 2161222"/>
                  <a:gd name="connsiteX2713" fmla="*/ 383858 w 2443162"/>
                  <a:gd name="connsiteY2713" fmla="*/ 1152525 h 2161222"/>
                  <a:gd name="connsiteX2714" fmla="*/ 391478 w 2443162"/>
                  <a:gd name="connsiteY2714" fmla="*/ 1193483 h 2161222"/>
                  <a:gd name="connsiteX2715" fmla="*/ 401003 w 2443162"/>
                  <a:gd name="connsiteY2715" fmla="*/ 1234440 h 2161222"/>
                  <a:gd name="connsiteX2716" fmla="*/ 412433 w 2443162"/>
                  <a:gd name="connsiteY2716" fmla="*/ 1275398 h 2161222"/>
                  <a:gd name="connsiteX2717" fmla="*/ 425768 w 2443162"/>
                  <a:gd name="connsiteY2717" fmla="*/ 1314450 h 2161222"/>
                  <a:gd name="connsiteX2718" fmla="*/ 441008 w 2443162"/>
                  <a:gd name="connsiteY2718" fmla="*/ 1352550 h 2161222"/>
                  <a:gd name="connsiteX2719" fmla="*/ 458153 w 2443162"/>
                  <a:gd name="connsiteY2719" fmla="*/ 1389698 h 2161222"/>
                  <a:gd name="connsiteX2720" fmla="*/ 477203 w 2443162"/>
                  <a:gd name="connsiteY2720" fmla="*/ 1425893 h 2161222"/>
                  <a:gd name="connsiteX2721" fmla="*/ 498158 w 2443162"/>
                  <a:gd name="connsiteY2721" fmla="*/ 1461135 h 2161222"/>
                  <a:gd name="connsiteX2722" fmla="*/ 520065 w 2443162"/>
                  <a:gd name="connsiteY2722" fmla="*/ 1495425 h 2161222"/>
                  <a:gd name="connsiteX2723" fmla="*/ 543878 w 2443162"/>
                  <a:gd name="connsiteY2723" fmla="*/ 1528763 h 2161222"/>
                  <a:gd name="connsiteX2724" fmla="*/ 568643 w 2443162"/>
                  <a:gd name="connsiteY2724" fmla="*/ 1560195 h 2161222"/>
                  <a:gd name="connsiteX2725" fmla="*/ 595313 w 2443162"/>
                  <a:gd name="connsiteY2725" fmla="*/ 1590675 h 2161222"/>
                  <a:gd name="connsiteX2726" fmla="*/ 623888 w 2443162"/>
                  <a:gd name="connsiteY2726" fmla="*/ 1620203 h 2161222"/>
                  <a:gd name="connsiteX2727" fmla="*/ 653415 w 2443162"/>
                  <a:gd name="connsiteY2727" fmla="*/ 1647825 h 2161222"/>
                  <a:gd name="connsiteX2728" fmla="*/ 684848 w 2443162"/>
                  <a:gd name="connsiteY2728" fmla="*/ 1674495 h 2161222"/>
                  <a:gd name="connsiteX2729" fmla="*/ 716280 w 2443162"/>
                  <a:gd name="connsiteY2729" fmla="*/ 1700213 h 2161222"/>
                  <a:gd name="connsiteX2730" fmla="*/ 749618 w 2443162"/>
                  <a:gd name="connsiteY2730" fmla="*/ 1724025 h 2161222"/>
                  <a:gd name="connsiteX2731" fmla="*/ 783908 w 2443162"/>
                  <a:gd name="connsiteY2731" fmla="*/ 1745933 h 2161222"/>
                  <a:gd name="connsiteX2732" fmla="*/ 819150 w 2443162"/>
                  <a:gd name="connsiteY2732" fmla="*/ 1766888 h 2161222"/>
                  <a:gd name="connsiteX2733" fmla="*/ 855345 w 2443162"/>
                  <a:gd name="connsiteY2733" fmla="*/ 1785938 h 2161222"/>
                  <a:gd name="connsiteX2734" fmla="*/ 892493 w 2443162"/>
                  <a:gd name="connsiteY2734" fmla="*/ 1803083 h 2161222"/>
                  <a:gd name="connsiteX2735" fmla="*/ 930593 w 2443162"/>
                  <a:gd name="connsiteY2735" fmla="*/ 1818323 h 2161222"/>
                  <a:gd name="connsiteX2736" fmla="*/ 969645 w 2443162"/>
                  <a:gd name="connsiteY2736" fmla="*/ 1831658 h 2161222"/>
                  <a:gd name="connsiteX2737" fmla="*/ 1009650 w 2443162"/>
                  <a:gd name="connsiteY2737" fmla="*/ 1843088 h 2161222"/>
                  <a:gd name="connsiteX2738" fmla="*/ 1050608 w 2443162"/>
                  <a:gd name="connsiteY2738" fmla="*/ 1852613 h 2161222"/>
                  <a:gd name="connsiteX2739" fmla="*/ 1091565 w 2443162"/>
                  <a:gd name="connsiteY2739" fmla="*/ 1860233 h 2161222"/>
                  <a:gd name="connsiteX2740" fmla="*/ 1134428 w 2443162"/>
                  <a:gd name="connsiteY2740" fmla="*/ 1864995 h 2161222"/>
                  <a:gd name="connsiteX2741" fmla="*/ 1177290 w 2443162"/>
                  <a:gd name="connsiteY2741" fmla="*/ 1868805 h 2161222"/>
                  <a:gd name="connsiteX2742" fmla="*/ 1221105 w 2443162"/>
                  <a:gd name="connsiteY2742" fmla="*/ 1869758 h 2161222"/>
                  <a:gd name="connsiteX2743" fmla="*/ 1264920 w 2443162"/>
                  <a:gd name="connsiteY2743" fmla="*/ 1868805 h 2161222"/>
                  <a:gd name="connsiteX2744" fmla="*/ 1307783 w 2443162"/>
                  <a:gd name="connsiteY2744" fmla="*/ 1864995 h 2161222"/>
                  <a:gd name="connsiteX2745" fmla="*/ 1349693 w 2443162"/>
                  <a:gd name="connsiteY2745" fmla="*/ 1860233 h 2161222"/>
                  <a:gd name="connsiteX2746" fmla="*/ 1391603 w 2443162"/>
                  <a:gd name="connsiteY2746" fmla="*/ 1852613 h 2161222"/>
                  <a:gd name="connsiteX2747" fmla="*/ 1432560 w 2443162"/>
                  <a:gd name="connsiteY2747" fmla="*/ 1843088 h 2161222"/>
                  <a:gd name="connsiteX2748" fmla="*/ 1472565 w 2443162"/>
                  <a:gd name="connsiteY2748" fmla="*/ 1831658 h 2161222"/>
                  <a:gd name="connsiteX2749" fmla="*/ 1512570 w 2443162"/>
                  <a:gd name="connsiteY2749" fmla="*/ 1818323 h 2161222"/>
                  <a:gd name="connsiteX2750" fmla="*/ 1550670 w 2443162"/>
                  <a:gd name="connsiteY2750" fmla="*/ 1803083 h 2161222"/>
                  <a:gd name="connsiteX2751" fmla="*/ 1587818 w 2443162"/>
                  <a:gd name="connsiteY2751" fmla="*/ 1785938 h 2161222"/>
                  <a:gd name="connsiteX2752" fmla="*/ 1624965 w 2443162"/>
                  <a:gd name="connsiteY2752" fmla="*/ 1766888 h 2161222"/>
                  <a:gd name="connsiteX2753" fmla="*/ 1660208 w 2443162"/>
                  <a:gd name="connsiteY2753" fmla="*/ 1745933 h 2161222"/>
                  <a:gd name="connsiteX2754" fmla="*/ 1694498 w 2443162"/>
                  <a:gd name="connsiteY2754" fmla="*/ 1724025 h 2161222"/>
                  <a:gd name="connsiteX2755" fmla="*/ 1727835 w 2443162"/>
                  <a:gd name="connsiteY2755" fmla="*/ 1700213 h 2161222"/>
                  <a:gd name="connsiteX2756" fmla="*/ 1760220 w 2443162"/>
                  <a:gd name="connsiteY2756" fmla="*/ 1674495 h 2161222"/>
                  <a:gd name="connsiteX2757" fmla="*/ 1790700 w 2443162"/>
                  <a:gd name="connsiteY2757" fmla="*/ 1647825 h 2161222"/>
                  <a:gd name="connsiteX2758" fmla="*/ 1820228 w 2443162"/>
                  <a:gd name="connsiteY2758" fmla="*/ 1620203 h 2161222"/>
                  <a:gd name="connsiteX2759" fmla="*/ 1847850 w 2443162"/>
                  <a:gd name="connsiteY2759" fmla="*/ 1590675 h 2161222"/>
                  <a:gd name="connsiteX2760" fmla="*/ 1874520 w 2443162"/>
                  <a:gd name="connsiteY2760" fmla="*/ 1560195 h 2161222"/>
                  <a:gd name="connsiteX2761" fmla="*/ 1900238 w 2443162"/>
                  <a:gd name="connsiteY2761" fmla="*/ 1528763 h 2161222"/>
                  <a:gd name="connsiteX2762" fmla="*/ 1924050 w 2443162"/>
                  <a:gd name="connsiteY2762" fmla="*/ 1495425 h 2161222"/>
                  <a:gd name="connsiteX2763" fmla="*/ 1945958 w 2443162"/>
                  <a:gd name="connsiteY2763" fmla="*/ 1461135 h 2161222"/>
                  <a:gd name="connsiteX2764" fmla="*/ 1965960 w 2443162"/>
                  <a:gd name="connsiteY2764" fmla="*/ 1425893 h 2161222"/>
                  <a:gd name="connsiteX2765" fmla="*/ 1985010 w 2443162"/>
                  <a:gd name="connsiteY2765" fmla="*/ 1389698 h 2161222"/>
                  <a:gd name="connsiteX2766" fmla="*/ 2002155 w 2443162"/>
                  <a:gd name="connsiteY2766" fmla="*/ 1352550 h 2161222"/>
                  <a:gd name="connsiteX2767" fmla="*/ 2017395 w 2443162"/>
                  <a:gd name="connsiteY2767" fmla="*/ 1314450 h 2161222"/>
                  <a:gd name="connsiteX2768" fmla="*/ 2030730 w 2443162"/>
                  <a:gd name="connsiteY2768" fmla="*/ 1275398 h 2161222"/>
                  <a:gd name="connsiteX2769" fmla="*/ 2042160 w 2443162"/>
                  <a:gd name="connsiteY2769" fmla="*/ 1234440 h 2161222"/>
                  <a:gd name="connsiteX2770" fmla="*/ 2051685 w 2443162"/>
                  <a:gd name="connsiteY2770" fmla="*/ 1193483 h 2161222"/>
                  <a:gd name="connsiteX2771" fmla="*/ 2059305 w 2443162"/>
                  <a:gd name="connsiteY2771" fmla="*/ 1152525 h 2161222"/>
                  <a:gd name="connsiteX2772" fmla="*/ 2065020 w 2443162"/>
                  <a:gd name="connsiteY2772" fmla="*/ 1109663 h 2161222"/>
                  <a:gd name="connsiteX2773" fmla="*/ 2068830 w 2443162"/>
                  <a:gd name="connsiteY2773" fmla="*/ 1066800 h 2161222"/>
                  <a:gd name="connsiteX2774" fmla="*/ 2069783 w 2443162"/>
                  <a:gd name="connsiteY2774" fmla="*/ 1022985 h 2161222"/>
                  <a:gd name="connsiteX2775" fmla="*/ 2068830 w 2443162"/>
                  <a:gd name="connsiteY2775" fmla="*/ 982028 h 2161222"/>
                  <a:gd name="connsiteX2776" fmla="*/ 2065973 w 2443162"/>
                  <a:gd name="connsiteY2776" fmla="*/ 942023 h 2161222"/>
                  <a:gd name="connsiteX2777" fmla="*/ 2061210 w 2443162"/>
                  <a:gd name="connsiteY2777" fmla="*/ 902018 h 2161222"/>
                  <a:gd name="connsiteX2778" fmla="*/ 2054543 w 2443162"/>
                  <a:gd name="connsiteY2778" fmla="*/ 862965 h 2161222"/>
                  <a:gd name="connsiteX2779" fmla="*/ 2045970 w 2443162"/>
                  <a:gd name="connsiteY2779" fmla="*/ 823913 h 2161222"/>
                  <a:gd name="connsiteX2780" fmla="*/ 2035493 w 2443162"/>
                  <a:gd name="connsiteY2780" fmla="*/ 785813 h 2161222"/>
                  <a:gd name="connsiteX2781" fmla="*/ 2024063 w 2443162"/>
                  <a:gd name="connsiteY2781" fmla="*/ 748665 h 2161222"/>
                  <a:gd name="connsiteX2782" fmla="*/ 2010728 w 2443162"/>
                  <a:gd name="connsiteY2782" fmla="*/ 712470 h 2161222"/>
                  <a:gd name="connsiteX2783" fmla="*/ 1995488 w 2443162"/>
                  <a:gd name="connsiteY2783" fmla="*/ 676275 h 2161222"/>
                  <a:gd name="connsiteX2784" fmla="*/ 1979295 w 2443162"/>
                  <a:gd name="connsiteY2784" fmla="*/ 641033 h 2161222"/>
                  <a:gd name="connsiteX2785" fmla="*/ 1961198 w 2443162"/>
                  <a:gd name="connsiteY2785" fmla="*/ 606743 h 2161222"/>
                  <a:gd name="connsiteX2786" fmla="*/ 1941195 w 2443162"/>
                  <a:gd name="connsiteY2786" fmla="*/ 573405 h 2161222"/>
                  <a:gd name="connsiteX2787" fmla="*/ 1920240 w 2443162"/>
                  <a:gd name="connsiteY2787" fmla="*/ 541973 h 2161222"/>
                  <a:gd name="connsiteX2788" fmla="*/ 1898333 w 2443162"/>
                  <a:gd name="connsiteY2788" fmla="*/ 511493 h 2161222"/>
                  <a:gd name="connsiteX2789" fmla="*/ 1874520 w 2443162"/>
                  <a:gd name="connsiteY2789" fmla="*/ 481013 h 2161222"/>
                  <a:gd name="connsiteX2790" fmla="*/ 1848803 w 2443162"/>
                  <a:gd name="connsiteY2790" fmla="*/ 452438 h 2161222"/>
                  <a:gd name="connsiteX2791" fmla="*/ 1823085 w 2443162"/>
                  <a:gd name="connsiteY2791" fmla="*/ 424815 h 2161222"/>
                  <a:gd name="connsiteX2792" fmla="*/ 1795463 w 2443162"/>
                  <a:gd name="connsiteY2792" fmla="*/ 399098 h 2161222"/>
                  <a:gd name="connsiteX2793" fmla="*/ 1766888 w 2443162"/>
                  <a:gd name="connsiteY2793" fmla="*/ 373380 h 2161222"/>
                  <a:gd name="connsiteX2794" fmla="*/ 1736408 w 2443162"/>
                  <a:gd name="connsiteY2794" fmla="*/ 349568 h 2161222"/>
                  <a:gd name="connsiteX2795" fmla="*/ 1704975 w 2443162"/>
                  <a:gd name="connsiteY2795" fmla="*/ 323850 h 2161222"/>
                  <a:gd name="connsiteX2796" fmla="*/ 1672590 w 2443162"/>
                  <a:gd name="connsiteY2796" fmla="*/ 302895 h 2161222"/>
                  <a:gd name="connsiteX2797" fmla="*/ 1640205 w 2443162"/>
                  <a:gd name="connsiteY2797" fmla="*/ 282893 h 2161222"/>
                  <a:gd name="connsiteX2798" fmla="*/ 1605915 w 2443162"/>
                  <a:gd name="connsiteY2798" fmla="*/ 264795 h 2161222"/>
                  <a:gd name="connsiteX2799" fmla="*/ 1570673 w 2443162"/>
                  <a:gd name="connsiteY2799" fmla="*/ 247650 h 2161222"/>
                  <a:gd name="connsiteX2800" fmla="*/ 1534478 w 2443162"/>
                  <a:gd name="connsiteY2800" fmla="*/ 232410 h 2161222"/>
                  <a:gd name="connsiteX2801" fmla="*/ 1498283 w 2443162"/>
                  <a:gd name="connsiteY2801" fmla="*/ 219075 h 2161222"/>
                  <a:gd name="connsiteX2802" fmla="*/ 1461135 w 2443162"/>
                  <a:gd name="connsiteY2802" fmla="*/ 206693 h 2161222"/>
                  <a:gd name="connsiteX2803" fmla="*/ 1423035 w 2443162"/>
                  <a:gd name="connsiteY2803" fmla="*/ 196215 h 2161222"/>
                  <a:gd name="connsiteX2804" fmla="*/ 1384935 w 2443162"/>
                  <a:gd name="connsiteY2804" fmla="*/ 187643 h 2161222"/>
                  <a:gd name="connsiteX2805" fmla="*/ 1344930 w 2443162"/>
                  <a:gd name="connsiteY2805" fmla="*/ 180975 h 2161222"/>
                  <a:gd name="connsiteX2806" fmla="*/ 1304925 w 2443162"/>
                  <a:gd name="connsiteY2806" fmla="*/ 176213 h 2161222"/>
                  <a:gd name="connsiteX2807" fmla="*/ 1304925 w 2443162"/>
                  <a:gd name="connsiteY2807" fmla="*/ 205740 h 2161222"/>
                  <a:gd name="connsiteX2808" fmla="*/ 1322070 w 2443162"/>
                  <a:gd name="connsiteY2808" fmla="*/ 207645 h 2161222"/>
                  <a:gd name="connsiteX2809" fmla="*/ 1339215 w 2443162"/>
                  <a:gd name="connsiteY2809" fmla="*/ 210503 h 2161222"/>
                  <a:gd name="connsiteX2810" fmla="*/ 1356360 w 2443162"/>
                  <a:gd name="connsiteY2810" fmla="*/ 213360 h 2161222"/>
                  <a:gd name="connsiteX2811" fmla="*/ 1373505 w 2443162"/>
                  <a:gd name="connsiteY2811" fmla="*/ 216218 h 2161222"/>
                  <a:gd name="connsiteX2812" fmla="*/ 1390650 w 2443162"/>
                  <a:gd name="connsiteY2812" fmla="*/ 220028 h 2161222"/>
                  <a:gd name="connsiteX2813" fmla="*/ 1407795 w 2443162"/>
                  <a:gd name="connsiteY2813" fmla="*/ 223838 h 2161222"/>
                  <a:gd name="connsiteX2814" fmla="*/ 1424940 w 2443162"/>
                  <a:gd name="connsiteY2814" fmla="*/ 227648 h 2161222"/>
                  <a:gd name="connsiteX2815" fmla="*/ 1441133 w 2443162"/>
                  <a:gd name="connsiteY2815" fmla="*/ 232410 h 2161222"/>
                  <a:gd name="connsiteX2816" fmla="*/ 1457325 w 2443162"/>
                  <a:gd name="connsiteY2816" fmla="*/ 237173 h 2161222"/>
                  <a:gd name="connsiteX2817" fmla="*/ 1473518 w 2443162"/>
                  <a:gd name="connsiteY2817" fmla="*/ 242888 h 2161222"/>
                  <a:gd name="connsiteX2818" fmla="*/ 1489710 w 2443162"/>
                  <a:gd name="connsiteY2818" fmla="*/ 248603 h 2161222"/>
                  <a:gd name="connsiteX2819" fmla="*/ 1505903 w 2443162"/>
                  <a:gd name="connsiteY2819" fmla="*/ 254318 h 2161222"/>
                  <a:gd name="connsiteX2820" fmla="*/ 1522095 w 2443162"/>
                  <a:gd name="connsiteY2820" fmla="*/ 260033 h 2161222"/>
                  <a:gd name="connsiteX2821" fmla="*/ 1537335 w 2443162"/>
                  <a:gd name="connsiteY2821" fmla="*/ 266700 h 2161222"/>
                  <a:gd name="connsiteX2822" fmla="*/ 1552575 w 2443162"/>
                  <a:gd name="connsiteY2822" fmla="*/ 273368 h 2161222"/>
                  <a:gd name="connsiteX2823" fmla="*/ 1567815 w 2443162"/>
                  <a:gd name="connsiteY2823" fmla="*/ 280035 h 2161222"/>
                  <a:gd name="connsiteX2824" fmla="*/ 1583055 w 2443162"/>
                  <a:gd name="connsiteY2824" fmla="*/ 287655 h 2161222"/>
                  <a:gd name="connsiteX2825" fmla="*/ 1598295 w 2443162"/>
                  <a:gd name="connsiteY2825" fmla="*/ 295275 h 2161222"/>
                  <a:gd name="connsiteX2826" fmla="*/ 1613535 w 2443162"/>
                  <a:gd name="connsiteY2826" fmla="*/ 302895 h 2161222"/>
                  <a:gd name="connsiteX2827" fmla="*/ 1628775 w 2443162"/>
                  <a:gd name="connsiteY2827" fmla="*/ 311468 h 2161222"/>
                  <a:gd name="connsiteX2828" fmla="*/ 1643063 w 2443162"/>
                  <a:gd name="connsiteY2828" fmla="*/ 320040 h 2161222"/>
                  <a:gd name="connsiteX2829" fmla="*/ 1657350 w 2443162"/>
                  <a:gd name="connsiteY2829" fmla="*/ 329565 h 2161222"/>
                  <a:gd name="connsiteX2830" fmla="*/ 1671638 w 2443162"/>
                  <a:gd name="connsiteY2830" fmla="*/ 339090 h 2161222"/>
                  <a:gd name="connsiteX2831" fmla="*/ 1685925 w 2443162"/>
                  <a:gd name="connsiteY2831" fmla="*/ 348615 h 2161222"/>
                  <a:gd name="connsiteX2832" fmla="*/ 1700213 w 2443162"/>
                  <a:gd name="connsiteY2832" fmla="*/ 358140 h 2161222"/>
                  <a:gd name="connsiteX2833" fmla="*/ 1713548 w 2443162"/>
                  <a:gd name="connsiteY2833" fmla="*/ 368618 h 2161222"/>
                  <a:gd name="connsiteX2834" fmla="*/ 1726883 w 2443162"/>
                  <a:gd name="connsiteY2834" fmla="*/ 379095 h 2161222"/>
                  <a:gd name="connsiteX2835" fmla="*/ 1740218 w 2443162"/>
                  <a:gd name="connsiteY2835" fmla="*/ 389573 h 2161222"/>
                  <a:gd name="connsiteX2836" fmla="*/ 1752600 w 2443162"/>
                  <a:gd name="connsiteY2836" fmla="*/ 400050 h 2161222"/>
                  <a:gd name="connsiteX2837" fmla="*/ 1764983 w 2443162"/>
                  <a:gd name="connsiteY2837" fmla="*/ 410528 h 2161222"/>
                  <a:gd name="connsiteX2838" fmla="*/ 1777365 w 2443162"/>
                  <a:gd name="connsiteY2838" fmla="*/ 421958 h 2161222"/>
                  <a:gd name="connsiteX2839" fmla="*/ 1789748 w 2443162"/>
                  <a:gd name="connsiteY2839" fmla="*/ 433388 h 2161222"/>
                  <a:gd name="connsiteX2840" fmla="*/ 1696403 w 2443162"/>
                  <a:gd name="connsiteY2840" fmla="*/ 525780 h 2161222"/>
                  <a:gd name="connsiteX2841" fmla="*/ 1699260 w 2443162"/>
                  <a:gd name="connsiteY2841" fmla="*/ 511493 h 2161222"/>
                  <a:gd name="connsiteX2842" fmla="*/ 1688783 w 2443162"/>
                  <a:gd name="connsiteY2842" fmla="*/ 507683 h 2161222"/>
                  <a:gd name="connsiteX2843" fmla="*/ 1671638 w 2443162"/>
                  <a:gd name="connsiteY2843" fmla="*/ 503873 h 2161222"/>
                  <a:gd name="connsiteX2844" fmla="*/ 1675448 w 2443162"/>
                  <a:gd name="connsiteY2844" fmla="*/ 493395 h 2161222"/>
                  <a:gd name="connsiteX2845" fmla="*/ 1664970 w 2443162"/>
                  <a:gd name="connsiteY2845" fmla="*/ 454343 h 2161222"/>
                  <a:gd name="connsiteX2846" fmla="*/ 1640205 w 2443162"/>
                  <a:gd name="connsiteY2846" fmla="*/ 429578 h 2161222"/>
                  <a:gd name="connsiteX2847" fmla="*/ 1569720 w 2443162"/>
                  <a:gd name="connsiteY2847" fmla="*/ 390525 h 2161222"/>
                  <a:gd name="connsiteX2848" fmla="*/ 1563053 w 2443162"/>
                  <a:gd name="connsiteY2848" fmla="*/ 398145 h 2161222"/>
                  <a:gd name="connsiteX2849" fmla="*/ 1548765 w 2443162"/>
                  <a:gd name="connsiteY2849" fmla="*/ 401955 h 2161222"/>
                  <a:gd name="connsiteX2850" fmla="*/ 1566863 w 2443162"/>
                  <a:gd name="connsiteY2850" fmla="*/ 430530 h 2161222"/>
                  <a:gd name="connsiteX2851" fmla="*/ 1567815 w 2443162"/>
                  <a:gd name="connsiteY2851" fmla="*/ 433388 h 2161222"/>
                  <a:gd name="connsiteX2852" fmla="*/ 1556385 w 2443162"/>
                  <a:gd name="connsiteY2852" fmla="*/ 426720 h 2161222"/>
                  <a:gd name="connsiteX2853" fmla="*/ 1544955 w 2443162"/>
                  <a:gd name="connsiteY2853" fmla="*/ 421005 h 2161222"/>
                  <a:gd name="connsiteX2854" fmla="*/ 1533525 w 2443162"/>
                  <a:gd name="connsiteY2854" fmla="*/ 414338 h 2161222"/>
                  <a:gd name="connsiteX2855" fmla="*/ 1522095 w 2443162"/>
                  <a:gd name="connsiteY2855" fmla="*/ 408623 h 2161222"/>
                  <a:gd name="connsiteX2856" fmla="*/ 1516380 w 2443162"/>
                  <a:gd name="connsiteY2856" fmla="*/ 402908 h 2161222"/>
                  <a:gd name="connsiteX2857" fmla="*/ 1511618 w 2443162"/>
                  <a:gd name="connsiteY2857" fmla="*/ 397193 h 2161222"/>
                  <a:gd name="connsiteX2858" fmla="*/ 1505903 w 2443162"/>
                  <a:gd name="connsiteY2858" fmla="*/ 391478 h 2161222"/>
                  <a:gd name="connsiteX2859" fmla="*/ 1501140 w 2443162"/>
                  <a:gd name="connsiteY2859" fmla="*/ 385763 h 2161222"/>
                  <a:gd name="connsiteX2860" fmla="*/ 1495425 w 2443162"/>
                  <a:gd name="connsiteY2860" fmla="*/ 380048 h 2161222"/>
                  <a:gd name="connsiteX2861" fmla="*/ 1489710 w 2443162"/>
                  <a:gd name="connsiteY2861" fmla="*/ 375285 h 2161222"/>
                  <a:gd name="connsiteX2862" fmla="*/ 1483043 w 2443162"/>
                  <a:gd name="connsiteY2862" fmla="*/ 369570 h 2161222"/>
                  <a:gd name="connsiteX2863" fmla="*/ 1477328 w 2443162"/>
                  <a:gd name="connsiteY2863" fmla="*/ 364808 h 2161222"/>
                  <a:gd name="connsiteX2864" fmla="*/ 1463993 w 2443162"/>
                  <a:gd name="connsiteY2864" fmla="*/ 355283 h 2161222"/>
                  <a:gd name="connsiteX2865" fmla="*/ 1449705 w 2443162"/>
                  <a:gd name="connsiteY2865" fmla="*/ 346710 h 2161222"/>
                  <a:gd name="connsiteX2866" fmla="*/ 1435418 w 2443162"/>
                  <a:gd name="connsiteY2866" fmla="*/ 338138 h 2161222"/>
                  <a:gd name="connsiteX2867" fmla="*/ 1420178 w 2443162"/>
                  <a:gd name="connsiteY2867" fmla="*/ 331470 h 2161222"/>
                  <a:gd name="connsiteX2868" fmla="*/ 1404938 w 2443162"/>
                  <a:gd name="connsiteY2868" fmla="*/ 324803 h 2161222"/>
                  <a:gd name="connsiteX2869" fmla="*/ 1389698 w 2443162"/>
                  <a:gd name="connsiteY2869" fmla="*/ 319088 h 2161222"/>
                  <a:gd name="connsiteX2870" fmla="*/ 1374458 w 2443162"/>
                  <a:gd name="connsiteY2870" fmla="*/ 313373 h 2161222"/>
                  <a:gd name="connsiteX2871" fmla="*/ 1359218 w 2443162"/>
                  <a:gd name="connsiteY2871" fmla="*/ 308610 h 2161222"/>
                  <a:gd name="connsiteX2872" fmla="*/ 1343978 w 2443162"/>
                  <a:gd name="connsiteY2872" fmla="*/ 304800 h 2161222"/>
                  <a:gd name="connsiteX2873" fmla="*/ 1327785 w 2443162"/>
                  <a:gd name="connsiteY2873" fmla="*/ 301943 h 2161222"/>
                  <a:gd name="connsiteX2874" fmla="*/ 1312545 w 2443162"/>
                  <a:gd name="connsiteY2874" fmla="*/ 300038 h 2161222"/>
                  <a:gd name="connsiteX2875" fmla="*/ 1297305 w 2443162"/>
                  <a:gd name="connsiteY2875" fmla="*/ 300038 h 2161222"/>
                  <a:gd name="connsiteX2876" fmla="*/ 1297305 w 2443162"/>
                  <a:gd name="connsiteY2876" fmla="*/ 300038 h 2161222"/>
                  <a:gd name="connsiteX2877" fmla="*/ 1543050 w 2443162"/>
                  <a:gd name="connsiteY2877" fmla="*/ 619125 h 2161222"/>
                  <a:gd name="connsiteX2878" fmla="*/ 1546860 w 2443162"/>
                  <a:gd name="connsiteY2878" fmla="*/ 608648 h 2161222"/>
                  <a:gd name="connsiteX2879" fmla="*/ 1549718 w 2443162"/>
                  <a:gd name="connsiteY2879" fmla="*/ 598170 h 2161222"/>
                  <a:gd name="connsiteX2880" fmla="*/ 1552575 w 2443162"/>
                  <a:gd name="connsiteY2880" fmla="*/ 587693 h 2161222"/>
                  <a:gd name="connsiteX2881" fmla="*/ 1554480 w 2443162"/>
                  <a:gd name="connsiteY2881" fmla="*/ 576263 h 2161222"/>
                  <a:gd name="connsiteX2882" fmla="*/ 1556385 w 2443162"/>
                  <a:gd name="connsiteY2882" fmla="*/ 564833 h 2161222"/>
                  <a:gd name="connsiteX2883" fmla="*/ 1557338 w 2443162"/>
                  <a:gd name="connsiteY2883" fmla="*/ 552450 h 2161222"/>
                  <a:gd name="connsiteX2884" fmla="*/ 1558290 w 2443162"/>
                  <a:gd name="connsiteY2884" fmla="*/ 540068 h 2161222"/>
                  <a:gd name="connsiteX2885" fmla="*/ 1559243 w 2443162"/>
                  <a:gd name="connsiteY2885" fmla="*/ 526733 h 2161222"/>
                  <a:gd name="connsiteX2886" fmla="*/ 1559243 w 2443162"/>
                  <a:gd name="connsiteY2886" fmla="*/ 517208 h 2161222"/>
                  <a:gd name="connsiteX2887" fmla="*/ 1559243 w 2443162"/>
                  <a:gd name="connsiteY2887" fmla="*/ 508635 h 2161222"/>
                  <a:gd name="connsiteX2888" fmla="*/ 1558290 w 2443162"/>
                  <a:gd name="connsiteY2888" fmla="*/ 500063 h 2161222"/>
                  <a:gd name="connsiteX2889" fmla="*/ 1557338 w 2443162"/>
                  <a:gd name="connsiteY2889" fmla="*/ 491490 h 2161222"/>
                  <a:gd name="connsiteX2890" fmla="*/ 1555433 w 2443162"/>
                  <a:gd name="connsiteY2890" fmla="*/ 482918 h 2161222"/>
                  <a:gd name="connsiteX2891" fmla="*/ 1553528 w 2443162"/>
                  <a:gd name="connsiteY2891" fmla="*/ 474345 h 2161222"/>
                  <a:gd name="connsiteX2892" fmla="*/ 1550670 w 2443162"/>
                  <a:gd name="connsiteY2892" fmla="*/ 465773 h 2161222"/>
                  <a:gd name="connsiteX2893" fmla="*/ 1547813 w 2443162"/>
                  <a:gd name="connsiteY2893" fmla="*/ 458153 h 2161222"/>
                  <a:gd name="connsiteX2894" fmla="*/ 1555433 w 2443162"/>
                  <a:gd name="connsiteY2894" fmla="*/ 462915 h 2161222"/>
                  <a:gd name="connsiteX2895" fmla="*/ 1564005 w 2443162"/>
                  <a:gd name="connsiteY2895" fmla="*/ 467678 h 2161222"/>
                  <a:gd name="connsiteX2896" fmla="*/ 1571625 w 2443162"/>
                  <a:gd name="connsiteY2896" fmla="*/ 472440 h 2161222"/>
                  <a:gd name="connsiteX2897" fmla="*/ 1579245 w 2443162"/>
                  <a:gd name="connsiteY2897" fmla="*/ 477203 h 2161222"/>
                  <a:gd name="connsiteX2898" fmla="*/ 1583055 w 2443162"/>
                  <a:gd name="connsiteY2898" fmla="*/ 495300 h 2161222"/>
                  <a:gd name="connsiteX2899" fmla="*/ 1586865 w 2443162"/>
                  <a:gd name="connsiteY2899" fmla="*/ 526733 h 2161222"/>
                  <a:gd name="connsiteX2900" fmla="*/ 1586865 w 2443162"/>
                  <a:gd name="connsiteY2900" fmla="*/ 544830 h 2161222"/>
                  <a:gd name="connsiteX2901" fmla="*/ 1623060 w 2443162"/>
                  <a:gd name="connsiteY2901" fmla="*/ 590550 h 2161222"/>
                  <a:gd name="connsiteX2902" fmla="*/ 1604963 w 2443162"/>
                  <a:gd name="connsiteY2902" fmla="*/ 594360 h 2161222"/>
                  <a:gd name="connsiteX2903" fmla="*/ 1616393 w 2443162"/>
                  <a:gd name="connsiteY2903" fmla="*/ 608648 h 2161222"/>
                  <a:gd name="connsiteX2904" fmla="*/ 1584960 w 2443162"/>
                  <a:gd name="connsiteY2904" fmla="*/ 639128 h 2161222"/>
                  <a:gd name="connsiteX2905" fmla="*/ 1573530 w 2443162"/>
                  <a:gd name="connsiteY2905" fmla="*/ 618173 h 2161222"/>
                  <a:gd name="connsiteX2906" fmla="*/ 1564958 w 2443162"/>
                  <a:gd name="connsiteY2906" fmla="*/ 638175 h 2161222"/>
                  <a:gd name="connsiteX2907" fmla="*/ 1559243 w 2443162"/>
                  <a:gd name="connsiteY2907" fmla="*/ 633413 h 2161222"/>
                  <a:gd name="connsiteX2908" fmla="*/ 1553528 w 2443162"/>
                  <a:gd name="connsiteY2908" fmla="*/ 628650 h 2161222"/>
                  <a:gd name="connsiteX2909" fmla="*/ 1547813 w 2443162"/>
                  <a:gd name="connsiteY2909" fmla="*/ 623888 h 2161222"/>
                  <a:gd name="connsiteX2910" fmla="*/ 1543050 w 2443162"/>
                  <a:gd name="connsiteY2910" fmla="*/ 619125 h 2161222"/>
                  <a:gd name="connsiteX2911" fmla="*/ 1543050 w 2443162"/>
                  <a:gd name="connsiteY2911" fmla="*/ 619125 h 2161222"/>
                  <a:gd name="connsiteX2912" fmla="*/ 1140143 w 2443162"/>
                  <a:gd name="connsiteY2912" fmla="*/ 318135 h 2161222"/>
                  <a:gd name="connsiteX2913" fmla="*/ 1129665 w 2443162"/>
                  <a:gd name="connsiteY2913" fmla="*/ 322898 h 2161222"/>
                  <a:gd name="connsiteX2914" fmla="*/ 1119188 w 2443162"/>
                  <a:gd name="connsiteY2914" fmla="*/ 327660 h 2161222"/>
                  <a:gd name="connsiteX2915" fmla="*/ 1108710 w 2443162"/>
                  <a:gd name="connsiteY2915" fmla="*/ 332423 h 2161222"/>
                  <a:gd name="connsiteX2916" fmla="*/ 1098233 w 2443162"/>
                  <a:gd name="connsiteY2916" fmla="*/ 337185 h 2161222"/>
                  <a:gd name="connsiteX2917" fmla="*/ 1087755 w 2443162"/>
                  <a:gd name="connsiteY2917" fmla="*/ 341948 h 2161222"/>
                  <a:gd name="connsiteX2918" fmla="*/ 1077278 w 2443162"/>
                  <a:gd name="connsiteY2918" fmla="*/ 346710 h 2161222"/>
                  <a:gd name="connsiteX2919" fmla="*/ 1066800 w 2443162"/>
                  <a:gd name="connsiteY2919" fmla="*/ 351473 h 2161222"/>
                  <a:gd name="connsiteX2920" fmla="*/ 1056323 w 2443162"/>
                  <a:gd name="connsiteY2920" fmla="*/ 356235 h 2161222"/>
                  <a:gd name="connsiteX2921" fmla="*/ 1046798 w 2443162"/>
                  <a:gd name="connsiteY2921" fmla="*/ 358140 h 2161222"/>
                  <a:gd name="connsiteX2922" fmla="*/ 1038225 w 2443162"/>
                  <a:gd name="connsiteY2922" fmla="*/ 360045 h 2161222"/>
                  <a:gd name="connsiteX2923" fmla="*/ 1029653 w 2443162"/>
                  <a:gd name="connsiteY2923" fmla="*/ 361950 h 2161222"/>
                  <a:gd name="connsiteX2924" fmla="*/ 1021080 w 2443162"/>
                  <a:gd name="connsiteY2924" fmla="*/ 364808 h 2161222"/>
                  <a:gd name="connsiteX2925" fmla="*/ 1012508 w 2443162"/>
                  <a:gd name="connsiteY2925" fmla="*/ 367665 h 2161222"/>
                  <a:gd name="connsiteX2926" fmla="*/ 1004888 w 2443162"/>
                  <a:gd name="connsiteY2926" fmla="*/ 370523 h 2161222"/>
                  <a:gd name="connsiteX2927" fmla="*/ 997268 w 2443162"/>
                  <a:gd name="connsiteY2927" fmla="*/ 374333 h 2161222"/>
                  <a:gd name="connsiteX2928" fmla="*/ 989648 w 2443162"/>
                  <a:gd name="connsiteY2928" fmla="*/ 378143 h 2161222"/>
                  <a:gd name="connsiteX2929" fmla="*/ 982028 w 2443162"/>
                  <a:gd name="connsiteY2929" fmla="*/ 382905 h 2161222"/>
                  <a:gd name="connsiteX2930" fmla="*/ 974408 w 2443162"/>
                  <a:gd name="connsiteY2930" fmla="*/ 387668 h 2161222"/>
                  <a:gd name="connsiteX2931" fmla="*/ 967740 w 2443162"/>
                  <a:gd name="connsiteY2931" fmla="*/ 392430 h 2161222"/>
                  <a:gd name="connsiteX2932" fmla="*/ 961073 w 2443162"/>
                  <a:gd name="connsiteY2932" fmla="*/ 397193 h 2161222"/>
                  <a:gd name="connsiteX2933" fmla="*/ 954405 w 2443162"/>
                  <a:gd name="connsiteY2933" fmla="*/ 402908 h 2161222"/>
                  <a:gd name="connsiteX2934" fmla="*/ 947738 w 2443162"/>
                  <a:gd name="connsiteY2934" fmla="*/ 408623 h 2161222"/>
                  <a:gd name="connsiteX2935" fmla="*/ 942023 w 2443162"/>
                  <a:gd name="connsiteY2935" fmla="*/ 414338 h 2161222"/>
                  <a:gd name="connsiteX2936" fmla="*/ 936308 w 2443162"/>
                  <a:gd name="connsiteY2936" fmla="*/ 420053 h 2161222"/>
                  <a:gd name="connsiteX2937" fmla="*/ 930593 w 2443162"/>
                  <a:gd name="connsiteY2937" fmla="*/ 426720 h 2161222"/>
                  <a:gd name="connsiteX2938" fmla="*/ 923925 w 2443162"/>
                  <a:gd name="connsiteY2938" fmla="*/ 428625 h 2161222"/>
                  <a:gd name="connsiteX2939" fmla="*/ 919163 w 2443162"/>
                  <a:gd name="connsiteY2939" fmla="*/ 436245 h 2161222"/>
                  <a:gd name="connsiteX2940" fmla="*/ 914400 w 2443162"/>
                  <a:gd name="connsiteY2940" fmla="*/ 443865 h 2161222"/>
                  <a:gd name="connsiteX2941" fmla="*/ 909638 w 2443162"/>
                  <a:gd name="connsiteY2941" fmla="*/ 451485 h 2161222"/>
                  <a:gd name="connsiteX2942" fmla="*/ 904875 w 2443162"/>
                  <a:gd name="connsiteY2942" fmla="*/ 460058 h 2161222"/>
                  <a:gd name="connsiteX2943" fmla="*/ 900113 w 2443162"/>
                  <a:gd name="connsiteY2943" fmla="*/ 468630 h 2161222"/>
                  <a:gd name="connsiteX2944" fmla="*/ 895350 w 2443162"/>
                  <a:gd name="connsiteY2944" fmla="*/ 476250 h 2161222"/>
                  <a:gd name="connsiteX2945" fmla="*/ 891540 w 2443162"/>
                  <a:gd name="connsiteY2945" fmla="*/ 485775 h 2161222"/>
                  <a:gd name="connsiteX2946" fmla="*/ 887730 w 2443162"/>
                  <a:gd name="connsiteY2946" fmla="*/ 495300 h 2161222"/>
                  <a:gd name="connsiteX2947" fmla="*/ 883920 w 2443162"/>
                  <a:gd name="connsiteY2947" fmla="*/ 504825 h 2161222"/>
                  <a:gd name="connsiteX2948" fmla="*/ 880110 w 2443162"/>
                  <a:gd name="connsiteY2948" fmla="*/ 515303 h 2161222"/>
                  <a:gd name="connsiteX2949" fmla="*/ 877253 w 2443162"/>
                  <a:gd name="connsiteY2949" fmla="*/ 525780 h 2161222"/>
                  <a:gd name="connsiteX2950" fmla="*/ 874395 w 2443162"/>
                  <a:gd name="connsiteY2950" fmla="*/ 536258 h 2161222"/>
                  <a:gd name="connsiteX2951" fmla="*/ 871538 w 2443162"/>
                  <a:gd name="connsiteY2951" fmla="*/ 546735 h 2161222"/>
                  <a:gd name="connsiteX2952" fmla="*/ 868680 w 2443162"/>
                  <a:gd name="connsiteY2952" fmla="*/ 558165 h 2161222"/>
                  <a:gd name="connsiteX2953" fmla="*/ 868680 w 2443162"/>
                  <a:gd name="connsiteY2953" fmla="*/ 558165 h 2161222"/>
                  <a:gd name="connsiteX2954" fmla="*/ 868680 w 2443162"/>
                  <a:gd name="connsiteY2954" fmla="*/ 558165 h 2161222"/>
                  <a:gd name="connsiteX2955" fmla="*/ 868680 w 2443162"/>
                  <a:gd name="connsiteY2955" fmla="*/ 560070 h 2161222"/>
                  <a:gd name="connsiteX2956" fmla="*/ 868680 w 2443162"/>
                  <a:gd name="connsiteY2956" fmla="*/ 562928 h 2161222"/>
                  <a:gd name="connsiteX2957" fmla="*/ 866775 w 2443162"/>
                  <a:gd name="connsiteY2957" fmla="*/ 562928 h 2161222"/>
                  <a:gd name="connsiteX2958" fmla="*/ 865823 w 2443162"/>
                  <a:gd name="connsiteY2958" fmla="*/ 571500 h 2161222"/>
                  <a:gd name="connsiteX2959" fmla="*/ 863918 w 2443162"/>
                  <a:gd name="connsiteY2959" fmla="*/ 578168 h 2161222"/>
                  <a:gd name="connsiteX2960" fmla="*/ 861060 w 2443162"/>
                  <a:gd name="connsiteY2960" fmla="*/ 584835 h 2161222"/>
                  <a:gd name="connsiteX2961" fmla="*/ 857250 w 2443162"/>
                  <a:gd name="connsiteY2961" fmla="*/ 589598 h 2161222"/>
                  <a:gd name="connsiteX2962" fmla="*/ 853440 w 2443162"/>
                  <a:gd name="connsiteY2962" fmla="*/ 595313 h 2161222"/>
                  <a:gd name="connsiteX2963" fmla="*/ 849630 w 2443162"/>
                  <a:gd name="connsiteY2963" fmla="*/ 600075 h 2161222"/>
                  <a:gd name="connsiteX2964" fmla="*/ 844868 w 2443162"/>
                  <a:gd name="connsiteY2964" fmla="*/ 603885 h 2161222"/>
                  <a:gd name="connsiteX2965" fmla="*/ 840105 w 2443162"/>
                  <a:gd name="connsiteY2965" fmla="*/ 607695 h 2161222"/>
                  <a:gd name="connsiteX2966" fmla="*/ 834390 w 2443162"/>
                  <a:gd name="connsiteY2966" fmla="*/ 610553 h 2161222"/>
                  <a:gd name="connsiteX2967" fmla="*/ 828675 w 2443162"/>
                  <a:gd name="connsiteY2967" fmla="*/ 613410 h 2161222"/>
                  <a:gd name="connsiteX2968" fmla="*/ 822960 w 2443162"/>
                  <a:gd name="connsiteY2968" fmla="*/ 615315 h 2161222"/>
                  <a:gd name="connsiteX2969" fmla="*/ 819150 w 2443162"/>
                  <a:gd name="connsiteY2969" fmla="*/ 617220 h 2161222"/>
                  <a:gd name="connsiteX2970" fmla="*/ 812483 w 2443162"/>
                  <a:gd name="connsiteY2970" fmla="*/ 619125 h 2161222"/>
                  <a:gd name="connsiteX2971" fmla="*/ 805815 w 2443162"/>
                  <a:gd name="connsiteY2971" fmla="*/ 620078 h 2161222"/>
                  <a:gd name="connsiteX2972" fmla="*/ 799148 w 2443162"/>
                  <a:gd name="connsiteY2972" fmla="*/ 620078 h 2161222"/>
                  <a:gd name="connsiteX2973" fmla="*/ 792480 w 2443162"/>
                  <a:gd name="connsiteY2973" fmla="*/ 620078 h 2161222"/>
                  <a:gd name="connsiteX2974" fmla="*/ 796290 w 2443162"/>
                  <a:gd name="connsiteY2974" fmla="*/ 621030 h 2161222"/>
                  <a:gd name="connsiteX2975" fmla="*/ 801053 w 2443162"/>
                  <a:gd name="connsiteY2975" fmla="*/ 621983 h 2161222"/>
                  <a:gd name="connsiteX2976" fmla="*/ 806768 w 2443162"/>
                  <a:gd name="connsiteY2976" fmla="*/ 621983 h 2161222"/>
                  <a:gd name="connsiteX2977" fmla="*/ 812483 w 2443162"/>
                  <a:gd name="connsiteY2977" fmla="*/ 621983 h 2161222"/>
                  <a:gd name="connsiteX2978" fmla="*/ 818198 w 2443162"/>
                  <a:gd name="connsiteY2978" fmla="*/ 621983 h 2161222"/>
                  <a:gd name="connsiteX2979" fmla="*/ 824865 w 2443162"/>
                  <a:gd name="connsiteY2979" fmla="*/ 621030 h 2161222"/>
                  <a:gd name="connsiteX2980" fmla="*/ 832485 w 2443162"/>
                  <a:gd name="connsiteY2980" fmla="*/ 619125 h 2161222"/>
                  <a:gd name="connsiteX2981" fmla="*/ 841058 w 2443162"/>
                  <a:gd name="connsiteY2981" fmla="*/ 616268 h 2161222"/>
                  <a:gd name="connsiteX2982" fmla="*/ 837248 w 2443162"/>
                  <a:gd name="connsiteY2982" fmla="*/ 625793 h 2161222"/>
                  <a:gd name="connsiteX2983" fmla="*/ 834390 w 2443162"/>
                  <a:gd name="connsiteY2983" fmla="*/ 635318 h 2161222"/>
                  <a:gd name="connsiteX2984" fmla="*/ 833438 w 2443162"/>
                  <a:gd name="connsiteY2984" fmla="*/ 638175 h 2161222"/>
                  <a:gd name="connsiteX2985" fmla="*/ 832485 w 2443162"/>
                  <a:gd name="connsiteY2985" fmla="*/ 642938 h 2161222"/>
                  <a:gd name="connsiteX2986" fmla="*/ 831533 w 2443162"/>
                  <a:gd name="connsiteY2986" fmla="*/ 647700 h 2161222"/>
                  <a:gd name="connsiteX2987" fmla="*/ 831533 w 2443162"/>
                  <a:gd name="connsiteY2987" fmla="*/ 652463 h 2161222"/>
                  <a:gd name="connsiteX2988" fmla="*/ 834390 w 2443162"/>
                  <a:gd name="connsiteY2988" fmla="*/ 645795 h 2161222"/>
                  <a:gd name="connsiteX2989" fmla="*/ 837248 w 2443162"/>
                  <a:gd name="connsiteY2989" fmla="*/ 639128 h 2161222"/>
                  <a:gd name="connsiteX2990" fmla="*/ 840105 w 2443162"/>
                  <a:gd name="connsiteY2990" fmla="*/ 632460 h 2161222"/>
                  <a:gd name="connsiteX2991" fmla="*/ 843915 w 2443162"/>
                  <a:gd name="connsiteY2991" fmla="*/ 626745 h 2161222"/>
                  <a:gd name="connsiteX2992" fmla="*/ 846773 w 2443162"/>
                  <a:gd name="connsiteY2992" fmla="*/ 621030 h 2161222"/>
                  <a:gd name="connsiteX2993" fmla="*/ 850583 w 2443162"/>
                  <a:gd name="connsiteY2993" fmla="*/ 615315 h 2161222"/>
                  <a:gd name="connsiteX2994" fmla="*/ 854393 w 2443162"/>
                  <a:gd name="connsiteY2994" fmla="*/ 609600 h 2161222"/>
                  <a:gd name="connsiteX2995" fmla="*/ 858203 w 2443162"/>
                  <a:gd name="connsiteY2995" fmla="*/ 604838 h 2161222"/>
                  <a:gd name="connsiteX2996" fmla="*/ 862013 w 2443162"/>
                  <a:gd name="connsiteY2996" fmla="*/ 600075 h 2161222"/>
                  <a:gd name="connsiteX2997" fmla="*/ 865823 w 2443162"/>
                  <a:gd name="connsiteY2997" fmla="*/ 595313 h 2161222"/>
                  <a:gd name="connsiteX2998" fmla="*/ 869633 w 2443162"/>
                  <a:gd name="connsiteY2998" fmla="*/ 591503 h 2161222"/>
                  <a:gd name="connsiteX2999" fmla="*/ 873443 w 2443162"/>
                  <a:gd name="connsiteY2999" fmla="*/ 588645 h 2161222"/>
                  <a:gd name="connsiteX3000" fmla="*/ 878205 w 2443162"/>
                  <a:gd name="connsiteY3000" fmla="*/ 585788 h 2161222"/>
                  <a:gd name="connsiteX3001" fmla="*/ 882015 w 2443162"/>
                  <a:gd name="connsiteY3001" fmla="*/ 583883 h 2161222"/>
                  <a:gd name="connsiteX3002" fmla="*/ 886778 w 2443162"/>
                  <a:gd name="connsiteY3002" fmla="*/ 581978 h 2161222"/>
                  <a:gd name="connsiteX3003" fmla="*/ 891540 w 2443162"/>
                  <a:gd name="connsiteY3003" fmla="*/ 581025 h 2161222"/>
                  <a:gd name="connsiteX3004" fmla="*/ 893445 w 2443162"/>
                  <a:gd name="connsiteY3004" fmla="*/ 581025 h 2161222"/>
                  <a:gd name="connsiteX3005" fmla="*/ 924878 w 2443162"/>
                  <a:gd name="connsiteY3005" fmla="*/ 571500 h 2161222"/>
                  <a:gd name="connsiteX3006" fmla="*/ 936308 w 2443162"/>
                  <a:gd name="connsiteY3006" fmla="*/ 565785 h 2161222"/>
                  <a:gd name="connsiteX3007" fmla="*/ 947738 w 2443162"/>
                  <a:gd name="connsiteY3007" fmla="*/ 560070 h 2161222"/>
                  <a:gd name="connsiteX3008" fmla="*/ 959168 w 2443162"/>
                  <a:gd name="connsiteY3008" fmla="*/ 554355 h 2161222"/>
                  <a:gd name="connsiteX3009" fmla="*/ 969645 w 2443162"/>
                  <a:gd name="connsiteY3009" fmla="*/ 548640 h 2161222"/>
                  <a:gd name="connsiteX3010" fmla="*/ 981075 w 2443162"/>
                  <a:gd name="connsiteY3010" fmla="*/ 541973 h 2161222"/>
                  <a:gd name="connsiteX3011" fmla="*/ 991553 w 2443162"/>
                  <a:gd name="connsiteY3011" fmla="*/ 535305 h 2161222"/>
                  <a:gd name="connsiteX3012" fmla="*/ 1002030 w 2443162"/>
                  <a:gd name="connsiteY3012" fmla="*/ 528638 h 2161222"/>
                  <a:gd name="connsiteX3013" fmla="*/ 1012508 w 2443162"/>
                  <a:gd name="connsiteY3013" fmla="*/ 521970 h 2161222"/>
                  <a:gd name="connsiteX3014" fmla="*/ 1022985 w 2443162"/>
                  <a:gd name="connsiteY3014" fmla="*/ 514350 h 2161222"/>
                  <a:gd name="connsiteX3015" fmla="*/ 1032510 w 2443162"/>
                  <a:gd name="connsiteY3015" fmla="*/ 506730 h 2161222"/>
                  <a:gd name="connsiteX3016" fmla="*/ 1042035 w 2443162"/>
                  <a:gd name="connsiteY3016" fmla="*/ 498158 h 2161222"/>
                  <a:gd name="connsiteX3017" fmla="*/ 1051560 w 2443162"/>
                  <a:gd name="connsiteY3017" fmla="*/ 489585 h 2161222"/>
                  <a:gd name="connsiteX3018" fmla="*/ 1061085 w 2443162"/>
                  <a:gd name="connsiteY3018" fmla="*/ 481013 h 2161222"/>
                  <a:gd name="connsiteX3019" fmla="*/ 1070610 w 2443162"/>
                  <a:gd name="connsiteY3019" fmla="*/ 471488 h 2161222"/>
                  <a:gd name="connsiteX3020" fmla="*/ 1079183 w 2443162"/>
                  <a:gd name="connsiteY3020" fmla="*/ 461963 h 2161222"/>
                  <a:gd name="connsiteX3021" fmla="*/ 1087755 w 2443162"/>
                  <a:gd name="connsiteY3021" fmla="*/ 451485 h 2161222"/>
                  <a:gd name="connsiteX3022" fmla="*/ 1144905 w 2443162"/>
                  <a:gd name="connsiteY3022" fmla="*/ 416243 h 2161222"/>
                  <a:gd name="connsiteX3023" fmla="*/ 1140143 w 2443162"/>
                  <a:gd name="connsiteY3023" fmla="*/ 318135 h 2161222"/>
                  <a:gd name="connsiteX3024" fmla="*/ 1140143 w 2443162"/>
                  <a:gd name="connsiteY3024" fmla="*/ 318135 h 2161222"/>
                  <a:gd name="connsiteX3025" fmla="*/ 953453 w 2443162"/>
                  <a:gd name="connsiteY3025" fmla="*/ 466725 h 2161222"/>
                  <a:gd name="connsiteX3026" fmla="*/ 966788 w 2443162"/>
                  <a:gd name="connsiteY3026" fmla="*/ 441008 h 2161222"/>
                  <a:gd name="connsiteX3027" fmla="*/ 986790 w 2443162"/>
                  <a:gd name="connsiteY3027" fmla="*/ 441008 h 2161222"/>
                  <a:gd name="connsiteX3028" fmla="*/ 975360 w 2443162"/>
                  <a:gd name="connsiteY3028" fmla="*/ 462915 h 2161222"/>
                  <a:gd name="connsiteX3029" fmla="*/ 953453 w 2443162"/>
                  <a:gd name="connsiteY3029" fmla="*/ 466725 h 2161222"/>
                  <a:gd name="connsiteX3030" fmla="*/ 953453 w 2443162"/>
                  <a:gd name="connsiteY3030" fmla="*/ 466725 h 2161222"/>
                  <a:gd name="connsiteX3031" fmla="*/ 1222058 w 2443162"/>
                  <a:gd name="connsiteY3031" fmla="*/ 0 h 2161222"/>
                  <a:gd name="connsiteX3032" fmla="*/ 1204913 w 2443162"/>
                  <a:gd name="connsiteY3032" fmla="*/ 0 h 2161222"/>
                  <a:gd name="connsiteX3033" fmla="*/ 1186815 w 2443162"/>
                  <a:gd name="connsiteY3033" fmla="*/ 6668 h 2161222"/>
                  <a:gd name="connsiteX3034" fmla="*/ 1176338 w 2443162"/>
                  <a:gd name="connsiteY3034" fmla="*/ 13335 h 2161222"/>
                  <a:gd name="connsiteX3035" fmla="*/ 1165860 w 2443162"/>
                  <a:gd name="connsiteY3035" fmla="*/ 23813 h 2161222"/>
                  <a:gd name="connsiteX3036" fmla="*/ 1158240 w 2443162"/>
                  <a:gd name="connsiteY3036" fmla="*/ 38100 h 2161222"/>
                  <a:gd name="connsiteX3037" fmla="*/ 1154430 w 2443162"/>
                  <a:gd name="connsiteY3037" fmla="*/ 52388 h 2161222"/>
                  <a:gd name="connsiteX3038" fmla="*/ 1152525 w 2443162"/>
                  <a:gd name="connsiteY3038" fmla="*/ 84773 h 2161222"/>
                  <a:gd name="connsiteX3039" fmla="*/ 1152525 w 2443162"/>
                  <a:gd name="connsiteY3039" fmla="*/ 120015 h 2161222"/>
                  <a:gd name="connsiteX3040" fmla="*/ 1159193 w 2443162"/>
                  <a:gd name="connsiteY3040" fmla="*/ 155258 h 2161222"/>
                  <a:gd name="connsiteX3041" fmla="*/ 1169670 w 2443162"/>
                  <a:gd name="connsiteY3041" fmla="*/ 211455 h 2161222"/>
                  <a:gd name="connsiteX3042" fmla="*/ 1180148 w 2443162"/>
                  <a:gd name="connsiteY3042" fmla="*/ 657225 h 2161222"/>
                  <a:gd name="connsiteX3043" fmla="*/ 1225868 w 2443162"/>
                  <a:gd name="connsiteY3043" fmla="*/ 646748 h 2161222"/>
                  <a:gd name="connsiteX3044" fmla="*/ 1261110 w 2443162"/>
                  <a:gd name="connsiteY3044" fmla="*/ 640080 h 2161222"/>
                  <a:gd name="connsiteX3045" fmla="*/ 1271588 w 2443162"/>
                  <a:gd name="connsiteY3045" fmla="*/ 212408 h 2161222"/>
                  <a:gd name="connsiteX3046" fmla="*/ 1282065 w 2443162"/>
                  <a:gd name="connsiteY3046" fmla="*/ 156210 h 2161222"/>
                  <a:gd name="connsiteX3047" fmla="*/ 1285875 w 2443162"/>
                  <a:gd name="connsiteY3047" fmla="*/ 120968 h 2161222"/>
                  <a:gd name="connsiteX3048" fmla="*/ 1289685 w 2443162"/>
                  <a:gd name="connsiteY3048" fmla="*/ 85725 h 2161222"/>
                  <a:gd name="connsiteX3049" fmla="*/ 1289685 w 2443162"/>
                  <a:gd name="connsiteY3049" fmla="*/ 53340 h 2161222"/>
                  <a:gd name="connsiteX3050" fmla="*/ 1282065 w 2443162"/>
                  <a:gd name="connsiteY3050" fmla="*/ 35243 h 2161222"/>
                  <a:gd name="connsiteX3051" fmla="*/ 1278255 w 2443162"/>
                  <a:gd name="connsiteY3051" fmla="*/ 24765 h 2161222"/>
                  <a:gd name="connsiteX3052" fmla="*/ 1267778 w 2443162"/>
                  <a:gd name="connsiteY3052" fmla="*/ 14288 h 2161222"/>
                  <a:gd name="connsiteX3053" fmla="*/ 1257300 w 2443162"/>
                  <a:gd name="connsiteY3053" fmla="*/ 7620 h 2161222"/>
                  <a:gd name="connsiteX3054" fmla="*/ 1240155 w 2443162"/>
                  <a:gd name="connsiteY3054" fmla="*/ 0 h 2161222"/>
                  <a:gd name="connsiteX3055" fmla="*/ 1222058 w 2443162"/>
                  <a:gd name="connsiteY3055" fmla="*/ 0 h 2161222"/>
                  <a:gd name="connsiteX3056" fmla="*/ 1222058 w 2443162"/>
                  <a:gd name="connsiteY3056" fmla="*/ 0 h 2161222"/>
                  <a:gd name="connsiteX3057" fmla="*/ 1386840 w 2443162"/>
                  <a:gd name="connsiteY3057" fmla="*/ 280035 h 2161222"/>
                  <a:gd name="connsiteX3058" fmla="*/ 1394460 w 2443162"/>
                  <a:gd name="connsiteY3058" fmla="*/ 272415 h 2161222"/>
                  <a:gd name="connsiteX3059" fmla="*/ 1379220 w 2443162"/>
                  <a:gd name="connsiteY3059" fmla="*/ 264795 h 2161222"/>
                  <a:gd name="connsiteX3060" fmla="*/ 1335405 w 2443162"/>
                  <a:gd name="connsiteY3060" fmla="*/ 264795 h 2161222"/>
                  <a:gd name="connsiteX3061" fmla="*/ 1324928 w 2443162"/>
                  <a:gd name="connsiteY3061" fmla="*/ 272415 h 2161222"/>
                  <a:gd name="connsiteX3062" fmla="*/ 1299210 w 2443162"/>
                  <a:gd name="connsiteY3062" fmla="*/ 268605 h 2161222"/>
                  <a:gd name="connsiteX3063" fmla="*/ 1299210 w 2443162"/>
                  <a:gd name="connsiteY3063" fmla="*/ 276225 h 2161222"/>
                  <a:gd name="connsiteX3064" fmla="*/ 1343025 w 2443162"/>
                  <a:gd name="connsiteY3064" fmla="*/ 280035 h 2161222"/>
                  <a:gd name="connsiteX3065" fmla="*/ 1364933 w 2443162"/>
                  <a:gd name="connsiteY3065" fmla="*/ 280035 h 2161222"/>
                  <a:gd name="connsiteX3066" fmla="*/ 1386840 w 2443162"/>
                  <a:gd name="connsiteY3066" fmla="*/ 280035 h 2161222"/>
                  <a:gd name="connsiteX3067" fmla="*/ 1386840 w 2443162"/>
                  <a:gd name="connsiteY3067" fmla="*/ 280035 h 2161222"/>
                  <a:gd name="connsiteX3068" fmla="*/ 1303973 w 2443162"/>
                  <a:gd name="connsiteY3068" fmla="*/ 1173480 h 2161222"/>
                  <a:gd name="connsiteX3069" fmla="*/ 1303973 w 2443162"/>
                  <a:gd name="connsiteY3069" fmla="*/ 1169670 h 2161222"/>
                  <a:gd name="connsiteX3070" fmla="*/ 1296353 w 2443162"/>
                  <a:gd name="connsiteY3070" fmla="*/ 1163003 h 2161222"/>
                  <a:gd name="connsiteX3071" fmla="*/ 1281113 w 2443162"/>
                  <a:gd name="connsiteY3071" fmla="*/ 1152525 h 2161222"/>
                  <a:gd name="connsiteX3072" fmla="*/ 1277303 w 2443162"/>
                  <a:gd name="connsiteY3072" fmla="*/ 1152525 h 2161222"/>
                  <a:gd name="connsiteX3073" fmla="*/ 1277303 w 2443162"/>
                  <a:gd name="connsiteY3073" fmla="*/ 1202055 h 2161222"/>
                  <a:gd name="connsiteX3074" fmla="*/ 1295400 w 2443162"/>
                  <a:gd name="connsiteY3074" fmla="*/ 1187768 h 2161222"/>
                  <a:gd name="connsiteX3075" fmla="*/ 1303020 w 2443162"/>
                  <a:gd name="connsiteY3075" fmla="*/ 1181100 h 2161222"/>
                  <a:gd name="connsiteX3076" fmla="*/ 1303020 w 2443162"/>
                  <a:gd name="connsiteY3076" fmla="*/ 1173480 h 2161222"/>
                  <a:gd name="connsiteX3077" fmla="*/ 1303973 w 2443162"/>
                  <a:gd name="connsiteY3077" fmla="*/ 1173480 h 2161222"/>
                  <a:gd name="connsiteX3078" fmla="*/ 1830705 w 2443162"/>
                  <a:gd name="connsiteY3078" fmla="*/ 715328 h 2161222"/>
                  <a:gd name="connsiteX3079" fmla="*/ 1830705 w 2443162"/>
                  <a:gd name="connsiteY3079" fmla="*/ 715328 h 2161222"/>
                  <a:gd name="connsiteX3080" fmla="*/ 1836420 w 2443162"/>
                  <a:gd name="connsiteY3080" fmla="*/ 717233 h 2161222"/>
                  <a:gd name="connsiteX3081" fmla="*/ 1840230 w 2443162"/>
                  <a:gd name="connsiteY3081" fmla="*/ 710565 h 2161222"/>
                  <a:gd name="connsiteX3082" fmla="*/ 1815465 w 2443162"/>
                  <a:gd name="connsiteY3082" fmla="*/ 668655 h 2161222"/>
                  <a:gd name="connsiteX3083" fmla="*/ 1786890 w 2443162"/>
                  <a:gd name="connsiteY3083" fmla="*/ 625793 h 2161222"/>
                  <a:gd name="connsiteX3084" fmla="*/ 1763078 w 2443162"/>
                  <a:gd name="connsiteY3084" fmla="*/ 606743 h 2161222"/>
                  <a:gd name="connsiteX3085" fmla="*/ 1751648 w 2443162"/>
                  <a:gd name="connsiteY3085" fmla="*/ 592455 h 2161222"/>
                  <a:gd name="connsiteX3086" fmla="*/ 1740218 w 2443162"/>
                  <a:gd name="connsiteY3086" fmla="*/ 578168 h 2161222"/>
                  <a:gd name="connsiteX3087" fmla="*/ 1727835 w 2443162"/>
                  <a:gd name="connsiteY3087" fmla="*/ 564833 h 2161222"/>
                  <a:gd name="connsiteX3088" fmla="*/ 1715453 w 2443162"/>
                  <a:gd name="connsiteY3088" fmla="*/ 551498 h 2161222"/>
                  <a:gd name="connsiteX3089" fmla="*/ 1812608 w 2443162"/>
                  <a:gd name="connsiteY3089" fmla="*/ 454343 h 2161222"/>
                  <a:gd name="connsiteX3090" fmla="*/ 1825943 w 2443162"/>
                  <a:gd name="connsiteY3090" fmla="*/ 467678 h 2161222"/>
                  <a:gd name="connsiteX3091" fmla="*/ 1838325 w 2443162"/>
                  <a:gd name="connsiteY3091" fmla="*/ 481965 h 2161222"/>
                  <a:gd name="connsiteX3092" fmla="*/ 1850708 w 2443162"/>
                  <a:gd name="connsiteY3092" fmla="*/ 496253 h 2161222"/>
                  <a:gd name="connsiteX3093" fmla="*/ 1862138 w 2443162"/>
                  <a:gd name="connsiteY3093" fmla="*/ 510540 h 2161222"/>
                  <a:gd name="connsiteX3094" fmla="*/ 1873568 w 2443162"/>
                  <a:gd name="connsiteY3094" fmla="*/ 525780 h 2161222"/>
                  <a:gd name="connsiteX3095" fmla="*/ 1884998 w 2443162"/>
                  <a:gd name="connsiteY3095" fmla="*/ 541020 h 2161222"/>
                  <a:gd name="connsiteX3096" fmla="*/ 1895475 w 2443162"/>
                  <a:gd name="connsiteY3096" fmla="*/ 556260 h 2161222"/>
                  <a:gd name="connsiteX3097" fmla="*/ 1905953 w 2443162"/>
                  <a:gd name="connsiteY3097" fmla="*/ 571500 h 2161222"/>
                  <a:gd name="connsiteX3098" fmla="*/ 1916430 w 2443162"/>
                  <a:gd name="connsiteY3098" fmla="*/ 586740 h 2161222"/>
                  <a:gd name="connsiteX3099" fmla="*/ 1925955 w 2443162"/>
                  <a:gd name="connsiteY3099" fmla="*/ 602933 h 2161222"/>
                  <a:gd name="connsiteX3100" fmla="*/ 1935480 w 2443162"/>
                  <a:gd name="connsiteY3100" fmla="*/ 619125 h 2161222"/>
                  <a:gd name="connsiteX3101" fmla="*/ 1945005 w 2443162"/>
                  <a:gd name="connsiteY3101" fmla="*/ 635318 h 2161222"/>
                  <a:gd name="connsiteX3102" fmla="*/ 1953578 w 2443162"/>
                  <a:gd name="connsiteY3102" fmla="*/ 651510 h 2161222"/>
                  <a:gd name="connsiteX3103" fmla="*/ 1962150 w 2443162"/>
                  <a:gd name="connsiteY3103" fmla="*/ 668655 h 2161222"/>
                  <a:gd name="connsiteX3104" fmla="*/ 1969770 w 2443162"/>
                  <a:gd name="connsiteY3104" fmla="*/ 685800 h 2161222"/>
                  <a:gd name="connsiteX3105" fmla="*/ 1977390 w 2443162"/>
                  <a:gd name="connsiteY3105" fmla="*/ 702945 h 2161222"/>
                  <a:gd name="connsiteX3106" fmla="*/ 1985010 w 2443162"/>
                  <a:gd name="connsiteY3106" fmla="*/ 721043 h 2161222"/>
                  <a:gd name="connsiteX3107" fmla="*/ 1991678 w 2443162"/>
                  <a:gd name="connsiteY3107" fmla="*/ 739140 h 2161222"/>
                  <a:gd name="connsiteX3108" fmla="*/ 1997393 w 2443162"/>
                  <a:gd name="connsiteY3108" fmla="*/ 757238 h 2161222"/>
                  <a:gd name="connsiteX3109" fmla="*/ 2003108 w 2443162"/>
                  <a:gd name="connsiteY3109" fmla="*/ 775335 h 2161222"/>
                  <a:gd name="connsiteX3110" fmla="*/ 2008823 w 2443162"/>
                  <a:gd name="connsiteY3110" fmla="*/ 794385 h 2161222"/>
                  <a:gd name="connsiteX3111" fmla="*/ 2013585 w 2443162"/>
                  <a:gd name="connsiteY3111" fmla="*/ 812483 h 2161222"/>
                  <a:gd name="connsiteX3112" fmla="*/ 2018348 w 2443162"/>
                  <a:gd name="connsiteY3112" fmla="*/ 831533 h 2161222"/>
                  <a:gd name="connsiteX3113" fmla="*/ 2023110 w 2443162"/>
                  <a:gd name="connsiteY3113" fmla="*/ 850583 h 2161222"/>
                  <a:gd name="connsiteX3114" fmla="*/ 2026920 w 2443162"/>
                  <a:gd name="connsiteY3114" fmla="*/ 869633 h 2161222"/>
                  <a:gd name="connsiteX3115" fmla="*/ 2030730 w 2443162"/>
                  <a:gd name="connsiteY3115" fmla="*/ 888683 h 2161222"/>
                  <a:gd name="connsiteX3116" fmla="*/ 2033588 w 2443162"/>
                  <a:gd name="connsiteY3116" fmla="*/ 907733 h 2161222"/>
                  <a:gd name="connsiteX3117" fmla="*/ 2035493 w 2443162"/>
                  <a:gd name="connsiteY3117" fmla="*/ 927735 h 2161222"/>
                  <a:gd name="connsiteX3118" fmla="*/ 2037398 w 2443162"/>
                  <a:gd name="connsiteY3118" fmla="*/ 947738 h 2161222"/>
                  <a:gd name="connsiteX3119" fmla="*/ 2038350 w 2443162"/>
                  <a:gd name="connsiteY3119" fmla="*/ 967740 h 2161222"/>
                  <a:gd name="connsiteX3120" fmla="*/ 2039303 w 2443162"/>
                  <a:gd name="connsiteY3120" fmla="*/ 987743 h 2161222"/>
                  <a:gd name="connsiteX3121" fmla="*/ 2039303 w 2443162"/>
                  <a:gd name="connsiteY3121" fmla="*/ 1007745 h 2161222"/>
                  <a:gd name="connsiteX3122" fmla="*/ 1902143 w 2443162"/>
                  <a:gd name="connsiteY3122" fmla="*/ 1007745 h 2161222"/>
                  <a:gd name="connsiteX3123" fmla="*/ 1901190 w 2443162"/>
                  <a:gd name="connsiteY3123" fmla="*/ 987743 h 2161222"/>
                  <a:gd name="connsiteX3124" fmla="*/ 1900238 w 2443162"/>
                  <a:gd name="connsiteY3124" fmla="*/ 967740 h 2161222"/>
                  <a:gd name="connsiteX3125" fmla="*/ 1898333 w 2443162"/>
                  <a:gd name="connsiteY3125" fmla="*/ 948690 h 2161222"/>
                  <a:gd name="connsiteX3126" fmla="*/ 1896428 w 2443162"/>
                  <a:gd name="connsiteY3126" fmla="*/ 929640 h 2161222"/>
                  <a:gd name="connsiteX3127" fmla="*/ 1893570 w 2443162"/>
                  <a:gd name="connsiteY3127" fmla="*/ 910590 h 2161222"/>
                  <a:gd name="connsiteX3128" fmla="*/ 1889760 w 2443162"/>
                  <a:gd name="connsiteY3128" fmla="*/ 891540 h 2161222"/>
                  <a:gd name="connsiteX3129" fmla="*/ 1885950 w 2443162"/>
                  <a:gd name="connsiteY3129" fmla="*/ 872490 h 2161222"/>
                  <a:gd name="connsiteX3130" fmla="*/ 1881188 w 2443162"/>
                  <a:gd name="connsiteY3130" fmla="*/ 854393 h 2161222"/>
                  <a:gd name="connsiteX3131" fmla="*/ 1876425 w 2443162"/>
                  <a:gd name="connsiteY3131" fmla="*/ 836295 h 2161222"/>
                  <a:gd name="connsiteX3132" fmla="*/ 1871663 w 2443162"/>
                  <a:gd name="connsiteY3132" fmla="*/ 818198 h 2161222"/>
                  <a:gd name="connsiteX3133" fmla="*/ 1865948 w 2443162"/>
                  <a:gd name="connsiteY3133" fmla="*/ 800100 h 2161222"/>
                  <a:gd name="connsiteX3134" fmla="*/ 1859280 w 2443162"/>
                  <a:gd name="connsiteY3134" fmla="*/ 782955 h 2161222"/>
                  <a:gd name="connsiteX3135" fmla="*/ 1852613 w 2443162"/>
                  <a:gd name="connsiteY3135" fmla="*/ 765810 h 2161222"/>
                  <a:gd name="connsiteX3136" fmla="*/ 1844993 w 2443162"/>
                  <a:gd name="connsiteY3136" fmla="*/ 748665 h 2161222"/>
                  <a:gd name="connsiteX3137" fmla="*/ 1837373 w 2443162"/>
                  <a:gd name="connsiteY3137" fmla="*/ 731520 h 2161222"/>
                  <a:gd name="connsiteX3138" fmla="*/ 1830705 w 2443162"/>
                  <a:gd name="connsiteY3138" fmla="*/ 715328 h 2161222"/>
                  <a:gd name="connsiteX3139" fmla="*/ 1830705 w 2443162"/>
                  <a:gd name="connsiteY3139" fmla="*/ 715328 h 2161222"/>
                  <a:gd name="connsiteX3140" fmla="*/ 1635443 w 2443162"/>
                  <a:gd name="connsiteY3140" fmla="*/ 633413 h 2161222"/>
                  <a:gd name="connsiteX3141" fmla="*/ 1635443 w 2443162"/>
                  <a:gd name="connsiteY3141" fmla="*/ 633413 h 2161222"/>
                  <a:gd name="connsiteX3142" fmla="*/ 1635443 w 2443162"/>
                  <a:gd name="connsiteY3142" fmla="*/ 633413 h 2161222"/>
                  <a:gd name="connsiteX3143" fmla="*/ 1669733 w 2443162"/>
                  <a:gd name="connsiteY3143" fmla="*/ 638175 h 2161222"/>
                  <a:gd name="connsiteX3144" fmla="*/ 1676400 w 2443162"/>
                  <a:gd name="connsiteY3144" fmla="*/ 648653 h 2161222"/>
                  <a:gd name="connsiteX3145" fmla="*/ 1672590 w 2443162"/>
                  <a:gd name="connsiteY3145" fmla="*/ 662940 h 2161222"/>
                  <a:gd name="connsiteX3146" fmla="*/ 1718310 w 2443162"/>
                  <a:gd name="connsiteY3146" fmla="*/ 691515 h 2161222"/>
                  <a:gd name="connsiteX3147" fmla="*/ 1725930 w 2443162"/>
                  <a:gd name="connsiteY3147" fmla="*/ 687705 h 2161222"/>
                  <a:gd name="connsiteX3148" fmla="*/ 1784985 w 2443162"/>
                  <a:gd name="connsiteY3148" fmla="*/ 758190 h 2161222"/>
                  <a:gd name="connsiteX3149" fmla="*/ 1808798 w 2443162"/>
                  <a:gd name="connsiteY3149" fmla="*/ 747713 h 2161222"/>
                  <a:gd name="connsiteX3150" fmla="*/ 1809750 w 2443162"/>
                  <a:gd name="connsiteY3150" fmla="*/ 746760 h 2161222"/>
                  <a:gd name="connsiteX3151" fmla="*/ 1810703 w 2443162"/>
                  <a:gd name="connsiteY3151" fmla="*/ 745808 h 2161222"/>
                  <a:gd name="connsiteX3152" fmla="*/ 1817370 w 2443162"/>
                  <a:gd name="connsiteY3152" fmla="*/ 761048 h 2161222"/>
                  <a:gd name="connsiteX3153" fmla="*/ 1824038 w 2443162"/>
                  <a:gd name="connsiteY3153" fmla="*/ 776288 h 2161222"/>
                  <a:gd name="connsiteX3154" fmla="*/ 1829753 w 2443162"/>
                  <a:gd name="connsiteY3154" fmla="*/ 791528 h 2161222"/>
                  <a:gd name="connsiteX3155" fmla="*/ 1835468 w 2443162"/>
                  <a:gd name="connsiteY3155" fmla="*/ 806768 h 2161222"/>
                  <a:gd name="connsiteX3156" fmla="*/ 1840230 w 2443162"/>
                  <a:gd name="connsiteY3156" fmla="*/ 822960 h 2161222"/>
                  <a:gd name="connsiteX3157" fmla="*/ 1844993 w 2443162"/>
                  <a:gd name="connsiteY3157" fmla="*/ 838200 h 2161222"/>
                  <a:gd name="connsiteX3158" fmla="*/ 1849755 w 2443162"/>
                  <a:gd name="connsiteY3158" fmla="*/ 854393 h 2161222"/>
                  <a:gd name="connsiteX3159" fmla="*/ 1853565 w 2443162"/>
                  <a:gd name="connsiteY3159" fmla="*/ 870585 h 2161222"/>
                  <a:gd name="connsiteX3160" fmla="*/ 1857375 w 2443162"/>
                  <a:gd name="connsiteY3160" fmla="*/ 886778 h 2161222"/>
                  <a:gd name="connsiteX3161" fmla="*/ 1861185 w 2443162"/>
                  <a:gd name="connsiteY3161" fmla="*/ 902970 h 2161222"/>
                  <a:gd name="connsiteX3162" fmla="*/ 1864043 w 2443162"/>
                  <a:gd name="connsiteY3162" fmla="*/ 920115 h 2161222"/>
                  <a:gd name="connsiteX3163" fmla="*/ 1866900 w 2443162"/>
                  <a:gd name="connsiteY3163" fmla="*/ 937260 h 2161222"/>
                  <a:gd name="connsiteX3164" fmla="*/ 1868805 w 2443162"/>
                  <a:gd name="connsiteY3164" fmla="*/ 954405 h 2161222"/>
                  <a:gd name="connsiteX3165" fmla="*/ 1870710 w 2443162"/>
                  <a:gd name="connsiteY3165" fmla="*/ 971550 h 2161222"/>
                  <a:gd name="connsiteX3166" fmla="*/ 1871663 w 2443162"/>
                  <a:gd name="connsiteY3166" fmla="*/ 988695 h 2161222"/>
                  <a:gd name="connsiteX3167" fmla="*/ 1872615 w 2443162"/>
                  <a:gd name="connsiteY3167" fmla="*/ 1006793 h 2161222"/>
                  <a:gd name="connsiteX3168" fmla="*/ 1735455 w 2443162"/>
                  <a:gd name="connsiteY3168" fmla="*/ 1006793 h 2161222"/>
                  <a:gd name="connsiteX3169" fmla="*/ 1734503 w 2443162"/>
                  <a:gd name="connsiteY3169" fmla="*/ 993458 h 2161222"/>
                  <a:gd name="connsiteX3170" fmla="*/ 1733550 w 2443162"/>
                  <a:gd name="connsiteY3170" fmla="*/ 980123 h 2161222"/>
                  <a:gd name="connsiteX3171" fmla="*/ 1732598 w 2443162"/>
                  <a:gd name="connsiteY3171" fmla="*/ 966788 h 2161222"/>
                  <a:gd name="connsiteX3172" fmla="*/ 1730693 w 2443162"/>
                  <a:gd name="connsiteY3172" fmla="*/ 953453 h 2161222"/>
                  <a:gd name="connsiteX3173" fmla="*/ 1728788 w 2443162"/>
                  <a:gd name="connsiteY3173" fmla="*/ 940118 h 2161222"/>
                  <a:gd name="connsiteX3174" fmla="*/ 1726883 w 2443162"/>
                  <a:gd name="connsiteY3174" fmla="*/ 926783 h 2161222"/>
                  <a:gd name="connsiteX3175" fmla="*/ 1724025 w 2443162"/>
                  <a:gd name="connsiteY3175" fmla="*/ 913448 h 2161222"/>
                  <a:gd name="connsiteX3176" fmla="*/ 1721168 w 2443162"/>
                  <a:gd name="connsiteY3176" fmla="*/ 901065 h 2161222"/>
                  <a:gd name="connsiteX3177" fmla="*/ 1725930 w 2443162"/>
                  <a:gd name="connsiteY3177" fmla="*/ 897255 h 2161222"/>
                  <a:gd name="connsiteX3178" fmla="*/ 1732598 w 2443162"/>
                  <a:gd name="connsiteY3178" fmla="*/ 855345 h 2161222"/>
                  <a:gd name="connsiteX3179" fmla="*/ 1725930 w 2443162"/>
                  <a:gd name="connsiteY3179" fmla="*/ 805815 h 2161222"/>
                  <a:gd name="connsiteX3180" fmla="*/ 1711643 w 2443162"/>
                  <a:gd name="connsiteY3180" fmla="*/ 752475 h 2161222"/>
                  <a:gd name="connsiteX3181" fmla="*/ 1672590 w 2443162"/>
                  <a:gd name="connsiteY3181" fmla="*/ 696278 h 2161222"/>
                  <a:gd name="connsiteX3182" fmla="*/ 1679258 w 2443162"/>
                  <a:gd name="connsiteY3182" fmla="*/ 700088 h 2161222"/>
                  <a:gd name="connsiteX3183" fmla="*/ 1685925 w 2443162"/>
                  <a:gd name="connsiteY3183" fmla="*/ 696278 h 2161222"/>
                  <a:gd name="connsiteX3184" fmla="*/ 1654493 w 2443162"/>
                  <a:gd name="connsiteY3184" fmla="*/ 675323 h 2161222"/>
                  <a:gd name="connsiteX3185" fmla="*/ 1650683 w 2443162"/>
                  <a:gd name="connsiteY3185" fmla="*/ 681990 h 2161222"/>
                  <a:gd name="connsiteX3186" fmla="*/ 1682115 w 2443162"/>
                  <a:gd name="connsiteY3186" fmla="*/ 727710 h 2161222"/>
                  <a:gd name="connsiteX3187" fmla="*/ 1700213 w 2443162"/>
                  <a:gd name="connsiteY3187" fmla="*/ 762953 h 2161222"/>
                  <a:gd name="connsiteX3188" fmla="*/ 1714500 w 2443162"/>
                  <a:gd name="connsiteY3188" fmla="*/ 798195 h 2161222"/>
                  <a:gd name="connsiteX3189" fmla="*/ 1718310 w 2443162"/>
                  <a:gd name="connsiteY3189" fmla="*/ 822960 h 2161222"/>
                  <a:gd name="connsiteX3190" fmla="*/ 1725930 w 2443162"/>
                  <a:gd name="connsiteY3190" fmla="*/ 864870 h 2161222"/>
                  <a:gd name="connsiteX3191" fmla="*/ 1711643 w 2443162"/>
                  <a:gd name="connsiteY3191" fmla="*/ 864870 h 2161222"/>
                  <a:gd name="connsiteX3192" fmla="*/ 1707833 w 2443162"/>
                  <a:gd name="connsiteY3192" fmla="*/ 854393 h 2161222"/>
                  <a:gd name="connsiteX3193" fmla="*/ 1704023 w 2443162"/>
                  <a:gd name="connsiteY3193" fmla="*/ 843915 h 2161222"/>
                  <a:gd name="connsiteX3194" fmla="*/ 1700213 w 2443162"/>
                  <a:gd name="connsiteY3194" fmla="*/ 833438 h 2161222"/>
                  <a:gd name="connsiteX3195" fmla="*/ 1696403 w 2443162"/>
                  <a:gd name="connsiteY3195" fmla="*/ 823913 h 2161222"/>
                  <a:gd name="connsiteX3196" fmla="*/ 1700213 w 2443162"/>
                  <a:gd name="connsiteY3196" fmla="*/ 818198 h 2161222"/>
                  <a:gd name="connsiteX3197" fmla="*/ 1689735 w 2443162"/>
                  <a:gd name="connsiteY3197" fmla="*/ 803910 h 2161222"/>
                  <a:gd name="connsiteX3198" fmla="*/ 1689735 w 2443162"/>
                  <a:gd name="connsiteY3198" fmla="*/ 785813 h 2161222"/>
                  <a:gd name="connsiteX3199" fmla="*/ 1679258 w 2443162"/>
                  <a:gd name="connsiteY3199" fmla="*/ 775335 h 2161222"/>
                  <a:gd name="connsiteX3200" fmla="*/ 1674495 w 2443162"/>
                  <a:gd name="connsiteY3200" fmla="*/ 775335 h 2161222"/>
                  <a:gd name="connsiteX3201" fmla="*/ 1671638 w 2443162"/>
                  <a:gd name="connsiteY3201" fmla="*/ 770573 h 2161222"/>
                  <a:gd name="connsiteX3202" fmla="*/ 1668780 w 2443162"/>
                  <a:gd name="connsiteY3202" fmla="*/ 766763 h 2161222"/>
                  <a:gd name="connsiteX3203" fmla="*/ 1665923 w 2443162"/>
                  <a:gd name="connsiteY3203" fmla="*/ 762000 h 2161222"/>
                  <a:gd name="connsiteX3204" fmla="*/ 1663065 w 2443162"/>
                  <a:gd name="connsiteY3204" fmla="*/ 757238 h 2161222"/>
                  <a:gd name="connsiteX3205" fmla="*/ 1664018 w 2443162"/>
                  <a:gd name="connsiteY3205" fmla="*/ 757238 h 2161222"/>
                  <a:gd name="connsiteX3206" fmla="*/ 1667828 w 2443162"/>
                  <a:gd name="connsiteY3206" fmla="*/ 757238 h 2161222"/>
                  <a:gd name="connsiteX3207" fmla="*/ 1664018 w 2443162"/>
                  <a:gd name="connsiteY3207" fmla="*/ 746760 h 2161222"/>
                  <a:gd name="connsiteX3208" fmla="*/ 1670685 w 2443162"/>
                  <a:gd name="connsiteY3208" fmla="*/ 742950 h 2161222"/>
                  <a:gd name="connsiteX3209" fmla="*/ 1666875 w 2443162"/>
                  <a:gd name="connsiteY3209" fmla="*/ 736283 h 2161222"/>
                  <a:gd name="connsiteX3210" fmla="*/ 1653540 w 2443162"/>
                  <a:gd name="connsiteY3210" fmla="*/ 742950 h 2161222"/>
                  <a:gd name="connsiteX3211" fmla="*/ 1653540 w 2443162"/>
                  <a:gd name="connsiteY3211" fmla="*/ 741998 h 2161222"/>
                  <a:gd name="connsiteX3212" fmla="*/ 1660208 w 2443162"/>
                  <a:gd name="connsiteY3212" fmla="*/ 721995 h 2161222"/>
                  <a:gd name="connsiteX3213" fmla="*/ 1649730 w 2443162"/>
                  <a:gd name="connsiteY3213" fmla="*/ 718185 h 2161222"/>
                  <a:gd name="connsiteX3214" fmla="*/ 1644968 w 2443162"/>
                  <a:gd name="connsiteY3214" fmla="*/ 727710 h 2161222"/>
                  <a:gd name="connsiteX3215" fmla="*/ 1633538 w 2443162"/>
                  <a:gd name="connsiteY3215" fmla="*/ 711518 h 2161222"/>
                  <a:gd name="connsiteX3216" fmla="*/ 1621155 w 2443162"/>
                  <a:gd name="connsiteY3216" fmla="*/ 696278 h 2161222"/>
                  <a:gd name="connsiteX3217" fmla="*/ 1608773 w 2443162"/>
                  <a:gd name="connsiteY3217" fmla="*/ 681038 h 2161222"/>
                  <a:gd name="connsiteX3218" fmla="*/ 1595438 w 2443162"/>
                  <a:gd name="connsiteY3218" fmla="*/ 666750 h 2161222"/>
                  <a:gd name="connsiteX3219" fmla="*/ 1635443 w 2443162"/>
                  <a:gd name="connsiteY3219" fmla="*/ 633413 h 2161222"/>
                  <a:gd name="connsiteX3220" fmla="*/ 1635443 w 2443162"/>
                  <a:gd name="connsiteY3220" fmla="*/ 633413 h 2161222"/>
                  <a:gd name="connsiteX3221" fmla="*/ 1575435 w 2443162"/>
                  <a:gd name="connsiteY3221" fmla="*/ 690563 h 2161222"/>
                  <a:gd name="connsiteX3222" fmla="*/ 1577340 w 2443162"/>
                  <a:gd name="connsiteY3222" fmla="*/ 692468 h 2161222"/>
                  <a:gd name="connsiteX3223" fmla="*/ 1578293 w 2443162"/>
                  <a:gd name="connsiteY3223" fmla="*/ 691515 h 2161222"/>
                  <a:gd name="connsiteX3224" fmla="*/ 1596390 w 2443162"/>
                  <a:gd name="connsiteY3224" fmla="*/ 714375 h 2161222"/>
                  <a:gd name="connsiteX3225" fmla="*/ 1597343 w 2443162"/>
                  <a:gd name="connsiteY3225" fmla="*/ 713423 h 2161222"/>
                  <a:gd name="connsiteX3226" fmla="*/ 1608773 w 2443162"/>
                  <a:gd name="connsiteY3226" fmla="*/ 727710 h 2161222"/>
                  <a:gd name="connsiteX3227" fmla="*/ 1619250 w 2443162"/>
                  <a:gd name="connsiteY3227" fmla="*/ 742950 h 2161222"/>
                  <a:gd name="connsiteX3228" fmla="*/ 1628775 w 2443162"/>
                  <a:gd name="connsiteY3228" fmla="*/ 758190 h 2161222"/>
                  <a:gd name="connsiteX3229" fmla="*/ 1638300 w 2443162"/>
                  <a:gd name="connsiteY3229" fmla="*/ 773430 h 2161222"/>
                  <a:gd name="connsiteX3230" fmla="*/ 1636395 w 2443162"/>
                  <a:gd name="connsiteY3230" fmla="*/ 774383 h 2161222"/>
                  <a:gd name="connsiteX3231" fmla="*/ 1636395 w 2443162"/>
                  <a:gd name="connsiteY3231" fmla="*/ 774383 h 2161222"/>
                  <a:gd name="connsiteX3232" fmla="*/ 1623060 w 2443162"/>
                  <a:gd name="connsiteY3232" fmla="*/ 778193 h 2161222"/>
                  <a:gd name="connsiteX3233" fmla="*/ 1623060 w 2443162"/>
                  <a:gd name="connsiteY3233" fmla="*/ 800100 h 2161222"/>
                  <a:gd name="connsiteX3234" fmla="*/ 1662113 w 2443162"/>
                  <a:gd name="connsiteY3234" fmla="*/ 824865 h 2161222"/>
                  <a:gd name="connsiteX3235" fmla="*/ 1663065 w 2443162"/>
                  <a:gd name="connsiteY3235" fmla="*/ 824865 h 2161222"/>
                  <a:gd name="connsiteX3236" fmla="*/ 1664970 w 2443162"/>
                  <a:gd name="connsiteY3236" fmla="*/ 824865 h 2161222"/>
                  <a:gd name="connsiteX3237" fmla="*/ 1670685 w 2443162"/>
                  <a:gd name="connsiteY3237" fmla="*/ 839153 h 2161222"/>
                  <a:gd name="connsiteX3238" fmla="*/ 1676400 w 2443162"/>
                  <a:gd name="connsiteY3238" fmla="*/ 853440 h 2161222"/>
                  <a:gd name="connsiteX3239" fmla="*/ 1682115 w 2443162"/>
                  <a:gd name="connsiteY3239" fmla="*/ 867728 h 2161222"/>
                  <a:gd name="connsiteX3240" fmla="*/ 1686878 w 2443162"/>
                  <a:gd name="connsiteY3240" fmla="*/ 882968 h 2161222"/>
                  <a:gd name="connsiteX3241" fmla="*/ 1684020 w 2443162"/>
                  <a:gd name="connsiteY3241" fmla="*/ 884873 h 2161222"/>
                  <a:gd name="connsiteX3242" fmla="*/ 1684020 w 2443162"/>
                  <a:gd name="connsiteY3242" fmla="*/ 884873 h 2161222"/>
                  <a:gd name="connsiteX3243" fmla="*/ 1680210 w 2443162"/>
                  <a:gd name="connsiteY3243" fmla="*/ 895350 h 2161222"/>
                  <a:gd name="connsiteX3244" fmla="*/ 1665923 w 2443162"/>
                  <a:gd name="connsiteY3244" fmla="*/ 902018 h 2161222"/>
                  <a:gd name="connsiteX3245" fmla="*/ 1662113 w 2443162"/>
                  <a:gd name="connsiteY3245" fmla="*/ 923925 h 2161222"/>
                  <a:gd name="connsiteX3246" fmla="*/ 1651635 w 2443162"/>
                  <a:gd name="connsiteY3246" fmla="*/ 927735 h 2161222"/>
                  <a:gd name="connsiteX3247" fmla="*/ 1644968 w 2443162"/>
                  <a:gd name="connsiteY3247" fmla="*/ 938213 h 2161222"/>
                  <a:gd name="connsiteX3248" fmla="*/ 1638300 w 2443162"/>
                  <a:gd name="connsiteY3248" fmla="*/ 933450 h 2161222"/>
                  <a:gd name="connsiteX3249" fmla="*/ 1624013 w 2443162"/>
                  <a:gd name="connsiteY3249" fmla="*/ 933450 h 2161222"/>
                  <a:gd name="connsiteX3250" fmla="*/ 1630680 w 2443162"/>
                  <a:gd name="connsiteY3250" fmla="*/ 922973 h 2161222"/>
                  <a:gd name="connsiteX3251" fmla="*/ 1637348 w 2443162"/>
                  <a:gd name="connsiteY3251" fmla="*/ 894398 h 2161222"/>
                  <a:gd name="connsiteX3252" fmla="*/ 1647825 w 2443162"/>
                  <a:gd name="connsiteY3252" fmla="*/ 887730 h 2161222"/>
                  <a:gd name="connsiteX3253" fmla="*/ 1619250 w 2443162"/>
                  <a:gd name="connsiteY3253" fmla="*/ 862965 h 2161222"/>
                  <a:gd name="connsiteX3254" fmla="*/ 1598295 w 2443162"/>
                  <a:gd name="connsiteY3254" fmla="*/ 869633 h 2161222"/>
                  <a:gd name="connsiteX3255" fmla="*/ 1594485 w 2443162"/>
                  <a:gd name="connsiteY3255" fmla="*/ 887730 h 2161222"/>
                  <a:gd name="connsiteX3256" fmla="*/ 1583055 w 2443162"/>
                  <a:gd name="connsiteY3256" fmla="*/ 902018 h 2161222"/>
                  <a:gd name="connsiteX3257" fmla="*/ 1568768 w 2443162"/>
                  <a:gd name="connsiteY3257" fmla="*/ 891540 h 2161222"/>
                  <a:gd name="connsiteX3258" fmla="*/ 1564958 w 2443162"/>
                  <a:gd name="connsiteY3258" fmla="*/ 881063 h 2161222"/>
                  <a:gd name="connsiteX3259" fmla="*/ 1571625 w 2443162"/>
                  <a:gd name="connsiteY3259" fmla="*/ 877253 h 2161222"/>
                  <a:gd name="connsiteX3260" fmla="*/ 1575435 w 2443162"/>
                  <a:gd name="connsiteY3260" fmla="*/ 883920 h 2161222"/>
                  <a:gd name="connsiteX3261" fmla="*/ 1582103 w 2443162"/>
                  <a:gd name="connsiteY3261" fmla="*/ 880110 h 2161222"/>
                  <a:gd name="connsiteX3262" fmla="*/ 1578293 w 2443162"/>
                  <a:gd name="connsiteY3262" fmla="*/ 869633 h 2161222"/>
                  <a:gd name="connsiteX3263" fmla="*/ 1567815 w 2443162"/>
                  <a:gd name="connsiteY3263" fmla="*/ 869633 h 2161222"/>
                  <a:gd name="connsiteX3264" fmla="*/ 1567815 w 2443162"/>
                  <a:gd name="connsiteY3264" fmla="*/ 874395 h 2161222"/>
                  <a:gd name="connsiteX3265" fmla="*/ 1564005 w 2443162"/>
                  <a:gd name="connsiteY3265" fmla="*/ 874395 h 2161222"/>
                  <a:gd name="connsiteX3266" fmla="*/ 1532573 w 2443162"/>
                  <a:gd name="connsiteY3266" fmla="*/ 838200 h 2161222"/>
                  <a:gd name="connsiteX3267" fmla="*/ 1522095 w 2443162"/>
                  <a:gd name="connsiteY3267" fmla="*/ 831533 h 2161222"/>
                  <a:gd name="connsiteX3268" fmla="*/ 1525905 w 2443162"/>
                  <a:gd name="connsiteY3268" fmla="*/ 827723 h 2161222"/>
                  <a:gd name="connsiteX3269" fmla="*/ 1536383 w 2443162"/>
                  <a:gd name="connsiteY3269" fmla="*/ 823913 h 2161222"/>
                  <a:gd name="connsiteX3270" fmla="*/ 1525905 w 2443162"/>
                  <a:gd name="connsiteY3270" fmla="*/ 820103 h 2161222"/>
                  <a:gd name="connsiteX3271" fmla="*/ 1515428 w 2443162"/>
                  <a:gd name="connsiteY3271" fmla="*/ 823913 h 2161222"/>
                  <a:gd name="connsiteX3272" fmla="*/ 1523048 w 2443162"/>
                  <a:gd name="connsiteY3272" fmla="*/ 830580 h 2161222"/>
                  <a:gd name="connsiteX3273" fmla="*/ 1507808 w 2443162"/>
                  <a:gd name="connsiteY3273" fmla="*/ 830580 h 2161222"/>
                  <a:gd name="connsiteX3274" fmla="*/ 1500188 w 2443162"/>
                  <a:gd name="connsiteY3274" fmla="*/ 820103 h 2161222"/>
                  <a:gd name="connsiteX3275" fmla="*/ 1495425 w 2443162"/>
                  <a:gd name="connsiteY3275" fmla="*/ 809625 h 2161222"/>
                  <a:gd name="connsiteX3276" fmla="*/ 1486853 w 2443162"/>
                  <a:gd name="connsiteY3276" fmla="*/ 799148 h 2161222"/>
                  <a:gd name="connsiteX3277" fmla="*/ 1478280 w 2443162"/>
                  <a:gd name="connsiteY3277" fmla="*/ 789623 h 2161222"/>
                  <a:gd name="connsiteX3278" fmla="*/ 1575435 w 2443162"/>
                  <a:gd name="connsiteY3278" fmla="*/ 690563 h 2161222"/>
                  <a:gd name="connsiteX3279" fmla="*/ 1575435 w 2443162"/>
                  <a:gd name="connsiteY3279" fmla="*/ 690563 h 2161222"/>
                  <a:gd name="connsiteX3280" fmla="*/ 1484948 w 2443162"/>
                  <a:gd name="connsiteY3280" fmla="*/ 841058 h 2161222"/>
                  <a:gd name="connsiteX3281" fmla="*/ 1483043 w 2443162"/>
                  <a:gd name="connsiteY3281" fmla="*/ 841058 h 2161222"/>
                  <a:gd name="connsiteX3282" fmla="*/ 1483043 w 2443162"/>
                  <a:gd name="connsiteY3282" fmla="*/ 842010 h 2161222"/>
                  <a:gd name="connsiteX3283" fmla="*/ 1479233 w 2443162"/>
                  <a:gd name="connsiteY3283" fmla="*/ 859155 h 2161222"/>
                  <a:gd name="connsiteX3284" fmla="*/ 1464945 w 2443162"/>
                  <a:gd name="connsiteY3284" fmla="*/ 848678 h 2161222"/>
                  <a:gd name="connsiteX3285" fmla="*/ 1454468 w 2443162"/>
                  <a:gd name="connsiteY3285" fmla="*/ 852488 h 2161222"/>
                  <a:gd name="connsiteX3286" fmla="*/ 1461135 w 2443162"/>
                  <a:gd name="connsiteY3286" fmla="*/ 862965 h 2161222"/>
                  <a:gd name="connsiteX3287" fmla="*/ 1464945 w 2443162"/>
                  <a:gd name="connsiteY3287" fmla="*/ 862965 h 2161222"/>
                  <a:gd name="connsiteX3288" fmla="*/ 1461135 w 2443162"/>
                  <a:gd name="connsiteY3288" fmla="*/ 877253 h 2161222"/>
                  <a:gd name="connsiteX3289" fmla="*/ 1454468 w 2443162"/>
                  <a:gd name="connsiteY3289" fmla="*/ 869633 h 2161222"/>
                  <a:gd name="connsiteX3290" fmla="*/ 1440180 w 2443162"/>
                  <a:gd name="connsiteY3290" fmla="*/ 865823 h 2161222"/>
                  <a:gd name="connsiteX3291" fmla="*/ 1450658 w 2443162"/>
                  <a:gd name="connsiteY3291" fmla="*/ 862013 h 2161222"/>
                  <a:gd name="connsiteX3292" fmla="*/ 1450658 w 2443162"/>
                  <a:gd name="connsiteY3292" fmla="*/ 858203 h 2161222"/>
                  <a:gd name="connsiteX3293" fmla="*/ 1440180 w 2443162"/>
                  <a:gd name="connsiteY3293" fmla="*/ 851535 h 2161222"/>
                  <a:gd name="connsiteX3294" fmla="*/ 1443990 w 2443162"/>
                  <a:gd name="connsiteY3294" fmla="*/ 823913 h 2161222"/>
                  <a:gd name="connsiteX3295" fmla="*/ 1443990 w 2443162"/>
                  <a:gd name="connsiteY3295" fmla="*/ 823913 h 2161222"/>
                  <a:gd name="connsiteX3296" fmla="*/ 1459230 w 2443162"/>
                  <a:gd name="connsiteY3296" fmla="*/ 808673 h 2161222"/>
                  <a:gd name="connsiteX3297" fmla="*/ 1465898 w 2443162"/>
                  <a:gd name="connsiteY3297" fmla="*/ 816293 h 2161222"/>
                  <a:gd name="connsiteX3298" fmla="*/ 1471613 w 2443162"/>
                  <a:gd name="connsiteY3298" fmla="*/ 823913 h 2161222"/>
                  <a:gd name="connsiteX3299" fmla="*/ 1477328 w 2443162"/>
                  <a:gd name="connsiteY3299" fmla="*/ 832485 h 2161222"/>
                  <a:gd name="connsiteX3300" fmla="*/ 1484948 w 2443162"/>
                  <a:gd name="connsiteY3300" fmla="*/ 841058 h 2161222"/>
                  <a:gd name="connsiteX3301" fmla="*/ 1484948 w 2443162"/>
                  <a:gd name="connsiteY3301" fmla="*/ 841058 h 2161222"/>
                  <a:gd name="connsiteX3302" fmla="*/ 1548765 w 2443162"/>
                  <a:gd name="connsiteY3302" fmla="*/ 1585913 h 2161222"/>
                  <a:gd name="connsiteX3303" fmla="*/ 1562100 w 2443162"/>
                  <a:gd name="connsiteY3303" fmla="*/ 1559243 h 2161222"/>
                  <a:gd name="connsiteX3304" fmla="*/ 1554480 w 2443162"/>
                  <a:gd name="connsiteY3304" fmla="*/ 1544955 h 2161222"/>
                  <a:gd name="connsiteX3305" fmla="*/ 1575435 w 2443162"/>
                  <a:gd name="connsiteY3305" fmla="*/ 1527810 h 2161222"/>
                  <a:gd name="connsiteX3306" fmla="*/ 1575435 w 2443162"/>
                  <a:gd name="connsiteY3306" fmla="*/ 1517333 h 2161222"/>
                  <a:gd name="connsiteX3307" fmla="*/ 1558290 w 2443162"/>
                  <a:gd name="connsiteY3307" fmla="*/ 1506855 h 2161222"/>
                  <a:gd name="connsiteX3308" fmla="*/ 1571625 w 2443162"/>
                  <a:gd name="connsiteY3308" fmla="*/ 1482090 h 2161222"/>
                  <a:gd name="connsiteX3309" fmla="*/ 1592580 w 2443162"/>
                  <a:gd name="connsiteY3309" fmla="*/ 1453515 h 2161222"/>
                  <a:gd name="connsiteX3310" fmla="*/ 1571625 w 2443162"/>
                  <a:gd name="connsiteY3310" fmla="*/ 1432560 h 2161222"/>
                  <a:gd name="connsiteX3311" fmla="*/ 1558290 w 2443162"/>
                  <a:gd name="connsiteY3311" fmla="*/ 1432560 h 2161222"/>
                  <a:gd name="connsiteX3312" fmla="*/ 1548765 w 2443162"/>
                  <a:gd name="connsiteY3312" fmla="*/ 1420178 h 2161222"/>
                  <a:gd name="connsiteX3313" fmla="*/ 1556385 w 2443162"/>
                  <a:gd name="connsiteY3313" fmla="*/ 1414463 h 2161222"/>
                  <a:gd name="connsiteX3314" fmla="*/ 1564005 w 2443162"/>
                  <a:gd name="connsiteY3314" fmla="*/ 1407795 h 2161222"/>
                  <a:gd name="connsiteX3315" fmla="*/ 1570673 w 2443162"/>
                  <a:gd name="connsiteY3315" fmla="*/ 1402080 h 2161222"/>
                  <a:gd name="connsiteX3316" fmla="*/ 1577340 w 2443162"/>
                  <a:gd name="connsiteY3316" fmla="*/ 1395413 h 2161222"/>
                  <a:gd name="connsiteX3317" fmla="*/ 1626870 w 2443162"/>
                  <a:gd name="connsiteY3317" fmla="*/ 1445895 h 2161222"/>
                  <a:gd name="connsiteX3318" fmla="*/ 1626870 w 2443162"/>
                  <a:gd name="connsiteY3318" fmla="*/ 1454468 h 2161222"/>
                  <a:gd name="connsiteX3319" fmla="*/ 1626870 w 2443162"/>
                  <a:gd name="connsiteY3319" fmla="*/ 1454468 h 2161222"/>
                  <a:gd name="connsiteX3320" fmla="*/ 1636395 w 2443162"/>
                  <a:gd name="connsiteY3320" fmla="*/ 1455420 h 2161222"/>
                  <a:gd name="connsiteX3321" fmla="*/ 1673543 w 2443162"/>
                  <a:gd name="connsiteY3321" fmla="*/ 1493520 h 2161222"/>
                  <a:gd name="connsiteX3322" fmla="*/ 1659255 w 2443162"/>
                  <a:gd name="connsiteY3322" fmla="*/ 1506855 h 2161222"/>
                  <a:gd name="connsiteX3323" fmla="*/ 1644968 w 2443162"/>
                  <a:gd name="connsiteY3323" fmla="*/ 1520190 h 2161222"/>
                  <a:gd name="connsiteX3324" fmla="*/ 1629728 w 2443162"/>
                  <a:gd name="connsiteY3324" fmla="*/ 1532573 h 2161222"/>
                  <a:gd name="connsiteX3325" fmla="*/ 1614488 w 2443162"/>
                  <a:gd name="connsiteY3325" fmla="*/ 1544955 h 2161222"/>
                  <a:gd name="connsiteX3326" fmla="*/ 1598295 w 2443162"/>
                  <a:gd name="connsiteY3326" fmla="*/ 1556385 h 2161222"/>
                  <a:gd name="connsiteX3327" fmla="*/ 1582103 w 2443162"/>
                  <a:gd name="connsiteY3327" fmla="*/ 1567815 h 2161222"/>
                  <a:gd name="connsiteX3328" fmla="*/ 1565910 w 2443162"/>
                  <a:gd name="connsiteY3328" fmla="*/ 1578293 h 2161222"/>
                  <a:gd name="connsiteX3329" fmla="*/ 1548765 w 2443162"/>
                  <a:gd name="connsiteY3329" fmla="*/ 1585913 h 2161222"/>
                  <a:gd name="connsiteX3330" fmla="*/ 1548765 w 2443162"/>
                  <a:gd name="connsiteY3330" fmla="*/ 1585913 h 2161222"/>
                  <a:gd name="connsiteX3331" fmla="*/ 1560195 w 2443162"/>
                  <a:gd name="connsiteY3331" fmla="*/ 1335405 h 2161222"/>
                  <a:gd name="connsiteX3332" fmla="*/ 1564958 w 2443162"/>
                  <a:gd name="connsiteY3332" fmla="*/ 1323023 h 2161222"/>
                  <a:gd name="connsiteX3333" fmla="*/ 1550670 w 2443162"/>
                  <a:gd name="connsiteY3333" fmla="*/ 1280160 h 2161222"/>
                  <a:gd name="connsiteX3334" fmla="*/ 1533525 w 2443162"/>
                  <a:gd name="connsiteY3334" fmla="*/ 1308735 h 2161222"/>
                  <a:gd name="connsiteX3335" fmla="*/ 1520190 w 2443162"/>
                  <a:gd name="connsiteY3335" fmla="*/ 1295400 h 2161222"/>
                  <a:gd name="connsiteX3336" fmla="*/ 1525905 w 2443162"/>
                  <a:gd name="connsiteY3336" fmla="*/ 1287780 h 2161222"/>
                  <a:gd name="connsiteX3337" fmla="*/ 1540193 w 2443162"/>
                  <a:gd name="connsiteY3337" fmla="*/ 1263015 h 2161222"/>
                  <a:gd name="connsiteX3338" fmla="*/ 1533525 w 2443162"/>
                  <a:gd name="connsiteY3338" fmla="*/ 1256348 h 2161222"/>
                  <a:gd name="connsiteX3339" fmla="*/ 1544003 w 2443162"/>
                  <a:gd name="connsiteY3339" fmla="*/ 1235393 h 2161222"/>
                  <a:gd name="connsiteX3340" fmla="*/ 1540193 w 2443162"/>
                  <a:gd name="connsiteY3340" fmla="*/ 1218248 h 2161222"/>
                  <a:gd name="connsiteX3341" fmla="*/ 1536383 w 2443162"/>
                  <a:gd name="connsiteY3341" fmla="*/ 1200150 h 2161222"/>
                  <a:gd name="connsiteX3342" fmla="*/ 1522095 w 2443162"/>
                  <a:gd name="connsiteY3342" fmla="*/ 1196340 h 2161222"/>
                  <a:gd name="connsiteX3343" fmla="*/ 1518285 w 2443162"/>
                  <a:gd name="connsiteY3343" fmla="*/ 1206818 h 2161222"/>
                  <a:gd name="connsiteX3344" fmla="*/ 1514475 w 2443162"/>
                  <a:gd name="connsiteY3344" fmla="*/ 1204913 h 2161222"/>
                  <a:gd name="connsiteX3345" fmla="*/ 1522095 w 2443162"/>
                  <a:gd name="connsiteY3345" fmla="*/ 1192530 h 2161222"/>
                  <a:gd name="connsiteX3346" fmla="*/ 1528763 w 2443162"/>
                  <a:gd name="connsiteY3346" fmla="*/ 1180148 h 2161222"/>
                  <a:gd name="connsiteX3347" fmla="*/ 1534478 w 2443162"/>
                  <a:gd name="connsiteY3347" fmla="*/ 1166813 h 2161222"/>
                  <a:gd name="connsiteX3348" fmla="*/ 1540193 w 2443162"/>
                  <a:gd name="connsiteY3348" fmla="*/ 1153478 h 2161222"/>
                  <a:gd name="connsiteX3349" fmla="*/ 1552575 w 2443162"/>
                  <a:gd name="connsiteY3349" fmla="*/ 1147763 h 2161222"/>
                  <a:gd name="connsiteX3350" fmla="*/ 1560195 w 2443162"/>
                  <a:gd name="connsiteY3350" fmla="*/ 1140143 h 2161222"/>
                  <a:gd name="connsiteX3351" fmla="*/ 1564005 w 2443162"/>
                  <a:gd name="connsiteY3351" fmla="*/ 1143953 h 2161222"/>
                  <a:gd name="connsiteX3352" fmla="*/ 1570673 w 2443162"/>
                  <a:gd name="connsiteY3352" fmla="*/ 1133475 h 2161222"/>
                  <a:gd name="connsiteX3353" fmla="*/ 1564005 w 2443162"/>
                  <a:gd name="connsiteY3353" fmla="*/ 1126808 h 2161222"/>
                  <a:gd name="connsiteX3354" fmla="*/ 1570673 w 2443162"/>
                  <a:gd name="connsiteY3354" fmla="*/ 1122998 h 2161222"/>
                  <a:gd name="connsiteX3355" fmla="*/ 1581150 w 2443162"/>
                  <a:gd name="connsiteY3355" fmla="*/ 1126808 h 2161222"/>
                  <a:gd name="connsiteX3356" fmla="*/ 1602105 w 2443162"/>
                  <a:gd name="connsiteY3356" fmla="*/ 1126808 h 2161222"/>
                  <a:gd name="connsiteX3357" fmla="*/ 1616393 w 2443162"/>
                  <a:gd name="connsiteY3357" fmla="*/ 1122998 h 2161222"/>
                  <a:gd name="connsiteX3358" fmla="*/ 1651635 w 2443162"/>
                  <a:gd name="connsiteY3358" fmla="*/ 1112520 h 2161222"/>
                  <a:gd name="connsiteX3359" fmla="*/ 1644968 w 2443162"/>
                  <a:gd name="connsiteY3359" fmla="*/ 1102043 h 2161222"/>
                  <a:gd name="connsiteX3360" fmla="*/ 1641158 w 2443162"/>
                  <a:gd name="connsiteY3360" fmla="*/ 1087755 h 2161222"/>
                  <a:gd name="connsiteX3361" fmla="*/ 1659255 w 2443162"/>
                  <a:gd name="connsiteY3361" fmla="*/ 1094423 h 2161222"/>
                  <a:gd name="connsiteX3362" fmla="*/ 1665923 w 2443162"/>
                  <a:gd name="connsiteY3362" fmla="*/ 1090613 h 2161222"/>
                  <a:gd name="connsiteX3363" fmla="*/ 1662113 w 2443162"/>
                  <a:gd name="connsiteY3363" fmla="*/ 1076325 h 2161222"/>
                  <a:gd name="connsiteX3364" fmla="*/ 1641158 w 2443162"/>
                  <a:gd name="connsiteY3364" fmla="*/ 1083945 h 2161222"/>
                  <a:gd name="connsiteX3365" fmla="*/ 1616393 w 2443162"/>
                  <a:gd name="connsiteY3365" fmla="*/ 1080135 h 2161222"/>
                  <a:gd name="connsiteX3366" fmla="*/ 1599248 w 2443162"/>
                  <a:gd name="connsiteY3366" fmla="*/ 1041083 h 2161222"/>
                  <a:gd name="connsiteX3367" fmla="*/ 1600200 w 2443162"/>
                  <a:gd name="connsiteY3367" fmla="*/ 1041083 h 2161222"/>
                  <a:gd name="connsiteX3368" fmla="*/ 1600200 w 2443162"/>
                  <a:gd name="connsiteY3368" fmla="*/ 1041083 h 2161222"/>
                  <a:gd name="connsiteX3369" fmla="*/ 1598295 w 2443162"/>
                  <a:gd name="connsiteY3369" fmla="*/ 1038225 h 2161222"/>
                  <a:gd name="connsiteX3370" fmla="*/ 1706880 w 2443162"/>
                  <a:gd name="connsiteY3370" fmla="*/ 1038225 h 2161222"/>
                  <a:gd name="connsiteX3371" fmla="*/ 1705928 w 2443162"/>
                  <a:gd name="connsiteY3371" fmla="*/ 1049655 h 2161222"/>
                  <a:gd name="connsiteX3372" fmla="*/ 1704975 w 2443162"/>
                  <a:gd name="connsiteY3372" fmla="*/ 1061085 h 2161222"/>
                  <a:gd name="connsiteX3373" fmla="*/ 1704023 w 2443162"/>
                  <a:gd name="connsiteY3373" fmla="*/ 1072515 h 2161222"/>
                  <a:gd name="connsiteX3374" fmla="*/ 1703070 w 2443162"/>
                  <a:gd name="connsiteY3374" fmla="*/ 1083945 h 2161222"/>
                  <a:gd name="connsiteX3375" fmla="*/ 1702118 w 2443162"/>
                  <a:gd name="connsiteY3375" fmla="*/ 1094423 h 2161222"/>
                  <a:gd name="connsiteX3376" fmla="*/ 1700213 w 2443162"/>
                  <a:gd name="connsiteY3376" fmla="*/ 1104900 h 2161222"/>
                  <a:gd name="connsiteX3377" fmla="*/ 1698308 w 2443162"/>
                  <a:gd name="connsiteY3377" fmla="*/ 1115378 h 2161222"/>
                  <a:gd name="connsiteX3378" fmla="*/ 1696403 w 2443162"/>
                  <a:gd name="connsiteY3378" fmla="*/ 1125855 h 2161222"/>
                  <a:gd name="connsiteX3379" fmla="*/ 1693545 w 2443162"/>
                  <a:gd name="connsiteY3379" fmla="*/ 1136333 h 2161222"/>
                  <a:gd name="connsiteX3380" fmla="*/ 1690688 w 2443162"/>
                  <a:gd name="connsiteY3380" fmla="*/ 1146810 h 2161222"/>
                  <a:gd name="connsiteX3381" fmla="*/ 1687830 w 2443162"/>
                  <a:gd name="connsiteY3381" fmla="*/ 1157288 h 2161222"/>
                  <a:gd name="connsiteX3382" fmla="*/ 1684973 w 2443162"/>
                  <a:gd name="connsiteY3382" fmla="*/ 1167765 h 2161222"/>
                  <a:gd name="connsiteX3383" fmla="*/ 1681163 w 2443162"/>
                  <a:gd name="connsiteY3383" fmla="*/ 1177290 h 2161222"/>
                  <a:gd name="connsiteX3384" fmla="*/ 1677353 w 2443162"/>
                  <a:gd name="connsiteY3384" fmla="*/ 1187768 h 2161222"/>
                  <a:gd name="connsiteX3385" fmla="*/ 1673543 w 2443162"/>
                  <a:gd name="connsiteY3385" fmla="*/ 1198245 h 2161222"/>
                  <a:gd name="connsiteX3386" fmla="*/ 1669733 w 2443162"/>
                  <a:gd name="connsiteY3386" fmla="*/ 1208723 h 2161222"/>
                  <a:gd name="connsiteX3387" fmla="*/ 1664970 w 2443162"/>
                  <a:gd name="connsiteY3387" fmla="*/ 1218248 h 2161222"/>
                  <a:gd name="connsiteX3388" fmla="*/ 1661160 w 2443162"/>
                  <a:gd name="connsiteY3388" fmla="*/ 1227773 h 2161222"/>
                  <a:gd name="connsiteX3389" fmla="*/ 1656398 w 2443162"/>
                  <a:gd name="connsiteY3389" fmla="*/ 1237298 h 2161222"/>
                  <a:gd name="connsiteX3390" fmla="*/ 1651635 w 2443162"/>
                  <a:gd name="connsiteY3390" fmla="*/ 1246823 h 2161222"/>
                  <a:gd name="connsiteX3391" fmla="*/ 1646873 w 2443162"/>
                  <a:gd name="connsiteY3391" fmla="*/ 1256348 h 2161222"/>
                  <a:gd name="connsiteX3392" fmla="*/ 1642110 w 2443162"/>
                  <a:gd name="connsiteY3392" fmla="*/ 1265873 h 2161222"/>
                  <a:gd name="connsiteX3393" fmla="*/ 1636395 w 2443162"/>
                  <a:gd name="connsiteY3393" fmla="*/ 1275398 h 2161222"/>
                  <a:gd name="connsiteX3394" fmla="*/ 1630680 w 2443162"/>
                  <a:gd name="connsiteY3394" fmla="*/ 1284923 h 2161222"/>
                  <a:gd name="connsiteX3395" fmla="*/ 1624965 w 2443162"/>
                  <a:gd name="connsiteY3395" fmla="*/ 1293495 h 2161222"/>
                  <a:gd name="connsiteX3396" fmla="*/ 1619250 w 2443162"/>
                  <a:gd name="connsiteY3396" fmla="*/ 1302068 h 2161222"/>
                  <a:gd name="connsiteX3397" fmla="*/ 1613535 w 2443162"/>
                  <a:gd name="connsiteY3397" fmla="*/ 1310640 h 2161222"/>
                  <a:gd name="connsiteX3398" fmla="*/ 1606868 w 2443162"/>
                  <a:gd name="connsiteY3398" fmla="*/ 1319213 h 2161222"/>
                  <a:gd name="connsiteX3399" fmla="*/ 1600200 w 2443162"/>
                  <a:gd name="connsiteY3399" fmla="*/ 1327785 h 2161222"/>
                  <a:gd name="connsiteX3400" fmla="*/ 1593533 w 2443162"/>
                  <a:gd name="connsiteY3400" fmla="*/ 1336358 h 2161222"/>
                  <a:gd name="connsiteX3401" fmla="*/ 1586865 w 2443162"/>
                  <a:gd name="connsiteY3401" fmla="*/ 1344930 h 2161222"/>
                  <a:gd name="connsiteX3402" fmla="*/ 1579245 w 2443162"/>
                  <a:gd name="connsiteY3402" fmla="*/ 1352550 h 2161222"/>
                  <a:gd name="connsiteX3403" fmla="*/ 1560195 w 2443162"/>
                  <a:gd name="connsiteY3403" fmla="*/ 1335405 h 2161222"/>
                  <a:gd name="connsiteX3404" fmla="*/ 1560195 w 2443162"/>
                  <a:gd name="connsiteY3404" fmla="*/ 1335405 h 2161222"/>
                  <a:gd name="connsiteX3405" fmla="*/ 1503045 w 2443162"/>
                  <a:gd name="connsiteY3405" fmla="*/ 1320165 h 2161222"/>
                  <a:gd name="connsiteX3406" fmla="*/ 1496378 w 2443162"/>
                  <a:gd name="connsiteY3406" fmla="*/ 1321118 h 2161222"/>
                  <a:gd name="connsiteX3407" fmla="*/ 1497330 w 2443162"/>
                  <a:gd name="connsiteY3407" fmla="*/ 1322070 h 2161222"/>
                  <a:gd name="connsiteX3408" fmla="*/ 1493520 w 2443162"/>
                  <a:gd name="connsiteY3408" fmla="*/ 1325880 h 2161222"/>
                  <a:gd name="connsiteX3409" fmla="*/ 1462088 w 2443162"/>
                  <a:gd name="connsiteY3409" fmla="*/ 1319213 h 2161222"/>
                  <a:gd name="connsiteX3410" fmla="*/ 1455420 w 2443162"/>
                  <a:gd name="connsiteY3410" fmla="*/ 1323023 h 2161222"/>
                  <a:gd name="connsiteX3411" fmla="*/ 1437323 w 2443162"/>
                  <a:gd name="connsiteY3411" fmla="*/ 1308735 h 2161222"/>
                  <a:gd name="connsiteX3412" fmla="*/ 1423035 w 2443162"/>
                  <a:gd name="connsiteY3412" fmla="*/ 1304925 h 2161222"/>
                  <a:gd name="connsiteX3413" fmla="*/ 1443038 w 2443162"/>
                  <a:gd name="connsiteY3413" fmla="*/ 1288733 h 2161222"/>
                  <a:gd name="connsiteX3414" fmla="*/ 1443038 w 2443162"/>
                  <a:gd name="connsiteY3414" fmla="*/ 1286828 h 2161222"/>
                  <a:gd name="connsiteX3415" fmla="*/ 1460183 w 2443162"/>
                  <a:gd name="connsiteY3415" fmla="*/ 1278255 h 2161222"/>
                  <a:gd name="connsiteX3416" fmla="*/ 1503045 w 2443162"/>
                  <a:gd name="connsiteY3416" fmla="*/ 1320165 h 2161222"/>
                  <a:gd name="connsiteX3417" fmla="*/ 1503045 w 2443162"/>
                  <a:gd name="connsiteY3417" fmla="*/ 1320165 h 2161222"/>
                  <a:gd name="connsiteX3418" fmla="*/ 1582103 w 2443162"/>
                  <a:gd name="connsiteY3418" fmla="*/ 1006793 h 2161222"/>
                  <a:gd name="connsiteX3419" fmla="*/ 1582103 w 2443162"/>
                  <a:gd name="connsiteY3419" fmla="*/ 1000125 h 2161222"/>
                  <a:gd name="connsiteX3420" fmla="*/ 1596390 w 2443162"/>
                  <a:gd name="connsiteY3420" fmla="*/ 989648 h 2161222"/>
                  <a:gd name="connsiteX3421" fmla="*/ 1596390 w 2443162"/>
                  <a:gd name="connsiteY3421" fmla="*/ 982980 h 2161222"/>
                  <a:gd name="connsiteX3422" fmla="*/ 1603058 w 2443162"/>
                  <a:gd name="connsiteY3422" fmla="*/ 979170 h 2161222"/>
                  <a:gd name="connsiteX3423" fmla="*/ 1620203 w 2443162"/>
                  <a:gd name="connsiteY3423" fmla="*/ 975360 h 2161222"/>
                  <a:gd name="connsiteX3424" fmla="*/ 1620203 w 2443162"/>
                  <a:gd name="connsiteY3424" fmla="*/ 967740 h 2161222"/>
                  <a:gd name="connsiteX3425" fmla="*/ 1605915 w 2443162"/>
                  <a:gd name="connsiteY3425" fmla="*/ 961073 h 2161222"/>
                  <a:gd name="connsiteX3426" fmla="*/ 1630680 w 2443162"/>
                  <a:gd name="connsiteY3426" fmla="*/ 946785 h 2161222"/>
                  <a:gd name="connsiteX3427" fmla="*/ 1654493 w 2443162"/>
                  <a:gd name="connsiteY3427" fmla="*/ 942975 h 2161222"/>
                  <a:gd name="connsiteX3428" fmla="*/ 1662113 w 2443162"/>
                  <a:gd name="connsiteY3428" fmla="*/ 928688 h 2161222"/>
                  <a:gd name="connsiteX3429" fmla="*/ 1676400 w 2443162"/>
                  <a:gd name="connsiteY3429" fmla="*/ 922020 h 2161222"/>
                  <a:gd name="connsiteX3430" fmla="*/ 1683068 w 2443162"/>
                  <a:gd name="connsiteY3430" fmla="*/ 907733 h 2161222"/>
                  <a:gd name="connsiteX3431" fmla="*/ 1686878 w 2443162"/>
                  <a:gd name="connsiteY3431" fmla="*/ 889635 h 2161222"/>
                  <a:gd name="connsiteX3432" fmla="*/ 1686878 w 2443162"/>
                  <a:gd name="connsiteY3432" fmla="*/ 891540 h 2161222"/>
                  <a:gd name="connsiteX3433" fmla="*/ 1686878 w 2443162"/>
                  <a:gd name="connsiteY3433" fmla="*/ 890588 h 2161222"/>
                  <a:gd name="connsiteX3434" fmla="*/ 1687830 w 2443162"/>
                  <a:gd name="connsiteY3434" fmla="*/ 889635 h 2161222"/>
                  <a:gd name="connsiteX3435" fmla="*/ 1688783 w 2443162"/>
                  <a:gd name="connsiteY3435" fmla="*/ 894398 h 2161222"/>
                  <a:gd name="connsiteX3436" fmla="*/ 1689735 w 2443162"/>
                  <a:gd name="connsiteY3436" fmla="*/ 899160 h 2161222"/>
                  <a:gd name="connsiteX3437" fmla="*/ 1690688 w 2443162"/>
                  <a:gd name="connsiteY3437" fmla="*/ 903923 h 2161222"/>
                  <a:gd name="connsiteX3438" fmla="*/ 1691640 w 2443162"/>
                  <a:gd name="connsiteY3438" fmla="*/ 908685 h 2161222"/>
                  <a:gd name="connsiteX3439" fmla="*/ 1687830 w 2443162"/>
                  <a:gd name="connsiteY3439" fmla="*/ 913448 h 2161222"/>
                  <a:gd name="connsiteX3440" fmla="*/ 1687830 w 2443162"/>
                  <a:gd name="connsiteY3440" fmla="*/ 913448 h 2161222"/>
                  <a:gd name="connsiteX3441" fmla="*/ 1678305 w 2443162"/>
                  <a:gd name="connsiteY3441" fmla="*/ 949643 h 2161222"/>
                  <a:gd name="connsiteX3442" fmla="*/ 1674495 w 2443162"/>
                  <a:gd name="connsiteY3442" fmla="*/ 963930 h 2161222"/>
                  <a:gd name="connsiteX3443" fmla="*/ 1689735 w 2443162"/>
                  <a:gd name="connsiteY3443" fmla="*/ 945833 h 2161222"/>
                  <a:gd name="connsiteX3444" fmla="*/ 1696403 w 2443162"/>
                  <a:gd name="connsiteY3444" fmla="*/ 935355 h 2161222"/>
                  <a:gd name="connsiteX3445" fmla="*/ 1697355 w 2443162"/>
                  <a:gd name="connsiteY3445" fmla="*/ 943928 h 2161222"/>
                  <a:gd name="connsiteX3446" fmla="*/ 1698308 w 2443162"/>
                  <a:gd name="connsiteY3446" fmla="*/ 952500 h 2161222"/>
                  <a:gd name="connsiteX3447" fmla="*/ 1699260 w 2443162"/>
                  <a:gd name="connsiteY3447" fmla="*/ 962025 h 2161222"/>
                  <a:gd name="connsiteX3448" fmla="*/ 1700213 w 2443162"/>
                  <a:gd name="connsiteY3448" fmla="*/ 970598 h 2161222"/>
                  <a:gd name="connsiteX3449" fmla="*/ 1701165 w 2443162"/>
                  <a:gd name="connsiteY3449" fmla="*/ 979170 h 2161222"/>
                  <a:gd name="connsiteX3450" fmla="*/ 1701165 w 2443162"/>
                  <a:gd name="connsiteY3450" fmla="*/ 987743 h 2161222"/>
                  <a:gd name="connsiteX3451" fmla="*/ 1701165 w 2443162"/>
                  <a:gd name="connsiteY3451" fmla="*/ 997268 h 2161222"/>
                  <a:gd name="connsiteX3452" fmla="*/ 1701165 w 2443162"/>
                  <a:gd name="connsiteY3452" fmla="*/ 1006793 h 2161222"/>
                  <a:gd name="connsiteX3453" fmla="*/ 1582103 w 2443162"/>
                  <a:gd name="connsiteY3453" fmla="*/ 1006793 h 2161222"/>
                  <a:gd name="connsiteX3454" fmla="*/ 1582103 w 2443162"/>
                  <a:gd name="connsiteY3454" fmla="*/ 1006793 h 2161222"/>
                  <a:gd name="connsiteX3455" fmla="*/ 1417320 w 2443162"/>
                  <a:gd name="connsiteY3455" fmla="*/ 776288 h 2161222"/>
                  <a:gd name="connsiteX3456" fmla="*/ 1415415 w 2443162"/>
                  <a:gd name="connsiteY3456" fmla="*/ 778193 h 2161222"/>
                  <a:gd name="connsiteX3457" fmla="*/ 1404938 w 2443162"/>
                  <a:gd name="connsiteY3457" fmla="*/ 784860 h 2161222"/>
                  <a:gd name="connsiteX3458" fmla="*/ 1398270 w 2443162"/>
                  <a:gd name="connsiteY3458" fmla="*/ 795338 h 2161222"/>
                  <a:gd name="connsiteX3459" fmla="*/ 1391603 w 2443162"/>
                  <a:gd name="connsiteY3459" fmla="*/ 788670 h 2161222"/>
                  <a:gd name="connsiteX3460" fmla="*/ 1370648 w 2443162"/>
                  <a:gd name="connsiteY3460" fmla="*/ 795338 h 2161222"/>
                  <a:gd name="connsiteX3461" fmla="*/ 1377315 w 2443162"/>
                  <a:gd name="connsiteY3461" fmla="*/ 805815 h 2161222"/>
                  <a:gd name="connsiteX3462" fmla="*/ 1391603 w 2443162"/>
                  <a:gd name="connsiteY3462" fmla="*/ 798195 h 2161222"/>
                  <a:gd name="connsiteX3463" fmla="*/ 1402080 w 2443162"/>
                  <a:gd name="connsiteY3463" fmla="*/ 802005 h 2161222"/>
                  <a:gd name="connsiteX3464" fmla="*/ 1402080 w 2443162"/>
                  <a:gd name="connsiteY3464" fmla="*/ 795338 h 2161222"/>
                  <a:gd name="connsiteX3465" fmla="*/ 1408748 w 2443162"/>
                  <a:gd name="connsiteY3465" fmla="*/ 791528 h 2161222"/>
                  <a:gd name="connsiteX3466" fmla="*/ 1412558 w 2443162"/>
                  <a:gd name="connsiteY3466" fmla="*/ 787718 h 2161222"/>
                  <a:gd name="connsiteX3467" fmla="*/ 1423035 w 2443162"/>
                  <a:gd name="connsiteY3467" fmla="*/ 783908 h 2161222"/>
                  <a:gd name="connsiteX3468" fmla="*/ 1431608 w 2443162"/>
                  <a:gd name="connsiteY3468" fmla="*/ 783908 h 2161222"/>
                  <a:gd name="connsiteX3469" fmla="*/ 1417320 w 2443162"/>
                  <a:gd name="connsiteY3469" fmla="*/ 776288 h 2161222"/>
                  <a:gd name="connsiteX3470" fmla="*/ 1417320 w 2443162"/>
                  <a:gd name="connsiteY3470" fmla="*/ 776288 h 2161222"/>
                  <a:gd name="connsiteX3471" fmla="*/ 1674495 w 2443162"/>
                  <a:gd name="connsiteY3471" fmla="*/ 1448753 h 2161222"/>
                  <a:gd name="connsiteX3472" fmla="*/ 1680210 w 2443162"/>
                  <a:gd name="connsiteY3472" fmla="*/ 1441133 h 2161222"/>
                  <a:gd name="connsiteX3473" fmla="*/ 1669733 w 2443162"/>
                  <a:gd name="connsiteY3473" fmla="*/ 1388745 h 2161222"/>
                  <a:gd name="connsiteX3474" fmla="*/ 1663065 w 2443162"/>
                  <a:gd name="connsiteY3474" fmla="*/ 1384935 h 2161222"/>
                  <a:gd name="connsiteX3475" fmla="*/ 1666875 w 2443162"/>
                  <a:gd name="connsiteY3475" fmla="*/ 1377315 h 2161222"/>
                  <a:gd name="connsiteX3476" fmla="*/ 1645920 w 2443162"/>
                  <a:gd name="connsiteY3476" fmla="*/ 1370648 h 2161222"/>
                  <a:gd name="connsiteX3477" fmla="*/ 1639253 w 2443162"/>
                  <a:gd name="connsiteY3477" fmla="*/ 1388745 h 2161222"/>
                  <a:gd name="connsiteX3478" fmla="*/ 1639253 w 2443162"/>
                  <a:gd name="connsiteY3478" fmla="*/ 1413510 h 2161222"/>
                  <a:gd name="connsiteX3479" fmla="*/ 1598295 w 2443162"/>
                  <a:gd name="connsiteY3479" fmla="*/ 1372553 h 2161222"/>
                  <a:gd name="connsiteX3480" fmla="*/ 1605915 w 2443162"/>
                  <a:gd name="connsiteY3480" fmla="*/ 1363980 h 2161222"/>
                  <a:gd name="connsiteX3481" fmla="*/ 1613535 w 2443162"/>
                  <a:gd name="connsiteY3481" fmla="*/ 1355408 h 2161222"/>
                  <a:gd name="connsiteX3482" fmla="*/ 1620203 w 2443162"/>
                  <a:gd name="connsiteY3482" fmla="*/ 1346835 h 2161222"/>
                  <a:gd name="connsiteX3483" fmla="*/ 1627823 w 2443162"/>
                  <a:gd name="connsiteY3483" fmla="*/ 1337310 h 2161222"/>
                  <a:gd name="connsiteX3484" fmla="*/ 1634490 w 2443162"/>
                  <a:gd name="connsiteY3484" fmla="*/ 1328738 h 2161222"/>
                  <a:gd name="connsiteX3485" fmla="*/ 1641158 w 2443162"/>
                  <a:gd name="connsiteY3485" fmla="*/ 1319213 h 2161222"/>
                  <a:gd name="connsiteX3486" fmla="*/ 1647825 w 2443162"/>
                  <a:gd name="connsiteY3486" fmla="*/ 1309688 h 2161222"/>
                  <a:gd name="connsiteX3487" fmla="*/ 1654493 w 2443162"/>
                  <a:gd name="connsiteY3487" fmla="*/ 1300163 h 2161222"/>
                  <a:gd name="connsiteX3488" fmla="*/ 1660208 w 2443162"/>
                  <a:gd name="connsiteY3488" fmla="*/ 1290638 h 2161222"/>
                  <a:gd name="connsiteX3489" fmla="*/ 1665923 w 2443162"/>
                  <a:gd name="connsiteY3489" fmla="*/ 1281113 h 2161222"/>
                  <a:gd name="connsiteX3490" fmla="*/ 1671638 w 2443162"/>
                  <a:gd name="connsiteY3490" fmla="*/ 1270635 h 2161222"/>
                  <a:gd name="connsiteX3491" fmla="*/ 1677353 w 2443162"/>
                  <a:gd name="connsiteY3491" fmla="*/ 1260158 h 2161222"/>
                  <a:gd name="connsiteX3492" fmla="*/ 1683068 w 2443162"/>
                  <a:gd name="connsiteY3492" fmla="*/ 1249680 h 2161222"/>
                  <a:gd name="connsiteX3493" fmla="*/ 1687830 w 2443162"/>
                  <a:gd name="connsiteY3493" fmla="*/ 1239203 h 2161222"/>
                  <a:gd name="connsiteX3494" fmla="*/ 1692593 w 2443162"/>
                  <a:gd name="connsiteY3494" fmla="*/ 1228725 h 2161222"/>
                  <a:gd name="connsiteX3495" fmla="*/ 1697355 w 2443162"/>
                  <a:gd name="connsiteY3495" fmla="*/ 1218248 h 2161222"/>
                  <a:gd name="connsiteX3496" fmla="*/ 1702118 w 2443162"/>
                  <a:gd name="connsiteY3496" fmla="*/ 1207770 h 2161222"/>
                  <a:gd name="connsiteX3497" fmla="*/ 1706880 w 2443162"/>
                  <a:gd name="connsiteY3497" fmla="*/ 1197293 h 2161222"/>
                  <a:gd name="connsiteX3498" fmla="*/ 1710690 w 2443162"/>
                  <a:gd name="connsiteY3498" fmla="*/ 1186815 h 2161222"/>
                  <a:gd name="connsiteX3499" fmla="*/ 1714500 w 2443162"/>
                  <a:gd name="connsiteY3499" fmla="*/ 1176338 h 2161222"/>
                  <a:gd name="connsiteX3500" fmla="*/ 1718310 w 2443162"/>
                  <a:gd name="connsiteY3500" fmla="*/ 1164908 h 2161222"/>
                  <a:gd name="connsiteX3501" fmla="*/ 1721168 w 2443162"/>
                  <a:gd name="connsiteY3501" fmla="*/ 1153478 h 2161222"/>
                  <a:gd name="connsiteX3502" fmla="*/ 1724025 w 2443162"/>
                  <a:gd name="connsiteY3502" fmla="*/ 1142048 h 2161222"/>
                  <a:gd name="connsiteX3503" fmla="*/ 1726883 w 2443162"/>
                  <a:gd name="connsiteY3503" fmla="*/ 1130618 h 2161222"/>
                  <a:gd name="connsiteX3504" fmla="*/ 1728788 w 2443162"/>
                  <a:gd name="connsiteY3504" fmla="*/ 1119188 h 2161222"/>
                  <a:gd name="connsiteX3505" fmla="*/ 1730693 w 2443162"/>
                  <a:gd name="connsiteY3505" fmla="*/ 1107758 h 2161222"/>
                  <a:gd name="connsiteX3506" fmla="*/ 1732598 w 2443162"/>
                  <a:gd name="connsiteY3506" fmla="*/ 1096328 h 2161222"/>
                  <a:gd name="connsiteX3507" fmla="*/ 1734503 w 2443162"/>
                  <a:gd name="connsiteY3507" fmla="*/ 1084898 h 2161222"/>
                  <a:gd name="connsiteX3508" fmla="*/ 1735455 w 2443162"/>
                  <a:gd name="connsiteY3508" fmla="*/ 1072515 h 2161222"/>
                  <a:gd name="connsiteX3509" fmla="*/ 1736408 w 2443162"/>
                  <a:gd name="connsiteY3509" fmla="*/ 1061085 h 2161222"/>
                  <a:gd name="connsiteX3510" fmla="*/ 1736408 w 2443162"/>
                  <a:gd name="connsiteY3510" fmla="*/ 1048703 h 2161222"/>
                  <a:gd name="connsiteX3511" fmla="*/ 1737360 w 2443162"/>
                  <a:gd name="connsiteY3511" fmla="*/ 1036320 h 2161222"/>
                  <a:gd name="connsiteX3512" fmla="*/ 1874520 w 2443162"/>
                  <a:gd name="connsiteY3512" fmla="*/ 1036320 h 2161222"/>
                  <a:gd name="connsiteX3513" fmla="*/ 1873568 w 2443162"/>
                  <a:gd name="connsiteY3513" fmla="*/ 1052513 h 2161222"/>
                  <a:gd name="connsiteX3514" fmla="*/ 1872615 w 2443162"/>
                  <a:gd name="connsiteY3514" fmla="*/ 1067753 h 2161222"/>
                  <a:gd name="connsiteX3515" fmla="*/ 1871663 w 2443162"/>
                  <a:gd name="connsiteY3515" fmla="*/ 1082993 h 2161222"/>
                  <a:gd name="connsiteX3516" fmla="*/ 1869758 w 2443162"/>
                  <a:gd name="connsiteY3516" fmla="*/ 1098233 h 2161222"/>
                  <a:gd name="connsiteX3517" fmla="*/ 1867853 w 2443162"/>
                  <a:gd name="connsiteY3517" fmla="*/ 1113473 h 2161222"/>
                  <a:gd name="connsiteX3518" fmla="*/ 1864995 w 2443162"/>
                  <a:gd name="connsiteY3518" fmla="*/ 1128713 h 2161222"/>
                  <a:gd name="connsiteX3519" fmla="*/ 1862138 w 2443162"/>
                  <a:gd name="connsiteY3519" fmla="*/ 1143953 h 2161222"/>
                  <a:gd name="connsiteX3520" fmla="*/ 1859280 w 2443162"/>
                  <a:gd name="connsiteY3520" fmla="*/ 1159193 h 2161222"/>
                  <a:gd name="connsiteX3521" fmla="*/ 1855470 w 2443162"/>
                  <a:gd name="connsiteY3521" fmla="*/ 1174433 h 2161222"/>
                  <a:gd name="connsiteX3522" fmla="*/ 1851660 w 2443162"/>
                  <a:gd name="connsiteY3522" fmla="*/ 1189673 h 2161222"/>
                  <a:gd name="connsiteX3523" fmla="*/ 1847850 w 2443162"/>
                  <a:gd name="connsiteY3523" fmla="*/ 1203960 h 2161222"/>
                  <a:gd name="connsiteX3524" fmla="*/ 1843088 w 2443162"/>
                  <a:gd name="connsiteY3524" fmla="*/ 1218248 h 2161222"/>
                  <a:gd name="connsiteX3525" fmla="*/ 1838325 w 2443162"/>
                  <a:gd name="connsiteY3525" fmla="*/ 1232535 h 2161222"/>
                  <a:gd name="connsiteX3526" fmla="*/ 1833563 w 2443162"/>
                  <a:gd name="connsiteY3526" fmla="*/ 1246823 h 2161222"/>
                  <a:gd name="connsiteX3527" fmla="*/ 1828800 w 2443162"/>
                  <a:gd name="connsiteY3527" fmla="*/ 1261110 h 2161222"/>
                  <a:gd name="connsiteX3528" fmla="*/ 1823085 w 2443162"/>
                  <a:gd name="connsiteY3528" fmla="*/ 1275398 h 2161222"/>
                  <a:gd name="connsiteX3529" fmla="*/ 1817370 w 2443162"/>
                  <a:gd name="connsiteY3529" fmla="*/ 1288733 h 2161222"/>
                  <a:gd name="connsiteX3530" fmla="*/ 1810703 w 2443162"/>
                  <a:gd name="connsiteY3530" fmla="*/ 1302068 h 2161222"/>
                  <a:gd name="connsiteX3531" fmla="*/ 1804035 w 2443162"/>
                  <a:gd name="connsiteY3531" fmla="*/ 1315403 h 2161222"/>
                  <a:gd name="connsiteX3532" fmla="*/ 1797368 w 2443162"/>
                  <a:gd name="connsiteY3532" fmla="*/ 1328738 h 2161222"/>
                  <a:gd name="connsiteX3533" fmla="*/ 1790700 w 2443162"/>
                  <a:gd name="connsiteY3533" fmla="*/ 1342073 h 2161222"/>
                  <a:gd name="connsiteX3534" fmla="*/ 1783080 w 2443162"/>
                  <a:gd name="connsiteY3534" fmla="*/ 1354455 h 2161222"/>
                  <a:gd name="connsiteX3535" fmla="*/ 1775460 w 2443162"/>
                  <a:gd name="connsiteY3535" fmla="*/ 1366838 h 2161222"/>
                  <a:gd name="connsiteX3536" fmla="*/ 1767840 w 2443162"/>
                  <a:gd name="connsiteY3536" fmla="*/ 1379220 h 2161222"/>
                  <a:gd name="connsiteX3537" fmla="*/ 1759268 w 2443162"/>
                  <a:gd name="connsiteY3537" fmla="*/ 1391603 h 2161222"/>
                  <a:gd name="connsiteX3538" fmla="*/ 1750695 w 2443162"/>
                  <a:gd name="connsiteY3538" fmla="*/ 1403985 h 2161222"/>
                  <a:gd name="connsiteX3539" fmla="*/ 1741170 w 2443162"/>
                  <a:gd name="connsiteY3539" fmla="*/ 1415415 h 2161222"/>
                  <a:gd name="connsiteX3540" fmla="*/ 1732598 w 2443162"/>
                  <a:gd name="connsiteY3540" fmla="*/ 1426845 h 2161222"/>
                  <a:gd name="connsiteX3541" fmla="*/ 1723073 w 2443162"/>
                  <a:gd name="connsiteY3541" fmla="*/ 1438275 h 2161222"/>
                  <a:gd name="connsiteX3542" fmla="*/ 1713548 w 2443162"/>
                  <a:gd name="connsiteY3542" fmla="*/ 1448753 h 2161222"/>
                  <a:gd name="connsiteX3543" fmla="*/ 1704023 w 2443162"/>
                  <a:gd name="connsiteY3543" fmla="*/ 1460183 h 2161222"/>
                  <a:gd name="connsiteX3544" fmla="*/ 1694498 w 2443162"/>
                  <a:gd name="connsiteY3544" fmla="*/ 1470660 h 2161222"/>
                  <a:gd name="connsiteX3545" fmla="*/ 1674495 w 2443162"/>
                  <a:gd name="connsiteY3545" fmla="*/ 1448753 h 2161222"/>
                  <a:gd name="connsiteX3546" fmla="*/ 1674495 w 2443162"/>
                  <a:gd name="connsiteY3546" fmla="*/ 1448753 h 2161222"/>
                  <a:gd name="connsiteX3547" fmla="*/ 776288 w 2443162"/>
                  <a:gd name="connsiteY3547" fmla="*/ 1039178 h 2161222"/>
                  <a:gd name="connsiteX3548" fmla="*/ 776288 w 2443162"/>
                  <a:gd name="connsiteY3548" fmla="*/ 1039178 h 2161222"/>
                  <a:gd name="connsiteX3549" fmla="*/ 765810 w 2443162"/>
                  <a:gd name="connsiteY3549" fmla="*/ 1074420 h 2161222"/>
                  <a:gd name="connsiteX3550" fmla="*/ 780098 w 2443162"/>
                  <a:gd name="connsiteY3550" fmla="*/ 1084898 h 2161222"/>
                  <a:gd name="connsiteX3551" fmla="*/ 765810 w 2443162"/>
                  <a:gd name="connsiteY3551" fmla="*/ 1105853 h 2161222"/>
                  <a:gd name="connsiteX3552" fmla="*/ 744855 w 2443162"/>
                  <a:gd name="connsiteY3552" fmla="*/ 1105853 h 2161222"/>
                  <a:gd name="connsiteX3553" fmla="*/ 743903 w 2443162"/>
                  <a:gd name="connsiteY3553" fmla="*/ 1097280 h 2161222"/>
                  <a:gd name="connsiteX3554" fmla="*/ 742950 w 2443162"/>
                  <a:gd name="connsiteY3554" fmla="*/ 1088708 h 2161222"/>
                  <a:gd name="connsiteX3555" fmla="*/ 741998 w 2443162"/>
                  <a:gd name="connsiteY3555" fmla="*/ 1080135 h 2161222"/>
                  <a:gd name="connsiteX3556" fmla="*/ 741045 w 2443162"/>
                  <a:gd name="connsiteY3556" fmla="*/ 1071563 h 2161222"/>
                  <a:gd name="connsiteX3557" fmla="*/ 740093 w 2443162"/>
                  <a:gd name="connsiteY3557" fmla="*/ 1062038 h 2161222"/>
                  <a:gd name="connsiteX3558" fmla="*/ 740093 w 2443162"/>
                  <a:gd name="connsiteY3558" fmla="*/ 1053465 h 2161222"/>
                  <a:gd name="connsiteX3559" fmla="*/ 739140 w 2443162"/>
                  <a:gd name="connsiteY3559" fmla="*/ 1044893 h 2161222"/>
                  <a:gd name="connsiteX3560" fmla="*/ 738188 w 2443162"/>
                  <a:gd name="connsiteY3560" fmla="*/ 1035368 h 2161222"/>
                  <a:gd name="connsiteX3561" fmla="*/ 780098 w 2443162"/>
                  <a:gd name="connsiteY3561" fmla="*/ 1035368 h 2161222"/>
                  <a:gd name="connsiteX3562" fmla="*/ 776288 w 2443162"/>
                  <a:gd name="connsiteY3562" fmla="*/ 1039178 h 2161222"/>
                  <a:gd name="connsiteX3563" fmla="*/ 776288 w 2443162"/>
                  <a:gd name="connsiteY3563" fmla="*/ 1039178 h 2161222"/>
                  <a:gd name="connsiteX3564" fmla="*/ 711518 w 2443162"/>
                  <a:gd name="connsiteY3564" fmla="*/ 1080135 h 2161222"/>
                  <a:gd name="connsiteX3565" fmla="*/ 709613 w 2443162"/>
                  <a:gd name="connsiteY3565" fmla="*/ 1080135 h 2161222"/>
                  <a:gd name="connsiteX3566" fmla="*/ 709613 w 2443162"/>
                  <a:gd name="connsiteY3566" fmla="*/ 1081088 h 2161222"/>
                  <a:gd name="connsiteX3567" fmla="*/ 691515 w 2443162"/>
                  <a:gd name="connsiteY3567" fmla="*/ 1084898 h 2161222"/>
                  <a:gd name="connsiteX3568" fmla="*/ 687705 w 2443162"/>
                  <a:gd name="connsiteY3568" fmla="*/ 1102043 h 2161222"/>
                  <a:gd name="connsiteX3569" fmla="*/ 652463 w 2443162"/>
                  <a:gd name="connsiteY3569" fmla="*/ 1144905 h 2161222"/>
                  <a:gd name="connsiteX3570" fmla="*/ 656273 w 2443162"/>
                  <a:gd name="connsiteY3570" fmla="*/ 1207770 h 2161222"/>
                  <a:gd name="connsiteX3571" fmla="*/ 617220 w 2443162"/>
                  <a:gd name="connsiteY3571" fmla="*/ 1218248 h 2161222"/>
                  <a:gd name="connsiteX3572" fmla="*/ 601028 w 2443162"/>
                  <a:gd name="connsiteY3572" fmla="*/ 1218248 h 2161222"/>
                  <a:gd name="connsiteX3573" fmla="*/ 594360 w 2443162"/>
                  <a:gd name="connsiteY3573" fmla="*/ 1196340 h 2161222"/>
                  <a:gd name="connsiteX3574" fmla="*/ 588645 w 2443162"/>
                  <a:gd name="connsiteY3574" fmla="*/ 1174433 h 2161222"/>
                  <a:gd name="connsiteX3575" fmla="*/ 582930 w 2443162"/>
                  <a:gd name="connsiteY3575" fmla="*/ 1152525 h 2161222"/>
                  <a:gd name="connsiteX3576" fmla="*/ 579120 w 2443162"/>
                  <a:gd name="connsiteY3576" fmla="*/ 1129665 h 2161222"/>
                  <a:gd name="connsiteX3577" fmla="*/ 575310 w 2443162"/>
                  <a:gd name="connsiteY3577" fmla="*/ 1106805 h 2161222"/>
                  <a:gd name="connsiteX3578" fmla="*/ 572453 w 2443162"/>
                  <a:gd name="connsiteY3578" fmla="*/ 1083945 h 2161222"/>
                  <a:gd name="connsiteX3579" fmla="*/ 571500 w 2443162"/>
                  <a:gd name="connsiteY3579" fmla="*/ 1072515 h 2161222"/>
                  <a:gd name="connsiteX3580" fmla="*/ 570548 w 2443162"/>
                  <a:gd name="connsiteY3580" fmla="*/ 1061085 h 2161222"/>
                  <a:gd name="connsiteX3581" fmla="*/ 571500 w 2443162"/>
                  <a:gd name="connsiteY3581" fmla="*/ 1047750 h 2161222"/>
                  <a:gd name="connsiteX3582" fmla="*/ 571500 w 2443162"/>
                  <a:gd name="connsiteY3582" fmla="*/ 1035368 h 2161222"/>
                  <a:gd name="connsiteX3583" fmla="*/ 708660 w 2443162"/>
                  <a:gd name="connsiteY3583" fmla="*/ 1035368 h 2161222"/>
                  <a:gd name="connsiteX3584" fmla="*/ 708660 w 2443162"/>
                  <a:gd name="connsiteY3584" fmla="*/ 1046798 h 2161222"/>
                  <a:gd name="connsiteX3585" fmla="*/ 709613 w 2443162"/>
                  <a:gd name="connsiteY3585" fmla="*/ 1057275 h 2161222"/>
                  <a:gd name="connsiteX3586" fmla="*/ 710565 w 2443162"/>
                  <a:gd name="connsiteY3586" fmla="*/ 1068705 h 2161222"/>
                  <a:gd name="connsiteX3587" fmla="*/ 711518 w 2443162"/>
                  <a:gd name="connsiteY3587" fmla="*/ 1080135 h 2161222"/>
                  <a:gd name="connsiteX3588" fmla="*/ 711518 w 2443162"/>
                  <a:gd name="connsiteY3588" fmla="*/ 1080135 h 2161222"/>
                  <a:gd name="connsiteX3589" fmla="*/ 571500 w 2443162"/>
                  <a:gd name="connsiteY3589" fmla="*/ 1219200 h 2161222"/>
                  <a:gd name="connsiteX3590" fmla="*/ 567690 w 2443162"/>
                  <a:gd name="connsiteY3590" fmla="*/ 1219200 h 2161222"/>
                  <a:gd name="connsiteX3591" fmla="*/ 567690 w 2443162"/>
                  <a:gd name="connsiteY3591" fmla="*/ 1219200 h 2161222"/>
                  <a:gd name="connsiteX3592" fmla="*/ 567690 w 2443162"/>
                  <a:gd name="connsiteY3592" fmla="*/ 1221105 h 2161222"/>
                  <a:gd name="connsiteX3593" fmla="*/ 559118 w 2443162"/>
                  <a:gd name="connsiteY3593" fmla="*/ 1221105 h 2161222"/>
                  <a:gd name="connsiteX3594" fmla="*/ 552450 w 2443162"/>
                  <a:gd name="connsiteY3594" fmla="*/ 1210628 h 2161222"/>
                  <a:gd name="connsiteX3595" fmla="*/ 514350 w 2443162"/>
                  <a:gd name="connsiteY3595" fmla="*/ 1206818 h 2161222"/>
                  <a:gd name="connsiteX3596" fmla="*/ 524828 w 2443162"/>
                  <a:gd name="connsiteY3596" fmla="*/ 1223963 h 2161222"/>
                  <a:gd name="connsiteX3597" fmla="*/ 490538 w 2443162"/>
                  <a:gd name="connsiteY3597" fmla="*/ 1217295 h 2161222"/>
                  <a:gd name="connsiteX3598" fmla="*/ 501015 w 2443162"/>
                  <a:gd name="connsiteY3598" fmla="*/ 1206818 h 2161222"/>
                  <a:gd name="connsiteX3599" fmla="*/ 490538 w 2443162"/>
                  <a:gd name="connsiteY3599" fmla="*/ 1200150 h 2161222"/>
                  <a:gd name="connsiteX3600" fmla="*/ 466725 w 2443162"/>
                  <a:gd name="connsiteY3600" fmla="*/ 1210628 h 2161222"/>
                  <a:gd name="connsiteX3601" fmla="*/ 456248 w 2443162"/>
                  <a:gd name="connsiteY3601" fmla="*/ 1227773 h 2161222"/>
                  <a:gd name="connsiteX3602" fmla="*/ 460058 w 2443162"/>
                  <a:gd name="connsiteY3602" fmla="*/ 1265873 h 2161222"/>
                  <a:gd name="connsiteX3603" fmla="*/ 491490 w 2443162"/>
                  <a:gd name="connsiteY3603" fmla="*/ 1338263 h 2161222"/>
                  <a:gd name="connsiteX3604" fmla="*/ 505778 w 2443162"/>
                  <a:gd name="connsiteY3604" fmla="*/ 1359218 h 2161222"/>
                  <a:gd name="connsiteX3605" fmla="*/ 512445 w 2443162"/>
                  <a:gd name="connsiteY3605" fmla="*/ 1363028 h 2161222"/>
                  <a:gd name="connsiteX3606" fmla="*/ 491490 w 2443162"/>
                  <a:gd name="connsiteY3606" fmla="*/ 1321118 h 2161222"/>
                  <a:gd name="connsiteX3607" fmla="*/ 484823 w 2443162"/>
                  <a:gd name="connsiteY3607" fmla="*/ 1300163 h 2161222"/>
                  <a:gd name="connsiteX3608" fmla="*/ 491490 w 2443162"/>
                  <a:gd name="connsiteY3608" fmla="*/ 1293495 h 2161222"/>
                  <a:gd name="connsiteX3609" fmla="*/ 487680 w 2443162"/>
                  <a:gd name="connsiteY3609" fmla="*/ 1283018 h 2161222"/>
                  <a:gd name="connsiteX3610" fmla="*/ 501968 w 2443162"/>
                  <a:gd name="connsiteY3610" fmla="*/ 1283018 h 2161222"/>
                  <a:gd name="connsiteX3611" fmla="*/ 521970 w 2443162"/>
                  <a:gd name="connsiteY3611" fmla="*/ 1313498 h 2161222"/>
                  <a:gd name="connsiteX3612" fmla="*/ 525780 w 2443162"/>
                  <a:gd name="connsiteY3612" fmla="*/ 1317308 h 2161222"/>
                  <a:gd name="connsiteX3613" fmla="*/ 525780 w 2443162"/>
                  <a:gd name="connsiteY3613" fmla="*/ 1293495 h 2161222"/>
                  <a:gd name="connsiteX3614" fmla="*/ 533400 w 2443162"/>
                  <a:gd name="connsiteY3614" fmla="*/ 1300163 h 2161222"/>
                  <a:gd name="connsiteX3615" fmla="*/ 537210 w 2443162"/>
                  <a:gd name="connsiteY3615" fmla="*/ 1310640 h 2161222"/>
                  <a:gd name="connsiteX3616" fmla="*/ 557213 w 2443162"/>
                  <a:gd name="connsiteY3616" fmla="*/ 1318260 h 2161222"/>
                  <a:gd name="connsiteX3617" fmla="*/ 567690 w 2443162"/>
                  <a:gd name="connsiteY3617" fmla="*/ 1310640 h 2161222"/>
                  <a:gd name="connsiteX3618" fmla="*/ 572453 w 2443162"/>
                  <a:gd name="connsiteY3618" fmla="*/ 1310640 h 2161222"/>
                  <a:gd name="connsiteX3619" fmla="*/ 572453 w 2443162"/>
                  <a:gd name="connsiteY3619" fmla="*/ 1329690 h 2161222"/>
                  <a:gd name="connsiteX3620" fmla="*/ 579120 w 2443162"/>
                  <a:gd name="connsiteY3620" fmla="*/ 1343978 h 2161222"/>
                  <a:gd name="connsiteX3621" fmla="*/ 593408 w 2443162"/>
                  <a:gd name="connsiteY3621" fmla="*/ 1343978 h 2161222"/>
                  <a:gd name="connsiteX3622" fmla="*/ 618173 w 2443162"/>
                  <a:gd name="connsiteY3622" fmla="*/ 1392555 h 2161222"/>
                  <a:gd name="connsiteX3623" fmla="*/ 632460 w 2443162"/>
                  <a:gd name="connsiteY3623" fmla="*/ 1396365 h 2161222"/>
                  <a:gd name="connsiteX3624" fmla="*/ 639128 w 2443162"/>
                  <a:gd name="connsiteY3624" fmla="*/ 1375410 h 2161222"/>
                  <a:gd name="connsiteX3625" fmla="*/ 639128 w 2443162"/>
                  <a:gd name="connsiteY3625" fmla="*/ 1372553 h 2161222"/>
                  <a:gd name="connsiteX3626" fmla="*/ 639128 w 2443162"/>
                  <a:gd name="connsiteY3626" fmla="*/ 1372553 h 2161222"/>
                  <a:gd name="connsiteX3627" fmla="*/ 639128 w 2443162"/>
                  <a:gd name="connsiteY3627" fmla="*/ 1371600 h 2161222"/>
                  <a:gd name="connsiteX3628" fmla="*/ 648653 w 2443162"/>
                  <a:gd name="connsiteY3628" fmla="*/ 1387793 h 2161222"/>
                  <a:gd name="connsiteX3629" fmla="*/ 659130 w 2443162"/>
                  <a:gd name="connsiteY3629" fmla="*/ 1403985 h 2161222"/>
                  <a:gd name="connsiteX3630" fmla="*/ 669608 w 2443162"/>
                  <a:gd name="connsiteY3630" fmla="*/ 1419225 h 2161222"/>
                  <a:gd name="connsiteX3631" fmla="*/ 681038 w 2443162"/>
                  <a:gd name="connsiteY3631" fmla="*/ 1434465 h 2161222"/>
                  <a:gd name="connsiteX3632" fmla="*/ 692468 w 2443162"/>
                  <a:gd name="connsiteY3632" fmla="*/ 1449705 h 2161222"/>
                  <a:gd name="connsiteX3633" fmla="*/ 704850 w 2443162"/>
                  <a:gd name="connsiteY3633" fmla="*/ 1463993 h 2161222"/>
                  <a:gd name="connsiteX3634" fmla="*/ 718185 w 2443162"/>
                  <a:gd name="connsiteY3634" fmla="*/ 1478280 h 2161222"/>
                  <a:gd name="connsiteX3635" fmla="*/ 731520 w 2443162"/>
                  <a:gd name="connsiteY3635" fmla="*/ 1492568 h 2161222"/>
                  <a:gd name="connsiteX3636" fmla="*/ 635318 w 2443162"/>
                  <a:gd name="connsiteY3636" fmla="*/ 1588770 h 2161222"/>
                  <a:gd name="connsiteX3637" fmla="*/ 621983 w 2443162"/>
                  <a:gd name="connsiteY3637" fmla="*/ 1575435 h 2161222"/>
                  <a:gd name="connsiteX3638" fmla="*/ 609600 w 2443162"/>
                  <a:gd name="connsiteY3638" fmla="*/ 1561148 h 2161222"/>
                  <a:gd name="connsiteX3639" fmla="*/ 597218 w 2443162"/>
                  <a:gd name="connsiteY3639" fmla="*/ 1546860 h 2161222"/>
                  <a:gd name="connsiteX3640" fmla="*/ 584835 w 2443162"/>
                  <a:gd name="connsiteY3640" fmla="*/ 1532573 h 2161222"/>
                  <a:gd name="connsiteX3641" fmla="*/ 573405 w 2443162"/>
                  <a:gd name="connsiteY3641" fmla="*/ 1517333 h 2161222"/>
                  <a:gd name="connsiteX3642" fmla="*/ 561975 w 2443162"/>
                  <a:gd name="connsiteY3642" fmla="*/ 1502093 h 2161222"/>
                  <a:gd name="connsiteX3643" fmla="*/ 551498 w 2443162"/>
                  <a:gd name="connsiteY3643" fmla="*/ 1486853 h 2161222"/>
                  <a:gd name="connsiteX3644" fmla="*/ 541020 w 2443162"/>
                  <a:gd name="connsiteY3644" fmla="*/ 1471613 h 2161222"/>
                  <a:gd name="connsiteX3645" fmla="*/ 530543 w 2443162"/>
                  <a:gd name="connsiteY3645" fmla="*/ 1456373 h 2161222"/>
                  <a:gd name="connsiteX3646" fmla="*/ 521018 w 2443162"/>
                  <a:gd name="connsiteY3646" fmla="*/ 1440180 h 2161222"/>
                  <a:gd name="connsiteX3647" fmla="*/ 511493 w 2443162"/>
                  <a:gd name="connsiteY3647" fmla="*/ 1423988 h 2161222"/>
                  <a:gd name="connsiteX3648" fmla="*/ 501968 w 2443162"/>
                  <a:gd name="connsiteY3648" fmla="*/ 1407795 h 2161222"/>
                  <a:gd name="connsiteX3649" fmla="*/ 493395 w 2443162"/>
                  <a:gd name="connsiteY3649" fmla="*/ 1390650 h 2161222"/>
                  <a:gd name="connsiteX3650" fmla="*/ 484823 w 2443162"/>
                  <a:gd name="connsiteY3650" fmla="*/ 1373505 h 2161222"/>
                  <a:gd name="connsiteX3651" fmla="*/ 476250 w 2443162"/>
                  <a:gd name="connsiteY3651" fmla="*/ 1356360 h 2161222"/>
                  <a:gd name="connsiteX3652" fmla="*/ 468630 w 2443162"/>
                  <a:gd name="connsiteY3652" fmla="*/ 1339215 h 2161222"/>
                  <a:gd name="connsiteX3653" fmla="*/ 461010 w 2443162"/>
                  <a:gd name="connsiteY3653" fmla="*/ 1321118 h 2161222"/>
                  <a:gd name="connsiteX3654" fmla="*/ 454343 w 2443162"/>
                  <a:gd name="connsiteY3654" fmla="*/ 1303020 h 2161222"/>
                  <a:gd name="connsiteX3655" fmla="*/ 448628 w 2443162"/>
                  <a:gd name="connsiteY3655" fmla="*/ 1284923 h 2161222"/>
                  <a:gd name="connsiteX3656" fmla="*/ 442913 w 2443162"/>
                  <a:gd name="connsiteY3656" fmla="*/ 1266825 h 2161222"/>
                  <a:gd name="connsiteX3657" fmla="*/ 437198 w 2443162"/>
                  <a:gd name="connsiteY3657" fmla="*/ 1247775 h 2161222"/>
                  <a:gd name="connsiteX3658" fmla="*/ 432435 w 2443162"/>
                  <a:gd name="connsiteY3658" fmla="*/ 1229678 h 2161222"/>
                  <a:gd name="connsiteX3659" fmla="*/ 427673 w 2443162"/>
                  <a:gd name="connsiteY3659" fmla="*/ 1210628 h 2161222"/>
                  <a:gd name="connsiteX3660" fmla="*/ 422910 w 2443162"/>
                  <a:gd name="connsiteY3660" fmla="*/ 1191578 h 2161222"/>
                  <a:gd name="connsiteX3661" fmla="*/ 419100 w 2443162"/>
                  <a:gd name="connsiteY3661" fmla="*/ 1172528 h 2161222"/>
                  <a:gd name="connsiteX3662" fmla="*/ 415290 w 2443162"/>
                  <a:gd name="connsiteY3662" fmla="*/ 1153478 h 2161222"/>
                  <a:gd name="connsiteX3663" fmla="*/ 412433 w 2443162"/>
                  <a:gd name="connsiteY3663" fmla="*/ 1133475 h 2161222"/>
                  <a:gd name="connsiteX3664" fmla="*/ 410528 w 2443162"/>
                  <a:gd name="connsiteY3664" fmla="*/ 1113473 h 2161222"/>
                  <a:gd name="connsiteX3665" fmla="*/ 408623 w 2443162"/>
                  <a:gd name="connsiteY3665" fmla="*/ 1093470 h 2161222"/>
                  <a:gd name="connsiteX3666" fmla="*/ 406718 w 2443162"/>
                  <a:gd name="connsiteY3666" fmla="*/ 1073468 h 2161222"/>
                  <a:gd name="connsiteX3667" fmla="*/ 405765 w 2443162"/>
                  <a:gd name="connsiteY3667" fmla="*/ 1053465 h 2161222"/>
                  <a:gd name="connsiteX3668" fmla="*/ 404813 w 2443162"/>
                  <a:gd name="connsiteY3668" fmla="*/ 1033463 h 2161222"/>
                  <a:gd name="connsiteX3669" fmla="*/ 542925 w 2443162"/>
                  <a:gd name="connsiteY3669" fmla="*/ 1033463 h 2161222"/>
                  <a:gd name="connsiteX3670" fmla="*/ 543878 w 2443162"/>
                  <a:gd name="connsiteY3670" fmla="*/ 1057275 h 2161222"/>
                  <a:gd name="connsiteX3671" fmla="*/ 545783 w 2443162"/>
                  <a:gd name="connsiteY3671" fmla="*/ 1081088 h 2161222"/>
                  <a:gd name="connsiteX3672" fmla="*/ 548640 w 2443162"/>
                  <a:gd name="connsiteY3672" fmla="*/ 1103948 h 2161222"/>
                  <a:gd name="connsiteX3673" fmla="*/ 551498 w 2443162"/>
                  <a:gd name="connsiteY3673" fmla="*/ 1126808 h 2161222"/>
                  <a:gd name="connsiteX3674" fmla="*/ 556260 w 2443162"/>
                  <a:gd name="connsiteY3674" fmla="*/ 1149668 h 2161222"/>
                  <a:gd name="connsiteX3675" fmla="*/ 561023 w 2443162"/>
                  <a:gd name="connsiteY3675" fmla="*/ 1172528 h 2161222"/>
                  <a:gd name="connsiteX3676" fmla="*/ 565785 w 2443162"/>
                  <a:gd name="connsiteY3676" fmla="*/ 1194435 h 2161222"/>
                  <a:gd name="connsiteX3677" fmla="*/ 571500 w 2443162"/>
                  <a:gd name="connsiteY3677" fmla="*/ 1219200 h 2161222"/>
                  <a:gd name="connsiteX3678" fmla="*/ 571500 w 2443162"/>
                  <a:gd name="connsiteY3678" fmla="*/ 1219200 h 2161222"/>
                  <a:gd name="connsiteX3679" fmla="*/ 724853 w 2443162"/>
                  <a:gd name="connsiteY3679" fmla="*/ 1441133 h 2161222"/>
                  <a:gd name="connsiteX3680" fmla="*/ 738188 w 2443162"/>
                  <a:gd name="connsiteY3680" fmla="*/ 1431608 h 2161222"/>
                  <a:gd name="connsiteX3681" fmla="*/ 769620 w 2443162"/>
                  <a:gd name="connsiteY3681" fmla="*/ 1448753 h 2161222"/>
                  <a:gd name="connsiteX3682" fmla="*/ 774383 w 2443162"/>
                  <a:gd name="connsiteY3682" fmla="*/ 1451610 h 2161222"/>
                  <a:gd name="connsiteX3683" fmla="*/ 753428 w 2443162"/>
                  <a:gd name="connsiteY3683" fmla="*/ 1472565 h 2161222"/>
                  <a:gd name="connsiteX3684" fmla="*/ 745808 w 2443162"/>
                  <a:gd name="connsiteY3684" fmla="*/ 1464945 h 2161222"/>
                  <a:gd name="connsiteX3685" fmla="*/ 738188 w 2443162"/>
                  <a:gd name="connsiteY3685" fmla="*/ 1457325 h 2161222"/>
                  <a:gd name="connsiteX3686" fmla="*/ 731520 w 2443162"/>
                  <a:gd name="connsiteY3686" fmla="*/ 1449705 h 2161222"/>
                  <a:gd name="connsiteX3687" fmla="*/ 724853 w 2443162"/>
                  <a:gd name="connsiteY3687" fmla="*/ 1441133 h 2161222"/>
                  <a:gd name="connsiteX3688" fmla="*/ 724853 w 2443162"/>
                  <a:gd name="connsiteY3688" fmla="*/ 1441133 h 2161222"/>
                  <a:gd name="connsiteX3689" fmla="*/ 843915 w 2443162"/>
                  <a:gd name="connsiteY3689" fmla="*/ 1323975 h 2161222"/>
                  <a:gd name="connsiteX3690" fmla="*/ 847725 w 2443162"/>
                  <a:gd name="connsiteY3690" fmla="*/ 1290638 h 2161222"/>
                  <a:gd name="connsiteX3691" fmla="*/ 833438 w 2443162"/>
                  <a:gd name="connsiteY3691" fmla="*/ 1259205 h 2161222"/>
                  <a:gd name="connsiteX3692" fmla="*/ 829628 w 2443162"/>
                  <a:gd name="connsiteY3692" fmla="*/ 1205865 h 2161222"/>
                  <a:gd name="connsiteX3693" fmla="*/ 812483 w 2443162"/>
                  <a:gd name="connsiteY3693" fmla="*/ 1174433 h 2161222"/>
                  <a:gd name="connsiteX3694" fmla="*/ 816293 w 2443162"/>
                  <a:gd name="connsiteY3694" fmla="*/ 1153478 h 2161222"/>
                  <a:gd name="connsiteX3695" fmla="*/ 795338 w 2443162"/>
                  <a:gd name="connsiteY3695" fmla="*/ 1114425 h 2161222"/>
                  <a:gd name="connsiteX3696" fmla="*/ 778193 w 2443162"/>
                  <a:gd name="connsiteY3696" fmla="*/ 1106805 h 2161222"/>
                  <a:gd name="connsiteX3697" fmla="*/ 784860 w 2443162"/>
                  <a:gd name="connsiteY3697" fmla="*/ 1085850 h 2161222"/>
                  <a:gd name="connsiteX3698" fmla="*/ 778193 w 2443162"/>
                  <a:gd name="connsiteY3698" fmla="*/ 1067753 h 2161222"/>
                  <a:gd name="connsiteX3699" fmla="*/ 784860 w 2443162"/>
                  <a:gd name="connsiteY3699" fmla="*/ 1049655 h 2161222"/>
                  <a:gd name="connsiteX3700" fmla="*/ 805815 w 2443162"/>
                  <a:gd name="connsiteY3700" fmla="*/ 1049655 h 2161222"/>
                  <a:gd name="connsiteX3701" fmla="*/ 812483 w 2443162"/>
                  <a:gd name="connsiteY3701" fmla="*/ 1040130 h 2161222"/>
                  <a:gd name="connsiteX3702" fmla="*/ 812483 w 2443162"/>
                  <a:gd name="connsiteY3702" fmla="*/ 1039178 h 2161222"/>
                  <a:gd name="connsiteX3703" fmla="*/ 814388 w 2443162"/>
                  <a:gd name="connsiteY3703" fmla="*/ 1035368 h 2161222"/>
                  <a:gd name="connsiteX3704" fmla="*/ 842010 w 2443162"/>
                  <a:gd name="connsiteY3704" fmla="*/ 1035368 h 2161222"/>
                  <a:gd name="connsiteX3705" fmla="*/ 843915 w 2443162"/>
                  <a:gd name="connsiteY3705" fmla="*/ 1039178 h 2161222"/>
                  <a:gd name="connsiteX3706" fmla="*/ 843915 w 2443162"/>
                  <a:gd name="connsiteY3706" fmla="*/ 1039178 h 2161222"/>
                  <a:gd name="connsiteX3707" fmla="*/ 843915 w 2443162"/>
                  <a:gd name="connsiteY3707" fmla="*/ 1039178 h 2161222"/>
                  <a:gd name="connsiteX3708" fmla="*/ 843915 w 2443162"/>
                  <a:gd name="connsiteY3708" fmla="*/ 1039178 h 2161222"/>
                  <a:gd name="connsiteX3709" fmla="*/ 843915 w 2443162"/>
                  <a:gd name="connsiteY3709" fmla="*/ 1039178 h 2161222"/>
                  <a:gd name="connsiteX3710" fmla="*/ 846773 w 2443162"/>
                  <a:gd name="connsiteY3710" fmla="*/ 1049655 h 2161222"/>
                  <a:gd name="connsiteX3711" fmla="*/ 843915 w 2443162"/>
                  <a:gd name="connsiteY3711" fmla="*/ 1081088 h 2161222"/>
                  <a:gd name="connsiteX3712" fmla="*/ 837248 w 2443162"/>
                  <a:gd name="connsiteY3712" fmla="*/ 1087755 h 2161222"/>
                  <a:gd name="connsiteX3713" fmla="*/ 850583 w 2443162"/>
                  <a:gd name="connsiteY3713" fmla="*/ 1112520 h 2161222"/>
                  <a:gd name="connsiteX3714" fmla="*/ 843915 w 2443162"/>
                  <a:gd name="connsiteY3714" fmla="*/ 1119188 h 2161222"/>
                  <a:gd name="connsiteX3715" fmla="*/ 837248 w 2443162"/>
                  <a:gd name="connsiteY3715" fmla="*/ 1112520 h 2161222"/>
                  <a:gd name="connsiteX3716" fmla="*/ 834390 w 2443162"/>
                  <a:gd name="connsiteY3716" fmla="*/ 1112520 h 2161222"/>
                  <a:gd name="connsiteX3717" fmla="*/ 841058 w 2443162"/>
                  <a:gd name="connsiteY3717" fmla="*/ 1129665 h 2161222"/>
                  <a:gd name="connsiteX3718" fmla="*/ 850583 w 2443162"/>
                  <a:gd name="connsiteY3718" fmla="*/ 1147763 h 2161222"/>
                  <a:gd name="connsiteX3719" fmla="*/ 853440 w 2443162"/>
                  <a:gd name="connsiteY3719" fmla="*/ 1147763 h 2161222"/>
                  <a:gd name="connsiteX3720" fmla="*/ 856298 w 2443162"/>
                  <a:gd name="connsiteY3720" fmla="*/ 1129665 h 2161222"/>
                  <a:gd name="connsiteX3721" fmla="*/ 849630 w 2443162"/>
                  <a:gd name="connsiteY3721" fmla="*/ 1125855 h 2161222"/>
                  <a:gd name="connsiteX3722" fmla="*/ 849630 w 2443162"/>
                  <a:gd name="connsiteY3722" fmla="*/ 1114425 h 2161222"/>
                  <a:gd name="connsiteX3723" fmla="*/ 849630 w 2443162"/>
                  <a:gd name="connsiteY3723" fmla="*/ 1092518 h 2161222"/>
                  <a:gd name="connsiteX3724" fmla="*/ 857250 w 2443162"/>
                  <a:gd name="connsiteY3724" fmla="*/ 1049655 h 2161222"/>
                  <a:gd name="connsiteX3725" fmla="*/ 855345 w 2443162"/>
                  <a:gd name="connsiteY3725" fmla="*/ 1044893 h 2161222"/>
                  <a:gd name="connsiteX3726" fmla="*/ 849630 w 2443162"/>
                  <a:gd name="connsiteY3726" fmla="*/ 1036320 h 2161222"/>
                  <a:gd name="connsiteX3727" fmla="*/ 851535 w 2443162"/>
                  <a:gd name="connsiteY3727" fmla="*/ 1036320 h 2161222"/>
                  <a:gd name="connsiteX3728" fmla="*/ 850583 w 2443162"/>
                  <a:gd name="connsiteY3728" fmla="*/ 1033463 h 2161222"/>
                  <a:gd name="connsiteX3729" fmla="*/ 878205 w 2443162"/>
                  <a:gd name="connsiteY3729" fmla="*/ 1033463 h 2161222"/>
                  <a:gd name="connsiteX3730" fmla="*/ 879158 w 2443162"/>
                  <a:gd name="connsiteY3730" fmla="*/ 1049655 h 2161222"/>
                  <a:gd name="connsiteX3731" fmla="*/ 881063 w 2443162"/>
                  <a:gd name="connsiteY3731" fmla="*/ 1064895 h 2161222"/>
                  <a:gd name="connsiteX3732" fmla="*/ 882968 w 2443162"/>
                  <a:gd name="connsiteY3732" fmla="*/ 1080135 h 2161222"/>
                  <a:gd name="connsiteX3733" fmla="*/ 886778 w 2443162"/>
                  <a:gd name="connsiteY3733" fmla="*/ 1095375 h 2161222"/>
                  <a:gd name="connsiteX3734" fmla="*/ 890588 w 2443162"/>
                  <a:gd name="connsiteY3734" fmla="*/ 1110615 h 2161222"/>
                  <a:gd name="connsiteX3735" fmla="*/ 895350 w 2443162"/>
                  <a:gd name="connsiteY3735" fmla="*/ 1125855 h 2161222"/>
                  <a:gd name="connsiteX3736" fmla="*/ 901065 w 2443162"/>
                  <a:gd name="connsiteY3736" fmla="*/ 1140143 h 2161222"/>
                  <a:gd name="connsiteX3737" fmla="*/ 906780 w 2443162"/>
                  <a:gd name="connsiteY3737" fmla="*/ 1154430 h 2161222"/>
                  <a:gd name="connsiteX3738" fmla="*/ 912495 w 2443162"/>
                  <a:gd name="connsiteY3738" fmla="*/ 1168718 h 2161222"/>
                  <a:gd name="connsiteX3739" fmla="*/ 919163 w 2443162"/>
                  <a:gd name="connsiteY3739" fmla="*/ 1182053 h 2161222"/>
                  <a:gd name="connsiteX3740" fmla="*/ 926783 w 2443162"/>
                  <a:gd name="connsiteY3740" fmla="*/ 1195388 h 2161222"/>
                  <a:gd name="connsiteX3741" fmla="*/ 934403 w 2443162"/>
                  <a:gd name="connsiteY3741" fmla="*/ 1208723 h 2161222"/>
                  <a:gd name="connsiteX3742" fmla="*/ 942975 w 2443162"/>
                  <a:gd name="connsiteY3742" fmla="*/ 1221105 h 2161222"/>
                  <a:gd name="connsiteX3743" fmla="*/ 952500 w 2443162"/>
                  <a:gd name="connsiteY3743" fmla="*/ 1232535 h 2161222"/>
                  <a:gd name="connsiteX3744" fmla="*/ 962025 w 2443162"/>
                  <a:gd name="connsiteY3744" fmla="*/ 1243965 h 2161222"/>
                  <a:gd name="connsiteX3745" fmla="*/ 971550 w 2443162"/>
                  <a:gd name="connsiteY3745" fmla="*/ 1254443 h 2161222"/>
                  <a:gd name="connsiteX3746" fmla="*/ 872490 w 2443162"/>
                  <a:gd name="connsiteY3746" fmla="*/ 1353503 h 2161222"/>
                  <a:gd name="connsiteX3747" fmla="*/ 865823 w 2443162"/>
                  <a:gd name="connsiteY3747" fmla="*/ 1345883 h 2161222"/>
                  <a:gd name="connsiteX3748" fmla="*/ 859155 w 2443162"/>
                  <a:gd name="connsiteY3748" fmla="*/ 1338263 h 2161222"/>
                  <a:gd name="connsiteX3749" fmla="*/ 852488 w 2443162"/>
                  <a:gd name="connsiteY3749" fmla="*/ 1330643 h 2161222"/>
                  <a:gd name="connsiteX3750" fmla="*/ 843915 w 2443162"/>
                  <a:gd name="connsiteY3750" fmla="*/ 1323975 h 2161222"/>
                  <a:gd name="connsiteX3751" fmla="*/ 843915 w 2443162"/>
                  <a:gd name="connsiteY3751" fmla="*/ 1323975 h 2161222"/>
                  <a:gd name="connsiteX3752" fmla="*/ 837248 w 2443162"/>
                  <a:gd name="connsiteY3752" fmla="*/ 1006793 h 2161222"/>
                  <a:gd name="connsiteX3753" fmla="*/ 825818 w 2443162"/>
                  <a:gd name="connsiteY3753" fmla="*/ 989648 h 2161222"/>
                  <a:gd name="connsiteX3754" fmla="*/ 825818 w 2443162"/>
                  <a:gd name="connsiteY3754" fmla="*/ 964883 h 2161222"/>
                  <a:gd name="connsiteX3755" fmla="*/ 843915 w 2443162"/>
                  <a:gd name="connsiteY3755" fmla="*/ 954405 h 2161222"/>
                  <a:gd name="connsiteX3756" fmla="*/ 872490 w 2443162"/>
                  <a:gd name="connsiteY3756" fmla="*/ 958215 h 2161222"/>
                  <a:gd name="connsiteX3757" fmla="*/ 879158 w 2443162"/>
                  <a:gd name="connsiteY3757" fmla="*/ 964883 h 2161222"/>
                  <a:gd name="connsiteX3758" fmla="*/ 879158 w 2443162"/>
                  <a:gd name="connsiteY3758" fmla="*/ 966788 h 2161222"/>
                  <a:gd name="connsiteX3759" fmla="*/ 881063 w 2443162"/>
                  <a:gd name="connsiteY3759" fmla="*/ 973455 h 2161222"/>
                  <a:gd name="connsiteX3760" fmla="*/ 880110 w 2443162"/>
                  <a:gd name="connsiteY3760" fmla="*/ 982028 h 2161222"/>
                  <a:gd name="connsiteX3761" fmla="*/ 879158 w 2443162"/>
                  <a:gd name="connsiteY3761" fmla="*/ 989648 h 2161222"/>
                  <a:gd name="connsiteX3762" fmla="*/ 878205 w 2443162"/>
                  <a:gd name="connsiteY3762" fmla="*/ 998220 h 2161222"/>
                  <a:gd name="connsiteX3763" fmla="*/ 878205 w 2443162"/>
                  <a:gd name="connsiteY3763" fmla="*/ 1006793 h 2161222"/>
                  <a:gd name="connsiteX3764" fmla="*/ 837248 w 2443162"/>
                  <a:gd name="connsiteY3764" fmla="*/ 1006793 h 2161222"/>
                  <a:gd name="connsiteX3765" fmla="*/ 837248 w 2443162"/>
                  <a:gd name="connsiteY3765" fmla="*/ 1006793 h 2161222"/>
                  <a:gd name="connsiteX3766" fmla="*/ 907733 w 2443162"/>
                  <a:gd name="connsiteY3766" fmla="*/ 1059180 h 2161222"/>
                  <a:gd name="connsiteX3767" fmla="*/ 909638 w 2443162"/>
                  <a:gd name="connsiteY3767" fmla="*/ 1062990 h 2161222"/>
                  <a:gd name="connsiteX3768" fmla="*/ 922973 w 2443162"/>
                  <a:gd name="connsiteY3768" fmla="*/ 1078230 h 2161222"/>
                  <a:gd name="connsiteX3769" fmla="*/ 943928 w 2443162"/>
                  <a:gd name="connsiteY3769" fmla="*/ 1078230 h 2161222"/>
                  <a:gd name="connsiteX3770" fmla="*/ 968693 w 2443162"/>
                  <a:gd name="connsiteY3770" fmla="*/ 1095375 h 2161222"/>
                  <a:gd name="connsiteX3771" fmla="*/ 976313 w 2443162"/>
                  <a:gd name="connsiteY3771" fmla="*/ 1091565 h 2161222"/>
                  <a:gd name="connsiteX3772" fmla="*/ 993458 w 2443162"/>
                  <a:gd name="connsiteY3772" fmla="*/ 1105853 h 2161222"/>
                  <a:gd name="connsiteX3773" fmla="*/ 982980 w 2443162"/>
                  <a:gd name="connsiteY3773" fmla="*/ 1113473 h 2161222"/>
                  <a:gd name="connsiteX3774" fmla="*/ 1003935 w 2443162"/>
                  <a:gd name="connsiteY3774" fmla="*/ 1123950 h 2161222"/>
                  <a:gd name="connsiteX3775" fmla="*/ 1003935 w 2443162"/>
                  <a:gd name="connsiteY3775" fmla="*/ 1109663 h 2161222"/>
                  <a:gd name="connsiteX3776" fmla="*/ 1014413 w 2443162"/>
                  <a:gd name="connsiteY3776" fmla="*/ 1092518 h 2161222"/>
                  <a:gd name="connsiteX3777" fmla="*/ 1024890 w 2443162"/>
                  <a:gd name="connsiteY3777" fmla="*/ 1106805 h 2161222"/>
                  <a:gd name="connsiteX3778" fmla="*/ 1039178 w 2443162"/>
                  <a:gd name="connsiteY3778" fmla="*/ 1121093 h 2161222"/>
                  <a:gd name="connsiteX3779" fmla="*/ 1018223 w 2443162"/>
                  <a:gd name="connsiteY3779" fmla="*/ 1127760 h 2161222"/>
                  <a:gd name="connsiteX3780" fmla="*/ 1024890 w 2443162"/>
                  <a:gd name="connsiteY3780" fmla="*/ 1145858 h 2161222"/>
                  <a:gd name="connsiteX3781" fmla="*/ 1039178 w 2443162"/>
                  <a:gd name="connsiteY3781" fmla="*/ 1138238 h 2161222"/>
                  <a:gd name="connsiteX3782" fmla="*/ 1039178 w 2443162"/>
                  <a:gd name="connsiteY3782" fmla="*/ 1131570 h 2161222"/>
                  <a:gd name="connsiteX3783" fmla="*/ 1049655 w 2443162"/>
                  <a:gd name="connsiteY3783" fmla="*/ 1124903 h 2161222"/>
                  <a:gd name="connsiteX3784" fmla="*/ 1056323 w 2443162"/>
                  <a:gd name="connsiteY3784" fmla="*/ 1093470 h 2161222"/>
                  <a:gd name="connsiteX3785" fmla="*/ 1057275 w 2443162"/>
                  <a:gd name="connsiteY3785" fmla="*/ 1096328 h 2161222"/>
                  <a:gd name="connsiteX3786" fmla="*/ 1057275 w 2443162"/>
                  <a:gd name="connsiteY3786" fmla="*/ 1093470 h 2161222"/>
                  <a:gd name="connsiteX3787" fmla="*/ 1059180 w 2443162"/>
                  <a:gd name="connsiteY3787" fmla="*/ 1090613 h 2161222"/>
                  <a:gd name="connsiteX3788" fmla="*/ 1062038 w 2443162"/>
                  <a:gd name="connsiteY3788" fmla="*/ 1097280 h 2161222"/>
                  <a:gd name="connsiteX3789" fmla="*/ 1064895 w 2443162"/>
                  <a:gd name="connsiteY3789" fmla="*/ 1103948 h 2161222"/>
                  <a:gd name="connsiteX3790" fmla="*/ 1068705 w 2443162"/>
                  <a:gd name="connsiteY3790" fmla="*/ 1109663 h 2161222"/>
                  <a:gd name="connsiteX3791" fmla="*/ 1072515 w 2443162"/>
                  <a:gd name="connsiteY3791" fmla="*/ 1115378 h 2161222"/>
                  <a:gd name="connsiteX3792" fmla="*/ 1076325 w 2443162"/>
                  <a:gd name="connsiteY3792" fmla="*/ 1121093 h 2161222"/>
                  <a:gd name="connsiteX3793" fmla="*/ 1081088 w 2443162"/>
                  <a:gd name="connsiteY3793" fmla="*/ 1126808 h 2161222"/>
                  <a:gd name="connsiteX3794" fmla="*/ 1085850 w 2443162"/>
                  <a:gd name="connsiteY3794" fmla="*/ 1131570 h 2161222"/>
                  <a:gd name="connsiteX3795" fmla="*/ 1090613 w 2443162"/>
                  <a:gd name="connsiteY3795" fmla="*/ 1137285 h 2161222"/>
                  <a:gd name="connsiteX3796" fmla="*/ 990600 w 2443162"/>
                  <a:gd name="connsiteY3796" fmla="*/ 1237298 h 2161222"/>
                  <a:gd name="connsiteX3797" fmla="*/ 982028 w 2443162"/>
                  <a:gd name="connsiteY3797" fmla="*/ 1227773 h 2161222"/>
                  <a:gd name="connsiteX3798" fmla="*/ 974408 w 2443162"/>
                  <a:gd name="connsiteY3798" fmla="*/ 1218248 h 2161222"/>
                  <a:gd name="connsiteX3799" fmla="*/ 966788 w 2443162"/>
                  <a:gd name="connsiteY3799" fmla="*/ 1207770 h 2161222"/>
                  <a:gd name="connsiteX3800" fmla="*/ 960120 w 2443162"/>
                  <a:gd name="connsiteY3800" fmla="*/ 1197293 h 2161222"/>
                  <a:gd name="connsiteX3801" fmla="*/ 953453 w 2443162"/>
                  <a:gd name="connsiteY3801" fmla="*/ 1186815 h 2161222"/>
                  <a:gd name="connsiteX3802" fmla="*/ 946785 w 2443162"/>
                  <a:gd name="connsiteY3802" fmla="*/ 1176338 h 2161222"/>
                  <a:gd name="connsiteX3803" fmla="*/ 941070 w 2443162"/>
                  <a:gd name="connsiteY3803" fmla="*/ 1165860 h 2161222"/>
                  <a:gd name="connsiteX3804" fmla="*/ 935355 w 2443162"/>
                  <a:gd name="connsiteY3804" fmla="*/ 1155383 h 2161222"/>
                  <a:gd name="connsiteX3805" fmla="*/ 930593 w 2443162"/>
                  <a:gd name="connsiteY3805" fmla="*/ 1143953 h 2161222"/>
                  <a:gd name="connsiteX3806" fmla="*/ 925830 w 2443162"/>
                  <a:gd name="connsiteY3806" fmla="*/ 1132523 h 2161222"/>
                  <a:gd name="connsiteX3807" fmla="*/ 921068 w 2443162"/>
                  <a:gd name="connsiteY3807" fmla="*/ 1121093 h 2161222"/>
                  <a:gd name="connsiteX3808" fmla="*/ 917258 w 2443162"/>
                  <a:gd name="connsiteY3808" fmla="*/ 1108710 h 2161222"/>
                  <a:gd name="connsiteX3809" fmla="*/ 913448 w 2443162"/>
                  <a:gd name="connsiteY3809" fmla="*/ 1096328 h 2161222"/>
                  <a:gd name="connsiteX3810" fmla="*/ 910590 w 2443162"/>
                  <a:gd name="connsiteY3810" fmla="*/ 1083945 h 2161222"/>
                  <a:gd name="connsiteX3811" fmla="*/ 907733 w 2443162"/>
                  <a:gd name="connsiteY3811" fmla="*/ 1071563 h 2161222"/>
                  <a:gd name="connsiteX3812" fmla="*/ 907733 w 2443162"/>
                  <a:gd name="connsiteY3812" fmla="*/ 1059180 h 2161222"/>
                  <a:gd name="connsiteX3813" fmla="*/ 907733 w 2443162"/>
                  <a:gd name="connsiteY3813" fmla="*/ 1059180 h 2161222"/>
                  <a:gd name="connsiteX3814" fmla="*/ 967740 w 2443162"/>
                  <a:gd name="connsiteY3814" fmla="*/ 784860 h 2161222"/>
                  <a:gd name="connsiteX3815" fmla="*/ 962978 w 2443162"/>
                  <a:gd name="connsiteY3815" fmla="*/ 788670 h 2161222"/>
                  <a:gd name="connsiteX3816" fmla="*/ 962978 w 2443162"/>
                  <a:gd name="connsiteY3816" fmla="*/ 788670 h 2161222"/>
                  <a:gd name="connsiteX3817" fmla="*/ 934403 w 2443162"/>
                  <a:gd name="connsiteY3817" fmla="*/ 823913 h 2161222"/>
                  <a:gd name="connsiteX3818" fmla="*/ 909638 w 2443162"/>
                  <a:gd name="connsiteY3818" fmla="*/ 862965 h 2161222"/>
                  <a:gd name="connsiteX3819" fmla="*/ 902970 w 2443162"/>
                  <a:gd name="connsiteY3819" fmla="*/ 862965 h 2161222"/>
                  <a:gd name="connsiteX3820" fmla="*/ 890588 w 2443162"/>
                  <a:gd name="connsiteY3820" fmla="*/ 865823 h 2161222"/>
                  <a:gd name="connsiteX3821" fmla="*/ 883920 w 2443162"/>
                  <a:gd name="connsiteY3821" fmla="*/ 865823 h 2161222"/>
                  <a:gd name="connsiteX3822" fmla="*/ 870585 w 2443162"/>
                  <a:gd name="connsiteY3822" fmla="*/ 880110 h 2161222"/>
                  <a:gd name="connsiteX3823" fmla="*/ 887730 w 2443162"/>
                  <a:gd name="connsiteY3823" fmla="*/ 876300 h 2161222"/>
                  <a:gd name="connsiteX3824" fmla="*/ 904875 w 2443162"/>
                  <a:gd name="connsiteY3824" fmla="*/ 872490 h 2161222"/>
                  <a:gd name="connsiteX3825" fmla="*/ 901065 w 2443162"/>
                  <a:gd name="connsiteY3825" fmla="*/ 879158 h 2161222"/>
                  <a:gd name="connsiteX3826" fmla="*/ 887730 w 2443162"/>
                  <a:gd name="connsiteY3826" fmla="*/ 885825 h 2161222"/>
                  <a:gd name="connsiteX3827" fmla="*/ 881063 w 2443162"/>
                  <a:gd name="connsiteY3827" fmla="*/ 885825 h 2161222"/>
                  <a:gd name="connsiteX3828" fmla="*/ 860108 w 2443162"/>
                  <a:gd name="connsiteY3828" fmla="*/ 902970 h 2161222"/>
                  <a:gd name="connsiteX3829" fmla="*/ 840105 w 2443162"/>
                  <a:gd name="connsiteY3829" fmla="*/ 899160 h 2161222"/>
                  <a:gd name="connsiteX3830" fmla="*/ 809625 w 2443162"/>
                  <a:gd name="connsiteY3830" fmla="*/ 954405 h 2161222"/>
                  <a:gd name="connsiteX3831" fmla="*/ 816293 w 2443162"/>
                  <a:gd name="connsiteY3831" fmla="*/ 967740 h 2161222"/>
                  <a:gd name="connsiteX3832" fmla="*/ 799148 w 2443162"/>
                  <a:gd name="connsiteY3832" fmla="*/ 984885 h 2161222"/>
                  <a:gd name="connsiteX3833" fmla="*/ 799148 w 2443162"/>
                  <a:gd name="connsiteY3833" fmla="*/ 1004888 h 2161222"/>
                  <a:gd name="connsiteX3834" fmla="*/ 739140 w 2443162"/>
                  <a:gd name="connsiteY3834" fmla="*/ 1004888 h 2161222"/>
                  <a:gd name="connsiteX3835" fmla="*/ 739140 w 2443162"/>
                  <a:gd name="connsiteY3835" fmla="*/ 993458 h 2161222"/>
                  <a:gd name="connsiteX3836" fmla="*/ 740093 w 2443162"/>
                  <a:gd name="connsiteY3836" fmla="*/ 982028 h 2161222"/>
                  <a:gd name="connsiteX3837" fmla="*/ 741045 w 2443162"/>
                  <a:gd name="connsiteY3837" fmla="*/ 970598 h 2161222"/>
                  <a:gd name="connsiteX3838" fmla="*/ 741998 w 2443162"/>
                  <a:gd name="connsiteY3838" fmla="*/ 959168 h 2161222"/>
                  <a:gd name="connsiteX3839" fmla="*/ 743903 w 2443162"/>
                  <a:gd name="connsiteY3839" fmla="*/ 948690 h 2161222"/>
                  <a:gd name="connsiteX3840" fmla="*/ 745808 w 2443162"/>
                  <a:gd name="connsiteY3840" fmla="*/ 937260 h 2161222"/>
                  <a:gd name="connsiteX3841" fmla="*/ 747713 w 2443162"/>
                  <a:gd name="connsiteY3841" fmla="*/ 926783 h 2161222"/>
                  <a:gd name="connsiteX3842" fmla="*/ 750570 w 2443162"/>
                  <a:gd name="connsiteY3842" fmla="*/ 915353 h 2161222"/>
                  <a:gd name="connsiteX3843" fmla="*/ 752475 w 2443162"/>
                  <a:gd name="connsiteY3843" fmla="*/ 904875 h 2161222"/>
                  <a:gd name="connsiteX3844" fmla="*/ 755333 w 2443162"/>
                  <a:gd name="connsiteY3844" fmla="*/ 894398 h 2161222"/>
                  <a:gd name="connsiteX3845" fmla="*/ 758190 w 2443162"/>
                  <a:gd name="connsiteY3845" fmla="*/ 883920 h 2161222"/>
                  <a:gd name="connsiteX3846" fmla="*/ 761048 w 2443162"/>
                  <a:gd name="connsiteY3846" fmla="*/ 873443 h 2161222"/>
                  <a:gd name="connsiteX3847" fmla="*/ 764858 w 2443162"/>
                  <a:gd name="connsiteY3847" fmla="*/ 862965 h 2161222"/>
                  <a:gd name="connsiteX3848" fmla="*/ 768668 w 2443162"/>
                  <a:gd name="connsiteY3848" fmla="*/ 853440 h 2161222"/>
                  <a:gd name="connsiteX3849" fmla="*/ 772478 w 2443162"/>
                  <a:gd name="connsiteY3849" fmla="*/ 842963 h 2161222"/>
                  <a:gd name="connsiteX3850" fmla="*/ 776288 w 2443162"/>
                  <a:gd name="connsiteY3850" fmla="*/ 833438 h 2161222"/>
                  <a:gd name="connsiteX3851" fmla="*/ 780098 w 2443162"/>
                  <a:gd name="connsiteY3851" fmla="*/ 823913 h 2161222"/>
                  <a:gd name="connsiteX3852" fmla="*/ 784860 w 2443162"/>
                  <a:gd name="connsiteY3852" fmla="*/ 813435 h 2161222"/>
                  <a:gd name="connsiteX3853" fmla="*/ 789623 w 2443162"/>
                  <a:gd name="connsiteY3853" fmla="*/ 803910 h 2161222"/>
                  <a:gd name="connsiteX3854" fmla="*/ 794385 w 2443162"/>
                  <a:gd name="connsiteY3854" fmla="*/ 794385 h 2161222"/>
                  <a:gd name="connsiteX3855" fmla="*/ 799148 w 2443162"/>
                  <a:gd name="connsiteY3855" fmla="*/ 784860 h 2161222"/>
                  <a:gd name="connsiteX3856" fmla="*/ 803910 w 2443162"/>
                  <a:gd name="connsiteY3856" fmla="*/ 775335 h 2161222"/>
                  <a:gd name="connsiteX3857" fmla="*/ 809625 w 2443162"/>
                  <a:gd name="connsiteY3857" fmla="*/ 765810 h 2161222"/>
                  <a:gd name="connsiteX3858" fmla="*/ 815340 w 2443162"/>
                  <a:gd name="connsiteY3858" fmla="*/ 756285 h 2161222"/>
                  <a:gd name="connsiteX3859" fmla="*/ 821055 w 2443162"/>
                  <a:gd name="connsiteY3859" fmla="*/ 746760 h 2161222"/>
                  <a:gd name="connsiteX3860" fmla="*/ 826770 w 2443162"/>
                  <a:gd name="connsiteY3860" fmla="*/ 738188 h 2161222"/>
                  <a:gd name="connsiteX3861" fmla="*/ 833438 w 2443162"/>
                  <a:gd name="connsiteY3861" fmla="*/ 729615 h 2161222"/>
                  <a:gd name="connsiteX3862" fmla="*/ 840105 w 2443162"/>
                  <a:gd name="connsiteY3862" fmla="*/ 721043 h 2161222"/>
                  <a:gd name="connsiteX3863" fmla="*/ 846773 w 2443162"/>
                  <a:gd name="connsiteY3863" fmla="*/ 712470 h 2161222"/>
                  <a:gd name="connsiteX3864" fmla="*/ 853440 w 2443162"/>
                  <a:gd name="connsiteY3864" fmla="*/ 703898 h 2161222"/>
                  <a:gd name="connsiteX3865" fmla="*/ 860108 w 2443162"/>
                  <a:gd name="connsiteY3865" fmla="*/ 695325 h 2161222"/>
                  <a:gd name="connsiteX3866" fmla="*/ 867728 w 2443162"/>
                  <a:gd name="connsiteY3866" fmla="*/ 687705 h 2161222"/>
                  <a:gd name="connsiteX3867" fmla="*/ 967740 w 2443162"/>
                  <a:gd name="connsiteY3867" fmla="*/ 784860 h 2161222"/>
                  <a:gd name="connsiteX3868" fmla="*/ 967740 w 2443162"/>
                  <a:gd name="connsiteY3868" fmla="*/ 784860 h 2161222"/>
                  <a:gd name="connsiteX3869" fmla="*/ 1634490 w 2443162"/>
                  <a:gd name="connsiteY3869" fmla="*/ 403860 h 2161222"/>
                  <a:gd name="connsiteX3870" fmla="*/ 1627823 w 2443162"/>
                  <a:gd name="connsiteY3870" fmla="*/ 389573 h 2161222"/>
                  <a:gd name="connsiteX3871" fmla="*/ 1609725 w 2443162"/>
                  <a:gd name="connsiteY3871" fmla="*/ 379095 h 2161222"/>
                  <a:gd name="connsiteX3872" fmla="*/ 1595438 w 2443162"/>
                  <a:gd name="connsiteY3872" fmla="*/ 393383 h 2161222"/>
                  <a:gd name="connsiteX3873" fmla="*/ 1612583 w 2443162"/>
                  <a:gd name="connsiteY3873" fmla="*/ 401003 h 2161222"/>
                  <a:gd name="connsiteX3874" fmla="*/ 1633538 w 2443162"/>
                  <a:gd name="connsiteY3874" fmla="*/ 415290 h 2161222"/>
                  <a:gd name="connsiteX3875" fmla="*/ 1633538 w 2443162"/>
                  <a:gd name="connsiteY3875" fmla="*/ 403860 h 2161222"/>
                  <a:gd name="connsiteX3876" fmla="*/ 1634490 w 2443162"/>
                  <a:gd name="connsiteY3876" fmla="*/ 403860 h 2161222"/>
                  <a:gd name="connsiteX3877" fmla="*/ 1553528 w 2443162"/>
                  <a:gd name="connsiteY3877" fmla="*/ 796290 h 2161222"/>
                  <a:gd name="connsiteX3878" fmla="*/ 1553528 w 2443162"/>
                  <a:gd name="connsiteY3878" fmla="*/ 806768 h 2161222"/>
                  <a:gd name="connsiteX3879" fmla="*/ 1578293 w 2443162"/>
                  <a:gd name="connsiteY3879" fmla="*/ 799148 h 2161222"/>
                  <a:gd name="connsiteX3880" fmla="*/ 1584960 w 2443162"/>
                  <a:gd name="connsiteY3880" fmla="*/ 784860 h 2161222"/>
                  <a:gd name="connsiteX3881" fmla="*/ 1567815 w 2443162"/>
                  <a:gd name="connsiteY3881" fmla="*/ 763905 h 2161222"/>
                  <a:gd name="connsiteX3882" fmla="*/ 1574483 w 2443162"/>
                  <a:gd name="connsiteY3882" fmla="*/ 749618 h 2161222"/>
                  <a:gd name="connsiteX3883" fmla="*/ 1599248 w 2443162"/>
                  <a:gd name="connsiteY3883" fmla="*/ 763905 h 2161222"/>
                  <a:gd name="connsiteX3884" fmla="*/ 1603058 w 2443162"/>
                  <a:gd name="connsiteY3884" fmla="*/ 760095 h 2161222"/>
                  <a:gd name="connsiteX3885" fmla="*/ 1599248 w 2443162"/>
                  <a:gd name="connsiteY3885" fmla="*/ 760095 h 2161222"/>
                  <a:gd name="connsiteX3886" fmla="*/ 1592580 w 2443162"/>
                  <a:gd name="connsiteY3886" fmla="*/ 749618 h 2161222"/>
                  <a:gd name="connsiteX3887" fmla="*/ 1603058 w 2443162"/>
                  <a:gd name="connsiteY3887" fmla="*/ 742950 h 2161222"/>
                  <a:gd name="connsiteX3888" fmla="*/ 1592580 w 2443162"/>
                  <a:gd name="connsiteY3888" fmla="*/ 732473 h 2161222"/>
                  <a:gd name="connsiteX3889" fmla="*/ 1571625 w 2443162"/>
                  <a:gd name="connsiteY3889" fmla="*/ 742950 h 2161222"/>
                  <a:gd name="connsiteX3890" fmla="*/ 1564958 w 2443162"/>
                  <a:gd name="connsiteY3890" fmla="*/ 757238 h 2161222"/>
                  <a:gd name="connsiteX3891" fmla="*/ 1561148 w 2443162"/>
                  <a:gd name="connsiteY3891" fmla="*/ 767715 h 2161222"/>
                  <a:gd name="connsiteX3892" fmla="*/ 1571625 w 2443162"/>
                  <a:gd name="connsiteY3892" fmla="*/ 782003 h 2161222"/>
                  <a:gd name="connsiteX3893" fmla="*/ 1567815 w 2443162"/>
                  <a:gd name="connsiteY3893" fmla="*/ 788670 h 2161222"/>
                  <a:gd name="connsiteX3894" fmla="*/ 1553528 w 2443162"/>
                  <a:gd name="connsiteY3894" fmla="*/ 796290 h 2161222"/>
                  <a:gd name="connsiteX3895" fmla="*/ 1553528 w 2443162"/>
                  <a:gd name="connsiteY3895" fmla="*/ 796290 h 2161222"/>
                  <a:gd name="connsiteX3896" fmla="*/ 547688 w 2443162"/>
                  <a:gd name="connsiteY3896" fmla="*/ 1421130 h 2161222"/>
                  <a:gd name="connsiteX3897" fmla="*/ 547688 w 2443162"/>
                  <a:gd name="connsiteY3897" fmla="*/ 1413510 h 2161222"/>
                  <a:gd name="connsiteX3898" fmla="*/ 537210 w 2443162"/>
                  <a:gd name="connsiteY3898" fmla="*/ 1385888 h 2161222"/>
                  <a:gd name="connsiteX3899" fmla="*/ 522923 w 2443162"/>
                  <a:gd name="connsiteY3899" fmla="*/ 1382078 h 2161222"/>
                  <a:gd name="connsiteX3900" fmla="*/ 547688 w 2443162"/>
                  <a:gd name="connsiteY3900" fmla="*/ 1421130 h 2161222"/>
                  <a:gd name="connsiteX3901" fmla="*/ 547688 w 2443162"/>
                  <a:gd name="connsiteY3901" fmla="*/ 1421130 h 2161222"/>
                  <a:gd name="connsiteX3902" fmla="*/ 1116330 w 2443162"/>
                  <a:gd name="connsiteY3902" fmla="*/ 898208 h 2161222"/>
                  <a:gd name="connsiteX3903" fmla="*/ 1120140 w 2443162"/>
                  <a:gd name="connsiteY3903" fmla="*/ 912495 h 2161222"/>
                  <a:gd name="connsiteX3904" fmla="*/ 1126808 w 2443162"/>
                  <a:gd name="connsiteY3904" fmla="*/ 926783 h 2161222"/>
                  <a:gd name="connsiteX3905" fmla="*/ 1137285 w 2443162"/>
                  <a:gd name="connsiteY3905" fmla="*/ 941070 h 2161222"/>
                  <a:gd name="connsiteX3906" fmla="*/ 1155383 w 2443162"/>
                  <a:gd name="connsiteY3906" fmla="*/ 951548 h 2161222"/>
                  <a:gd name="connsiteX3907" fmla="*/ 1155383 w 2443162"/>
                  <a:gd name="connsiteY3907" fmla="*/ 941070 h 2161222"/>
                  <a:gd name="connsiteX3908" fmla="*/ 1141095 w 2443162"/>
                  <a:gd name="connsiteY3908" fmla="*/ 923925 h 2161222"/>
                  <a:gd name="connsiteX3909" fmla="*/ 1148715 w 2443162"/>
                  <a:gd name="connsiteY3909" fmla="*/ 909638 h 2161222"/>
                  <a:gd name="connsiteX3910" fmla="*/ 1155383 w 2443162"/>
                  <a:gd name="connsiteY3910" fmla="*/ 905828 h 2161222"/>
                  <a:gd name="connsiteX3911" fmla="*/ 1155383 w 2443162"/>
                  <a:gd name="connsiteY3911" fmla="*/ 845820 h 2161222"/>
                  <a:gd name="connsiteX3912" fmla="*/ 1151573 w 2443162"/>
                  <a:gd name="connsiteY3912" fmla="*/ 845820 h 2161222"/>
                  <a:gd name="connsiteX3913" fmla="*/ 1137285 w 2443162"/>
                  <a:gd name="connsiteY3913" fmla="*/ 856298 h 2161222"/>
                  <a:gd name="connsiteX3914" fmla="*/ 1126808 w 2443162"/>
                  <a:gd name="connsiteY3914" fmla="*/ 866775 h 2161222"/>
                  <a:gd name="connsiteX3915" fmla="*/ 1120140 w 2443162"/>
                  <a:gd name="connsiteY3915" fmla="*/ 881063 h 2161222"/>
                  <a:gd name="connsiteX3916" fmla="*/ 1116330 w 2443162"/>
                  <a:gd name="connsiteY3916" fmla="*/ 898208 h 2161222"/>
                  <a:gd name="connsiteX3917" fmla="*/ 1116330 w 2443162"/>
                  <a:gd name="connsiteY3917" fmla="*/ 898208 h 2161222"/>
                  <a:gd name="connsiteX3918" fmla="*/ 822008 w 2443162"/>
                  <a:gd name="connsiteY3918" fmla="*/ 639128 h 2161222"/>
                  <a:gd name="connsiteX3919" fmla="*/ 812483 w 2443162"/>
                  <a:gd name="connsiteY3919" fmla="*/ 628650 h 2161222"/>
                  <a:gd name="connsiteX3920" fmla="*/ 832485 w 2443162"/>
                  <a:gd name="connsiteY3920" fmla="*/ 624840 h 2161222"/>
                  <a:gd name="connsiteX3921" fmla="*/ 822008 w 2443162"/>
                  <a:gd name="connsiteY3921" fmla="*/ 639128 h 2161222"/>
                  <a:gd name="connsiteX3922" fmla="*/ 822008 w 2443162"/>
                  <a:gd name="connsiteY3922" fmla="*/ 639128 h 2161222"/>
                  <a:gd name="connsiteX3923" fmla="*/ 2039303 w 2443162"/>
                  <a:gd name="connsiteY3923" fmla="*/ 1035368 h 2161222"/>
                  <a:gd name="connsiteX3924" fmla="*/ 1902143 w 2443162"/>
                  <a:gd name="connsiteY3924" fmla="*/ 1035368 h 2161222"/>
                  <a:gd name="connsiteX3925" fmla="*/ 1901190 w 2443162"/>
                  <a:gd name="connsiteY3925" fmla="*/ 1051560 h 2161222"/>
                  <a:gd name="connsiteX3926" fmla="*/ 1900238 w 2443162"/>
                  <a:gd name="connsiteY3926" fmla="*/ 1067753 h 2161222"/>
                  <a:gd name="connsiteX3927" fmla="*/ 1899285 w 2443162"/>
                  <a:gd name="connsiteY3927" fmla="*/ 1083945 h 2161222"/>
                  <a:gd name="connsiteX3928" fmla="*/ 1897380 w 2443162"/>
                  <a:gd name="connsiteY3928" fmla="*/ 1100138 h 2161222"/>
                  <a:gd name="connsiteX3929" fmla="*/ 1895475 w 2443162"/>
                  <a:gd name="connsiteY3929" fmla="*/ 1115378 h 2161222"/>
                  <a:gd name="connsiteX3930" fmla="*/ 1893570 w 2443162"/>
                  <a:gd name="connsiteY3930" fmla="*/ 1131570 h 2161222"/>
                  <a:gd name="connsiteX3931" fmla="*/ 1890713 w 2443162"/>
                  <a:gd name="connsiteY3931" fmla="*/ 1146810 h 2161222"/>
                  <a:gd name="connsiteX3932" fmla="*/ 1887855 w 2443162"/>
                  <a:gd name="connsiteY3932" fmla="*/ 1162050 h 2161222"/>
                  <a:gd name="connsiteX3933" fmla="*/ 1884045 w 2443162"/>
                  <a:gd name="connsiteY3933" fmla="*/ 1177290 h 2161222"/>
                  <a:gd name="connsiteX3934" fmla="*/ 1880235 w 2443162"/>
                  <a:gd name="connsiteY3934" fmla="*/ 1193483 h 2161222"/>
                  <a:gd name="connsiteX3935" fmla="*/ 1875473 w 2443162"/>
                  <a:gd name="connsiteY3935" fmla="*/ 1208723 h 2161222"/>
                  <a:gd name="connsiteX3936" fmla="*/ 1870710 w 2443162"/>
                  <a:gd name="connsiteY3936" fmla="*/ 1223963 h 2161222"/>
                  <a:gd name="connsiteX3937" fmla="*/ 1865948 w 2443162"/>
                  <a:gd name="connsiteY3937" fmla="*/ 1239203 h 2161222"/>
                  <a:gd name="connsiteX3938" fmla="*/ 1860233 w 2443162"/>
                  <a:gd name="connsiteY3938" fmla="*/ 1253490 h 2161222"/>
                  <a:gd name="connsiteX3939" fmla="*/ 1854518 w 2443162"/>
                  <a:gd name="connsiteY3939" fmla="*/ 1268730 h 2161222"/>
                  <a:gd name="connsiteX3940" fmla="*/ 1848803 w 2443162"/>
                  <a:gd name="connsiteY3940" fmla="*/ 1283018 h 2161222"/>
                  <a:gd name="connsiteX3941" fmla="*/ 1843088 w 2443162"/>
                  <a:gd name="connsiteY3941" fmla="*/ 1297305 h 2161222"/>
                  <a:gd name="connsiteX3942" fmla="*/ 1836420 w 2443162"/>
                  <a:gd name="connsiteY3942" fmla="*/ 1311593 h 2161222"/>
                  <a:gd name="connsiteX3943" fmla="*/ 1829753 w 2443162"/>
                  <a:gd name="connsiteY3943" fmla="*/ 1325880 h 2161222"/>
                  <a:gd name="connsiteX3944" fmla="*/ 1823085 w 2443162"/>
                  <a:gd name="connsiteY3944" fmla="*/ 1340168 h 2161222"/>
                  <a:gd name="connsiteX3945" fmla="*/ 1815465 w 2443162"/>
                  <a:gd name="connsiteY3945" fmla="*/ 1353503 h 2161222"/>
                  <a:gd name="connsiteX3946" fmla="*/ 1807845 w 2443162"/>
                  <a:gd name="connsiteY3946" fmla="*/ 1366838 h 2161222"/>
                  <a:gd name="connsiteX3947" fmla="*/ 1800225 w 2443162"/>
                  <a:gd name="connsiteY3947" fmla="*/ 1380173 h 2161222"/>
                  <a:gd name="connsiteX3948" fmla="*/ 1791653 w 2443162"/>
                  <a:gd name="connsiteY3948" fmla="*/ 1393508 h 2161222"/>
                  <a:gd name="connsiteX3949" fmla="*/ 1783080 w 2443162"/>
                  <a:gd name="connsiteY3949" fmla="*/ 1405890 h 2161222"/>
                  <a:gd name="connsiteX3950" fmla="*/ 1773555 w 2443162"/>
                  <a:gd name="connsiteY3950" fmla="*/ 1418273 h 2161222"/>
                  <a:gd name="connsiteX3951" fmla="*/ 1764030 w 2443162"/>
                  <a:gd name="connsiteY3951" fmla="*/ 1430655 h 2161222"/>
                  <a:gd name="connsiteX3952" fmla="*/ 1754505 w 2443162"/>
                  <a:gd name="connsiteY3952" fmla="*/ 1443038 h 2161222"/>
                  <a:gd name="connsiteX3953" fmla="*/ 1744028 w 2443162"/>
                  <a:gd name="connsiteY3953" fmla="*/ 1455420 h 2161222"/>
                  <a:gd name="connsiteX3954" fmla="*/ 1734503 w 2443162"/>
                  <a:gd name="connsiteY3954" fmla="*/ 1466850 h 2161222"/>
                  <a:gd name="connsiteX3955" fmla="*/ 1724025 w 2443162"/>
                  <a:gd name="connsiteY3955" fmla="*/ 1478280 h 2161222"/>
                  <a:gd name="connsiteX3956" fmla="*/ 1717358 w 2443162"/>
                  <a:gd name="connsiteY3956" fmla="*/ 1489710 h 2161222"/>
                  <a:gd name="connsiteX3957" fmla="*/ 1810703 w 2443162"/>
                  <a:gd name="connsiteY3957" fmla="*/ 1585913 h 2161222"/>
                  <a:gd name="connsiteX3958" fmla="*/ 1824038 w 2443162"/>
                  <a:gd name="connsiteY3958" fmla="*/ 1572578 h 2161222"/>
                  <a:gd name="connsiteX3959" fmla="*/ 1836420 w 2443162"/>
                  <a:gd name="connsiteY3959" fmla="*/ 1558290 h 2161222"/>
                  <a:gd name="connsiteX3960" fmla="*/ 1848803 w 2443162"/>
                  <a:gd name="connsiteY3960" fmla="*/ 1544003 h 2161222"/>
                  <a:gd name="connsiteX3961" fmla="*/ 1860233 w 2443162"/>
                  <a:gd name="connsiteY3961" fmla="*/ 1529715 h 2161222"/>
                  <a:gd name="connsiteX3962" fmla="*/ 1871663 w 2443162"/>
                  <a:gd name="connsiteY3962" fmla="*/ 1515428 h 2161222"/>
                  <a:gd name="connsiteX3963" fmla="*/ 1882140 w 2443162"/>
                  <a:gd name="connsiteY3963" fmla="*/ 1500188 h 2161222"/>
                  <a:gd name="connsiteX3964" fmla="*/ 1892618 w 2443162"/>
                  <a:gd name="connsiteY3964" fmla="*/ 1484948 h 2161222"/>
                  <a:gd name="connsiteX3965" fmla="*/ 1903095 w 2443162"/>
                  <a:gd name="connsiteY3965" fmla="*/ 1469708 h 2161222"/>
                  <a:gd name="connsiteX3966" fmla="*/ 1913573 w 2443162"/>
                  <a:gd name="connsiteY3966" fmla="*/ 1453515 h 2161222"/>
                  <a:gd name="connsiteX3967" fmla="*/ 1924050 w 2443162"/>
                  <a:gd name="connsiteY3967" fmla="*/ 1438275 h 2161222"/>
                  <a:gd name="connsiteX3968" fmla="*/ 1933575 w 2443162"/>
                  <a:gd name="connsiteY3968" fmla="*/ 1422083 h 2161222"/>
                  <a:gd name="connsiteX3969" fmla="*/ 1942148 w 2443162"/>
                  <a:gd name="connsiteY3969" fmla="*/ 1405890 h 2161222"/>
                  <a:gd name="connsiteX3970" fmla="*/ 1950720 w 2443162"/>
                  <a:gd name="connsiteY3970" fmla="*/ 1388745 h 2161222"/>
                  <a:gd name="connsiteX3971" fmla="*/ 1959293 w 2443162"/>
                  <a:gd name="connsiteY3971" fmla="*/ 1372553 h 2161222"/>
                  <a:gd name="connsiteX3972" fmla="*/ 1967865 w 2443162"/>
                  <a:gd name="connsiteY3972" fmla="*/ 1355408 h 2161222"/>
                  <a:gd name="connsiteX3973" fmla="*/ 1975485 w 2443162"/>
                  <a:gd name="connsiteY3973" fmla="*/ 1338263 h 2161222"/>
                  <a:gd name="connsiteX3974" fmla="*/ 1982153 w 2443162"/>
                  <a:gd name="connsiteY3974" fmla="*/ 1321118 h 2161222"/>
                  <a:gd name="connsiteX3975" fmla="*/ 1988820 w 2443162"/>
                  <a:gd name="connsiteY3975" fmla="*/ 1303973 h 2161222"/>
                  <a:gd name="connsiteX3976" fmla="*/ 1994535 w 2443162"/>
                  <a:gd name="connsiteY3976" fmla="*/ 1285875 h 2161222"/>
                  <a:gd name="connsiteX3977" fmla="*/ 2000250 w 2443162"/>
                  <a:gd name="connsiteY3977" fmla="*/ 1267778 h 2161222"/>
                  <a:gd name="connsiteX3978" fmla="*/ 2005965 w 2443162"/>
                  <a:gd name="connsiteY3978" fmla="*/ 1249680 h 2161222"/>
                  <a:gd name="connsiteX3979" fmla="*/ 2011680 w 2443162"/>
                  <a:gd name="connsiteY3979" fmla="*/ 1230630 h 2161222"/>
                  <a:gd name="connsiteX3980" fmla="*/ 2016443 w 2443162"/>
                  <a:gd name="connsiteY3980" fmla="*/ 1211580 h 2161222"/>
                  <a:gd name="connsiteX3981" fmla="*/ 2021205 w 2443162"/>
                  <a:gd name="connsiteY3981" fmla="*/ 1192530 h 2161222"/>
                  <a:gd name="connsiteX3982" fmla="*/ 2025015 w 2443162"/>
                  <a:gd name="connsiteY3982" fmla="*/ 1173480 h 2161222"/>
                  <a:gd name="connsiteX3983" fmla="*/ 2028825 w 2443162"/>
                  <a:gd name="connsiteY3983" fmla="*/ 1154430 h 2161222"/>
                  <a:gd name="connsiteX3984" fmla="*/ 2031683 w 2443162"/>
                  <a:gd name="connsiteY3984" fmla="*/ 1134428 h 2161222"/>
                  <a:gd name="connsiteX3985" fmla="*/ 2034540 w 2443162"/>
                  <a:gd name="connsiteY3985" fmla="*/ 1115378 h 2161222"/>
                  <a:gd name="connsiteX3986" fmla="*/ 2036445 w 2443162"/>
                  <a:gd name="connsiteY3986" fmla="*/ 1095375 h 2161222"/>
                  <a:gd name="connsiteX3987" fmla="*/ 2037398 w 2443162"/>
                  <a:gd name="connsiteY3987" fmla="*/ 1075373 h 2161222"/>
                  <a:gd name="connsiteX3988" fmla="*/ 2038350 w 2443162"/>
                  <a:gd name="connsiteY3988" fmla="*/ 1055370 h 2161222"/>
                  <a:gd name="connsiteX3989" fmla="*/ 2039303 w 2443162"/>
                  <a:gd name="connsiteY3989" fmla="*/ 1035368 h 2161222"/>
                  <a:gd name="connsiteX3990" fmla="*/ 2039303 w 2443162"/>
                  <a:gd name="connsiteY3990" fmla="*/ 1035368 h 2161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</a:cxnLst>
                <a:rect l="l" t="t" r="r" b="b"/>
                <a:pathLst>
                  <a:path w="2443162" h="2161222">
                    <a:moveTo>
                      <a:pt x="404813" y="1006793"/>
                    </a:moveTo>
                    <a:lnTo>
                      <a:pt x="536258" y="1006793"/>
                    </a:lnTo>
                    <a:lnTo>
                      <a:pt x="541973" y="989648"/>
                    </a:lnTo>
                    <a:lnTo>
                      <a:pt x="542925" y="973455"/>
                    </a:lnTo>
                    <a:lnTo>
                      <a:pt x="543878" y="957263"/>
                    </a:lnTo>
                    <a:lnTo>
                      <a:pt x="545783" y="941070"/>
                    </a:lnTo>
                    <a:lnTo>
                      <a:pt x="547688" y="924878"/>
                    </a:lnTo>
                    <a:lnTo>
                      <a:pt x="549593" y="909638"/>
                    </a:lnTo>
                    <a:lnTo>
                      <a:pt x="552450" y="893445"/>
                    </a:lnTo>
                    <a:lnTo>
                      <a:pt x="555308" y="878205"/>
                    </a:lnTo>
                    <a:lnTo>
                      <a:pt x="559118" y="862013"/>
                    </a:lnTo>
                    <a:lnTo>
                      <a:pt x="562928" y="846773"/>
                    </a:lnTo>
                    <a:lnTo>
                      <a:pt x="566738" y="831533"/>
                    </a:lnTo>
                    <a:lnTo>
                      <a:pt x="576263" y="801053"/>
                    </a:lnTo>
                    <a:lnTo>
                      <a:pt x="581978" y="785813"/>
                    </a:lnTo>
                    <a:lnTo>
                      <a:pt x="587693" y="770573"/>
                    </a:lnTo>
                    <a:lnTo>
                      <a:pt x="593408" y="756285"/>
                    </a:lnTo>
                    <a:lnTo>
                      <a:pt x="600075" y="741998"/>
                    </a:lnTo>
                    <a:lnTo>
                      <a:pt x="606743" y="727710"/>
                    </a:lnTo>
                    <a:lnTo>
                      <a:pt x="613410" y="713423"/>
                    </a:lnTo>
                    <a:lnTo>
                      <a:pt x="620078" y="699135"/>
                    </a:lnTo>
                    <a:lnTo>
                      <a:pt x="627698" y="684848"/>
                    </a:lnTo>
                    <a:lnTo>
                      <a:pt x="635318" y="671513"/>
                    </a:lnTo>
                    <a:lnTo>
                      <a:pt x="643890" y="658178"/>
                    </a:lnTo>
                    <a:lnTo>
                      <a:pt x="652463" y="644843"/>
                    </a:lnTo>
                    <a:lnTo>
                      <a:pt x="661035" y="631508"/>
                    </a:lnTo>
                    <a:lnTo>
                      <a:pt x="670560" y="619125"/>
                    </a:lnTo>
                    <a:lnTo>
                      <a:pt x="680085" y="606743"/>
                    </a:lnTo>
                    <a:lnTo>
                      <a:pt x="689610" y="594360"/>
                    </a:lnTo>
                    <a:lnTo>
                      <a:pt x="700088" y="582930"/>
                    </a:lnTo>
                    <a:lnTo>
                      <a:pt x="710565" y="571500"/>
                    </a:lnTo>
                    <a:lnTo>
                      <a:pt x="721043" y="560070"/>
                    </a:lnTo>
                    <a:lnTo>
                      <a:pt x="731520" y="548640"/>
                    </a:lnTo>
                    <a:lnTo>
                      <a:pt x="635318" y="451485"/>
                    </a:lnTo>
                    <a:lnTo>
                      <a:pt x="621983" y="464820"/>
                    </a:lnTo>
                    <a:lnTo>
                      <a:pt x="609600" y="479108"/>
                    </a:lnTo>
                    <a:lnTo>
                      <a:pt x="597218" y="493395"/>
                    </a:lnTo>
                    <a:lnTo>
                      <a:pt x="585788" y="507683"/>
                    </a:lnTo>
                    <a:lnTo>
                      <a:pt x="574358" y="522923"/>
                    </a:lnTo>
                    <a:lnTo>
                      <a:pt x="562928" y="538163"/>
                    </a:lnTo>
                    <a:lnTo>
                      <a:pt x="552450" y="553403"/>
                    </a:lnTo>
                    <a:lnTo>
                      <a:pt x="541973" y="568643"/>
                    </a:lnTo>
                    <a:lnTo>
                      <a:pt x="532448" y="583883"/>
                    </a:lnTo>
                    <a:lnTo>
                      <a:pt x="521970" y="600075"/>
                    </a:lnTo>
                    <a:lnTo>
                      <a:pt x="512445" y="616268"/>
                    </a:lnTo>
                    <a:lnTo>
                      <a:pt x="502920" y="632460"/>
                    </a:lnTo>
                    <a:lnTo>
                      <a:pt x="494348" y="649605"/>
                    </a:lnTo>
                    <a:lnTo>
                      <a:pt x="485775" y="666750"/>
                    </a:lnTo>
                    <a:lnTo>
                      <a:pt x="477203" y="683895"/>
                    </a:lnTo>
                    <a:lnTo>
                      <a:pt x="469583" y="701040"/>
                    </a:lnTo>
                    <a:lnTo>
                      <a:pt x="461963" y="719138"/>
                    </a:lnTo>
                    <a:lnTo>
                      <a:pt x="455295" y="737235"/>
                    </a:lnTo>
                    <a:lnTo>
                      <a:pt x="448628" y="755333"/>
                    </a:lnTo>
                    <a:lnTo>
                      <a:pt x="442913" y="773430"/>
                    </a:lnTo>
                    <a:lnTo>
                      <a:pt x="437198" y="792480"/>
                    </a:lnTo>
                    <a:lnTo>
                      <a:pt x="431483" y="811530"/>
                    </a:lnTo>
                    <a:lnTo>
                      <a:pt x="426720" y="830580"/>
                    </a:lnTo>
                    <a:lnTo>
                      <a:pt x="421958" y="849630"/>
                    </a:lnTo>
                    <a:lnTo>
                      <a:pt x="418148" y="868680"/>
                    </a:lnTo>
                    <a:lnTo>
                      <a:pt x="414338" y="888683"/>
                    </a:lnTo>
                    <a:lnTo>
                      <a:pt x="411480" y="907733"/>
                    </a:lnTo>
                    <a:lnTo>
                      <a:pt x="408623" y="927735"/>
                    </a:lnTo>
                    <a:lnTo>
                      <a:pt x="406718" y="947738"/>
                    </a:lnTo>
                    <a:lnTo>
                      <a:pt x="404813" y="967740"/>
                    </a:lnTo>
                    <a:lnTo>
                      <a:pt x="403860" y="987743"/>
                    </a:lnTo>
                    <a:lnTo>
                      <a:pt x="404813" y="1006793"/>
                    </a:lnTo>
                    <a:lnTo>
                      <a:pt x="404813" y="1006793"/>
                    </a:lnTo>
                    <a:close/>
                    <a:moveTo>
                      <a:pt x="1229678" y="1350645"/>
                    </a:moveTo>
                    <a:lnTo>
                      <a:pt x="1208723" y="1358265"/>
                    </a:lnTo>
                    <a:lnTo>
                      <a:pt x="1198245" y="1362075"/>
                    </a:lnTo>
                    <a:lnTo>
                      <a:pt x="1194435" y="1365885"/>
                    </a:lnTo>
                    <a:lnTo>
                      <a:pt x="1198245" y="1744028"/>
                    </a:lnTo>
                    <a:lnTo>
                      <a:pt x="1202055" y="1768793"/>
                    </a:lnTo>
                    <a:lnTo>
                      <a:pt x="1205865" y="1786890"/>
                    </a:lnTo>
                    <a:lnTo>
                      <a:pt x="1212533" y="1797368"/>
                    </a:lnTo>
                    <a:lnTo>
                      <a:pt x="1219200" y="1801178"/>
                    </a:lnTo>
                    <a:lnTo>
                      <a:pt x="1226820" y="1797368"/>
                    </a:lnTo>
                    <a:lnTo>
                      <a:pt x="1233488" y="1786890"/>
                    </a:lnTo>
                    <a:lnTo>
                      <a:pt x="1237298" y="1768793"/>
                    </a:lnTo>
                    <a:lnTo>
                      <a:pt x="1237298" y="1743075"/>
                    </a:lnTo>
                    <a:lnTo>
                      <a:pt x="1247775" y="1343025"/>
                    </a:lnTo>
                    <a:lnTo>
                      <a:pt x="1229678" y="1350645"/>
                    </a:lnTo>
                    <a:lnTo>
                      <a:pt x="1229678" y="1350645"/>
                    </a:lnTo>
                    <a:close/>
                    <a:moveTo>
                      <a:pt x="1190625" y="1226820"/>
                    </a:moveTo>
                    <a:lnTo>
                      <a:pt x="1226820" y="1216343"/>
                    </a:lnTo>
                    <a:lnTo>
                      <a:pt x="1247775" y="1209675"/>
                    </a:lnTo>
                    <a:lnTo>
                      <a:pt x="1258253" y="806768"/>
                    </a:lnTo>
                    <a:lnTo>
                      <a:pt x="1215390" y="817245"/>
                    </a:lnTo>
                    <a:lnTo>
                      <a:pt x="1183958" y="827723"/>
                    </a:lnTo>
                    <a:lnTo>
                      <a:pt x="1190625" y="1226820"/>
                    </a:lnTo>
                    <a:lnTo>
                      <a:pt x="1190625" y="1226820"/>
                    </a:lnTo>
                    <a:close/>
                    <a:moveTo>
                      <a:pt x="471488" y="374333"/>
                    </a:moveTo>
                    <a:lnTo>
                      <a:pt x="485775" y="352425"/>
                    </a:lnTo>
                    <a:lnTo>
                      <a:pt x="501015" y="328613"/>
                    </a:lnTo>
                    <a:lnTo>
                      <a:pt x="517208" y="304800"/>
                    </a:lnTo>
                    <a:lnTo>
                      <a:pt x="533400" y="280988"/>
                    </a:lnTo>
                    <a:lnTo>
                      <a:pt x="549593" y="259080"/>
                    </a:lnTo>
                    <a:lnTo>
                      <a:pt x="564833" y="238125"/>
                    </a:lnTo>
                    <a:lnTo>
                      <a:pt x="572453" y="229553"/>
                    </a:lnTo>
                    <a:lnTo>
                      <a:pt x="580073" y="220980"/>
                    </a:lnTo>
                    <a:lnTo>
                      <a:pt x="586740" y="214313"/>
                    </a:lnTo>
                    <a:lnTo>
                      <a:pt x="592455" y="208598"/>
                    </a:lnTo>
                    <a:lnTo>
                      <a:pt x="577215" y="212408"/>
                    </a:lnTo>
                    <a:lnTo>
                      <a:pt x="561975" y="217170"/>
                    </a:lnTo>
                    <a:lnTo>
                      <a:pt x="547688" y="221933"/>
                    </a:lnTo>
                    <a:lnTo>
                      <a:pt x="533400" y="226695"/>
                    </a:lnTo>
                    <a:lnTo>
                      <a:pt x="519113" y="232410"/>
                    </a:lnTo>
                    <a:lnTo>
                      <a:pt x="505778" y="239078"/>
                    </a:lnTo>
                    <a:lnTo>
                      <a:pt x="492443" y="245745"/>
                    </a:lnTo>
                    <a:lnTo>
                      <a:pt x="479108" y="253365"/>
                    </a:lnTo>
                    <a:lnTo>
                      <a:pt x="466725" y="260985"/>
                    </a:lnTo>
                    <a:lnTo>
                      <a:pt x="454343" y="269558"/>
                    </a:lnTo>
                    <a:lnTo>
                      <a:pt x="441960" y="278130"/>
                    </a:lnTo>
                    <a:lnTo>
                      <a:pt x="430530" y="287655"/>
                    </a:lnTo>
                    <a:lnTo>
                      <a:pt x="419100" y="298133"/>
                    </a:lnTo>
                    <a:lnTo>
                      <a:pt x="407670" y="308610"/>
                    </a:lnTo>
                    <a:lnTo>
                      <a:pt x="397193" y="319088"/>
                    </a:lnTo>
                    <a:lnTo>
                      <a:pt x="386715" y="329565"/>
                    </a:lnTo>
                    <a:lnTo>
                      <a:pt x="377190" y="340995"/>
                    </a:lnTo>
                    <a:lnTo>
                      <a:pt x="367665" y="352425"/>
                    </a:lnTo>
                    <a:lnTo>
                      <a:pt x="358140" y="363855"/>
                    </a:lnTo>
                    <a:lnTo>
                      <a:pt x="349568" y="376238"/>
                    </a:lnTo>
                    <a:lnTo>
                      <a:pt x="340995" y="388620"/>
                    </a:lnTo>
                    <a:lnTo>
                      <a:pt x="333375" y="401955"/>
                    </a:lnTo>
                    <a:lnTo>
                      <a:pt x="325755" y="415290"/>
                    </a:lnTo>
                    <a:lnTo>
                      <a:pt x="320040" y="428625"/>
                    </a:lnTo>
                    <a:lnTo>
                      <a:pt x="313373" y="441960"/>
                    </a:lnTo>
                    <a:lnTo>
                      <a:pt x="307658" y="456248"/>
                    </a:lnTo>
                    <a:lnTo>
                      <a:pt x="301943" y="470535"/>
                    </a:lnTo>
                    <a:lnTo>
                      <a:pt x="295275" y="483870"/>
                    </a:lnTo>
                    <a:lnTo>
                      <a:pt x="290513" y="498158"/>
                    </a:lnTo>
                    <a:lnTo>
                      <a:pt x="285750" y="513398"/>
                    </a:lnTo>
                    <a:lnTo>
                      <a:pt x="281940" y="528638"/>
                    </a:lnTo>
                    <a:lnTo>
                      <a:pt x="279083" y="542925"/>
                    </a:lnTo>
                    <a:lnTo>
                      <a:pt x="291465" y="530543"/>
                    </a:lnTo>
                    <a:lnTo>
                      <a:pt x="304800" y="519113"/>
                    </a:lnTo>
                    <a:lnTo>
                      <a:pt x="318135" y="507683"/>
                    </a:lnTo>
                    <a:lnTo>
                      <a:pt x="332423" y="497205"/>
                    </a:lnTo>
                    <a:lnTo>
                      <a:pt x="360045" y="476250"/>
                    </a:lnTo>
                    <a:lnTo>
                      <a:pt x="386715" y="455295"/>
                    </a:lnTo>
                    <a:lnTo>
                      <a:pt x="400050" y="445770"/>
                    </a:lnTo>
                    <a:lnTo>
                      <a:pt x="412433" y="435293"/>
                    </a:lnTo>
                    <a:lnTo>
                      <a:pt x="423863" y="424815"/>
                    </a:lnTo>
                    <a:lnTo>
                      <a:pt x="435293" y="415290"/>
                    </a:lnTo>
                    <a:lnTo>
                      <a:pt x="445770" y="404813"/>
                    </a:lnTo>
                    <a:lnTo>
                      <a:pt x="455295" y="394335"/>
                    </a:lnTo>
                    <a:lnTo>
                      <a:pt x="460058" y="389573"/>
                    </a:lnTo>
                    <a:lnTo>
                      <a:pt x="464820" y="384810"/>
                    </a:lnTo>
                    <a:lnTo>
                      <a:pt x="468630" y="379095"/>
                    </a:lnTo>
                    <a:lnTo>
                      <a:pt x="471488" y="374333"/>
                    </a:lnTo>
                    <a:lnTo>
                      <a:pt x="471488" y="374333"/>
                    </a:lnTo>
                    <a:close/>
                    <a:moveTo>
                      <a:pt x="390525" y="633413"/>
                    </a:moveTo>
                    <a:lnTo>
                      <a:pt x="385763" y="641033"/>
                    </a:lnTo>
                    <a:lnTo>
                      <a:pt x="380048" y="648653"/>
                    </a:lnTo>
                    <a:lnTo>
                      <a:pt x="372428" y="657225"/>
                    </a:lnTo>
                    <a:lnTo>
                      <a:pt x="364808" y="664845"/>
                    </a:lnTo>
                    <a:lnTo>
                      <a:pt x="356235" y="673418"/>
                    </a:lnTo>
                    <a:lnTo>
                      <a:pt x="347663" y="681990"/>
                    </a:lnTo>
                    <a:lnTo>
                      <a:pt x="337185" y="690563"/>
                    </a:lnTo>
                    <a:lnTo>
                      <a:pt x="326708" y="699135"/>
                    </a:lnTo>
                    <a:lnTo>
                      <a:pt x="304800" y="717233"/>
                    </a:lnTo>
                    <a:lnTo>
                      <a:pt x="282893" y="737235"/>
                    </a:lnTo>
                    <a:lnTo>
                      <a:pt x="271463" y="747713"/>
                    </a:lnTo>
                    <a:lnTo>
                      <a:pt x="260033" y="758190"/>
                    </a:lnTo>
                    <a:lnTo>
                      <a:pt x="248603" y="769620"/>
                    </a:lnTo>
                    <a:lnTo>
                      <a:pt x="238125" y="782003"/>
                    </a:lnTo>
                    <a:lnTo>
                      <a:pt x="232410" y="788670"/>
                    </a:lnTo>
                    <a:lnTo>
                      <a:pt x="226695" y="797243"/>
                    </a:lnTo>
                    <a:lnTo>
                      <a:pt x="220980" y="806768"/>
                    </a:lnTo>
                    <a:lnTo>
                      <a:pt x="215265" y="816293"/>
                    </a:lnTo>
                    <a:lnTo>
                      <a:pt x="209550" y="826770"/>
                    </a:lnTo>
                    <a:lnTo>
                      <a:pt x="203835" y="838200"/>
                    </a:lnTo>
                    <a:lnTo>
                      <a:pt x="198120" y="849630"/>
                    </a:lnTo>
                    <a:lnTo>
                      <a:pt x="192405" y="861060"/>
                    </a:lnTo>
                    <a:lnTo>
                      <a:pt x="187643" y="873443"/>
                    </a:lnTo>
                    <a:lnTo>
                      <a:pt x="180975" y="884873"/>
                    </a:lnTo>
                    <a:lnTo>
                      <a:pt x="176213" y="897255"/>
                    </a:lnTo>
                    <a:lnTo>
                      <a:pt x="172403" y="909638"/>
                    </a:lnTo>
                    <a:lnTo>
                      <a:pt x="168593" y="922020"/>
                    </a:lnTo>
                    <a:lnTo>
                      <a:pt x="165735" y="933450"/>
                    </a:lnTo>
                    <a:lnTo>
                      <a:pt x="162878" y="944880"/>
                    </a:lnTo>
                    <a:lnTo>
                      <a:pt x="160020" y="956310"/>
                    </a:lnTo>
                    <a:lnTo>
                      <a:pt x="149543" y="860108"/>
                    </a:lnTo>
                    <a:lnTo>
                      <a:pt x="146685" y="841058"/>
                    </a:lnTo>
                    <a:lnTo>
                      <a:pt x="142875" y="822008"/>
                    </a:lnTo>
                    <a:lnTo>
                      <a:pt x="140018" y="802958"/>
                    </a:lnTo>
                    <a:lnTo>
                      <a:pt x="137160" y="782955"/>
                    </a:lnTo>
                    <a:lnTo>
                      <a:pt x="133350" y="763905"/>
                    </a:lnTo>
                    <a:lnTo>
                      <a:pt x="130493" y="743903"/>
                    </a:lnTo>
                    <a:lnTo>
                      <a:pt x="128588" y="723900"/>
                    </a:lnTo>
                    <a:lnTo>
                      <a:pt x="126683" y="703898"/>
                    </a:lnTo>
                    <a:lnTo>
                      <a:pt x="125730" y="683895"/>
                    </a:lnTo>
                    <a:lnTo>
                      <a:pt x="125730" y="663893"/>
                    </a:lnTo>
                    <a:lnTo>
                      <a:pt x="125730" y="643890"/>
                    </a:lnTo>
                    <a:lnTo>
                      <a:pt x="126683" y="623888"/>
                    </a:lnTo>
                    <a:lnTo>
                      <a:pt x="126683" y="614363"/>
                    </a:lnTo>
                    <a:lnTo>
                      <a:pt x="127635" y="603885"/>
                    </a:lnTo>
                    <a:lnTo>
                      <a:pt x="128588" y="594360"/>
                    </a:lnTo>
                    <a:lnTo>
                      <a:pt x="130493" y="584835"/>
                    </a:lnTo>
                    <a:lnTo>
                      <a:pt x="131445" y="575310"/>
                    </a:lnTo>
                    <a:lnTo>
                      <a:pt x="133350" y="565785"/>
                    </a:lnTo>
                    <a:lnTo>
                      <a:pt x="135255" y="556260"/>
                    </a:lnTo>
                    <a:lnTo>
                      <a:pt x="138113" y="546735"/>
                    </a:lnTo>
                    <a:lnTo>
                      <a:pt x="123825" y="570548"/>
                    </a:lnTo>
                    <a:lnTo>
                      <a:pt x="109538" y="596265"/>
                    </a:lnTo>
                    <a:lnTo>
                      <a:pt x="101918" y="609600"/>
                    </a:lnTo>
                    <a:lnTo>
                      <a:pt x="95250" y="622935"/>
                    </a:lnTo>
                    <a:lnTo>
                      <a:pt x="88583" y="636270"/>
                    </a:lnTo>
                    <a:lnTo>
                      <a:pt x="82868" y="649605"/>
                    </a:lnTo>
                    <a:lnTo>
                      <a:pt x="77153" y="662940"/>
                    </a:lnTo>
                    <a:lnTo>
                      <a:pt x="72390" y="676275"/>
                    </a:lnTo>
                    <a:lnTo>
                      <a:pt x="67628" y="690563"/>
                    </a:lnTo>
                    <a:lnTo>
                      <a:pt x="64770" y="704850"/>
                    </a:lnTo>
                    <a:lnTo>
                      <a:pt x="61913" y="719138"/>
                    </a:lnTo>
                    <a:lnTo>
                      <a:pt x="60008" y="734378"/>
                    </a:lnTo>
                    <a:lnTo>
                      <a:pt x="59055" y="741998"/>
                    </a:lnTo>
                    <a:lnTo>
                      <a:pt x="58103" y="749618"/>
                    </a:lnTo>
                    <a:lnTo>
                      <a:pt x="58103" y="757238"/>
                    </a:lnTo>
                    <a:lnTo>
                      <a:pt x="58103" y="764858"/>
                    </a:lnTo>
                    <a:lnTo>
                      <a:pt x="58103" y="775335"/>
                    </a:lnTo>
                    <a:lnTo>
                      <a:pt x="59055" y="785813"/>
                    </a:lnTo>
                    <a:lnTo>
                      <a:pt x="60008" y="796290"/>
                    </a:lnTo>
                    <a:lnTo>
                      <a:pt x="60960" y="806768"/>
                    </a:lnTo>
                    <a:lnTo>
                      <a:pt x="61913" y="817245"/>
                    </a:lnTo>
                    <a:lnTo>
                      <a:pt x="63818" y="827723"/>
                    </a:lnTo>
                    <a:lnTo>
                      <a:pt x="65723" y="837248"/>
                    </a:lnTo>
                    <a:lnTo>
                      <a:pt x="68580" y="846773"/>
                    </a:lnTo>
                    <a:lnTo>
                      <a:pt x="71438" y="856298"/>
                    </a:lnTo>
                    <a:lnTo>
                      <a:pt x="74295" y="865823"/>
                    </a:lnTo>
                    <a:lnTo>
                      <a:pt x="77153" y="875348"/>
                    </a:lnTo>
                    <a:lnTo>
                      <a:pt x="80963" y="884873"/>
                    </a:lnTo>
                    <a:lnTo>
                      <a:pt x="87630" y="902970"/>
                    </a:lnTo>
                    <a:lnTo>
                      <a:pt x="95250" y="920115"/>
                    </a:lnTo>
                    <a:lnTo>
                      <a:pt x="111443" y="955358"/>
                    </a:lnTo>
                    <a:lnTo>
                      <a:pt x="128588" y="990600"/>
                    </a:lnTo>
                    <a:lnTo>
                      <a:pt x="136208" y="1008698"/>
                    </a:lnTo>
                    <a:lnTo>
                      <a:pt x="143828" y="1026795"/>
                    </a:lnTo>
                    <a:lnTo>
                      <a:pt x="150495" y="1044893"/>
                    </a:lnTo>
                    <a:lnTo>
                      <a:pt x="156210" y="1063943"/>
                    </a:lnTo>
                    <a:lnTo>
                      <a:pt x="157163" y="1058228"/>
                    </a:lnTo>
                    <a:lnTo>
                      <a:pt x="158115" y="1051560"/>
                    </a:lnTo>
                    <a:lnTo>
                      <a:pt x="160020" y="1044893"/>
                    </a:lnTo>
                    <a:lnTo>
                      <a:pt x="161925" y="1038225"/>
                    </a:lnTo>
                    <a:lnTo>
                      <a:pt x="164783" y="1031558"/>
                    </a:lnTo>
                    <a:lnTo>
                      <a:pt x="167640" y="1023938"/>
                    </a:lnTo>
                    <a:lnTo>
                      <a:pt x="171450" y="1016318"/>
                    </a:lnTo>
                    <a:lnTo>
                      <a:pt x="175260" y="1008698"/>
                    </a:lnTo>
                    <a:lnTo>
                      <a:pt x="182880" y="992505"/>
                    </a:lnTo>
                    <a:lnTo>
                      <a:pt x="191453" y="976313"/>
                    </a:lnTo>
                    <a:lnTo>
                      <a:pt x="200978" y="960120"/>
                    </a:lnTo>
                    <a:lnTo>
                      <a:pt x="211455" y="943928"/>
                    </a:lnTo>
                    <a:lnTo>
                      <a:pt x="221933" y="927735"/>
                    </a:lnTo>
                    <a:lnTo>
                      <a:pt x="232410" y="912495"/>
                    </a:lnTo>
                    <a:lnTo>
                      <a:pt x="242888" y="897255"/>
                    </a:lnTo>
                    <a:lnTo>
                      <a:pt x="253365" y="883920"/>
                    </a:lnTo>
                    <a:lnTo>
                      <a:pt x="263843" y="870585"/>
                    </a:lnTo>
                    <a:lnTo>
                      <a:pt x="273368" y="859155"/>
                    </a:lnTo>
                    <a:lnTo>
                      <a:pt x="281940" y="848678"/>
                    </a:lnTo>
                    <a:lnTo>
                      <a:pt x="290513" y="840105"/>
                    </a:lnTo>
                    <a:lnTo>
                      <a:pt x="301943" y="824865"/>
                    </a:lnTo>
                    <a:lnTo>
                      <a:pt x="312420" y="811530"/>
                    </a:lnTo>
                    <a:lnTo>
                      <a:pt x="321945" y="799148"/>
                    </a:lnTo>
                    <a:lnTo>
                      <a:pt x="329565" y="787718"/>
                    </a:lnTo>
                    <a:lnTo>
                      <a:pt x="336233" y="777240"/>
                    </a:lnTo>
                    <a:lnTo>
                      <a:pt x="341948" y="766763"/>
                    </a:lnTo>
                    <a:lnTo>
                      <a:pt x="347663" y="756285"/>
                    </a:lnTo>
                    <a:lnTo>
                      <a:pt x="352425" y="745808"/>
                    </a:lnTo>
                    <a:lnTo>
                      <a:pt x="357188" y="735330"/>
                    </a:lnTo>
                    <a:lnTo>
                      <a:pt x="361950" y="724853"/>
                    </a:lnTo>
                    <a:lnTo>
                      <a:pt x="366713" y="713423"/>
                    </a:lnTo>
                    <a:lnTo>
                      <a:pt x="371475" y="701040"/>
                    </a:lnTo>
                    <a:lnTo>
                      <a:pt x="381953" y="672465"/>
                    </a:lnTo>
                    <a:lnTo>
                      <a:pt x="390525" y="633413"/>
                    </a:lnTo>
                    <a:lnTo>
                      <a:pt x="390525" y="633413"/>
                    </a:lnTo>
                    <a:close/>
                    <a:moveTo>
                      <a:pt x="310515" y="882968"/>
                    </a:moveTo>
                    <a:lnTo>
                      <a:pt x="295275" y="902970"/>
                    </a:lnTo>
                    <a:lnTo>
                      <a:pt x="280988" y="922973"/>
                    </a:lnTo>
                    <a:lnTo>
                      <a:pt x="266700" y="942023"/>
                    </a:lnTo>
                    <a:lnTo>
                      <a:pt x="253365" y="961073"/>
                    </a:lnTo>
                    <a:lnTo>
                      <a:pt x="240983" y="979170"/>
                    </a:lnTo>
                    <a:lnTo>
                      <a:pt x="229553" y="998220"/>
                    </a:lnTo>
                    <a:lnTo>
                      <a:pt x="224790" y="1007745"/>
                    </a:lnTo>
                    <a:lnTo>
                      <a:pt x="220028" y="1017270"/>
                    </a:lnTo>
                    <a:lnTo>
                      <a:pt x="215265" y="1026795"/>
                    </a:lnTo>
                    <a:lnTo>
                      <a:pt x="210503" y="1036320"/>
                    </a:lnTo>
                    <a:lnTo>
                      <a:pt x="205740" y="1045845"/>
                    </a:lnTo>
                    <a:lnTo>
                      <a:pt x="201930" y="1055370"/>
                    </a:lnTo>
                    <a:lnTo>
                      <a:pt x="198120" y="1064895"/>
                    </a:lnTo>
                    <a:lnTo>
                      <a:pt x="194310" y="1075373"/>
                    </a:lnTo>
                    <a:lnTo>
                      <a:pt x="191453" y="1085850"/>
                    </a:lnTo>
                    <a:lnTo>
                      <a:pt x="188595" y="1096328"/>
                    </a:lnTo>
                    <a:lnTo>
                      <a:pt x="186690" y="1106805"/>
                    </a:lnTo>
                    <a:lnTo>
                      <a:pt x="184785" y="1118235"/>
                    </a:lnTo>
                    <a:lnTo>
                      <a:pt x="182880" y="1129665"/>
                    </a:lnTo>
                    <a:lnTo>
                      <a:pt x="180975" y="1141095"/>
                    </a:lnTo>
                    <a:lnTo>
                      <a:pt x="180023" y="1153478"/>
                    </a:lnTo>
                    <a:lnTo>
                      <a:pt x="179070" y="1165860"/>
                    </a:lnTo>
                    <a:lnTo>
                      <a:pt x="179070" y="1179195"/>
                    </a:lnTo>
                    <a:lnTo>
                      <a:pt x="179070" y="1192530"/>
                    </a:lnTo>
                    <a:lnTo>
                      <a:pt x="179070" y="1206818"/>
                    </a:lnTo>
                    <a:lnTo>
                      <a:pt x="180023" y="1221105"/>
                    </a:lnTo>
                    <a:lnTo>
                      <a:pt x="177165" y="1208723"/>
                    </a:lnTo>
                    <a:lnTo>
                      <a:pt x="173355" y="1196340"/>
                    </a:lnTo>
                    <a:lnTo>
                      <a:pt x="169545" y="1183958"/>
                    </a:lnTo>
                    <a:lnTo>
                      <a:pt x="165735" y="1171575"/>
                    </a:lnTo>
                    <a:lnTo>
                      <a:pt x="160973" y="1159193"/>
                    </a:lnTo>
                    <a:lnTo>
                      <a:pt x="156210" y="1146810"/>
                    </a:lnTo>
                    <a:lnTo>
                      <a:pt x="150495" y="1134428"/>
                    </a:lnTo>
                    <a:lnTo>
                      <a:pt x="145733" y="1122045"/>
                    </a:lnTo>
                    <a:lnTo>
                      <a:pt x="133350" y="1097280"/>
                    </a:lnTo>
                    <a:lnTo>
                      <a:pt x="120968" y="1072515"/>
                    </a:lnTo>
                    <a:lnTo>
                      <a:pt x="107633" y="1047750"/>
                    </a:lnTo>
                    <a:lnTo>
                      <a:pt x="94298" y="1023938"/>
                    </a:lnTo>
                    <a:lnTo>
                      <a:pt x="81915" y="1000125"/>
                    </a:lnTo>
                    <a:lnTo>
                      <a:pt x="69533" y="976313"/>
                    </a:lnTo>
                    <a:lnTo>
                      <a:pt x="63818" y="964883"/>
                    </a:lnTo>
                    <a:lnTo>
                      <a:pt x="58103" y="953453"/>
                    </a:lnTo>
                    <a:lnTo>
                      <a:pt x="53340" y="942023"/>
                    </a:lnTo>
                    <a:lnTo>
                      <a:pt x="48578" y="930593"/>
                    </a:lnTo>
                    <a:lnTo>
                      <a:pt x="43815" y="919163"/>
                    </a:lnTo>
                    <a:lnTo>
                      <a:pt x="40005" y="907733"/>
                    </a:lnTo>
                    <a:lnTo>
                      <a:pt x="38100" y="899160"/>
                    </a:lnTo>
                    <a:lnTo>
                      <a:pt x="35243" y="887730"/>
                    </a:lnTo>
                    <a:lnTo>
                      <a:pt x="32385" y="876300"/>
                    </a:lnTo>
                    <a:lnTo>
                      <a:pt x="30480" y="865823"/>
                    </a:lnTo>
                    <a:lnTo>
                      <a:pt x="29528" y="855345"/>
                    </a:lnTo>
                    <a:lnTo>
                      <a:pt x="28575" y="843915"/>
                    </a:lnTo>
                    <a:lnTo>
                      <a:pt x="23813" y="867728"/>
                    </a:lnTo>
                    <a:lnTo>
                      <a:pt x="20003" y="890588"/>
                    </a:lnTo>
                    <a:lnTo>
                      <a:pt x="17145" y="912495"/>
                    </a:lnTo>
                    <a:lnTo>
                      <a:pt x="15240" y="933450"/>
                    </a:lnTo>
                    <a:lnTo>
                      <a:pt x="14288" y="952500"/>
                    </a:lnTo>
                    <a:lnTo>
                      <a:pt x="14288" y="971550"/>
                    </a:lnTo>
                    <a:lnTo>
                      <a:pt x="14288" y="989648"/>
                    </a:lnTo>
                    <a:lnTo>
                      <a:pt x="15240" y="1006793"/>
                    </a:lnTo>
                    <a:lnTo>
                      <a:pt x="17145" y="1022985"/>
                    </a:lnTo>
                    <a:lnTo>
                      <a:pt x="20003" y="1038225"/>
                    </a:lnTo>
                    <a:lnTo>
                      <a:pt x="23813" y="1052513"/>
                    </a:lnTo>
                    <a:lnTo>
                      <a:pt x="27623" y="1066800"/>
                    </a:lnTo>
                    <a:lnTo>
                      <a:pt x="32385" y="1081088"/>
                    </a:lnTo>
                    <a:lnTo>
                      <a:pt x="37148" y="1094423"/>
                    </a:lnTo>
                    <a:lnTo>
                      <a:pt x="42863" y="1107758"/>
                    </a:lnTo>
                    <a:lnTo>
                      <a:pt x="49530" y="1120140"/>
                    </a:lnTo>
                    <a:lnTo>
                      <a:pt x="56198" y="1132523"/>
                    </a:lnTo>
                    <a:lnTo>
                      <a:pt x="63818" y="1144905"/>
                    </a:lnTo>
                    <a:lnTo>
                      <a:pt x="71438" y="1157288"/>
                    </a:lnTo>
                    <a:lnTo>
                      <a:pt x="80010" y="1168718"/>
                    </a:lnTo>
                    <a:lnTo>
                      <a:pt x="88583" y="1181100"/>
                    </a:lnTo>
                    <a:lnTo>
                      <a:pt x="98108" y="1192530"/>
                    </a:lnTo>
                    <a:lnTo>
                      <a:pt x="107633" y="1204913"/>
                    </a:lnTo>
                    <a:lnTo>
                      <a:pt x="117158" y="1217295"/>
                    </a:lnTo>
                    <a:lnTo>
                      <a:pt x="138113" y="1242060"/>
                    </a:lnTo>
                    <a:lnTo>
                      <a:pt x="160020" y="1268730"/>
                    </a:lnTo>
                    <a:lnTo>
                      <a:pt x="171450" y="1283018"/>
                    </a:lnTo>
                    <a:lnTo>
                      <a:pt x="182880" y="1297305"/>
                    </a:lnTo>
                    <a:lnTo>
                      <a:pt x="195263" y="1312545"/>
                    </a:lnTo>
                    <a:lnTo>
                      <a:pt x="207645" y="1328738"/>
                    </a:lnTo>
                    <a:lnTo>
                      <a:pt x="206693" y="1317308"/>
                    </a:lnTo>
                    <a:lnTo>
                      <a:pt x="206693" y="1305878"/>
                    </a:lnTo>
                    <a:lnTo>
                      <a:pt x="206693" y="1294448"/>
                    </a:lnTo>
                    <a:lnTo>
                      <a:pt x="207645" y="1283018"/>
                    </a:lnTo>
                    <a:lnTo>
                      <a:pt x="209550" y="1270635"/>
                    </a:lnTo>
                    <a:lnTo>
                      <a:pt x="211455" y="1258253"/>
                    </a:lnTo>
                    <a:lnTo>
                      <a:pt x="214313" y="1245870"/>
                    </a:lnTo>
                    <a:lnTo>
                      <a:pt x="218123" y="1233488"/>
                    </a:lnTo>
                    <a:lnTo>
                      <a:pt x="221933" y="1221105"/>
                    </a:lnTo>
                    <a:lnTo>
                      <a:pt x="226695" y="1207770"/>
                    </a:lnTo>
                    <a:lnTo>
                      <a:pt x="231458" y="1194435"/>
                    </a:lnTo>
                    <a:lnTo>
                      <a:pt x="236220" y="1181100"/>
                    </a:lnTo>
                    <a:lnTo>
                      <a:pt x="246698" y="1154430"/>
                    </a:lnTo>
                    <a:lnTo>
                      <a:pt x="257175" y="1126808"/>
                    </a:lnTo>
                    <a:lnTo>
                      <a:pt x="268605" y="1099185"/>
                    </a:lnTo>
                    <a:lnTo>
                      <a:pt x="279083" y="1070610"/>
                    </a:lnTo>
                    <a:lnTo>
                      <a:pt x="283845" y="1056323"/>
                    </a:lnTo>
                    <a:lnTo>
                      <a:pt x="288608" y="1042035"/>
                    </a:lnTo>
                    <a:lnTo>
                      <a:pt x="293370" y="1026795"/>
                    </a:lnTo>
                    <a:lnTo>
                      <a:pt x="297180" y="1011555"/>
                    </a:lnTo>
                    <a:lnTo>
                      <a:pt x="300990" y="996315"/>
                    </a:lnTo>
                    <a:lnTo>
                      <a:pt x="303848" y="981075"/>
                    </a:lnTo>
                    <a:lnTo>
                      <a:pt x="306705" y="964883"/>
                    </a:lnTo>
                    <a:lnTo>
                      <a:pt x="308610" y="949643"/>
                    </a:lnTo>
                    <a:lnTo>
                      <a:pt x="309563" y="933450"/>
                    </a:lnTo>
                    <a:lnTo>
                      <a:pt x="310515" y="917258"/>
                    </a:lnTo>
                    <a:lnTo>
                      <a:pt x="310515" y="901065"/>
                    </a:lnTo>
                    <a:lnTo>
                      <a:pt x="310515" y="882968"/>
                    </a:lnTo>
                    <a:lnTo>
                      <a:pt x="310515" y="882968"/>
                    </a:lnTo>
                    <a:close/>
                    <a:moveTo>
                      <a:pt x="332423" y="1591628"/>
                    </a:moveTo>
                    <a:lnTo>
                      <a:pt x="328613" y="1579245"/>
                    </a:lnTo>
                    <a:lnTo>
                      <a:pt x="325755" y="1566863"/>
                    </a:lnTo>
                    <a:lnTo>
                      <a:pt x="322898" y="1553528"/>
                    </a:lnTo>
                    <a:lnTo>
                      <a:pt x="320993" y="1540193"/>
                    </a:lnTo>
                    <a:lnTo>
                      <a:pt x="320040" y="1526858"/>
                    </a:lnTo>
                    <a:lnTo>
                      <a:pt x="319088" y="1512570"/>
                    </a:lnTo>
                    <a:lnTo>
                      <a:pt x="319088" y="1498283"/>
                    </a:lnTo>
                    <a:lnTo>
                      <a:pt x="319088" y="1482090"/>
                    </a:lnTo>
                    <a:lnTo>
                      <a:pt x="319088" y="1467803"/>
                    </a:lnTo>
                    <a:lnTo>
                      <a:pt x="320040" y="1453515"/>
                    </a:lnTo>
                    <a:lnTo>
                      <a:pt x="320993" y="1438275"/>
                    </a:lnTo>
                    <a:lnTo>
                      <a:pt x="321945" y="1423035"/>
                    </a:lnTo>
                    <a:lnTo>
                      <a:pt x="323850" y="1390650"/>
                    </a:lnTo>
                    <a:lnTo>
                      <a:pt x="326708" y="1359218"/>
                    </a:lnTo>
                    <a:lnTo>
                      <a:pt x="329565" y="1327785"/>
                    </a:lnTo>
                    <a:lnTo>
                      <a:pt x="331470" y="1296353"/>
                    </a:lnTo>
                    <a:lnTo>
                      <a:pt x="331470" y="1280160"/>
                    </a:lnTo>
                    <a:lnTo>
                      <a:pt x="331470" y="1264920"/>
                    </a:lnTo>
                    <a:lnTo>
                      <a:pt x="331470" y="1248728"/>
                    </a:lnTo>
                    <a:lnTo>
                      <a:pt x="331470" y="1233488"/>
                    </a:lnTo>
                    <a:lnTo>
                      <a:pt x="330518" y="1218248"/>
                    </a:lnTo>
                    <a:lnTo>
                      <a:pt x="328613" y="1203008"/>
                    </a:lnTo>
                    <a:lnTo>
                      <a:pt x="326708" y="1187768"/>
                    </a:lnTo>
                    <a:lnTo>
                      <a:pt x="323850" y="1172528"/>
                    </a:lnTo>
                    <a:lnTo>
                      <a:pt x="320040" y="1157288"/>
                    </a:lnTo>
                    <a:lnTo>
                      <a:pt x="314325" y="1143000"/>
                    </a:lnTo>
                    <a:lnTo>
                      <a:pt x="309563" y="1128713"/>
                    </a:lnTo>
                    <a:lnTo>
                      <a:pt x="303848" y="1114425"/>
                    </a:lnTo>
                    <a:lnTo>
                      <a:pt x="297180" y="1137285"/>
                    </a:lnTo>
                    <a:lnTo>
                      <a:pt x="290513" y="1159193"/>
                    </a:lnTo>
                    <a:lnTo>
                      <a:pt x="283845" y="1181100"/>
                    </a:lnTo>
                    <a:lnTo>
                      <a:pt x="277178" y="1202055"/>
                    </a:lnTo>
                    <a:lnTo>
                      <a:pt x="271463" y="1223963"/>
                    </a:lnTo>
                    <a:lnTo>
                      <a:pt x="265748" y="1244918"/>
                    </a:lnTo>
                    <a:lnTo>
                      <a:pt x="260985" y="1266825"/>
                    </a:lnTo>
                    <a:lnTo>
                      <a:pt x="257175" y="1288733"/>
                    </a:lnTo>
                    <a:lnTo>
                      <a:pt x="256223" y="1300163"/>
                    </a:lnTo>
                    <a:lnTo>
                      <a:pt x="255270" y="1311593"/>
                    </a:lnTo>
                    <a:lnTo>
                      <a:pt x="254318" y="1323023"/>
                    </a:lnTo>
                    <a:lnTo>
                      <a:pt x="253365" y="1334453"/>
                    </a:lnTo>
                    <a:lnTo>
                      <a:pt x="253365" y="1345883"/>
                    </a:lnTo>
                    <a:lnTo>
                      <a:pt x="253365" y="1358265"/>
                    </a:lnTo>
                    <a:lnTo>
                      <a:pt x="253365" y="1370648"/>
                    </a:lnTo>
                    <a:lnTo>
                      <a:pt x="254318" y="1383030"/>
                    </a:lnTo>
                    <a:lnTo>
                      <a:pt x="255270" y="1395413"/>
                    </a:lnTo>
                    <a:lnTo>
                      <a:pt x="256223" y="1407795"/>
                    </a:lnTo>
                    <a:lnTo>
                      <a:pt x="258128" y="1421130"/>
                    </a:lnTo>
                    <a:lnTo>
                      <a:pt x="260033" y="1434465"/>
                    </a:lnTo>
                    <a:lnTo>
                      <a:pt x="262890" y="1447800"/>
                    </a:lnTo>
                    <a:lnTo>
                      <a:pt x="265748" y="1462088"/>
                    </a:lnTo>
                    <a:lnTo>
                      <a:pt x="269558" y="1476375"/>
                    </a:lnTo>
                    <a:lnTo>
                      <a:pt x="273368" y="1490663"/>
                    </a:lnTo>
                    <a:lnTo>
                      <a:pt x="268605" y="1483043"/>
                    </a:lnTo>
                    <a:lnTo>
                      <a:pt x="261938" y="1471613"/>
                    </a:lnTo>
                    <a:lnTo>
                      <a:pt x="252413" y="1456373"/>
                    </a:lnTo>
                    <a:lnTo>
                      <a:pt x="240983" y="1439228"/>
                    </a:lnTo>
                    <a:lnTo>
                      <a:pt x="227648" y="1419225"/>
                    </a:lnTo>
                    <a:lnTo>
                      <a:pt x="211455" y="1397318"/>
                    </a:lnTo>
                    <a:lnTo>
                      <a:pt x="202883" y="1386840"/>
                    </a:lnTo>
                    <a:lnTo>
                      <a:pt x="193358" y="1375410"/>
                    </a:lnTo>
                    <a:lnTo>
                      <a:pt x="183833" y="1363980"/>
                    </a:lnTo>
                    <a:lnTo>
                      <a:pt x="173355" y="1352550"/>
                    </a:lnTo>
                    <a:lnTo>
                      <a:pt x="149543" y="1323975"/>
                    </a:lnTo>
                    <a:lnTo>
                      <a:pt x="124778" y="1295400"/>
                    </a:lnTo>
                    <a:lnTo>
                      <a:pt x="100013" y="1266825"/>
                    </a:lnTo>
                    <a:lnTo>
                      <a:pt x="76200" y="1238250"/>
                    </a:lnTo>
                    <a:lnTo>
                      <a:pt x="64770" y="1219200"/>
                    </a:lnTo>
                    <a:lnTo>
                      <a:pt x="53340" y="1204913"/>
                    </a:lnTo>
                    <a:lnTo>
                      <a:pt x="42863" y="1190625"/>
                    </a:lnTo>
                    <a:lnTo>
                      <a:pt x="32385" y="1176338"/>
                    </a:lnTo>
                    <a:lnTo>
                      <a:pt x="22860" y="1163003"/>
                    </a:lnTo>
                    <a:lnTo>
                      <a:pt x="14288" y="1149668"/>
                    </a:lnTo>
                    <a:lnTo>
                      <a:pt x="6668" y="1137285"/>
                    </a:lnTo>
                    <a:lnTo>
                      <a:pt x="0" y="1124903"/>
                    </a:lnTo>
                    <a:lnTo>
                      <a:pt x="953" y="1154430"/>
                    </a:lnTo>
                    <a:lnTo>
                      <a:pt x="2858" y="1182053"/>
                    </a:lnTo>
                    <a:lnTo>
                      <a:pt x="6668" y="1208723"/>
                    </a:lnTo>
                    <a:lnTo>
                      <a:pt x="12383" y="1234440"/>
                    </a:lnTo>
                    <a:lnTo>
                      <a:pt x="19050" y="1258253"/>
                    </a:lnTo>
                    <a:lnTo>
                      <a:pt x="26670" y="1281113"/>
                    </a:lnTo>
                    <a:lnTo>
                      <a:pt x="36195" y="1303020"/>
                    </a:lnTo>
                    <a:lnTo>
                      <a:pt x="46673" y="1323975"/>
                    </a:lnTo>
                    <a:lnTo>
                      <a:pt x="57150" y="1343025"/>
                    </a:lnTo>
                    <a:lnTo>
                      <a:pt x="69533" y="1362075"/>
                    </a:lnTo>
                    <a:lnTo>
                      <a:pt x="81915" y="1380173"/>
                    </a:lnTo>
                    <a:lnTo>
                      <a:pt x="95250" y="1396365"/>
                    </a:lnTo>
                    <a:lnTo>
                      <a:pt x="109538" y="1412558"/>
                    </a:lnTo>
                    <a:lnTo>
                      <a:pt x="123825" y="1427798"/>
                    </a:lnTo>
                    <a:lnTo>
                      <a:pt x="139065" y="1442085"/>
                    </a:lnTo>
                    <a:lnTo>
                      <a:pt x="154305" y="1455420"/>
                    </a:lnTo>
                    <a:lnTo>
                      <a:pt x="169545" y="1467803"/>
                    </a:lnTo>
                    <a:lnTo>
                      <a:pt x="184785" y="1480185"/>
                    </a:lnTo>
                    <a:lnTo>
                      <a:pt x="200025" y="1490663"/>
                    </a:lnTo>
                    <a:lnTo>
                      <a:pt x="215265" y="1501140"/>
                    </a:lnTo>
                    <a:lnTo>
                      <a:pt x="243840" y="1520190"/>
                    </a:lnTo>
                    <a:lnTo>
                      <a:pt x="269558" y="1537335"/>
                    </a:lnTo>
                    <a:lnTo>
                      <a:pt x="281940" y="1544955"/>
                    </a:lnTo>
                    <a:lnTo>
                      <a:pt x="292418" y="1552575"/>
                    </a:lnTo>
                    <a:lnTo>
                      <a:pt x="302895" y="1559243"/>
                    </a:lnTo>
                    <a:lnTo>
                      <a:pt x="311468" y="1565910"/>
                    </a:lnTo>
                    <a:lnTo>
                      <a:pt x="319088" y="1572578"/>
                    </a:lnTo>
                    <a:lnTo>
                      <a:pt x="325755" y="1578293"/>
                    </a:lnTo>
                    <a:lnTo>
                      <a:pt x="330518" y="1584008"/>
                    </a:lnTo>
                    <a:lnTo>
                      <a:pt x="332423" y="1591628"/>
                    </a:lnTo>
                    <a:lnTo>
                      <a:pt x="332423" y="1591628"/>
                    </a:lnTo>
                    <a:close/>
                    <a:moveTo>
                      <a:pt x="177165" y="813435"/>
                    </a:moveTo>
                    <a:lnTo>
                      <a:pt x="182880" y="797243"/>
                    </a:lnTo>
                    <a:lnTo>
                      <a:pt x="189548" y="782003"/>
                    </a:lnTo>
                    <a:lnTo>
                      <a:pt x="197168" y="766763"/>
                    </a:lnTo>
                    <a:lnTo>
                      <a:pt x="205740" y="753428"/>
                    </a:lnTo>
                    <a:lnTo>
                      <a:pt x="215265" y="740093"/>
                    </a:lnTo>
                    <a:lnTo>
                      <a:pt x="224790" y="727710"/>
                    </a:lnTo>
                    <a:lnTo>
                      <a:pt x="235268" y="716280"/>
                    </a:lnTo>
                    <a:lnTo>
                      <a:pt x="245745" y="704850"/>
                    </a:lnTo>
                    <a:lnTo>
                      <a:pt x="256223" y="694373"/>
                    </a:lnTo>
                    <a:lnTo>
                      <a:pt x="267653" y="683895"/>
                    </a:lnTo>
                    <a:lnTo>
                      <a:pt x="279083" y="673418"/>
                    </a:lnTo>
                    <a:lnTo>
                      <a:pt x="290513" y="663893"/>
                    </a:lnTo>
                    <a:lnTo>
                      <a:pt x="315278" y="643890"/>
                    </a:lnTo>
                    <a:lnTo>
                      <a:pt x="340043" y="624840"/>
                    </a:lnTo>
                    <a:lnTo>
                      <a:pt x="352425" y="615315"/>
                    </a:lnTo>
                    <a:lnTo>
                      <a:pt x="364808" y="605790"/>
                    </a:lnTo>
                    <a:lnTo>
                      <a:pt x="377190" y="595313"/>
                    </a:lnTo>
                    <a:lnTo>
                      <a:pt x="389573" y="584835"/>
                    </a:lnTo>
                    <a:lnTo>
                      <a:pt x="401003" y="574358"/>
                    </a:lnTo>
                    <a:lnTo>
                      <a:pt x="412433" y="563880"/>
                    </a:lnTo>
                    <a:lnTo>
                      <a:pt x="423863" y="553403"/>
                    </a:lnTo>
                    <a:lnTo>
                      <a:pt x="434340" y="541973"/>
                    </a:lnTo>
                    <a:lnTo>
                      <a:pt x="444818" y="529590"/>
                    </a:lnTo>
                    <a:lnTo>
                      <a:pt x="455295" y="516255"/>
                    </a:lnTo>
                    <a:lnTo>
                      <a:pt x="464820" y="502920"/>
                    </a:lnTo>
                    <a:lnTo>
                      <a:pt x="473393" y="488633"/>
                    </a:lnTo>
                    <a:lnTo>
                      <a:pt x="481013" y="473393"/>
                    </a:lnTo>
                    <a:lnTo>
                      <a:pt x="487680" y="458153"/>
                    </a:lnTo>
                    <a:lnTo>
                      <a:pt x="493395" y="441008"/>
                    </a:lnTo>
                    <a:lnTo>
                      <a:pt x="499110" y="422910"/>
                    </a:lnTo>
                    <a:lnTo>
                      <a:pt x="486728" y="434340"/>
                    </a:lnTo>
                    <a:lnTo>
                      <a:pt x="476250" y="445770"/>
                    </a:lnTo>
                    <a:lnTo>
                      <a:pt x="462915" y="456248"/>
                    </a:lnTo>
                    <a:lnTo>
                      <a:pt x="449580" y="465773"/>
                    </a:lnTo>
                    <a:lnTo>
                      <a:pt x="436245" y="475298"/>
                    </a:lnTo>
                    <a:lnTo>
                      <a:pt x="421958" y="484823"/>
                    </a:lnTo>
                    <a:lnTo>
                      <a:pt x="408623" y="493395"/>
                    </a:lnTo>
                    <a:lnTo>
                      <a:pt x="394335" y="502920"/>
                    </a:lnTo>
                    <a:lnTo>
                      <a:pt x="366713" y="521018"/>
                    </a:lnTo>
                    <a:lnTo>
                      <a:pt x="339090" y="540068"/>
                    </a:lnTo>
                    <a:lnTo>
                      <a:pt x="324803" y="550545"/>
                    </a:lnTo>
                    <a:lnTo>
                      <a:pt x="311468" y="561023"/>
                    </a:lnTo>
                    <a:lnTo>
                      <a:pt x="298133" y="572453"/>
                    </a:lnTo>
                    <a:lnTo>
                      <a:pt x="285750" y="581978"/>
                    </a:lnTo>
                    <a:lnTo>
                      <a:pt x="274320" y="594360"/>
                    </a:lnTo>
                    <a:lnTo>
                      <a:pt x="263843" y="606743"/>
                    </a:lnTo>
                    <a:lnTo>
                      <a:pt x="254318" y="619125"/>
                    </a:lnTo>
                    <a:lnTo>
                      <a:pt x="245745" y="631508"/>
                    </a:lnTo>
                    <a:lnTo>
                      <a:pt x="237173" y="643890"/>
                    </a:lnTo>
                    <a:lnTo>
                      <a:pt x="228600" y="657225"/>
                    </a:lnTo>
                    <a:lnTo>
                      <a:pt x="220980" y="670560"/>
                    </a:lnTo>
                    <a:lnTo>
                      <a:pt x="214313" y="684848"/>
                    </a:lnTo>
                    <a:lnTo>
                      <a:pt x="220028" y="663893"/>
                    </a:lnTo>
                    <a:lnTo>
                      <a:pt x="225743" y="642938"/>
                    </a:lnTo>
                    <a:lnTo>
                      <a:pt x="231458" y="621983"/>
                    </a:lnTo>
                    <a:lnTo>
                      <a:pt x="236220" y="601028"/>
                    </a:lnTo>
                    <a:lnTo>
                      <a:pt x="240030" y="580073"/>
                    </a:lnTo>
                    <a:lnTo>
                      <a:pt x="242888" y="560070"/>
                    </a:lnTo>
                    <a:lnTo>
                      <a:pt x="243840" y="550545"/>
                    </a:lnTo>
                    <a:lnTo>
                      <a:pt x="244793" y="541020"/>
                    </a:lnTo>
                    <a:lnTo>
                      <a:pt x="244793" y="531495"/>
                    </a:lnTo>
                    <a:lnTo>
                      <a:pt x="244793" y="521970"/>
                    </a:lnTo>
                    <a:lnTo>
                      <a:pt x="247650" y="496253"/>
                    </a:lnTo>
                    <a:lnTo>
                      <a:pt x="249555" y="477203"/>
                    </a:lnTo>
                    <a:lnTo>
                      <a:pt x="251460" y="461963"/>
                    </a:lnTo>
                    <a:lnTo>
                      <a:pt x="254318" y="449580"/>
                    </a:lnTo>
                    <a:lnTo>
                      <a:pt x="255270" y="443865"/>
                    </a:lnTo>
                    <a:lnTo>
                      <a:pt x="257175" y="438150"/>
                    </a:lnTo>
                    <a:lnTo>
                      <a:pt x="259080" y="431483"/>
                    </a:lnTo>
                    <a:lnTo>
                      <a:pt x="261938" y="423863"/>
                    </a:lnTo>
                    <a:lnTo>
                      <a:pt x="269558" y="405765"/>
                    </a:lnTo>
                    <a:lnTo>
                      <a:pt x="280035" y="381953"/>
                    </a:lnTo>
                    <a:lnTo>
                      <a:pt x="283845" y="375285"/>
                    </a:lnTo>
                    <a:lnTo>
                      <a:pt x="290513" y="365760"/>
                    </a:lnTo>
                    <a:lnTo>
                      <a:pt x="296228" y="356235"/>
                    </a:lnTo>
                    <a:lnTo>
                      <a:pt x="300038" y="349568"/>
                    </a:lnTo>
                    <a:lnTo>
                      <a:pt x="292418" y="355283"/>
                    </a:lnTo>
                    <a:lnTo>
                      <a:pt x="285750" y="360998"/>
                    </a:lnTo>
                    <a:lnTo>
                      <a:pt x="279083" y="366713"/>
                    </a:lnTo>
                    <a:lnTo>
                      <a:pt x="272415" y="372428"/>
                    </a:lnTo>
                    <a:lnTo>
                      <a:pt x="266700" y="376238"/>
                    </a:lnTo>
                    <a:lnTo>
                      <a:pt x="260985" y="381953"/>
                    </a:lnTo>
                    <a:lnTo>
                      <a:pt x="255270" y="387668"/>
                    </a:lnTo>
                    <a:lnTo>
                      <a:pt x="249555" y="393383"/>
                    </a:lnTo>
                    <a:lnTo>
                      <a:pt x="243840" y="400050"/>
                    </a:lnTo>
                    <a:lnTo>
                      <a:pt x="238125" y="406718"/>
                    </a:lnTo>
                    <a:lnTo>
                      <a:pt x="233363" y="412433"/>
                    </a:lnTo>
                    <a:lnTo>
                      <a:pt x="228600" y="420053"/>
                    </a:lnTo>
                    <a:lnTo>
                      <a:pt x="223838" y="426720"/>
                    </a:lnTo>
                    <a:lnTo>
                      <a:pt x="219075" y="433388"/>
                    </a:lnTo>
                    <a:lnTo>
                      <a:pt x="214313" y="440055"/>
                    </a:lnTo>
                    <a:lnTo>
                      <a:pt x="210503" y="446723"/>
                    </a:lnTo>
                    <a:lnTo>
                      <a:pt x="206693" y="454343"/>
                    </a:lnTo>
                    <a:lnTo>
                      <a:pt x="202883" y="461010"/>
                    </a:lnTo>
                    <a:lnTo>
                      <a:pt x="199073" y="468630"/>
                    </a:lnTo>
                    <a:lnTo>
                      <a:pt x="196215" y="476250"/>
                    </a:lnTo>
                    <a:lnTo>
                      <a:pt x="190500" y="491490"/>
                    </a:lnTo>
                    <a:lnTo>
                      <a:pt x="184785" y="507683"/>
                    </a:lnTo>
                    <a:lnTo>
                      <a:pt x="180023" y="523875"/>
                    </a:lnTo>
                    <a:lnTo>
                      <a:pt x="176213" y="541020"/>
                    </a:lnTo>
                    <a:lnTo>
                      <a:pt x="171450" y="557213"/>
                    </a:lnTo>
                    <a:lnTo>
                      <a:pt x="168593" y="575310"/>
                    </a:lnTo>
                    <a:lnTo>
                      <a:pt x="167640" y="590550"/>
                    </a:lnTo>
                    <a:lnTo>
                      <a:pt x="166688" y="605790"/>
                    </a:lnTo>
                    <a:lnTo>
                      <a:pt x="166688" y="621030"/>
                    </a:lnTo>
                    <a:lnTo>
                      <a:pt x="165735" y="635318"/>
                    </a:lnTo>
                    <a:lnTo>
                      <a:pt x="165735" y="650558"/>
                    </a:lnTo>
                    <a:lnTo>
                      <a:pt x="165735" y="664845"/>
                    </a:lnTo>
                    <a:lnTo>
                      <a:pt x="165735" y="679133"/>
                    </a:lnTo>
                    <a:lnTo>
                      <a:pt x="166688" y="693420"/>
                    </a:lnTo>
                    <a:lnTo>
                      <a:pt x="168593" y="721995"/>
                    </a:lnTo>
                    <a:lnTo>
                      <a:pt x="171450" y="751523"/>
                    </a:lnTo>
                    <a:lnTo>
                      <a:pt x="174308" y="782003"/>
                    </a:lnTo>
                    <a:lnTo>
                      <a:pt x="177165" y="813435"/>
                    </a:lnTo>
                    <a:lnTo>
                      <a:pt x="177165" y="813435"/>
                    </a:lnTo>
                    <a:close/>
                    <a:moveTo>
                      <a:pt x="520065" y="1794510"/>
                    </a:moveTo>
                    <a:lnTo>
                      <a:pt x="513398" y="1784033"/>
                    </a:lnTo>
                    <a:lnTo>
                      <a:pt x="506730" y="1772603"/>
                    </a:lnTo>
                    <a:lnTo>
                      <a:pt x="501015" y="1761173"/>
                    </a:lnTo>
                    <a:lnTo>
                      <a:pt x="495300" y="1748790"/>
                    </a:lnTo>
                    <a:lnTo>
                      <a:pt x="490538" y="1736408"/>
                    </a:lnTo>
                    <a:lnTo>
                      <a:pt x="485775" y="1724025"/>
                    </a:lnTo>
                    <a:lnTo>
                      <a:pt x="481965" y="1710690"/>
                    </a:lnTo>
                    <a:lnTo>
                      <a:pt x="478155" y="1697355"/>
                    </a:lnTo>
                    <a:lnTo>
                      <a:pt x="475298" y="1683068"/>
                    </a:lnTo>
                    <a:lnTo>
                      <a:pt x="471488" y="1668780"/>
                    </a:lnTo>
                    <a:lnTo>
                      <a:pt x="468630" y="1654493"/>
                    </a:lnTo>
                    <a:lnTo>
                      <a:pt x="465773" y="1640205"/>
                    </a:lnTo>
                    <a:lnTo>
                      <a:pt x="460058" y="1611630"/>
                    </a:lnTo>
                    <a:lnTo>
                      <a:pt x="454343" y="1582103"/>
                    </a:lnTo>
                    <a:lnTo>
                      <a:pt x="448628" y="1552575"/>
                    </a:lnTo>
                    <a:lnTo>
                      <a:pt x="441960" y="1523048"/>
                    </a:lnTo>
                    <a:lnTo>
                      <a:pt x="438150" y="1507808"/>
                    </a:lnTo>
                    <a:lnTo>
                      <a:pt x="434340" y="1493520"/>
                    </a:lnTo>
                    <a:lnTo>
                      <a:pt x="429578" y="1479233"/>
                    </a:lnTo>
                    <a:lnTo>
                      <a:pt x="424815" y="1464945"/>
                    </a:lnTo>
                    <a:lnTo>
                      <a:pt x="420053" y="1450658"/>
                    </a:lnTo>
                    <a:lnTo>
                      <a:pt x="414338" y="1436370"/>
                    </a:lnTo>
                    <a:lnTo>
                      <a:pt x="407670" y="1423035"/>
                    </a:lnTo>
                    <a:lnTo>
                      <a:pt x="401003" y="1409700"/>
                    </a:lnTo>
                    <a:lnTo>
                      <a:pt x="393383" y="1396365"/>
                    </a:lnTo>
                    <a:lnTo>
                      <a:pt x="384810" y="1383983"/>
                    </a:lnTo>
                    <a:lnTo>
                      <a:pt x="375285" y="1371600"/>
                    </a:lnTo>
                    <a:lnTo>
                      <a:pt x="365760" y="1360170"/>
                    </a:lnTo>
                    <a:lnTo>
                      <a:pt x="366713" y="1385888"/>
                    </a:lnTo>
                    <a:lnTo>
                      <a:pt x="367665" y="1410653"/>
                    </a:lnTo>
                    <a:lnTo>
                      <a:pt x="366713" y="1435418"/>
                    </a:lnTo>
                    <a:lnTo>
                      <a:pt x="366713" y="1458278"/>
                    </a:lnTo>
                    <a:lnTo>
                      <a:pt x="366713" y="1480185"/>
                    </a:lnTo>
                    <a:lnTo>
                      <a:pt x="366713" y="1502093"/>
                    </a:lnTo>
                    <a:lnTo>
                      <a:pt x="366713" y="1523048"/>
                    </a:lnTo>
                    <a:lnTo>
                      <a:pt x="366713" y="1543050"/>
                    </a:lnTo>
                    <a:lnTo>
                      <a:pt x="366713" y="1553528"/>
                    </a:lnTo>
                    <a:lnTo>
                      <a:pt x="367665" y="1563053"/>
                    </a:lnTo>
                    <a:lnTo>
                      <a:pt x="368618" y="1572578"/>
                    </a:lnTo>
                    <a:lnTo>
                      <a:pt x="369570" y="1582103"/>
                    </a:lnTo>
                    <a:lnTo>
                      <a:pt x="371475" y="1591628"/>
                    </a:lnTo>
                    <a:lnTo>
                      <a:pt x="373380" y="1601153"/>
                    </a:lnTo>
                    <a:lnTo>
                      <a:pt x="376238" y="1610678"/>
                    </a:lnTo>
                    <a:lnTo>
                      <a:pt x="379095" y="1620203"/>
                    </a:lnTo>
                    <a:lnTo>
                      <a:pt x="382905" y="1629728"/>
                    </a:lnTo>
                    <a:lnTo>
                      <a:pt x="386715" y="1639253"/>
                    </a:lnTo>
                    <a:lnTo>
                      <a:pt x="390525" y="1648778"/>
                    </a:lnTo>
                    <a:lnTo>
                      <a:pt x="395288" y="1658303"/>
                    </a:lnTo>
                    <a:lnTo>
                      <a:pt x="400050" y="1666875"/>
                    </a:lnTo>
                    <a:lnTo>
                      <a:pt x="405765" y="1676400"/>
                    </a:lnTo>
                    <a:lnTo>
                      <a:pt x="411480" y="1685925"/>
                    </a:lnTo>
                    <a:lnTo>
                      <a:pt x="418148" y="1694498"/>
                    </a:lnTo>
                    <a:lnTo>
                      <a:pt x="405765" y="1684020"/>
                    </a:lnTo>
                    <a:lnTo>
                      <a:pt x="392430" y="1672590"/>
                    </a:lnTo>
                    <a:lnTo>
                      <a:pt x="376238" y="1660208"/>
                    </a:lnTo>
                    <a:lnTo>
                      <a:pt x="359093" y="1646873"/>
                    </a:lnTo>
                    <a:lnTo>
                      <a:pt x="348615" y="1640205"/>
                    </a:lnTo>
                    <a:lnTo>
                      <a:pt x="338138" y="1633538"/>
                    </a:lnTo>
                    <a:lnTo>
                      <a:pt x="327660" y="1626870"/>
                    </a:lnTo>
                    <a:lnTo>
                      <a:pt x="316230" y="1620203"/>
                    </a:lnTo>
                    <a:lnTo>
                      <a:pt x="303848" y="1613535"/>
                    </a:lnTo>
                    <a:lnTo>
                      <a:pt x="290513" y="1607820"/>
                    </a:lnTo>
                    <a:lnTo>
                      <a:pt x="277178" y="1602105"/>
                    </a:lnTo>
                    <a:lnTo>
                      <a:pt x="262890" y="1596390"/>
                    </a:lnTo>
                    <a:lnTo>
                      <a:pt x="254318" y="1593533"/>
                    </a:lnTo>
                    <a:lnTo>
                      <a:pt x="245745" y="1589723"/>
                    </a:lnTo>
                    <a:lnTo>
                      <a:pt x="238125" y="1585913"/>
                    </a:lnTo>
                    <a:lnTo>
                      <a:pt x="230505" y="1581150"/>
                    </a:lnTo>
                    <a:lnTo>
                      <a:pt x="222885" y="1576388"/>
                    </a:lnTo>
                    <a:lnTo>
                      <a:pt x="215265" y="1571625"/>
                    </a:lnTo>
                    <a:lnTo>
                      <a:pt x="207645" y="1566863"/>
                    </a:lnTo>
                    <a:lnTo>
                      <a:pt x="200025" y="1562100"/>
                    </a:lnTo>
                    <a:lnTo>
                      <a:pt x="185738" y="1551623"/>
                    </a:lnTo>
                    <a:lnTo>
                      <a:pt x="172403" y="1541145"/>
                    </a:lnTo>
                    <a:lnTo>
                      <a:pt x="159068" y="1529715"/>
                    </a:lnTo>
                    <a:lnTo>
                      <a:pt x="146685" y="1518285"/>
                    </a:lnTo>
                    <a:lnTo>
                      <a:pt x="134303" y="1505903"/>
                    </a:lnTo>
                    <a:lnTo>
                      <a:pt x="122873" y="1494473"/>
                    </a:lnTo>
                    <a:lnTo>
                      <a:pt x="111443" y="1482090"/>
                    </a:lnTo>
                    <a:lnTo>
                      <a:pt x="100013" y="1470660"/>
                    </a:lnTo>
                    <a:lnTo>
                      <a:pt x="79058" y="1447800"/>
                    </a:lnTo>
                    <a:lnTo>
                      <a:pt x="59055" y="1426845"/>
                    </a:lnTo>
                    <a:lnTo>
                      <a:pt x="65723" y="1443038"/>
                    </a:lnTo>
                    <a:lnTo>
                      <a:pt x="75248" y="1473518"/>
                    </a:lnTo>
                    <a:lnTo>
                      <a:pt x="85725" y="1502093"/>
                    </a:lnTo>
                    <a:lnTo>
                      <a:pt x="97155" y="1528763"/>
                    </a:lnTo>
                    <a:lnTo>
                      <a:pt x="109538" y="1553528"/>
                    </a:lnTo>
                    <a:lnTo>
                      <a:pt x="122873" y="1575435"/>
                    </a:lnTo>
                    <a:lnTo>
                      <a:pt x="137160" y="1596390"/>
                    </a:lnTo>
                    <a:lnTo>
                      <a:pt x="152400" y="1615440"/>
                    </a:lnTo>
                    <a:lnTo>
                      <a:pt x="167640" y="1632585"/>
                    </a:lnTo>
                    <a:lnTo>
                      <a:pt x="183833" y="1648778"/>
                    </a:lnTo>
                    <a:lnTo>
                      <a:pt x="200025" y="1663065"/>
                    </a:lnTo>
                    <a:lnTo>
                      <a:pt x="217170" y="1676400"/>
                    </a:lnTo>
                    <a:lnTo>
                      <a:pt x="234315" y="1687830"/>
                    </a:lnTo>
                    <a:lnTo>
                      <a:pt x="251460" y="1698308"/>
                    </a:lnTo>
                    <a:lnTo>
                      <a:pt x="268605" y="1707833"/>
                    </a:lnTo>
                    <a:lnTo>
                      <a:pt x="286703" y="1716405"/>
                    </a:lnTo>
                    <a:lnTo>
                      <a:pt x="304800" y="1724025"/>
                    </a:lnTo>
                    <a:lnTo>
                      <a:pt x="321945" y="1730693"/>
                    </a:lnTo>
                    <a:lnTo>
                      <a:pt x="339090" y="1736408"/>
                    </a:lnTo>
                    <a:lnTo>
                      <a:pt x="356235" y="1742123"/>
                    </a:lnTo>
                    <a:lnTo>
                      <a:pt x="372428" y="1746885"/>
                    </a:lnTo>
                    <a:lnTo>
                      <a:pt x="404813" y="1755458"/>
                    </a:lnTo>
                    <a:lnTo>
                      <a:pt x="435293" y="1763078"/>
                    </a:lnTo>
                    <a:lnTo>
                      <a:pt x="449580" y="1766888"/>
                    </a:lnTo>
                    <a:lnTo>
                      <a:pt x="462915" y="1770698"/>
                    </a:lnTo>
                    <a:lnTo>
                      <a:pt x="475298" y="1774508"/>
                    </a:lnTo>
                    <a:lnTo>
                      <a:pt x="485775" y="1778318"/>
                    </a:lnTo>
                    <a:lnTo>
                      <a:pt x="496253" y="1783080"/>
                    </a:lnTo>
                    <a:lnTo>
                      <a:pt x="504825" y="1787843"/>
                    </a:lnTo>
                    <a:lnTo>
                      <a:pt x="512445" y="1792605"/>
                    </a:lnTo>
                    <a:lnTo>
                      <a:pt x="520065" y="1794510"/>
                    </a:lnTo>
                    <a:lnTo>
                      <a:pt x="520065" y="1794510"/>
                    </a:lnTo>
                    <a:close/>
                    <a:moveTo>
                      <a:pt x="741045" y="1945958"/>
                    </a:moveTo>
                    <a:lnTo>
                      <a:pt x="736283" y="1939290"/>
                    </a:lnTo>
                    <a:lnTo>
                      <a:pt x="731520" y="1931670"/>
                    </a:lnTo>
                    <a:lnTo>
                      <a:pt x="726758" y="1923098"/>
                    </a:lnTo>
                    <a:lnTo>
                      <a:pt x="723900" y="1914525"/>
                    </a:lnTo>
                    <a:lnTo>
                      <a:pt x="715328" y="1894523"/>
                    </a:lnTo>
                    <a:lnTo>
                      <a:pt x="705803" y="1872615"/>
                    </a:lnTo>
                    <a:lnTo>
                      <a:pt x="696278" y="1848803"/>
                    </a:lnTo>
                    <a:lnTo>
                      <a:pt x="686753" y="1824038"/>
                    </a:lnTo>
                    <a:lnTo>
                      <a:pt x="675323" y="1798320"/>
                    </a:lnTo>
                    <a:lnTo>
                      <a:pt x="662940" y="1772603"/>
                    </a:lnTo>
                    <a:lnTo>
                      <a:pt x="656273" y="1759268"/>
                    </a:lnTo>
                    <a:lnTo>
                      <a:pt x="649605" y="1745933"/>
                    </a:lnTo>
                    <a:lnTo>
                      <a:pt x="641985" y="1732598"/>
                    </a:lnTo>
                    <a:lnTo>
                      <a:pt x="634365" y="1719263"/>
                    </a:lnTo>
                    <a:lnTo>
                      <a:pt x="625793" y="1705928"/>
                    </a:lnTo>
                    <a:lnTo>
                      <a:pt x="617220" y="1693545"/>
                    </a:lnTo>
                    <a:lnTo>
                      <a:pt x="607695" y="1680210"/>
                    </a:lnTo>
                    <a:lnTo>
                      <a:pt x="598170" y="1667828"/>
                    </a:lnTo>
                    <a:lnTo>
                      <a:pt x="587693" y="1655445"/>
                    </a:lnTo>
                    <a:lnTo>
                      <a:pt x="577215" y="1644015"/>
                    </a:lnTo>
                    <a:lnTo>
                      <a:pt x="565785" y="1632585"/>
                    </a:lnTo>
                    <a:lnTo>
                      <a:pt x="554355" y="1622108"/>
                    </a:lnTo>
                    <a:lnTo>
                      <a:pt x="541973" y="1611630"/>
                    </a:lnTo>
                    <a:lnTo>
                      <a:pt x="528638" y="1601153"/>
                    </a:lnTo>
                    <a:lnTo>
                      <a:pt x="515303" y="1591628"/>
                    </a:lnTo>
                    <a:lnTo>
                      <a:pt x="501015" y="1583055"/>
                    </a:lnTo>
                    <a:lnTo>
                      <a:pt x="515303" y="1630680"/>
                    </a:lnTo>
                    <a:lnTo>
                      <a:pt x="527685" y="1675448"/>
                    </a:lnTo>
                    <a:lnTo>
                      <a:pt x="533400" y="1696403"/>
                    </a:lnTo>
                    <a:lnTo>
                      <a:pt x="539115" y="1716405"/>
                    </a:lnTo>
                    <a:lnTo>
                      <a:pt x="545783" y="1736408"/>
                    </a:lnTo>
                    <a:lnTo>
                      <a:pt x="552450" y="1755458"/>
                    </a:lnTo>
                    <a:lnTo>
                      <a:pt x="556260" y="1764983"/>
                    </a:lnTo>
                    <a:lnTo>
                      <a:pt x="560070" y="1773555"/>
                    </a:lnTo>
                    <a:lnTo>
                      <a:pt x="564833" y="1782128"/>
                    </a:lnTo>
                    <a:lnTo>
                      <a:pt x="569595" y="1790700"/>
                    </a:lnTo>
                    <a:lnTo>
                      <a:pt x="574358" y="1799273"/>
                    </a:lnTo>
                    <a:lnTo>
                      <a:pt x="579120" y="1807845"/>
                    </a:lnTo>
                    <a:lnTo>
                      <a:pt x="583883" y="1816418"/>
                    </a:lnTo>
                    <a:lnTo>
                      <a:pt x="589598" y="1824038"/>
                    </a:lnTo>
                    <a:lnTo>
                      <a:pt x="595313" y="1832610"/>
                    </a:lnTo>
                    <a:lnTo>
                      <a:pt x="601980" y="1840230"/>
                    </a:lnTo>
                    <a:lnTo>
                      <a:pt x="608648" y="1847850"/>
                    </a:lnTo>
                    <a:lnTo>
                      <a:pt x="615315" y="1855470"/>
                    </a:lnTo>
                    <a:lnTo>
                      <a:pt x="622935" y="1863090"/>
                    </a:lnTo>
                    <a:lnTo>
                      <a:pt x="631508" y="1870710"/>
                    </a:lnTo>
                    <a:lnTo>
                      <a:pt x="640080" y="1878330"/>
                    </a:lnTo>
                    <a:lnTo>
                      <a:pt x="649605" y="1885950"/>
                    </a:lnTo>
                    <a:lnTo>
                      <a:pt x="634365" y="1878330"/>
                    </a:lnTo>
                    <a:lnTo>
                      <a:pt x="614363" y="1869758"/>
                    </a:lnTo>
                    <a:lnTo>
                      <a:pt x="590550" y="1860233"/>
                    </a:lnTo>
                    <a:lnTo>
                      <a:pt x="563880" y="1850708"/>
                    </a:lnTo>
                    <a:lnTo>
                      <a:pt x="549593" y="1845945"/>
                    </a:lnTo>
                    <a:lnTo>
                      <a:pt x="534353" y="1841183"/>
                    </a:lnTo>
                    <a:lnTo>
                      <a:pt x="519113" y="1836420"/>
                    </a:lnTo>
                    <a:lnTo>
                      <a:pt x="503873" y="1832610"/>
                    </a:lnTo>
                    <a:lnTo>
                      <a:pt x="488633" y="1828800"/>
                    </a:lnTo>
                    <a:lnTo>
                      <a:pt x="473393" y="1824990"/>
                    </a:lnTo>
                    <a:lnTo>
                      <a:pt x="458153" y="1822133"/>
                    </a:lnTo>
                    <a:lnTo>
                      <a:pt x="442913" y="1819275"/>
                    </a:lnTo>
                    <a:lnTo>
                      <a:pt x="429578" y="1817370"/>
                    </a:lnTo>
                    <a:lnTo>
                      <a:pt x="417195" y="1815465"/>
                    </a:lnTo>
                    <a:lnTo>
                      <a:pt x="405765" y="1813560"/>
                    </a:lnTo>
                    <a:lnTo>
                      <a:pt x="394335" y="1811655"/>
                    </a:lnTo>
                    <a:lnTo>
                      <a:pt x="383858" y="1809750"/>
                    </a:lnTo>
                    <a:lnTo>
                      <a:pt x="373380" y="1806893"/>
                    </a:lnTo>
                    <a:lnTo>
                      <a:pt x="363855" y="1804035"/>
                    </a:lnTo>
                    <a:lnTo>
                      <a:pt x="354330" y="1801178"/>
                    </a:lnTo>
                    <a:lnTo>
                      <a:pt x="344805" y="1798320"/>
                    </a:lnTo>
                    <a:lnTo>
                      <a:pt x="336233" y="1795463"/>
                    </a:lnTo>
                    <a:lnTo>
                      <a:pt x="328613" y="1792605"/>
                    </a:lnTo>
                    <a:lnTo>
                      <a:pt x="320993" y="1789748"/>
                    </a:lnTo>
                    <a:lnTo>
                      <a:pt x="306705" y="1783080"/>
                    </a:lnTo>
                    <a:lnTo>
                      <a:pt x="293370" y="1776413"/>
                    </a:lnTo>
                    <a:lnTo>
                      <a:pt x="280988" y="1769745"/>
                    </a:lnTo>
                    <a:lnTo>
                      <a:pt x="269558" y="1763078"/>
                    </a:lnTo>
                    <a:lnTo>
                      <a:pt x="259080" y="1755458"/>
                    </a:lnTo>
                    <a:lnTo>
                      <a:pt x="248603" y="1748790"/>
                    </a:lnTo>
                    <a:lnTo>
                      <a:pt x="238125" y="1741170"/>
                    </a:lnTo>
                    <a:lnTo>
                      <a:pt x="227648" y="1734503"/>
                    </a:lnTo>
                    <a:lnTo>
                      <a:pt x="217170" y="1727835"/>
                    </a:lnTo>
                    <a:lnTo>
                      <a:pt x="205740" y="1721168"/>
                    </a:lnTo>
                    <a:lnTo>
                      <a:pt x="221933" y="1749743"/>
                    </a:lnTo>
                    <a:lnTo>
                      <a:pt x="238125" y="1775460"/>
                    </a:lnTo>
                    <a:lnTo>
                      <a:pt x="255270" y="1798320"/>
                    </a:lnTo>
                    <a:lnTo>
                      <a:pt x="273368" y="1819275"/>
                    </a:lnTo>
                    <a:lnTo>
                      <a:pt x="291465" y="1838325"/>
                    </a:lnTo>
                    <a:lnTo>
                      <a:pt x="309563" y="1855470"/>
                    </a:lnTo>
                    <a:lnTo>
                      <a:pt x="328613" y="1870710"/>
                    </a:lnTo>
                    <a:lnTo>
                      <a:pt x="347663" y="1884045"/>
                    </a:lnTo>
                    <a:lnTo>
                      <a:pt x="366713" y="1895475"/>
                    </a:lnTo>
                    <a:lnTo>
                      <a:pt x="386715" y="1905953"/>
                    </a:lnTo>
                    <a:lnTo>
                      <a:pt x="406718" y="1914525"/>
                    </a:lnTo>
                    <a:lnTo>
                      <a:pt x="426720" y="1921193"/>
                    </a:lnTo>
                    <a:lnTo>
                      <a:pt x="446723" y="1926908"/>
                    </a:lnTo>
                    <a:lnTo>
                      <a:pt x="466725" y="1931670"/>
                    </a:lnTo>
                    <a:lnTo>
                      <a:pt x="486728" y="1935480"/>
                    </a:lnTo>
                    <a:lnTo>
                      <a:pt x="506730" y="1938338"/>
                    </a:lnTo>
                    <a:lnTo>
                      <a:pt x="525780" y="1940243"/>
                    </a:lnTo>
                    <a:lnTo>
                      <a:pt x="544830" y="1941195"/>
                    </a:lnTo>
                    <a:lnTo>
                      <a:pt x="562928" y="1941195"/>
                    </a:lnTo>
                    <a:lnTo>
                      <a:pt x="581025" y="1941195"/>
                    </a:lnTo>
                    <a:lnTo>
                      <a:pt x="615315" y="1940243"/>
                    </a:lnTo>
                    <a:lnTo>
                      <a:pt x="647700" y="1939290"/>
                    </a:lnTo>
                    <a:lnTo>
                      <a:pt x="662940" y="1939290"/>
                    </a:lnTo>
                    <a:lnTo>
                      <a:pt x="677228" y="1939290"/>
                    </a:lnTo>
                    <a:lnTo>
                      <a:pt x="690563" y="1939290"/>
                    </a:lnTo>
                    <a:lnTo>
                      <a:pt x="702945" y="1939290"/>
                    </a:lnTo>
                    <a:lnTo>
                      <a:pt x="714375" y="1940243"/>
                    </a:lnTo>
                    <a:lnTo>
                      <a:pt x="724853" y="1942148"/>
                    </a:lnTo>
                    <a:lnTo>
                      <a:pt x="734378" y="1945005"/>
                    </a:lnTo>
                    <a:lnTo>
                      <a:pt x="741045" y="1945958"/>
                    </a:lnTo>
                    <a:lnTo>
                      <a:pt x="741045" y="1945958"/>
                    </a:lnTo>
                    <a:close/>
                    <a:moveTo>
                      <a:pt x="1972628" y="374333"/>
                    </a:moveTo>
                    <a:lnTo>
                      <a:pt x="1958340" y="352425"/>
                    </a:lnTo>
                    <a:lnTo>
                      <a:pt x="1943100" y="328613"/>
                    </a:lnTo>
                    <a:lnTo>
                      <a:pt x="1926908" y="304800"/>
                    </a:lnTo>
                    <a:lnTo>
                      <a:pt x="1910715" y="280988"/>
                    </a:lnTo>
                    <a:lnTo>
                      <a:pt x="1894523" y="259080"/>
                    </a:lnTo>
                    <a:lnTo>
                      <a:pt x="1879283" y="238125"/>
                    </a:lnTo>
                    <a:lnTo>
                      <a:pt x="1871663" y="229553"/>
                    </a:lnTo>
                    <a:lnTo>
                      <a:pt x="1864995" y="220980"/>
                    </a:lnTo>
                    <a:lnTo>
                      <a:pt x="1858328" y="214313"/>
                    </a:lnTo>
                    <a:lnTo>
                      <a:pt x="1852613" y="208598"/>
                    </a:lnTo>
                    <a:lnTo>
                      <a:pt x="1867853" y="212408"/>
                    </a:lnTo>
                    <a:lnTo>
                      <a:pt x="1883093" y="217170"/>
                    </a:lnTo>
                    <a:lnTo>
                      <a:pt x="1897380" y="221933"/>
                    </a:lnTo>
                    <a:lnTo>
                      <a:pt x="1911668" y="226695"/>
                    </a:lnTo>
                    <a:lnTo>
                      <a:pt x="1925955" y="232410"/>
                    </a:lnTo>
                    <a:lnTo>
                      <a:pt x="1940243" y="239078"/>
                    </a:lnTo>
                    <a:lnTo>
                      <a:pt x="1953578" y="245745"/>
                    </a:lnTo>
                    <a:lnTo>
                      <a:pt x="1966913" y="253365"/>
                    </a:lnTo>
                    <a:lnTo>
                      <a:pt x="1980248" y="260985"/>
                    </a:lnTo>
                    <a:lnTo>
                      <a:pt x="1992630" y="269558"/>
                    </a:lnTo>
                    <a:lnTo>
                      <a:pt x="2005013" y="278130"/>
                    </a:lnTo>
                    <a:lnTo>
                      <a:pt x="2016443" y="287655"/>
                    </a:lnTo>
                    <a:lnTo>
                      <a:pt x="2027873" y="298133"/>
                    </a:lnTo>
                    <a:lnTo>
                      <a:pt x="2038350" y="308610"/>
                    </a:lnTo>
                    <a:lnTo>
                      <a:pt x="2048828" y="319088"/>
                    </a:lnTo>
                    <a:lnTo>
                      <a:pt x="2059305" y="329565"/>
                    </a:lnTo>
                    <a:lnTo>
                      <a:pt x="2069783" y="340995"/>
                    </a:lnTo>
                    <a:lnTo>
                      <a:pt x="2079308" y="352425"/>
                    </a:lnTo>
                    <a:lnTo>
                      <a:pt x="2088833" y="363855"/>
                    </a:lnTo>
                    <a:lnTo>
                      <a:pt x="2097405" y="376238"/>
                    </a:lnTo>
                    <a:lnTo>
                      <a:pt x="2105978" y="388620"/>
                    </a:lnTo>
                    <a:lnTo>
                      <a:pt x="2113598" y="401955"/>
                    </a:lnTo>
                    <a:lnTo>
                      <a:pt x="2121218" y="415290"/>
                    </a:lnTo>
                    <a:lnTo>
                      <a:pt x="2127885" y="428625"/>
                    </a:lnTo>
                    <a:lnTo>
                      <a:pt x="2134553" y="441960"/>
                    </a:lnTo>
                    <a:lnTo>
                      <a:pt x="2141220" y="456248"/>
                    </a:lnTo>
                    <a:lnTo>
                      <a:pt x="2146935" y="470535"/>
                    </a:lnTo>
                    <a:lnTo>
                      <a:pt x="2151698" y="484823"/>
                    </a:lnTo>
                    <a:lnTo>
                      <a:pt x="2156460" y="499110"/>
                    </a:lnTo>
                    <a:lnTo>
                      <a:pt x="2161223" y="514350"/>
                    </a:lnTo>
                    <a:lnTo>
                      <a:pt x="2165033" y="529590"/>
                    </a:lnTo>
                    <a:lnTo>
                      <a:pt x="2168843" y="544830"/>
                    </a:lnTo>
                    <a:lnTo>
                      <a:pt x="2155508" y="532448"/>
                    </a:lnTo>
                    <a:lnTo>
                      <a:pt x="2142173" y="521018"/>
                    </a:lnTo>
                    <a:lnTo>
                      <a:pt x="2127885" y="509588"/>
                    </a:lnTo>
                    <a:lnTo>
                      <a:pt x="2114550" y="499110"/>
                    </a:lnTo>
                    <a:lnTo>
                      <a:pt x="2086928" y="478155"/>
                    </a:lnTo>
                    <a:lnTo>
                      <a:pt x="2060258" y="457200"/>
                    </a:lnTo>
                    <a:lnTo>
                      <a:pt x="2047875" y="447675"/>
                    </a:lnTo>
                    <a:lnTo>
                      <a:pt x="2035493" y="437198"/>
                    </a:lnTo>
                    <a:lnTo>
                      <a:pt x="2024063" y="426720"/>
                    </a:lnTo>
                    <a:lnTo>
                      <a:pt x="2012633" y="417195"/>
                    </a:lnTo>
                    <a:lnTo>
                      <a:pt x="2002155" y="406718"/>
                    </a:lnTo>
                    <a:lnTo>
                      <a:pt x="1992630" y="396240"/>
                    </a:lnTo>
                    <a:lnTo>
                      <a:pt x="1987868" y="391478"/>
                    </a:lnTo>
                    <a:lnTo>
                      <a:pt x="1984058" y="386715"/>
                    </a:lnTo>
                    <a:lnTo>
                      <a:pt x="1980248" y="381000"/>
                    </a:lnTo>
                    <a:lnTo>
                      <a:pt x="1972628" y="374333"/>
                    </a:lnTo>
                    <a:lnTo>
                      <a:pt x="1972628" y="374333"/>
                    </a:lnTo>
                    <a:close/>
                    <a:moveTo>
                      <a:pt x="2059305" y="635318"/>
                    </a:moveTo>
                    <a:lnTo>
                      <a:pt x="2064068" y="642938"/>
                    </a:lnTo>
                    <a:lnTo>
                      <a:pt x="2069783" y="650558"/>
                    </a:lnTo>
                    <a:lnTo>
                      <a:pt x="2076450" y="658178"/>
                    </a:lnTo>
                    <a:lnTo>
                      <a:pt x="2084070" y="665798"/>
                    </a:lnTo>
                    <a:lnTo>
                      <a:pt x="2092643" y="674370"/>
                    </a:lnTo>
                    <a:lnTo>
                      <a:pt x="2102168" y="682943"/>
                    </a:lnTo>
                    <a:lnTo>
                      <a:pt x="2111693" y="691515"/>
                    </a:lnTo>
                    <a:lnTo>
                      <a:pt x="2121218" y="700088"/>
                    </a:lnTo>
                    <a:lnTo>
                      <a:pt x="2142173" y="718185"/>
                    </a:lnTo>
                    <a:lnTo>
                      <a:pt x="2164080" y="738188"/>
                    </a:lnTo>
                    <a:lnTo>
                      <a:pt x="2175510" y="748665"/>
                    </a:lnTo>
                    <a:lnTo>
                      <a:pt x="2186940" y="759143"/>
                    </a:lnTo>
                    <a:lnTo>
                      <a:pt x="2198370" y="770573"/>
                    </a:lnTo>
                    <a:lnTo>
                      <a:pt x="2208848" y="782003"/>
                    </a:lnTo>
                    <a:lnTo>
                      <a:pt x="2214563" y="788670"/>
                    </a:lnTo>
                    <a:lnTo>
                      <a:pt x="2220278" y="797243"/>
                    </a:lnTo>
                    <a:lnTo>
                      <a:pt x="2225993" y="806768"/>
                    </a:lnTo>
                    <a:lnTo>
                      <a:pt x="2231708" y="816293"/>
                    </a:lnTo>
                    <a:lnTo>
                      <a:pt x="2237423" y="826770"/>
                    </a:lnTo>
                    <a:lnTo>
                      <a:pt x="2243138" y="837248"/>
                    </a:lnTo>
                    <a:lnTo>
                      <a:pt x="2248853" y="848678"/>
                    </a:lnTo>
                    <a:lnTo>
                      <a:pt x="2253615" y="860108"/>
                    </a:lnTo>
                    <a:lnTo>
                      <a:pt x="2258378" y="872490"/>
                    </a:lnTo>
                    <a:lnTo>
                      <a:pt x="2263140" y="884873"/>
                    </a:lnTo>
                    <a:lnTo>
                      <a:pt x="2267903" y="897255"/>
                    </a:lnTo>
                    <a:lnTo>
                      <a:pt x="2272665" y="909638"/>
                    </a:lnTo>
                    <a:lnTo>
                      <a:pt x="2276475" y="922020"/>
                    </a:lnTo>
                    <a:lnTo>
                      <a:pt x="2280285" y="934403"/>
                    </a:lnTo>
                    <a:lnTo>
                      <a:pt x="2283143" y="945833"/>
                    </a:lnTo>
                    <a:lnTo>
                      <a:pt x="2286000" y="957263"/>
                    </a:lnTo>
                    <a:lnTo>
                      <a:pt x="2296478" y="862013"/>
                    </a:lnTo>
                    <a:lnTo>
                      <a:pt x="2299335" y="842963"/>
                    </a:lnTo>
                    <a:lnTo>
                      <a:pt x="2302193" y="823913"/>
                    </a:lnTo>
                    <a:lnTo>
                      <a:pt x="2306003" y="804863"/>
                    </a:lnTo>
                    <a:lnTo>
                      <a:pt x="2308860" y="784860"/>
                    </a:lnTo>
                    <a:lnTo>
                      <a:pt x="2311718" y="764858"/>
                    </a:lnTo>
                    <a:lnTo>
                      <a:pt x="2314575" y="744855"/>
                    </a:lnTo>
                    <a:lnTo>
                      <a:pt x="2316480" y="724853"/>
                    </a:lnTo>
                    <a:lnTo>
                      <a:pt x="2318385" y="704850"/>
                    </a:lnTo>
                    <a:lnTo>
                      <a:pt x="2319338" y="684848"/>
                    </a:lnTo>
                    <a:lnTo>
                      <a:pt x="2320290" y="664845"/>
                    </a:lnTo>
                    <a:lnTo>
                      <a:pt x="2320290" y="644843"/>
                    </a:lnTo>
                    <a:lnTo>
                      <a:pt x="2319338" y="624840"/>
                    </a:lnTo>
                    <a:lnTo>
                      <a:pt x="2318385" y="615315"/>
                    </a:lnTo>
                    <a:lnTo>
                      <a:pt x="2317433" y="604838"/>
                    </a:lnTo>
                    <a:lnTo>
                      <a:pt x="2316480" y="595313"/>
                    </a:lnTo>
                    <a:lnTo>
                      <a:pt x="2315528" y="585788"/>
                    </a:lnTo>
                    <a:lnTo>
                      <a:pt x="2313623" y="576263"/>
                    </a:lnTo>
                    <a:lnTo>
                      <a:pt x="2311718" y="566738"/>
                    </a:lnTo>
                    <a:lnTo>
                      <a:pt x="2309813" y="557213"/>
                    </a:lnTo>
                    <a:lnTo>
                      <a:pt x="2306955" y="547688"/>
                    </a:lnTo>
                    <a:lnTo>
                      <a:pt x="2321243" y="573405"/>
                    </a:lnTo>
                    <a:lnTo>
                      <a:pt x="2335530" y="599123"/>
                    </a:lnTo>
                    <a:lnTo>
                      <a:pt x="2342198" y="612458"/>
                    </a:lnTo>
                    <a:lnTo>
                      <a:pt x="2348865" y="625793"/>
                    </a:lnTo>
                    <a:lnTo>
                      <a:pt x="2354580" y="639128"/>
                    </a:lnTo>
                    <a:lnTo>
                      <a:pt x="2360295" y="652463"/>
                    </a:lnTo>
                    <a:lnTo>
                      <a:pt x="2365058" y="665798"/>
                    </a:lnTo>
                    <a:lnTo>
                      <a:pt x="2369820" y="679133"/>
                    </a:lnTo>
                    <a:lnTo>
                      <a:pt x="2374583" y="693420"/>
                    </a:lnTo>
                    <a:lnTo>
                      <a:pt x="2378393" y="707708"/>
                    </a:lnTo>
                    <a:lnTo>
                      <a:pt x="2381250" y="721995"/>
                    </a:lnTo>
                    <a:lnTo>
                      <a:pt x="2383155" y="737235"/>
                    </a:lnTo>
                    <a:lnTo>
                      <a:pt x="2384108" y="744855"/>
                    </a:lnTo>
                    <a:lnTo>
                      <a:pt x="2385060" y="752475"/>
                    </a:lnTo>
                    <a:lnTo>
                      <a:pt x="2385060" y="760095"/>
                    </a:lnTo>
                    <a:lnTo>
                      <a:pt x="2385060" y="767715"/>
                    </a:lnTo>
                    <a:lnTo>
                      <a:pt x="2385060" y="778193"/>
                    </a:lnTo>
                    <a:lnTo>
                      <a:pt x="2385060" y="788670"/>
                    </a:lnTo>
                    <a:lnTo>
                      <a:pt x="2384108" y="799148"/>
                    </a:lnTo>
                    <a:lnTo>
                      <a:pt x="2383155" y="809625"/>
                    </a:lnTo>
                    <a:lnTo>
                      <a:pt x="2381250" y="820103"/>
                    </a:lnTo>
                    <a:lnTo>
                      <a:pt x="2379345" y="830580"/>
                    </a:lnTo>
                    <a:lnTo>
                      <a:pt x="2377440" y="840105"/>
                    </a:lnTo>
                    <a:lnTo>
                      <a:pt x="2375535" y="849630"/>
                    </a:lnTo>
                    <a:lnTo>
                      <a:pt x="2372678" y="859155"/>
                    </a:lnTo>
                    <a:lnTo>
                      <a:pt x="2369820" y="868680"/>
                    </a:lnTo>
                    <a:lnTo>
                      <a:pt x="2366963" y="878205"/>
                    </a:lnTo>
                    <a:lnTo>
                      <a:pt x="2364105" y="887730"/>
                    </a:lnTo>
                    <a:lnTo>
                      <a:pt x="2357438" y="905828"/>
                    </a:lnTo>
                    <a:lnTo>
                      <a:pt x="2349818" y="922973"/>
                    </a:lnTo>
                    <a:lnTo>
                      <a:pt x="2333625" y="958215"/>
                    </a:lnTo>
                    <a:lnTo>
                      <a:pt x="2317433" y="993458"/>
                    </a:lnTo>
                    <a:lnTo>
                      <a:pt x="2309813" y="1011555"/>
                    </a:lnTo>
                    <a:lnTo>
                      <a:pt x="2302193" y="1029653"/>
                    </a:lnTo>
                    <a:lnTo>
                      <a:pt x="2295525" y="1047750"/>
                    </a:lnTo>
                    <a:lnTo>
                      <a:pt x="2288858" y="1066800"/>
                    </a:lnTo>
                    <a:lnTo>
                      <a:pt x="2287905" y="1061085"/>
                    </a:lnTo>
                    <a:lnTo>
                      <a:pt x="2286953" y="1054418"/>
                    </a:lnTo>
                    <a:lnTo>
                      <a:pt x="2285048" y="1047750"/>
                    </a:lnTo>
                    <a:lnTo>
                      <a:pt x="2283143" y="1041083"/>
                    </a:lnTo>
                    <a:lnTo>
                      <a:pt x="2280285" y="1034415"/>
                    </a:lnTo>
                    <a:lnTo>
                      <a:pt x="2277428" y="1026795"/>
                    </a:lnTo>
                    <a:lnTo>
                      <a:pt x="2274570" y="1019175"/>
                    </a:lnTo>
                    <a:lnTo>
                      <a:pt x="2270760" y="1011555"/>
                    </a:lnTo>
                    <a:lnTo>
                      <a:pt x="2263140" y="996315"/>
                    </a:lnTo>
                    <a:lnTo>
                      <a:pt x="2254568" y="980123"/>
                    </a:lnTo>
                    <a:lnTo>
                      <a:pt x="2245043" y="963930"/>
                    </a:lnTo>
                    <a:lnTo>
                      <a:pt x="2235518" y="947738"/>
                    </a:lnTo>
                    <a:lnTo>
                      <a:pt x="2225993" y="932498"/>
                    </a:lnTo>
                    <a:lnTo>
                      <a:pt x="2215515" y="917258"/>
                    </a:lnTo>
                    <a:lnTo>
                      <a:pt x="2205038" y="902018"/>
                    </a:lnTo>
                    <a:lnTo>
                      <a:pt x="2194560" y="888683"/>
                    </a:lnTo>
                    <a:lnTo>
                      <a:pt x="2185035" y="875348"/>
                    </a:lnTo>
                    <a:lnTo>
                      <a:pt x="2176463" y="863918"/>
                    </a:lnTo>
                    <a:lnTo>
                      <a:pt x="2167890" y="853440"/>
                    </a:lnTo>
                    <a:lnTo>
                      <a:pt x="2160270" y="844868"/>
                    </a:lnTo>
                    <a:lnTo>
                      <a:pt x="2148840" y="829628"/>
                    </a:lnTo>
                    <a:lnTo>
                      <a:pt x="2138363" y="816293"/>
                    </a:lnTo>
                    <a:lnTo>
                      <a:pt x="2129790" y="803910"/>
                    </a:lnTo>
                    <a:lnTo>
                      <a:pt x="2122170" y="792480"/>
                    </a:lnTo>
                    <a:lnTo>
                      <a:pt x="2115503" y="782003"/>
                    </a:lnTo>
                    <a:lnTo>
                      <a:pt x="2109788" y="771525"/>
                    </a:lnTo>
                    <a:lnTo>
                      <a:pt x="2105025" y="761048"/>
                    </a:lnTo>
                    <a:lnTo>
                      <a:pt x="2100263" y="750570"/>
                    </a:lnTo>
                    <a:lnTo>
                      <a:pt x="2095500" y="740093"/>
                    </a:lnTo>
                    <a:lnTo>
                      <a:pt x="2091690" y="729615"/>
                    </a:lnTo>
                    <a:lnTo>
                      <a:pt x="2086928" y="718185"/>
                    </a:lnTo>
                    <a:lnTo>
                      <a:pt x="2082165" y="705803"/>
                    </a:lnTo>
                    <a:lnTo>
                      <a:pt x="2072640" y="677228"/>
                    </a:lnTo>
                    <a:lnTo>
                      <a:pt x="2059305" y="635318"/>
                    </a:lnTo>
                    <a:lnTo>
                      <a:pt x="2059305" y="635318"/>
                    </a:lnTo>
                    <a:close/>
                    <a:moveTo>
                      <a:pt x="2132648" y="882968"/>
                    </a:moveTo>
                    <a:lnTo>
                      <a:pt x="2147888" y="902970"/>
                    </a:lnTo>
                    <a:lnTo>
                      <a:pt x="2162175" y="922020"/>
                    </a:lnTo>
                    <a:lnTo>
                      <a:pt x="2176463" y="941070"/>
                    </a:lnTo>
                    <a:lnTo>
                      <a:pt x="2189798" y="960120"/>
                    </a:lnTo>
                    <a:lnTo>
                      <a:pt x="2202180" y="978218"/>
                    </a:lnTo>
                    <a:lnTo>
                      <a:pt x="2212658" y="997268"/>
                    </a:lnTo>
                    <a:lnTo>
                      <a:pt x="2217420" y="1006793"/>
                    </a:lnTo>
                    <a:lnTo>
                      <a:pt x="2222183" y="1016318"/>
                    </a:lnTo>
                    <a:lnTo>
                      <a:pt x="2226945" y="1025843"/>
                    </a:lnTo>
                    <a:lnTo>
                      <a:pt x="2231708" y="1035368"/>
                    </a:lnTo>
                    <a:lnTo>
                      <a:pt x="2235518" y="1044893"/>
                    </a:lnTo>
                    <a:lnTo>
                      <a:pt x="2239328" y="1054418"/>
                    </a:lnTo>
                    <a:lnTo>
                      <a:pt x="2243138" y="1063943"/>
                    </a:lnTo>
                    <a:lnTo>
                      <a:pt x="2245995" y="1074420"/>
                    </a:lnTo>
                    <a:lnTo>
                      <a:pt x="2248853" y="1084898"/>
                    </a:lnTo>
                    <a:lnTo>
                      <a:pt x="2251710" y="1095375"/>
                    </a:lnTo>
                    <a:lnTo>
                      <a:pt x="2254568" y="1105853"/>
                    </a:lnTo>
                    <a:lnTo>
                      <a:pt x="2256473" y="1117283"/>
                    </a:lnTo>
                    <a:lnTo>
                      <a:pt x="2258378" y="1128713"/>
                    </a:lnTo>
                    <a:lnTo>
                      <a:pt x="2259330" y="1140143"/>
                    </a:lnTo>
                    <a:lnTo>
                      <a:pt x="2260283" y="1152525"/>
                    </a:lnTo>
                    <a:lnTo>
                      <a:pt x="2261235" y="1164908"/>
                    </a:lnTo>
                    <a:lnTo>
                      <a:pt x="2261235" y="1178243"/>
                    </a:lnTo>
                    <a:lnTo>
                      <a:pt x="2261235" y="1191578"/>
                    </a:lnTo>
                    <a:lnTo>
                      <a:pt x="2261235" y="1205865"/>
                    </a:lnTo>
                    <a:lnTo>
                      <a:pt x="2261235" y="1220153"/>
                    </a:lnTo>
                    <a:lnTo>
                      <a:pt x="2264093" y="1207770"/>
                    </a:lnTo>
                    <a:lnTo>
                      <a:pt x="2266950" y="1195388"/>
                    </a:lnTo>
                    <a:lnTo>
                      <a:pt x="2270760" y="1183005"/>
                    </a:lnTo>
                    <a:lnTo>
                      <a:pt x="2274570" y="1170623"/>
                    </a:lnTo>
                    <a:lnTo>
                      <a:pt x="2279333" y="1158240"/>
                    </a:lnTo>
                    <a:lnTo>
                      <a:pt x="2284095" y="1145858"/>
                    </a:lnTo>
                    <a:lnTo>
                      <a:pt x="2288858" y="1133475"/>
                    </a:lnTo>
                    <a:lnTo>
                      <a:pt x="2294573" y="1121093"/>
                    </a:lnTo>
                    <a:lnTo>
                      <a:pt x="2306003" y="1096328"/>
                    </a:lnTo>
                    <a:lnTo>
                      <a:pt x="2319338" y="1072515"/>
                    </a:lnTo>
                    <a:lnTo>
                      <a:pt x="2331720" y="1047750"/>
                    </a:lnTo>
                    <a:lnTo>
                      <a:pt x="2345055" y="1023938"/>
                    </a:lnTo>
                    <a:lnTo>
                      <a:pt x="2357438" y="1000125"/>
                    </a:lnTo>
                    <a:lnTo>
                      <a:pt x="2369820" y="976313"/>
                    </a:lnTo>
                    <a:lnTo>
                      <a:pt x="2375535" y="964883"/>
                    </a:lnTo>
                    <a:lnTo>
                      <a:pt x="2381250" y="953453"/>
                    </a:lnTo>
                    <a:lnTo>
                      <a:pt x="2386013" y="942023"/>
                    </a:lnTo>
                    <a:lnTo>
                      <a:pt x="2390775" y="930593"/>
                    </a:lnTo>
                    <a:lnTo>
                      <a:pt x="2395538" y="919163"/>
                    </a:lnTo>
                    <a:lnTo>
                      <a:pt x="2399348" y="907733"/>
                    </a:lnTo>
                    <a:lnTo>
                      <a:pt x="2403158" y="896303"/>
                    </a:lnTo>
                    <a:lnTo>
                      <a:pt x="2406015" y="884873"/>
                    </a:lnTo>
                    <a:lnTo>
                      <a:pt x="2408873" y="874395"/>
                    </a:lnTo>
                    <a:lnTo>
                      <a:pt x="2410778" y="863918"/>
                    </a:lnTo>
                    <a:lnTo>
                      <a:pt x="2411730" y="853440"/>
                    </a:lnTo>
                    <a:lnTo>
                      <a:pt x="2412683" y="842963"/>
                    </a:lnTo>
                    <a:lnTo>
                      <a:pt x="2417445" y="866775"/>
                    </a:lnTo>
                    <a:lnTo>
                      <a:pt x="2421255" y="889635"/>
                    </a:lnTo>
                    <a:lnTo>
                      <a:pt x="2424113" y="911543"/>
                    </a:lnTo>
                    <a:lnTo>
                      <a:pt x="2426018" y="931545"/>
                    </a:lnTo>
                    <a:lnTo>
                      <a:pt x="2426970" y="950595"/>
                    </a:lnTo>
                    <a:lnTo>
                      <a:pt x="2426970" y="969645"/>
                    </a:lnTo>
                    <a:lnTo>
                      <a:pt x="2426970" y="987743"/>
                    </a:lnTo>
                    <a:lnTo>
                      <a:pt x="2426018" y="1004888"/>
                    </a:lnTo>
                    <a:lnTo>
                      <a:pt x="2424113" y="1021080"/>
                    </a:lnTo>
                    <a:lnTo>
                      <a:pt x="2421255" y="1036320"/>
                    </a:lnTo>
                    <a:lnTo>
                      <a:pt x="2418398" y="1050608"/>
                    </a:lnTo>
                    <a:lnTo>
                      <a:pt x="2413635" y="1064895"/>
                    </a:lnTo>
                    <a:lnTo>
                      <a:pt x="2408873" y="1079183"/>
                    </a:lnTo>
                    <a:lnTo>
                      <a:pt x="2404110" y="1092518"/>
                    </a:lnTo>
                    <a:lnTo>
                      <a:pt x="2398395" y="1105853"/>
                    </a:lnTo>
                    <a:lnTo>
                      <a:pt x="2392680" y="1118235"/>
                    </a:lnTo>
                    <a:lnTo>
                      <a:pt x="2386013" y="1130618"/>
                    </a:lnTo>
                    <a:lnTo>
                      <a:pt x="2378393" y="1143000"/>
                    </a:lnTo>
                    <a:lnTo>
                      <a:pt x="2369820" y="1155383"/>
                    </a:lnTo>
                    <a:lnTo>
                      <a:pt x="2361248" y="1166813"/>
                    </a:lnTo>
                    <a:lnTo>
                      <a:pt x="2352675" y="1179195"/>
                    </a:lnTo>
                    <a:lnTo>
                      <a:pt x="2343150" y="1190625"/>
                    </a:lnTo>
                    <a:lnTo>
                      <a:pt x="2333625" y="1203008"/>
                    </a:lnTo>
                    <a:lnTo>
                      <a:pt x="2323148" y="1215390"/>
                    </a:lnTo>
                    <a:lnTo>
                      <a:pt x="2302193" y="1240155"/>
                    </a:lnTo>
                    <a:lnTo>
                      <a:pt x="2280285" y="1266825"/>
                    </a:lnTo>
                    <a:lnTo>
                      <a:pt x="2268855" y="1281113"/>
                    </a:lnTo>
                    <a:lnTo>
                      <a:pt x="2257425" y="1295400"/>
                    </a:lnTo>
                    <a:lnTo>
                      <a:pt x="2245995" y="1310640"/>
                    </a:lnTo>
                    <a:lnTo>
                      <a:pt x="2233613" y="1326833"/>
                    </a:lnTo>
                    <a:lnTo>
                      <a:pt x="2234565" y="1315403"/>
                    </a:lnTo>
                    <a:lnTo>
                      <a:pt x="2234565" y="1303973"/>
                    </a:lnTo>
                    <a:lnTo>
                      <a:pt x="2234565" y="1292543"/>
                    </a:lnTo>
                    <a:lnTo>
                      <a:pt x="2233613" y="1281113"/>
                    </a:lnTo>
                    <a:lnTo>
                      <a:pt x="2231708" y="1268730"/>
                    </a:lnTo>
                    <a:lnTo>
                      <a:pt x="2228850" y="1256348"/>
                    </a:lnTo>
                    <a:lnTo>
                      <a:pt x="2225993" y="1243965"/>
                    </a:lnTo>
                    <a:lnTo>
                      <a:pt x="2222183" y="1231583"/>
                    </a:lnTo>
                    <a:lnTo>
                      <a:pt x="2218373" y="1219200"/>
                    </a:lnTo>
                    <a:lnTo>
                      <a:pt x="2213610" y="1205865"/>
                    </a:lnTo>
                    <a:lnTo>
                      <a:pt x="2208848" y="1192530"/>
                    </a:lnTo>
                    <a:lnTo>
                      <a:pt x="2204085" y="1179195"/>
                    </a:lnTo>
                    <a:lnTo>
                      <a:pt x="2193608" y="1152525"/>
                    </a:lnTo>
                    <a:lnTo>
                      <a:pt x="2182178" y="1124903"/>
                    </a:lnTo>
                    <a:lnTo>
                      <a:pt x="2171700" y="1097280"/>
                    </a:lnTo>
                    <a:lnTo>
                      <a:pt x="2161223" y="1068705"/>
                    </a:lnTo>
                    <a:lnTo>
                      <a:pt x="2156460" y="1054418"/>
                    </a:lnTo>
                    <a:lnTo>
                      <a:pt x="2151698" y="1040130"/>
                    </a:lnTo>
                    <a:lnTo>
                      <a:pt x="2146935" y="1024890"/>
                    </a:lnTo>
                    <a:lnTo>
                      <a:pt x="2142173" y="1009650"/>
                    </a:lnTo>
                    <a:lnTo>
                      <a:pt x="2138363" y="994410"/>
                    </a:lnTo>
                    <a:lnTo>
                      <a:pt x="2135505" y="979170"/>
                    </a:lnTo>
                    <a:lnTo>
                      <a:pt x="2132648" y="962978"/>
                    </a:lnTo>
                    <a:lnTo>
                      <a:pt x="2130743" y="947738"/>
                    </a:lnTo>
                    <a:lnTo>
                      <a:pt x="2128838" y="931545"/>
                    </a:lnTo>
                    <a:lnTo>
                      <a:pt x="2128838" y="915353"/>
                    </a:lnTo>
                    <a:lnTo>
                      <a:pt x="2128838" y="899160"/>
                    </a:lnTo>
                    <a:lnTo>
                      <a:pt x="2132648" y="882968"/>
                    </a:lnTo>
                    <a:lnTo>
                      <a:pt x="2132648" y="882968"/>
                    </a:lnTo>
                    <a:close/>
                    <a:moveTo>
                      <a:pt x="2111693" y="1592580"/>
                    </a:moveTo>
                    <a:lnTo>
                      <a:pt x="2115503" y="1580198"/>
                    </a:lnTo>
                    <a:lnTo>
                      <a:pt x="2118360" y="1567815"/>
                    </a:lnTo>
                    <a:lnTo>
                      <a:pt x="2121218" y="1554480"/>
                    </a:lnTo>
                    <a:lnTo>
                      <a:pt x="2123123" y="1541145"/>
                    </a:lnTo>
                    <a:lnTo>
                      <a:pt x="2124075" y="1527810"/>
                    </a:lnTo>
                    <a:lnTo>
                      <a:pt x="2125028" y="1513523"/>
                    </a:lnTo>
                    <a:lnTo>
                      <a:pt x="2125028" y="1499235"/>
                    </a:lnTo>
                    <a:lnTo>
                      <a:pt x="2125028" y="1483995"/>
                    </a:lnTo>
                    <a:lnTo>
                      <a:pt x="2125028" y="1468755"/>
                    </a:lnTo>
                    <a:lnTo>
                      <a:pt x="2124075" y="1453515"/>
                    </a:lnTo>
                    <a:lnTo>
                      <a:pt x="2123123" y="1438275"/>
                    </a:lnTo>
                    <a:lnTo>
                      <a:pt x="2122170" y="1423035"/>
                    </a:lnTo>
                    <a:lnTo>
                      <a:pt x="2119313" y="1391603"/>
                    </a:lnTo>
                    <a:lnTo>
                      <a:pt x="2116455" y="1360170"/>
                    </a:lnTo>
                    <a:lnTo>
                      <a:pt x="2114550" y="1328738"/>
                    </a:lnTo>
                    <a:lnTo>
                      <a:pt x="2112645" y="1297305"/>
                    </a:lnTo>
                    <a:lnTo>
                      <a:pt x="2111693" y="1281113"/>
                    </a:lnTo>
                    <a:lnTo>
                      <a:pt x="2111693" y="1265873"/>
                    </a:lnTo>
                    <a:lnTo>
                      <a:pt x="2112645" y="1249680"/>
                    </a:lnTo>
                    <a:lnTo>
                      <a:pt x="2112645" y="1233488"/>
                    </a:lnTo>
                    <a:lnTo>
                      <a:pt x="2113598" y="1217295"/>
                    </a:lnTo>
                    <a:lnTo>
                      <a:pt x="2115503" y="1202055"/>
                    </a:lnTo>
                    <a:lnTo>
                      <a:pt x="2117408" y="1185863"/>
                    </a:lnTo>
                    <a:lnTo>
                      <a:pt x="2120265" y="1170623"/>
                    </a:lnTo>
                    <a:lnTo>
                      <a:pt x="2124075" y="1155383"/>
                    </a:lnTo>
                    <a:lnTo>
                      <a:pt x="2128838" y="1140143"/>
                    </a:lnTo>
                    <a:lnTo>
                      <a:pt x="2134553" y="1124903"/>
                    </a:lnTo>
                    <a:lnTo>
                      <a:pt x="2140268" y="1109663"/>
                    </a:lnTo>
                    <a:lnTo>
                      <a:pt x="2146935" y="1132523"/>
                    </a:lnTo>
                    <a:lnTo>
                      <a:pt x="2153603" y="1154430"/>
                    </a:lnTo>
                    <a:lnTo>
                      <a:pt x="2160270" y="1176338"/>
                    </a:lnTo>
                    <a:lnTo>
                      <a:pt x="2165985" y="1197293"/>
                    </a:lnTo>
                    <a:lnTo>
                      <a:pt x="2171700" y="1219200"/>
                    </a:lnTo>
                    <a:lnTo>
                      <a:pt x="2177415" y="1240155"/>
                    </a:lnTo>
                    <a:lnTo>
                      <a:pt x="2182178" y="1262063"/>
                    </a:lnTo>
                    <a:lnTo>
                      <a:pt x="2185988" y="1283970"/>
                    </a:lnTo>
                    <a:lnTo>
                      <a:pt x="2187893" y="1295400"/>
                    </a:lnTo>
                    <a:lnTo>
                      <a:pt x="2188845" y="1306830"/>
                    </a:lnTo>
                    <a:lnTo>
                      <a:pt x="2189798" y="1318260"/>
                    </a:lnTo>
                    <a:lnTo>
                      <a:pt x="2189798" y="1329690"/>
                    </a:lnTo>
                    <a:lnTo>
                      <a:pt x="2190750" y="1341120"/>
                    </a:lnTo>
                    <a:lnTo>
                      <a:pt x="2190750" y="1353503"/>
                    </a:lnTo>
                    <a:lnTo>
                      <a:pt x="2190750" y="1365885"/>
                    </a:lnTo>
                    <a:lnTo>
                      <a:pt x="2190750" y="1378268"/>
                    </a:lnTo>
                    <a:lnTo>
                      <a:pt x="2189798" y="1390650"/>
                    </a:lnTo>
                    <a:lnTo>
                      <a:pt x="2188845" y="1403033"/>
                    </a:lnTo>
                    <a:lnTo>
                      <a:pt x="2186940" y="1416368"/>
                    </a:lnTo>
                    <a:lnTo>
                      <a:pt x="2185035" y="1429703"/>
                    </a:lnTo>
                    <a:lnTo>
                      <a:pt x="2182178" y="1443038"/>
                    </a:lnTo>
                    <a:lnTo>
                      <a:pt x="2179320" y="1457325"/>
                    </a:lnTo>
                    <a:lnTo>
                      <a:pt x="2175510" y="1471613"/>
                    </a:lnTo>
                    <a:lnTo>
                      <a:pt x="2171700" y="1485900"/>
                    </a:lnTo>
                    <a:lnTo>
                      <a:pt x="2176463" y="1478280"/>
                    </a:lnTo>
                    <a:lnTo>
                      <a:pt x="2184083" y="1466850"/>
                    </a:lnTo>
                    <a:lnTo>
                      <a:pt x="2193608" y="1451610"/>
                    </a:lnTo>
                    <a:lnTo>
                      <a:pt x="2205038" y="1434465"/>
                    </a:lnTo>
                    <a:lnTo>
                      <a:pt x="2218373" y="1414463"/>
                    </a:lnTo>
                    <a:lnTo>
                      <a:pt x="2233613" y="1392555"/>
                    </a:lnTo>
                    <a:lnTo>
                      <a:pt x="2242185" y="1382078"/>
                    </a:lnTo>
                    <a:lnTo>
                      <a:pt x="2250758" y="1370648"/>
                    </a:lnTo>
                    <a:lnTo>
                      <a:pt x="2260283" y="1359218"/>
                    </a:lnTo>
                    <a:lnTo>
                      <a:pt x="2269808" y="1347788"/>
                    </a:lnTo>
                    <a:lnTo>
                      <a:pt x="2293620" y="1319213"/>
                    </a:lnTo>
                    <a:lnTo>
                      <a:pt x="2318385" y="1290638"/>
                    </a:lnTo>
                    <a:lnTo>
                      <a:pt x="2343150" y="1262063"/>
                    </a:lnTo>
                    <a:lnTo>
                      <a:pt x="2366963" y="1233488"/>
                    </a:lnTo>
                    <a:lnTo>
                      <a:pt x="2378393" y="1219200"/>
                    </a:lnTo>
                    <a:lnTo>
                      <a:pt x="2389823" y="1204913"/>
                    </a:lnTo>
                    <a:lnTo>
                      <a:pt x="2400300" y="1190625"/>
                    </a:lnTo>
                    <a:lnTo>
                      <a:pt x="2410778" y="1176338"/>
                    </a:lnTo>
                    <a:lnTo>
                      <a:pt x="2420303" y="1163003"/>
                    </a:lnTo>
                    <a:lnTo>
                      <a:pt x="2428875" y="1149668"/>
                    </a:lnTo>
                    <a:lnTo>
                      <a:pt x="2436495" y="1137285"/>
                    </a:lnTo>
                    <a:lnTo>
                      <a:pt x="2443163" y="1124903"/>
                    </a:lnTo>
                    <a:lnTo>
                      <a:pt x="2442210" y="1153478"/>
                    </a:lnTo>
                    <a:lnTo>
                      <a:pt x="2439353" y="1181100"/>
                    </a:lnTo>
                    <a:lnTo>
                      <a:pt x="2435543" y="1207770"/>
                    </a:lnTo>
                    <a:lnTo>
                      <a:pt x="2429828" y="1233488"/>
                    </a:lnTo>
                    <a:lnTo>
                      <a:pt x="2423160" y="1257300"/>
                    </a:lnTo>
                    <a:lnTo>
                      <a:pt x="2415540" y="1280160"/>
                    </a:lnTo>
                    <a:lnTo>
                      <a:pt x="2406015" y="1302068"/>
                    </a:lnTo>
                    <a:lnTo>
                      <a:pt x="2395538" y="1323023"/>
                    </a:lnTo>
                    <a:lnTo>
                      <a:pt x="2384108" y="1343025"/>
                    </a:lnTo>
                    <a:lnTo>
                      <a:pt x="2372678" y="1362075"/>
                    </a:lnTo>
                    <a:lnTo>
                      <a:pt x="2359343" y="1380173"/>
                    </a:lnTo>
                    <a:lnTo>
                      <a:pt x="2346008" y="1396365"/>
                    </a:lnTo>
                    <a:lnTo>
                      <a:pt x="2331720" y="1412558"/>
                    </a:lnTo>
                    <a:lnTo>
                      <a:pt x="2317433" y="1427798"/>
                    </a:lnTo>
                    <a:lnTo>
                      <a:pt x="2303145" y="1442085"/>
                    </a:lnTo>
                    <a:lnTo>
                      <a:pt x="2287905" y="1455420"/>
                    </a:lnTo>
                    <a:lnTo>
                      <a:pt x="2272665" y="1467803"/>
                    </a:lnTo>
                    <a:lnTo>
                      <a:pt x="2257425" y="1480185"/>
                    </a:lnTo>
                    <a:lnTo>
                      <a:pt x="2242185" y="1490663"/>
                    </a:lnTo>
                    <a:lnTo>
                      <a:pt x="2227898" y="1502093"/>
                    </a:lnTo>
                    <a:lnTo>
                      <a:pt x="2199323" y="1521143"/>
                    </a:lnTo>
                    <a:lnTo>
                      <a:pt x="2172653" y="1538288"/>
                    </a:lnTo>
                    <a:lnTo>
                      <a:pt x="2161223" y="1545908"/>
                    </a:lnTo>
                    <a:lnTo>
                      <a:pt x="2149793" y="1553528"/>
                    </a:lnTo>
                    <a:lnTo>
                      <a:pt x="2139315" y="1560195"/>
                    </a:lnTo>
                    <a:lnTo>
                      <a:pt x="2129790" y="1566863"/>
                    </a:lnTo>
                    <a:lnTo>
                      <a:pt x="2122170" y="1573530"/>
                    </a:lnTo>
                    <a:lnTo>
                      <a:pt x="2116455" y="1579245"/>
                    </a:lnTo>
                    <a:lnTo>
                      <a:pt x="2111693" y="1584960"/>
                    </a:lnTo>
                    <a:lnTo>
                      <a:pt x="2111693" y="1592580"/>
                    </a:lnTo>
                    <a:lnTo>
                      <a:pt x="2111693" y="1592580"/>
                    </a:lnTo>
                    <a:close/>
                    <a:moveTo>
                      <a:pt x="1925003" y="1794510"/>
                    </a:moveTo>
                    <a:lnTo>
                      <a:pt x="1931670" y="1784033"/>
                    </a:lnTo>
                    <a:lnTo>
                      <a:pt x="1938338" y="1772603"/>
                    </a:lnTo>
                    <a:lnTo>
                      <a:pt x="1944053" y="1761173"/>
                    </a:lnTo>
                    <a:lnTo>
                      <a:pt x="1948815" y="1748790"/>
                    </a:lnTo>
                    <a:lnTo>
                      <a:pt x="1953578" y="1736408"/>
                    </a:lnTo>
                    <a:lnTo>
                      <a:pt x="1958340" y="1724025"/>
                    </a:lnTo>
                    <a:lnTo>
                      <a:pt x="1962150" y="1710690"/>
                    </a:lnTo>
                    <a:lnTo>
                      <a:pt x="1965960" y="1697355"/>
                    </a:lnTo>
                    <a:lnTo>
                      <a:pt x="1969770" y="1683068"/>
                    </a:lnTo>
                    <a:lnTo>
                      <a:pt x="1972628" y="1668780"/>
                    </a:lnTo>
                    <a:lnTo>
                      <a:pt x="1975485" y="1654493"/>
                    </a:lnTo>
                    <a:lnTo>
                      <a:pt x="1978343" y="1640205"/>
                    </a:lnTo>
                    <a:lnTo>
                      <a:pt x="1984058" y="1611630"/>
                    </a:lnTo>
                    <a:lnTo>
                      <a:pt x="1989773" y="1582103"/>
                    </a:lnTo>
                    <a:lnTo>
                      <a:pt x="1995488" y="1552575"/>
                    </a:lnTo>
                    <a:lnTo>
                      <a:pt x="2002155" y="1523048"/>
                    </a:lnTo>
                    <a:lnTo>
                      <a:pt x="2005965" y="1507808"/>
                    </a:lnTo>
                    <a:lnTo>
                      <a:pt x="2009775" y="1493520"/>
                    </a:lnTo>
                    <a:lnTo>
                      <a:pt x="2014538" y="1479233"/>
                    </a:lnTo>
                    <a:lnTo>
                      <a:pt x="2019300" y="1464945"/>
                    </a:lnTo>
                    <a:lnTo>
                      <a:pt x="2025015" y="1450658"/>
                    </a:lnTo>
                    <a:lnTo>
                      <a:pt x="2030730" y="1436370"/>
                    </a:lnTo>
                    <a:lnTo>
                      <a:pt x="2037398" y="1423035"/>
                    </a:lnTo>
                    <a:lnTo>
                      <a:pt x="2044065" y="1409700"/>
                    </a:lnTo>
                    <a:lnTo>
                      <a:pt x="2051685" y="1396365"/>
                    </a:lnTo>
                    <a:lnTo>
                      <a:pt x="2060258" y="1383983"/>
                    </a:lnTo>
                    <a:lnTo>
                      <a:pt x="2069783" y="1371600"/>
                    </a:lnTo>
                    <a:lnTo>
                      <a:pt x="2080260" y="1360170"/>
                    </a:lnTo>
                    <a:lnTo>
                      <a:pt x="2079308" y="1385888"/>
                    </a:lnTo>
                    <a:lnTo>
                      <a:pt x="2078355" y="1410653"/>
                    </a:lnTo>
                    <a:lnTo>
                      <a:pt x="2078355" y="1435418"/>
                    </a:lnTo>
                    <a:lnTo>
                      <a:pt x="2078355" y="1458278"/>
                    </a:lnTo>
                    <a:lnTo>
                      <a:pt x="2079308" y="1480185"/>
                    </a:lnTo>
                    <a:lnTo>
                      <a:pt x="2079308" y="1502093"/>
                    </a:lnTo>
                    <a:lnTo>
                      <a:pt x="2079308" y="1523048"/>
                    </a:lnTo>
                    <a:lnTo>
                      <a:pt x="2079308" y="1543050"/>
                    </a:lnTo>
                    <a:lnTo>
                      <a:pt x="2078355" y="1553528"/>
                    </a:lnTo>
                    <a:lnTo>
                      <a:pt x="2077403" y="1563053"/>
                    </a:lnTo>
                    <a:lnTo>
                      <a:pt x="2076450" y="1572578"/>
                    </a:lnTo>
                    <a:lnTo>
                      <a:pt x="2075498" y="1582103"/>
                    </a:lnTo>
                    <a:lnTo>
                      <a:pt x="2073593" y="1591628"/>
                    </a:lnTo>
                    <a:lnTo>
                      <a:pt x="2071688" y="1601153"/>
                    </a:lnTo>
                    <a:lnTo>
                      <a:pt x="2069783" y="1610678"/>
                    </a:lnTo>
                    <a:lnTo>
                      <a:pt x="2066925" y="1620203"/>
                    </a:lnTo>
                    <a:lnTo>
                      <a:pt x="2064068" y="1629728"/>
                    </a:lnTo>
                    <a:lnTo>
                      <a:pt x="2060258" y="1639253"/>
                    </a:lnTo>
                    <a:lnTo>
                      <a:pt x="2055495" y="1648778"/>
                    </a:lnTo>
                    <a:lnTo>
                      <a:pt x="2050733" y="1658303"/>
                    </a:lnTo>
                    <a:lnTo>
                      <a:pt x="2045018" y="1666875"/>
                    </a:lnTo>
                    <a:lnTo>
                      <a:pt x="2039303" y="1676400"/>
                    </a:lnTo>
                    <a:lnTo>
                      <a:pt x="2033588" y="1685925"/>
                    </a:lnTo>
                    <a:lnTo>
                      <a:pt x="2026920" y="1694498"/>
                    </a:lnTo>
                    <a:lnTo>
                      <a:pt x="2038350" y="1684020"/>
                    </a:lnTo>
                    <a:lnTo>
                      <a:pt x="2052638" y="1672590"/>
                    </a:lnTo>
                    <a:lnTo>
                      <a:pt x="2067878" y="1660208"/>
                    </a:lnTo>
                    <a:lnTo>
                      <a:pt x="2085023" y="1646873"/>
                    </a:lnTo>
                    <a:lnTo>
                      <a:pt x="2094548" y="1640205"/>
                    </a:lnTo>
                    <a:lnTo>
                      <a:pt x="2105025" y="1633538"/>
                    </a:lnTo>
                    <a:lnTo>
                      <a:pt x="2115503" y="1626870"/>
                    </a:lnTo>
                    <a:lnTo>
                      <a:pt x="2126933" y="1620203"/>
                    </a:lnTo>
                    <a:lnTo>
                      <a:pt x="2139315" y="1613535"/>
                    </a:lnTo>
                    <a:lnTo>
                      <a:pt x="2151698" y="1607820"/>
                    </a:lnTo>
                    <a:lnTo>
                      <a:pt x="2165033" y="1602105"/>
                    </a:lnTo>
                    <a:lnTo>
                      <a:pt x="2179320" y="1596390"/>
                    </a:lnTo>
                    <a:lnTo>
                      <a:pt x="2187893" y="1593533"/>
                    </a:lnTo>
                    <a:lnTo>
                      <a:pt x="2195513" y="1589723"/>
                    </a:lnTo>
                    <a:lnTo>
                      <a:pt x="2204085" y="1585913"/>
                    </a:lnTo>
                    <a:lnTo>
                      <a:pt x="2211705" y="1581150"/>
                    </a:lnTo>
                    <a:lnTo>
                      <a:pt x="2219325" y="1576388"/>
                    </a:lnTo>
                    <a:lnTo>
                      <a:pt x="2226945" y="1571625"/>
                    </a:lnTo>
                    <a:lnTo>
                      <a:pt x="2234565" y="1566863"/>
                    </a:lnTo>
                    <a:lnTo>
                      <a:pt x="2242185" y="1562100"/>
                    </a:lnTo>
                    <a:lnTo>
                      <a:pt x="2256473" y="1551623"/>
                    </a:lnTo>
                    <a:lnTo>
                      <a:pt x="2269808" y="1541145"/>
                    </a:lnTo>
                    <a:lnTo>
                      <a:pt x="2283143" y="1529715"/>
                    </a:lnTo>
                    <a:lnTo>
                      <a:pt x="2295525" y="1518285"/>
                    </a:lnTo>
                    <a:lnTo>
                      <a:pt x="2307908" y="1505903"/>
                    </a:lnTo>
                    <a:lnTo>
                      <a:pt x="2319338" y="1494473"/>
                    </a:lnTo>
                    <a:lnTo>
                      <a:pt x="2330768" y="1482090"/>
                    </a:lnTo>
                    <a:lnTo>
                      <a:pt x="2341245" y="1470660"/>
                    </a:lnTo>
                    <a:lnTo>
                      <a:pt x="2362200" y="1447800"/>
                    </a:lnTo>
                    <a:lnTo>
                      <a:pt x="2382203" y="1426845"/>
                    </a:lnTo>
                    <a:lnTo>
                      <a:pt x="2375535" y="1443038"/>
                    </a:lnTo>
                    <a:lnTo>
                      <a:pt x="2366010" y="1473518"/>
                    </a:lnTo>
                    <a:lnTo>
                      <a:pt x="2355533" y="1502093"/>
                    </a:lnTo>
                    <a:lnTo>
                      <a:pt x="2344103" y="1528763"/>
                    </a:lnTo>
                    <a:lnTo>
                      <a:pt x="2331720" y="1553528"/>
                    </a:lnTo>
                    <a:lnTo>
                      <a:pt x="2318385" y="1575435"/>
                    </a:lnTo>
                    <a:lnTo>
                      <a:pt x="2304098" y="1596390"/>
                    </a:lnTo>
                    <a:lnTo>
                      <a:pt x="2288858" y="1615440"/>
                    </a:lnTo>
                    <a:lnTo>
                      <a:pt x="2273618" y="1632585"/>
                    </a:lnTo>
                    <a:lnTo>
                      <a:pt x="2257425" y="1648778"/>
                    </a:lnTo>
                    <a:lnTo>
                      <a:pt x="2241233" y="1663065"/>
                    </a:lnTo>
                    <a:lnTo>
                      <a:pt x="2225040" y="1676400"/>
                    </a:lnTo>
                    <a:lnTo>
                      <a:pt x="2207895" y="1687830"/>
                    </a:lnTo>
                    <a:lnTo>
                      <a:pt x="2190750" y="1698308"/>
                    </a:lnTo>
                    <a:lnTo>
                      <a:pt x="2172653" y="1707833"/>
                    </a:lnTo>
                    <a:lnTo>
                      <a:pt x="2155508" y="1716405"/>
                    </a:lnTo>
                    <a:lnTo>
                      <a:pt x="2137410" y="1724025"/>
                    </a:lnTo>
                    <a:lnTo>
                      <a:pt x="2120265" y="1730693"/>
                    </a:lnTo>
                    <a:lnTo>
                      <a:pt x="2103120" y="1736408"/>
                    </a:lnTo>
                    <a:lnTo>
                      <a:pt x="2085975" y="1742123"/>
                    </a:lnTo>
                    <a:lnTo>
                      <a:pt x="2068830" y="1746885"/>
                    </a:lnTo>
                    <a:lnTo>
                      <a:pt x="2036445" y="1755458"/>
                    </a:lnTo>
                    <a:lnTo>
                      <a:pt x="2005965" y="1763078"/>
                    </a:lnTo>
                    <a:lnTo>
                      <a:pt x="1991678" y="1766888"/>
                    </a:lnTo>
                    <a:lnTo>
                      <a:pt x="1978343" y="1770698"/>
                    </a:lnTo>
                    <a:lnTo>
                      <a:pt x="1965960" y="1774508"/>
                    </a:lnTo>
                    <a:lnTo>
                      <a:pt x="1954530" y="1778318"/>
                    </a:lnTo>
                    <a:lnTo>
                      <a:pt x="1944053" y="1783080"/>
                    </a:lnTo>
                    <a:lnTo>
                      <a:pt x="1934528" y="1787843"/>
                    </a:lnTo>
                    <a:lnTo>
                      <a:pt x="1926908" y="1792605"/>
                    </a:lnTo>
                    <a:lnTo>
                      <a:pt x="1925003" y="1794510"/>
                    </a:lnTo>
                    <a:lnTo>
                      <a:pt x="1925003" y="1794510"/>
                    </a:lnTo>
                    <a:close/>
                    <a:moveTo>
                      <a:pt x="1703070" y="1945958"/>
                    </a:moveTo>
                    <a:lnTo>
                      <a:pt x="1707833" y="1939290"/>
                    </a:lnTo>
                    <a:lnTo>
                      <a:pt x="1712595" y="1931670"/>
                    </a:lnTo>
                    <a:lnTo>
                      <a:pt x="1717358" y="1923098"/>
                    </a:lnTo>
                    <a:lnTo>
                      <a:pt x="1722120" y="1914525"/>
                    </a:lnTo>
                    <a:lnTo>
                      <a:pt x="1730693" y="1894523"/>
                    </a:lnTo>
                    <a:lnTo>
                      <a:pt x="1740218" y="1872615"/>
                    </a:lnTo>
                    <a:lnTo>
                      <a:pt x="1749743" y="1848803"/>
                    </a:lnTo>
                    <a:lnTo>
                      <a:pt x="1760220" y="1824038"/>
                    </a:lnTo>
                    <a:lnTo>
                      <a:pt x="1771650" y="1798320"/>
                    </a:lnTo>
                    <a:lnTo>
                      <a:pt x="1784033" y="1772603"/>
                    </a:lnTo>
                    <a:lnTo>
                      <a:pt x="1790700" y="1759268"/>
                    </a:lnTo>
                    <a:lnTo>
                      <a:pt x="1797368" y="1745933"/>
                    </a:lnTo>
                    <a:lnTo>
                      <a:pt x="1804988" y="1732598"/>
                    </a:lnTo>
                    <a:lnTo>
                      <a:pt x="1812608" y="1719263"/>
                    </a:lnTo>
                    <a:lnTo>
                      <a:pt x="1820228" y="1705928"/>
                    </a:lnTo>
                    <a:lnTo>
                      <a:pt x="1828800" y="1693545"/>
                    </a:lnTo>
                    <a:lnTo>
                      <a:pt x="1838325" y="1680210"/>
                    </a:lnTo>
                    <a:lnTo>
                      <a:pt x="1847850" y="1667828"/>
                    </a:lnTo>
                    <a:lnTo>
                      <a:pt x="1858328" y="1655445"/>
                    </a:lnTo>
                    <a:lnTo>
                      <a:pt x="1868805" y="1644015"/>
                    </a:lnTo>
                    <a:lnTo>
                      <a:pt x="1879283" y="1632585"/>
                    </a:lnTo>
                    <a:lnTo>
                      <a:pt x="1891665" y="1622108"/>
                    </a:lnTo>
                    <a:lnTo>
                      <a:pt x="1904048" y="1611630"/>
                    </a:lnTo>
                    <a:lnTo>
                      <a:pt x="1917383" y="1601153"/>
                    </a:lnTo>
                    <a:lnTo>
                      <a:pt x="1931670" y="1591628"/>
                    </a:lnTo>
                    <a:lnTo>
                      <a:pt x="1945958" y="1583055"/>
                    </a:lnTo>
                    <a:lnTo>
                      <a:pt x="1931670" y="1630680"/>
                    </a:lnTo>
                    <a:lnTo>
                      <a:pt x="1919288" y="1675448"/>
                    </a:lnTo>
                    <a:lnTo>
                      <a:pt x="1913573" y="1696403"/>
                    </a:lnTo>
                    <a:lnTo>
                      <a:pt x="1907858" y="1716405"/>
                    </a:lnTo>
                    <a:lnTo>
                      <a:pt x="1902143" y="1736408"/>
                    </a:lnTo>
                    <a:lnTo>
                      <a:pt x="1895475" y="1755458"/>
                    </a:lnTo>
                    <a:lnTo>
                      <a:pt x="1891665" y="1764983"/>
                    </a:lnTo>
                    <a:lnTo>
                      <a:pt x="1887855" y="1773555"/>
                    </a:lnTo>
                    <a:lnTo>
                      <a:pt x="1884045" y="1782128"/>
                    </a:lnTo>
                    <a:lnTo>
                      <a:pt x="1879283" y="1790700"/>
                    </a:lnTo>
                    <a:lnTo>
                      <a:pt x="1874520" y="1799273"/>
                    </a:lnTo>
                    <a:lnTo>
                      <a:pt x="1869758" y="1807845"/>
                    </a:lnTo>
                    <a:lnTo>
                      <a:pt x="1864043" y="1816418"/>
                    </a:lnTo>
                    <a:lnTo>
                      <a:pt x="1858328" y="1824038"/>
                    </a:lnTo>
                    <a:lnTo>
                      <a:pt x="1852613" y="1832610"/>
                    </a:lnTo>
                    <a:lnTo>
                      <a:pt x="1846898" y="1840230"/>
                    </a:lnTo>
                    <a:lnTo>
                      <a:pt x="1840230" y="1847850"/>
                    </a:lnTo>
                    <a:lnTo>
                      <a:pt x="1832610" y="1855470"/>
                    </a:lnTo>
                    <a:lnTo>
                      <a:pt x="1824990" y="1863090"/>
                    </a:lnTo>
                    <a:lnTo>
                      <a:pt x="1817370" y="1870710"/>
                    </a:lnTo>
                    <a:lnTo>
                      <a:pt x="1808798" y="1878330"/>
                    </a:lnTo>
                    <a:lnTo>
                      <a:pt x="1800225" y="1885950"/>
                    </a:lnTo>
                    <a:lnTo>
                      <a:pt x="1815465" y="1878330"/>
                    </a:lnTo>
                    <a:lnTo>
                      <a:pt x="1835468" y="1869758"/>
                    </a:lnTo>
                    <a:lnTo>
                      <a:pt x="1859280" y="1860233"/>
                    </a:lnTo>
                    <a:lnTo>
                      <a:pt x="1885950" y="1850708"/>
                    </a:lnTo>
                    <a:lnTo>
                      <a:pt x="1900238" y="1845945"/>
                    </a:lnTo>
                    <a:lnTo>
                      <a:pt x="1914525" y="1841183"/>
                    </a:lnTo>
                    <a:lnTo>
                      <a:pt x="1929765" y="1836420"/>
                    </a:lnTo>
                    <a:lnTo>
                      <a:pt x="1945005" y="1832610"/>
                    </a:lnTo>
                    <a:lnTo>
                      <a:pt x="1960245" y="1828800"/>
                    </a:lnTo>
                    <a:lnTo>
                      <a:pt x="1975485" y="1824990"/>
                    </a:lnTo>
                    <a:lnTo>
                      <a:pt x="1990725" y="1822133"/>
                    </a:lnTo>
                    <a:lnTo>
                      <a:pt x="2005965" y="1819275"/>
                    </a:lnTo>
                    <a:lnTo>
                      <a:pt x="2019300" y="1817370"/>
                    </a:lnTo>
                    <a:lnTo>
                      <a:pt x="2031683" y="1815465"/>
                    </a:lnTo>
                    <a:lnTo>
                      <a:pt x="2043113" y="1813560"/>
                    </a:lnTo>
                    <a:lnTo>
                      <a:pt x="2054543" y="1811655"/>
                    </a:lnTo>
                    <a:lnTo>
                      <a:pt x="2065020" y="1809750"/>
                    </a:lnTo>
                    <a:lnTo>
                      <a:pt x="2075498" y="1806893"/>
                    </a:lnTo>
                    <a:lnTo>
                      <a:pt x="2085023" y="1804035"/>
                    </a:lnTo>
                    <a:lnTo>
                      <a:pt x="2094548" y="1801178"/>
                    </a:lnTo>
                    <a:lnTo>
                      <a:pt x="2103120" y="1798320"/>
                    </a:lnTo>
                    <a:lnTo>
                      <a:pt x="2111693" y="1795463"/>
                    </a:lnTo>
                    <a:lnTo>
                      <a:pt x="2120265" y="1792605"/>
                    </a:lnTo>
                    <a:lnTo>
                      <a:pt x="2127885" y="1789748"/>
                    </a:lnTo>
                    <a:lnTo>
                      <a:pt x="2142173" y="1783080"/>
                    </a:lnTo>
                    <a:lnTo>
                      <a:pt x="2155508" y="1776413"/>
                    </a:lnTo>
                    <a:lnTo>
                      <a:pt x="2167890" y="1769745"/>
                    </a:lnTo>
                    <a:lnTo>
                      <a:pt x="2179320" y="1763078"/>
                    </a:lnTo>
                    <a:lnTo>
                      <a:pt x="2189798" y="1755458"/>
                    </a:lnTo>
                    <a:lnTo>
                      <a:pt x="2200275" y="1748790"/>
                    </a:lnTo>
                    <a:lnTo>
                      <a:pt x="2210753" y="1741170"/>
                    </a:lnTo>
                    <a:lnTo>
                      <a:pt x="2221230" y="1734503"/>
                    </a:lnTo>
                    <a:lnTo>
                      <a:pt x="2232660" y="1727835"/>
                    </a:lnTo>
                    <a:lnTo>
                      <a:pt x="2244090" y="1721168"/>
                    </a:lnTo>
                    <a:lnTo>
                      <a:pt x="2227898" y="1749743"/>
                    </a:lnTo>
                    <a:lnTo>
                      <a:pt x="2211705" y="1775460"/>
                    </a:lnTo>
                    <a:lnTo>
                      <a:pt x="2194560" y="1798320"/>
                    </a:lnTo>
                    <a:lnTo>
                      <a:pt x="2177415" y="1819275"/>
                    </a:lnTo>
                    <a:lnTo>
                      <a:pt x="2159318" y="1838325"/>
                    </a:lnTo>
                    <a:lnTo>
                      <a:pt x="2140268" y="1855470"/>
                    </a:lnTo>
                    <a:lnTo>
                      <a:pt x="2121218" y="1870710"/>
                    </a:lnTo>
                    <a:lnTo>
                      <a:pt x="2102168" y="1884045"/>
                    </a:lnTo>
                    <a:lnTo>
                      <a:pt x="2082165" y="1895475"/>
                    </a:lnTo>
                    <a:lnTo>
                      <a:pt x="2062163" y="1905953"/>
                    </a:lnTo>
                    <a:lnTo>
                      <a:pt x="2042160" y="1914525"/>
                    </a:lnTo>
                    <a:lnTo>
                      <a:pt x="2022158" y="1921193"/>
                    </a:lnTo>
                    <a:lnTo>
                      <a:pt x="2002155" y="1926908"/>
                    </a:lnTo>
                    <a:lnTo>
                      <a:pt x="1982153" y="1931670"/>
                    </a:lnTo>
                    <a:lnTo>
                      <a:pt x="1962150" y="1935480"/>
                    </a:lnTo>
                    <a:lnTo>
                      <a:pt x="1943100" y="1938338"/>
                    </a:lnTo>
                    <a:lnTo>
                      <a:pt x="1924050" y="1940243"/>
                    </a:lnTo>
                    <a:lnTo>
                      <a:pt x="1905000" y="1941195"/>
                    </a:lnTo>
                    <a:lnTo>
                      <a:pt x="1885950" y="1941195"/>
                    </a:lnTo>
                    <a:lnTo>
                      <a:pt x="1867853" y="1941195"/>
                    </a:lnTo>
                    <a:lnTo>
                      <a:pt x="1833563" y="1940243"/>
                    </a:lnTo>
                    <a:lnTo>
                      <a:pt x="1801178" y="1939290"/>
                    </a:lnTo>
                    <a:lnTo>
                      <a:pt x="1785938" y="1939290"/>
                    </a:lnTo>
                    <a:lnTo>
                      <a:pt x="1771650" y="1939290"/>
                    </a:lnTo>
                    <a:lnTo>
                      <a:pt x="1758315" y="1939290"/>
                    </a:lnTo>
                    <a:lnTo>
                      <a:pt x="1745933" y="1939290"/>
                    </a:lnTo>
                    <a:lnTo>
                      <a:pt x="1734503" y="1940243"/>
                    </a:lnTo>
                    <a:lnTo>
                      <a:pt x="1724025" y="1942148"/>
                    </a:lnTo>
                    <a:lnTo>
                      <a:pt x="1714500" y="1945005"/>
                    </a:lnTo>
                    <a:lnTo>
                      <a:pt x="1703070" y="1945958"/>
                    </a:lnTo>
                    <a:lnTo>
                      <a:pt x="1703070" y="1945958"/>
                    </a:lnTo>
                    <a:close/>
                    <a:moveTo>
                      <a:pt x="2267903" y="813435"/>
                    </a:moveTo>
                    <a:lnTo>
                      <a:pt x="2262188" y="797243"/>
                    </a:lnTo>
                    <a:lnTo>
                      <a:pt x="2255520" y="782003"/>
                    </a:lnTo>
                    <a:lnTo>
                      <a:pt x="2247900" y="766763"/>
                    </a:lnTo>
                    <a:lnTo>
                      <a:pt x="2239328" y="753428"/>
                    </a:lnTo>
                    <a:lnTo>
                      <a:pt x="2230755" y="740093"/>
                    </a:lnTo>
                    <a:lnTo>
                      <a:pt x="2220278" y="727710"/>
                    </a:lnTo>
                    <a:lnTo>
                      <a:pt x="2210753" y="716280"/>
                    </a:lnTo>
                    <a:lnTo>
                      <a:pt x="2200275" y="704850"/>
                    </a:lnTo>
                    <a:lnTo>
                      <a:pt x="2188845" y="694373"/>
                    </a:lnTo>
                    <a:lnTo>
                      <a:pt x="2177415" y="683895"/>
                    </a:lnTo>
                    <a:lnTo>
                      <a:pt x="2165985" y="673418"/>
                    </a:lnTo>
                    <a:lnTo>
                      <a:pt x="2153603" y="663893"/>
                    </a:lnTo>
                    <a:lnTo>
                      <a:pt x="2128838" y="643890"/>
                    </a:lnTo>
                    <a:lnTo>
                      <a:pt x="2103120" y="624840"/>
                    </a:lnTo>
                    <a:lnTo>
                      <a:pt x="2090738" y="615315"/>
                    </a:lnTo>
                    <a:lnTo>
                      <a:pt x="2078355" y="605790"/>
                    </a:lnTo>
                    <a:lnTo>
                      <a:pt x="2065973" y="595313"/>
                    </a:lnTo>
                    <a:lnTo>
                      <a:pt x="2053590" y="584835"/>
                    </a:lnTo>
                    <a:lnTo>
                      <a:pt x="2042160" y="574358"/>
                    </a:lnTo>
                    <a:lnTo>
                      <a:pt x="2030730" y="563880"/>
                    </a:lnTo>
                    <a:lnTo>
                      <a:pt x="2020253" y="553403"/>
                    </a:lnTo>
                    <a:lnTo>
                      <a:pt x="2009775" y="541973"/>
                    </a:lnTo>
                    <a:lnTo>
                      <a:pt x="1999298" y="529590"/>
                    </a:lnTo>
                    <a:lnTo>
                      <a:pt x="1989773" y="516255"/>
                    </a:lnTo>
                    <a:lnTo>
                      <a:pt x="1980248" y="502920"/>
                    </a:lnTo>
                    <a:lnTo>
                      <a:pt x="1971675" y="488633"/>
                    </a:lnTo>
                    <a:lnTo>
                      <a:pt x="1964055" y="473393"/>
                    </a:lnTo>
                    <a:lnTo>
                      <a:pt x="1957388" y="458153"/>
                    </a:lnTo>
                    <a:lnTo>
                      <a:pt x="1950720" y="441008"/>
                    </a:lnTo>
                    <a:lnTo>
                      <a:pt x="1945958" y="422910"/>
                    </a:lnTo>
                    <a:lnTo>
                      <a:pt x="1957388" y="434340"/>
                    </a:lnTo>
                    <a:lnTo>
                      <a:pt x="1969770" y="444818"/>
                    </a:lnTo>
                    <a:lnTo>
                      <a:pt x="1982153" y="455295"/>
                    </a:lnTo>
                    <a:lnTo>
                      <a:pt x="1995488" y="464820"/>
                    </a:lnTo>
                    <a:lnTo>
                      <a:pt x="2008823" y="474345"/>
                    </a:lnTo>
                    <a:lnTo>
                      <a:pt x="2022158" y="483870"/>
                    </a:lnTo>
                    <a:lnTo>
                      <a:pt x="2036445" y="492443"/>
                    </a:lnTo>
                    <a:lnTo>
                      <a:pt x="2050733" y="501968"/>
                    </a:lnTo>
                    <a:lnTo>
                      <a:pt x="2079308" y="520065"/>
                    </a:lnTo>
                    <a:lnTo>
                      <a:pt x="2106930" y="539115"/>
                    </a:lnTo>
                    <a:lnTo>
                      <a:pt x="2121218" y="549593"/>
                    </a:lnTo>
                    <a:lnTo>
                      <a:pt x="2134553" y="560070"/>
                    </a:lnTo>
                    <a:lnTo>
                      <a:pt x="2147888" y="571500"/>
                    </a:lnTo>
                    <a:lnTo>
                      <a:pt x="2161223" y="582930"/>
                    </a:lnTo>
                    <a:lnTo>
                      <a:pt x="2172653" y="595313"/>
                    </a:lnTo>
                    <a:lnTo>
                      <a:pt x="2183130" y="607695"/>
                    </a:lnTo>
                    <a:lnTo>
                      <a:pt x="2192655" y="620078"/>
                    </a:lnTo>
                    <a:lnTo>
                      <a:pt x="2201228" y="632460"/>
                    </a:lnTo>
                    <a:lnTo>
                      <a:pt x="2208848" y="644843"/>
                    </a:lnTo>
                    <a:lnTo>
                      <a:pt x="2216468" y="658178"/>
                    </a:lnTo>
                    <a:lnTo>
                      <a:pt x="2223135" y="671513"/>
                    </a:lnTo>
                    <a:lnTo>
                      <a:pt x="2230755" y="685800"/>
                    </a:lnTo>
                    <a:lnTo>
                      <a:pt x="2225040" y="664845"/>
                    </a:lnTo>
                    <a:lnTo>
                      <a:pt x="2220278" y="643890"/>
                    </a:lnTo>
                    <a:lnTo>
                      <a:pt x="2214563" y="622935"/>
                    </a:lnTo>
                    <a:lnTo>
                      <a:pt x="2209800" y="600075"/>
                    </a:lnTo>
                    <a:lnTo>
                      <a:pt x="2205990" y="579120"/>
                    </a:lnTo>
                    <a:lnTo>
                      <a:pt x="2202180" y="559118"/>
                    </a:lnTo>
                    <a:lnTo>
                      <a:pt x="2201228" y="549593"/>
                    </a:lnTo>
                    <a:lnTo>
                      <a:pt x="2200275" y="540068"/>
                    </a:lnTo>
                    <a:lnTo>
                      <a:pt x="2199323" y="530543"/>
                    </a:lnTo>
                    <a:lnTo>
                      <a:pt x="2199323" y="521018"/>
                    </a:lnTo>
                    <a:lnTo>
                      <a:pt x="2196465" y="495300"/>
                    </a:lnTo>
                    <a:lnTo>
                      <a:pt x="2194560" y="476250"/>
                    </a:lnTo>
                    <a:lnTo>
                      <a:pt x="2192655" y="461010"/>
                    </a:lnTo>
                    <a:lnTo>
                      <a:pt x="2189798" y="448628"/>
                    </a:lnTo>
                    <a:lnTo>
                      <a:pt x="2187893" y="442913"/>
                    </a:lnTo>
                    <a:lnTo>
                      <a:pt x="2185988" y="437198"/>
                    </a:lnTo>
                    <a:lnTo>
                      <a:pt x="2184083" y="430530"/>
                    </a:lnTo>
                    <a:lnTo>
                      <a:pt x="2181225" y="422910"/>
                    </a:lnTo>
                    <a:lnTo>
                      <a:pt x="2174558" y="404813"/>
                    </a:lnTo>
                    <a:lnTo>
                      <a:pt x="2164080" y="381000"/>
                    </a:lnTo>
                    <a:lnTo>
                      <a:pt x="2160270" y="374333"/>
                    </a:lnTo>
                    <a:lnTo>
                      <a:pt x="2154555" y="364808"/>
                    </a:lnTo>
                    <a:lnTo>
                      <a:pt x="2148840" y="355283"/>
                    </a:lnTo>
                    <a:lnTo>
                      <a:pt x="2145030" y="348615"/>
                    </a:lnTo>
                    <a:lnTo>
                      <a:pt x="2152650" y="354330"/>
                    </a:lnTo>
                    <a:lnTo>
                      <a:pt x="2160270" y="360045"/>
                    </a:lnTo>
                    <a:lnTo>
                      <a:pt x="2166938" y="365760"/>
                    </a:lnTo>
                    <a:lnTo>
                      <a:pt x="2173605" y="371475"/>
                    </a:lnTo>
                    <a:lnTo>
                      <a:pt x="2180273" y="377190"/>
                    </a:lnTo>
                    <a:lnTo>
                      <a:pt x="2185988" y="382905"/>
                    </a:lnTo>
                    <a:lnTo>
                      <a:pt x="2191703" y="388620"/>
                    </a:lnTo>
                    <a:lnTo>
                      <a:pt x="2197418" y="394335"/>
                    </a:lnTo>
                    <a:lnTo>
                      <a:pt x="2203133" y="400050"/>
                    </a:lnTo>
                    <a:lnTo>
                      <a:pt x="2207895" y="406718"/>
                    </a:lnTo>
                    <a:lnTo>
                      <a:pt x="2213610" y="412433"/>
                    </a:lnTo>
                    <a:lnTo>
                      <a:pt x="2218373" y="419100"/>
                    </a:lnTo>
                    <a:lnTo>
                      <a:pt x="2223135" y="425768"/>
                    </a:lnTo>
                    <a:lnTo>
                      <a:pt x="2227898" y="432435"/>
                    </a:lnTo>
                    <a:lnTo>
                      <a:pt x="2232660" y="439103"/>
                    </a:lnTo>
                    <a:lnTo>
                      <a:pt x="2236470" y="445770"/>
                    </a:lnTo>
                    <a:lnTo>
                      <a:pt x="2244090" y="460058"/>
                    </a:lnTo>
                    <a:lnTo>
                      <a:pt x="2250758" y="475298"/>
                    </a:lnTo>
                    <a:lnTo>
                      <a:pt x="2257425" y="490538"/>
                    </a:lnTo>
                    <a:lnTo>
                      <a:pt x="2263140" y="506730"/>
                    </a:lnTo>
                    <a:lnTo>
                      <a:pt x="2267903" y="522923"/>
                    </a:lnTo>
                    <a:lnTo>
                      <a:pt x="2272665" y="540068"/>
                    </a:lnTo>
                    <a:lnTo>
                      <a:pt x="2276475" y="557213"/>
                    </a:lnTo>
                    <a:lnTo>
                      <a:pt x="2279333" y="575310"/>
                    </a:lnTo>
                    <a:lnTo>
                      <a:pt x="2281238" y="590550"/>
                    </a:lnTo>
                    <a:lnTo>
                      <a:pt x="2282190" y="605790"/>
                    </a:lnTo>
                    <a:lnTo>
                      <a:pt x="2283143" y="621030"/>
                    </a:lnTo>
                    <a:lnTo>
                      <a:pt x="2283143" y="635318"/>
                    </a:lnTo>
                    <a:lnTo>
                      <a:pt x="2284095" y="650558"/>
                    </a:lnTo>
                    <a:lnTo>
                      <a:pt x="2283143" y="664845"/>
                    </a:lnTo>
                    <a:lnTo>
                      <a:pt x="2283143" y="679133"/>
                    </a:lnTo>
                    <a:lnTo>
                      <a:pt x="2282190" y="693420"/>
                    </a:lnTo>
                    <a:lnTo>
                      <a:pt x="2280285" y="721995"/>
                    </a:lnTo>
                    <a:lnTo>
                      <a:pt x="2277428" y="751523"/>
                    </a:lnTo>
                    <a:lnTo>
                      <a:pt x="2273618" y="782003"/>
                    </a:lnTo>
                    <a:lnTo>
                      <a:pt x="2267903" y="813435"/>
                    </a:lnTo>
                    <a:lnTo>
                      <a:pt x="2267903" y="813435"/>
                    </a:lnTo>
                    <a:close/>
                    <a:moveTo>
                      <a:pt x="422910" y="1971675"/>
                    </a:moveTo>
                    <a:lnTo>
                      <a:pt x="438150" y="1981200"/>
                    </a:lnTo>
                    <a:lnTo>
                      <a:pt x="454343" y="1987868"/>
                    </a:lnTo>
                    <a:lnTo>
                      <a:pt x="471488" y="1992630"/>
                    </a:lnTo>
                    <a:lnTo>
                      <a:pt x="489585" y="1996440"/>
                    </a:lnTo>
                    <a:lnTo>
                      <a:pt x="508635" y="1998345"/>
                    </a:lnTo>
                    <a:lnTo>
                      <a:pt x="528638" y="1998345"/>
                    </a:lnTo>
                    <a:lnTo>
                      <a:pt x="549593" y="1998345"/>
                    </a:lnTo>
                    <a:lnTo>
                      <a:pt x="570548" y="1996440"/>
                    </a:lnTo>
                    <a:lnTo>
                      <a:pt x="592455" y="1993583"/>
                    </a:lnTo>
                    <a:lnTo>
                      <a:pt x="615315" y="1989773"/>
                    </a:lnTo>
                    <a:lnTo>
                      <a:pt x="639128" y="1985010"/>
                    </a:lnTo>
                    <a:lnTo>
                      <a:pt x="663893" y="1980248"/>
                    </a:lnTo>
                    <a:lnTo>
                      <a:pt x="714375" y="1968818"/>
                    </a:lnTo>
                    <a:lnTo>
                      <a:pt x="765810" y="1957388"/>
                    </a:lnTo>
                    <a:lnTo>
                      <a:pt x="792480" y="1951673"/>
                    </a:lnTo>
                    <a:lnTo>
                      <a:pt x="820103" y="1945958"/>
                    </a:lnTo>
                    <a:lnTo>
                      <a:pt x="847725" y="1941195"/>
                    </a:lnTo>
                    <a:lnTo>
                      <a:pt x="875348" y="1935480"/>
                    </a:lnTo>
                    <a:lnTo>
                      <a:pt x="903923" y="1930718"/>
                    </a:lnTo>
                    <a:lnTo>
                      <a:pt x="932498" y="1926908"/>
                    </a:lnTo>
                    <a:lnTo>
                      <a:pt x="961073" y="1924050"/>
                    </a:lnTo>
                    <a:lnTo>
                      <a:pt x="989648" y="1922145"/>
                    </a:lnTo>
                    <a:lnTo>
                      <a:pt x="1018223" y="1921193"/>
                    </a:lnTo>
                    <a:lnTo>
                      <a:pt x="1046798" y="1922145"/>
                    </a:lnTo>
                    <a:lnTo>
                      <a:pt x="1076325" y="1924050"/>
                    </a:lnTo>
                    <a:lnTo>
                      <a:pt x="1104900" y="1927860"/>
                    </a:lnTo>
                    <a:lnTo>
                      <a:pt x="1134428" y="1932623"/>
                    </a:lnTo>
                    <a:lnTo>
                      <a:pt x="1163003" y="1939290"/>
                    </a:lnTo>
                    <a:lnTo>
                      <a:pt x="1192530" y="1948815"/>
                    </a:lnTo>
                    <a:lnTo>
                      <a:pt x="1221105" y="1959293"/>
                    </a:lnTo>
                    <a:lnTo>
                      <a:pt x="1258253" y="1948815"/>
                    </a:lnTo>
                    <a:lnTo>
                      <a:pt x="1293495" y="1940243"/>
                    </a:lnTo>
                    <a:lnTo>
                      <a:pt x="1326833" y="1933575"/>
                    </a:lnTo>
                    <a:lnTo>
                      <a:pt x="1359218" y="1928813"/>
                    </a:lnTo>
                    <a:lnTo>
                      <a:pt x="1390650" y="1925003"/>
                    </a:lnTo>
                    <a:lnTo>
                      <a:pt x="1421130" y="1923098"/>
                    </a:lnTo>
                    <a:lnTo>
                      <a:pt x="1449705" y="1923098"/>
                    </a:lnTo>
                    <a:lnTo>
                      <a:pt x="1478280" y="1924050"/>
                    </a:lnTo>
                    <a:lnTo>
                      <a:pt x="1504950" y="1925955"/>
                    </a:lnTo>
                    <a:lnTo>
                      <a:pt x="1530668" y="1928813"/>
                    </a:lnTo>
                    <a:lnTo>
                      <a:pt x="1556385" y="1932623"/>
                    </a:lnTo>
                    <a:lnTo>
                      <a:pt x="1581150" y="1937385"/>
                    </a:lnTo>
                    <a:lnTo>
                      <a:pt x="1604963" y="1942148"/>
                    </a:lnTo>
                    <a:lnTo>
                      <a:pt x="1627823" y="1946910"/>
                    </a:lnTo>
                    <a:lnTo>
                      <a:pt x="1650683" y="1952625"/>
                    </a:lnTo>
                    <a:lnTo>
                      <a:pt x="1673543" y="1958340"/>
                    </a:lnTo>
                    <a:lnTo>
                      <a:pt x="1717358" y="1969770"/>
                    </a:lnTo>
                    <a:lnTo>
                      <a:pt x="1759268" y="1980248"/>
                    </a:lnTo>
                    <a:lnTo>
                      <a:pt x="1780223" y="1985010"/>
                    </a:lnTo>
                    <a:lnTo>
                      <a:pt x="1801178" y="1989773"/>
                    </a:lnTo>
                    <a:lnTo>
                      <a:pt x="1822133" y="1993583"/>
                    </a:lnTo>
                    <a:lnTo>
                      <a:pt x="1843088" y="1996440"/>
                    </a:lnTo>
                    <a:lnTo>
                      <a:pt x="1864043" y="1998345"/>
                    </a:lnTo>
                    <a:lnTo>
                      <a:pt x="1884998" y="1998345"/>
                    </a:lnTo>
                    <a:lnTo>
                      <a:pt x="1906905" y="1998345"/>
                    </a:lnTo>
                    <a:lnTo>
                      <a:pt x="1928813" y="1996440"/>
                    </a:lnTo>
                    <a:lnTo>
                      <a:pt x="1951673" y="1993583"/>
                    </a:lnTo>
                    <a:lnTo>
                      <a:pt x="1974533" y="1987868"/>
                    </a:lnTo>
                    <a:lnTo>
                      <a:pt x="1998345" y="1981200"/>
                    </a:lnTo>
                    <a:lnTo>
                      <a:pt x="2023110" y="1972628"/>
                    </a:lnTo>
                    <a:lnTo>
                      <a:pt x="2001203" y="1992630"/>
                    </a:lnTo>
                    <a:lnTo>
                      <a:pt x="1978343" y="2009775"/>
                    </a:lnTo>
                    <a:lnTo>
                      <a:pt x="1955483" y="2025015"/>
                    </a:lnTo>
                    <a:lnTo>
                      <a:pt x="1931670" y="2038350"/>
                    </a:lnTo>
                    <a:lnTo>
                      <a:pt x="1907858" y="2048828"/>
                    </a:lnTo>
                    <a:lnTo>
                      <a:pt x="1883093" y="2057400"/>
                    </a:lnTo>
                    <a:lnTo>
                      <a:pt x="1857375" y="2064068"/>
                    </a:lnTo>
                    <a:lnTo>
                      <a:pt x="1831658" y="2069783"/>
                    </a:lnTo>
                    <a:lnTo>
                      <a:pt x="1805940" y="2073593"/>
                    </a:lnTo>
                    <a:lnTo>
                      <a:pt x="1779270" y="2075498"/>
                    </a:lnTo>
                    <a:lnTo>
                      <a:pt x="1752600" y="2076450"/>
                    </a:lnTo>
                    <a:lnTo>
                      <a:pt x="1726883" y="2076450"/>
                    </a:lnTo>
                    <a:lnTo>
                      <a:pt x="1701165" y="2074545"/>
                    </a:lnTo>
                    <a:lnTo>
                      <a:pt x="1674495" y="2071688"/>
                    </a:lnTo>
                    <a:lnTo>
                      <a:pt x="1648778" y="2068830"/>
                    </a:lnTo>
                    <a:lnTo>
                      <a:pt x="1623060" y="2064068"/>
                    </a:lnTo>
                    <a:lnTo>
                      <a:pt x="1597343" y="2059305"/>
                    </a:lnTo>
                    <a:lnTo>
                      <a:pt x="1571625" y="2053590"/>
                    </a:lnTo>
                    <a:lnTo>
                      <a:pt x="1546860" y="2047875"/>
                    </a:lnTo>
                    <a:lnTo>
                      <a:pt x="1522095" y="2042160"/>
                    </a:lnTo>
                    <a:lnTo>
                      <a:pt x="1474470" y="2029778"/>
                    </a:lnTo>
                    <a:lnTo>
                      <a:pt x="1428750" y="2018348"/>
                    </a:lnTo>
                    <a:lnTo>
                      <a:pt x="1406843" y="2012633"/>
                    </a:lnTo>
                    <a:lnTo>
                      <a:pt x="1385888" y="2006918"/>
                    </a:lnTo>
                    <a:lnTo>
                      <a:pt x="1365885" y="2002155"/>
                    </a:lnTo>
                    <a:lnTo>
                      <a:pt x="1346835" y="1997393"/>
                    </a:lnTo>
                    <a:lnTo>
                      <a:pt x="1328738" y="1994535"/>
                    </a:lnTo>
                    <a:lnTo>
                      <a:pt x="1311593" y="1991678"/>
                    </a:lnTo>
                    <a:lnTo>
                      <a:pt x="1295400" y="1990725"/>
                    </a:lnTo>
                    <a:lnTo>
                      <a:pt x="1280160" y="1990725"/>
                    </a:lnTo>
                    <a:lnTo>
                      <a:pt x="1298258" y="2000250"/>
                    </a:lnTo>
                    <a:lnTo>
                      <a:pt x="1315403" y="2009775"/>
                    </a:lnTo>
                    <a:lnTo>
                      <a:pt x="1330643" y="2019300"/>
                    </a:lnTo>
                    <a:lnTo>
                      <a:pt x="1345883" y="2028825"/>
                    </a:lnTo>
                    <a:lnTo>
                      <a:pt x="1361123" y="2039303"/>
                    </a:lnTo>
                    <a:lnTo>
                      <a:pt x="1375410" y="2048828"/>
                    </a:lnTo>
                    <a:lnTo>
                      <a:pt x="1388745" y="2059305"/>
                    </a:lnTo>
                    <a:lnTo>
                      <a:pt x="1402080" y="2069783"/>
                    </a:lnTo>
                    <a:lnTo>
                      <a:pt x="1414463" y="2080260"/>
                    </a:lnTo>
                    <a:lnTo>
                      <a:pt x="1425893" y="2090738"/>
                    </a:lnTo>
                    <a:lnTo>
                      <a:pt x="1437323" y="2101215"/>
                    </a:lnTo>
                    <a:lnTo>
                      <a:pt x="1447800" y="2111693"/>
                    </a:lnTo>
                    <a:lnTo>
                      <a:pt x="1458278" y="2122170"/>
                    </a:lnTo>
                    <a:lnTo>
                      <a:pt x="1468755" y="2132648"/>
                    </a:lnTo>
                    <a:lnTo>
                      <a:pt x="1478280" y="2143125"/>
                    </a:lnTo>
                    <a:lnTo>
                      <a:pt x="1487805" y="2153603"/>
                    </a:lnTo>
                    <a:lnTo>
                      <a:pt x="1472565" y="2155508"/>
                    </a:lnTo>
                    <a:lnTo>
                      <a:pt x="1458278" y="2157413"/>
                    </a:lnTo>
                    <a:lnTo>
                      <a:pt x="1443990" y="2159318"/>
                    </a:lnTo>
                    <a:lnTo>
                      <a:pt x="1428750" y="2161223"/>
                    </a:lnTo>
                    <a:lnTo>
                      <a:pt x="1421130" y="2149793"/>
                    </a:lnTo>
                    <a:lnTo>
                      <a:pt x="1413510" y="2138363"/>
                    </a:lnTo>
                    <a:lnTo>
                      <a:pt x="1403985" y="2127885"/>
                    </a:lnTo>
                    <a:lnTo>
                      <a:pt x="1394460" y="2117408"/>
                    </a:lnTo>
                    <a:lnTo>
                      <a:pt x="1383983" y="2106930"/>
                    </a:lnTo>
                    <a:lnTo>
                      <a:pt x="1372553" y="2096453"/>
                    </a:lnTo>
                    <a:lnTo>
                      <a:pt x="1360170" y="2085975"/>
                    </a:lnTo>
                    <a:lnTo>
                      <a:pt x="1346835" y="2075498"/>
                    </a:lnTo>
                    <a:lnTo>
                      <a:pt x="1333500" y="2065020"/>
                    </a:lnTo>
                    <a:lnTo>
                      <a:pt x="1319213" y="2054543"/>
                    </a:lnTo>
                    <a:lnTo>
                      <a:pt x="1303973" y="2044065"/>
                    </a:lnTo>
                    <a:lnTo>
                      <a:pt x="1288733" y="2034540"/>
                    </a:lnTo>
                    <a:lnTo>
                      <a:pt x="1272540" y="2025015"/>
                    </a:lnTo>
                    <a:lnTo>
                      <a:pt x="1255395" y="2015490"/>
                    </a:lnTo>
                    <a:lnTo>
                      <a:pt x="1237298" y="2005965"/>
                    </a:lnTo>
                    <a:lnTo>
                      <a:pt x="1218248" y="1996440"/>
                    </a:lnTo>
                    <a:lnTo>
                      <a:pt x="1202055" y="2002155"/>
                    </a:lnTo>
                    <a:lnTo>
                      <a:pt x="1186815" y="2007870"/>
                    </a:lnTo>
                    <a:lnTo>
                      <a:pt x="1171575" y="2014538"/>
                    </a:lnTo>
                    <a:lnTo>
                      <a:pt x="1156335" y="2021205"/>
                    </a:lnTo>
                    <a:lnTo>
                      <a:pt x="1141095" y="2028825"/>
                    </a:lnTo>
                    <a:lnTo>
                      <a:pt x="1126808" y="2037398"/>
                    </a:lnTo>
                    <a:lnTo>
                      <a:pt x="1112520" y="2045970"/>
                    </a:lnTo>
                    <a:lnTo>
                      <a:pt x="1098233" y="2056448"/>
                    </a:lnTo>
                    <a:lnTo>
                      <a:pt x="1084898" y="2066925"/>
                    </a:lnTo>
                    <a:lnTo>
                      <a:pt x="1071563" y="2078355"/>
                    </a:lnTo>
                    <a:lnTo>
                      <a:pt x="1059180" y="2089785"/>
                    </a:lnTo>
                    <a:lnTo>
                      <a:pt x="1046798" y="2102168"/>
                    </a:lnTo>
                    <a:lnTo>
                      <a:pt x="1035368" y="2115503"/>
                    </a:lnTo>
                    <a:lnTo>
                      <a:pt x="1023938" y="2129790"/>
                    </a:lnTo>
                    <a:lnTo>
                      <a:pt x="1012508" y="2145030"/>
                    </a:lnTo>
                    <a:lnTo>
                      <a:pt x="1002030" y="2160270"/>
                    </a:lnTo>
                    <a:lnTo>
                      <a:pt x="987743" y="2158365"/>
                    </a:lnTo>
                    <a:lnTo>
                      <a:pt x="972503" y="2156460"/>
                    </a:lnTo>
                    <a:lnTo>
                      <a:pt x="958215" y="2154555"/>
                    </a:lnTo>
                    <a:lnTo>
                      <a:pt x="943928" y="2152650"/>
                    </a:lnTo>
                    <a:lnTo>
                      <a:pt x="954405" y="2142173"/>
                    </a:lnTo>
                    <a:lnTo>
                      <a:pt x="964883" y="2131695"/>
                    </a:lnTo>
                    <a:lnTo>
                      <a:pt x="975360" y="2121218"/>
                    </a:lnTo>
                    <a:lnTo>
                      <a:pt x="985838" y="2110740"/>
                    </a:lnTo>
                    <a:lnTo>
                      <a:pt x="997268" y="2100263"/>
                    </a:lnTo>
                    <a:lnTo>
                      <a:pt x="1008698" y="2089785"/>
                    </a:lnTo>
                    <a:lnTo>
                      <a:pt x="1021080" y="2079308"/>
                    </a:lnTo>
                    <a:lnTo>
                      <a:pt x="1033463" y="2068830"/>
                    </a:lnTo>
                    <a:lnTo>
                      <a:pt x="1045845" y="2058353"/>
                    </a:lnTo>
                    <a:lnTo>
                      <a:pt x="1059180" y="2047875"/>
                    </a:lnTo>
                    <a:lnTo>
                      <a:pt x="1073468" y="2037398"/>
                    </a:lnTo>
                    <a:lnTo>
                      <a:pt x="1087755" y="2027873"/>
                    </a:lnTo>
                    <a:lnTo>
                      <a:pt x="1102995" y="2018348"/>
                    </a:lnTo>
                    <a:lnTo>
                      <a:pt x="1119188" y="2008823"/>
                    </a:lnTo>
                    <a:lnTo>
                      <a:pt x="1135380" y="2000250"/>
                    </a:lnTo>
                    <a:lnTo>
                      <a:pt x="1152525" y="1990725"/>
                    </a:lnTo>
                    <a:lnTo>
                      <a:pt x="1141095" y="1989773"/>
                    </a:lnTo>
                    <a:lnTo>
                      <a:pt x="1127760" y="1989773"/>
                    </a:lnTo>
                    <a:lnTo>
                      <a:pt x="1113473" y="1991678"/>
                    </a:lnTo>
                    <a:lnTo>
                      <a:pt x="1098233" y="1993583"/>
                    </a:lnTo>
                    <a:lnTo>
                      <a:pt x="1081088" y="1997393"/>
                    </a:lnTo>
                    <a:lnTo>
                      <a:pt x="1062990" y="2002155"/>
                    </a:lnTo>
                    <a:lnTo>
                      <a:pt x="1043940" y="2006918"/>
                    </a:lnTo>
                    <a:lnTo>
                      <a:pt x="1022985" y="2011680"/>
                    </a:lnTo>
                    <a:lnTo>
                      <a:pt x="979170" y="2023110"/>
                    </a:lnTo>
                    <a:lnTo>
                      <a:pt x="932498" y="2035493"/>
                    </a:lnTo>
                    <a:lnTo>
                      <a:pt x="907733" y="2041208"/>
                    </a:lnTo>
                    <a:lnTo>
                      <a:pt x="882968" y="2046923"/>
                    </a:lnTo>
                    <a:lnTo>
                      <a:pt x="857250" y="2052638"/>
                    </a:lnTo>
                    <a:lnTo>
                      <a:pt x="831533" y="2057400"/>
                    </a:lnTo>
                    <a:lnTo>
                      <a:pt x="805815" y="2062163"/>
                    </a:lnTo>
                    <a:lnTo>
                      <a:pt x="779145" y="2065973"/>
                    </a:lnTo>
                    <a:lnTo>
                      <a:pt x="752475" y="2068830"/>
                    </a:lnTo>
                    <a:lnTo>
                      <a:pt x="725805" y="2070735"/>
                    </a:lnTo>
                    <a:lnTo>
                      <a:pt x="699135" y="2071688"/>
                    </a:lnTo>
                    <a:lnTo>
                      <a:pt x="672465" y="2071688"/>
                    </a:lnTo>
                    <a:lnTo>
                      <a:pt x="645795" y="2069783"/>
                    </a:lnTo>
                    <a:lnTo>
                      <a:pt x="619125" y="2065973"/>
                    </a:lnTo>
                    <a:lnTo>
                      <a:pt x="593408" y="2061210"/>
                    </a:lnTo>
                    <a:lnTo>
                      <a:pt x="567690" y="2054543"/>
                    </a:lnTo>
                    <a:lnTo>
                      <a:pt x="541973" y="2045970"/>
                    </a:lnTo>
                    <a:lnTo>
                      <a:pt x="516255" y="2035493"/>
                    </a:lnTo>
                    <a:lnTo>
                      <a:pt x="491490" y="2023110"/>
                    </a:lnTo>
                    <a:lnTo>
                      <a:pt x="467678" y="2007870"/>
                    </a:lnTo>
                    <a:lnTo>
                      <a:pt x="443865" y="1990725"/>
                    </a:lnTo>
                    <a:lnTo>
                      <a:pt x="422910" y="1971675"/>
                    </a:lnTo>
                    <a:lnTo>
                      <a:pt x="422910" y="1971675"/>
                    </a:lnTo>
                    <a:close/>
                    <a:moveTo>
                      <a:pt x="1270635" y="1442085"/>
                    </a:moveTo>
                    <a:lnTo>
                      <a:pt x="1270635" y="1456373"/>
                    </a:lnTo>
                    <a:lnTo>
                      <a:pt x="1272540" y="1469708"/>
                    </a:lnTo>
                    <a:lnTo>
                      <a:pt x="1272540" y="1483043"/>
                    </a:lnTo>
                    <a:lnTo>
                      <a:pt x="1272540" y="1496378"/>
                    </a:lnTo>
                    <a:lnTo>
                      <a:pt x="1285875" y="1504950"/>
                    </a:lnTo>
                    <a:lnTo>
                      <a:pt x="1300163" y="1513523"/>
                    </a:lnTo>
                    <a:lnTo>
                      <a:pt x="1306830" y="1518285"/>
                    </a:lnTo>
                    <a:lnTo>
                      <a:pt x="1313498" y="1523048"/>
                    </a:lnTo>
                    <a:lnTo>
                      <a:pt x="1320165" y="1528763"/>
                    </a:lnTo>
                    <a:lnTo>
                      <a:pt x="1326833" y="1534478"/>
                    </a:lnTo>
                    <a:lnTo>
                      <a:pt x="1333500" y="1541145"/>
                    </a:lnTo>
                    <a:lnTo>
                      <a:pt x="1340168" y="1548765"/>
                    </a:lnTo>
                    <a:lnTo>
                      <a:pt x="1345883" y="1556385"/>
                    </a:lnTo>
                    <a:lnTo>
                      <a:pt x="1351598" y="1564958"/>
                    </a:lnTo>
                    <a:lnTo>
                      <a:pt x="1357313" y="1574483"/>
                    </a:lnTo>
                    <a:lnTo>
                      <a:pt x="1362075" y="1584008"/>
                    </a:lnTo>
                    <a:lnTo>
                      <a:pt x="1366838" y="1594485"/>
                    </a:lnTo>
                    <a:lnTo>
                      <a:pt x="1370648" y="1605915"/>
                    </a:lnTo>
                    <a:lnTo>
                      <a:pt x="1370648" y="1597343"/>
                    </a:lnTo>
                    <a:lnTo>
                      <a:pt x="1370648" y="1589723"/>
                    </a:lnTo>
                    <a:lnTo>
                      <a:pt x="1370648" y="1583055"/>
                    </a:lnTo>
                    <a:lnTo>
                      <a:pt x="1370648" y="1575435"/>
                    </a:lnTo>
                    <a:lnTo>
                      <a:pt x="1369695" y="1568768"/>
                    </a:lnTo>
                    <a:lnTo>
                      <a:pt x="1368743" y="1562100"/>
                    </a:lnTo>
                    <a:lnTo>
                      <a:pt x="1367790" y="1555433"/>
                    </a:lnTo>
                    <a:lnTo>
                      <a:pt x="1366838" y="1548765"/>
                    </a:lnTo>
                    <a:lnTo>
                      <a:pt x="1364933" y="1542098"/>
                    </a:lnTo>
                    <a:lnTo>
                      <a:pt x="1363028" y="1536383"/>
                    </a:lnTo>
                    <a:lnTo>
                      <a:pt x="1361123" y="1530668"/>
                    </a:lnTo>
                    <a:lnTo>
                      <a:pt x="1358265" y="1524953"/>
                    </a:lnTo>
                    <a:lnTo>
                      <a:pt x="1355408" y="1519238"/>
                    </a:lnTo>
                    <a:lnTo>
                      <a:pt x="1352550" y="1513523"/>
                    </a:lnTo>
                    <a:lnTo>
                      <a:pt x="1349693" y="1507808"/>
                    </a:lnTo>
                    <a:lnTo>
                      <a:pt x="1346835" y="1502093"/>
                    </a:lnTo>
                    <a:lnTo>
                      <a:pt x="1343025" y="1497330"/>
                    </a:lnTo>
                    <a:lnTo>
                      <a:pt x="1339215" y="1492568"/>
                    </a:lnTo>
                    <a:lnTo>
                      <a:pt x="1335405" y="1487805"/>
                    </a:lnTo>
                    <a:lnTo>
                      <a:pt x="1331595" y="1483043"/>
                    </a:lnTo>
                    <a:lnTo>
                      <a:pt x="1326833" y="1478280"/>
                    </a:lnTo>
                    <a:lnTo>
                      <a:pt x="1323975" y="1476375"/>
                    </a:lnTo>
                    <a:lnTo>
                      <a:pt x="1319213" y="1471613"/>
                    </a:lnTo>
                    <a:lnTo>
                      <a:pt x="1314450" y="1467803"/>
                    </a:lnTo>
                    <a:lnTo>
                      <a:pt x="1303973" y="1460183"/>
                    </a:lnTo>
                    <a:lnTo>
                      <a:pt x="1292543" y="1453515"/>
                    </a:lnTo>
                    <a:lnTo>
                      <a:pt x="1281113" y="1447800"/>
                    </a:lnTo>
                    <a:lnTo>
                      <a:pt x="1270635" y="1442085"/>
                    </a:lnTo>
                    <a:lnTo>
                      <a:pt x="1270635" y="1442085"/>
                    </a:lnTo>
                    <a:close/>
                    <a:moveTo>
                      <a:pt x="1282065" y="1024890"/>
                    </a:moveTo>
                    <a:lnTo>
                      <a:pt x="1282065" y="1036320"/>
                    </a:lnTo>
                    <a:lnTo>
                      <a:pt x="1282065" y="1048703"/>
                    </a:lnTo>
                    <a:lnTo>
                      <a:pt x="1282065" y="1060133"/>
                    </a:lnTo>
                    <a:lnTo>
                      <a:pt x="1281113" y="1071563"/>
                    </a:lnTo>
                    <a:lnTo>
                      <a:pt x="1282065" y="1082993"/>
                    </a:lnTo>
                    <a:lnTo>
                      <a:pt x="1282065" y="1094423"/>
                    </a:lnTo>
                    <a:lnTo>
                      <a:pt x="1281113" y="1105853"/>
                    </a:lnTo>
                    <a:lnTo>
                      <a:pt x="1281113" y="1117283"/>
                    </a:lnTo>
                    <a:lnTo>
                      <a:pt x="1292543" y="1121093"/>
                    </a:lnTo>
                    <a:lnTo>
                      <a:pt x="1303020" y="1125855"/>
                    </a:lnTo>
                    <a:lnTo>
                      <a:pt x="1307783" y="1128713"/>
                    </a:lnTo>
                    <a:lnTo>
                      <a:pt x="1312545" y="1131570"/>
                    </a:lnTo>
                    <a:lnTo>
                      <a:pt x="1317308" y="1134428"/>
                    </a:lnTo>
                    <a:lnTo>
                      <a:pt x="1321118" y="1138238"/>
                    </a:lnTo>
                    <a:lnTo>
                      <a:pt x="1324928" y="1142048"/>
                    </a:lnTo>
                    <a:lnTo>
                      <a:pt x="1327785" y="1145858"/>
                    </a:lnTo>
                    <a:lnTo>
                      <a:pt x="1330643" y="1150620"/>
                    </a:lnTo>
                    <a:lnTo>
                      <a:pt x="1332548" y="1155383"/>
                    </a:lnTo>
                    <a:lnTo>
                      <a:pt x="1333500" y="1160145"/>
                    </a:lnTo>
                    <a:lnTo>
                      <a:pt x="1334453" y="1165860"/>
                    </a:lnTo>
                    <a:lnTo>
                      <a:pt x="1334453" y="1172528"/>
                    </a:lnTo>
                    <a:lnTo>
                      <a:pt x="1334453" y="1179195"/>
                    </a:lnTo>
                    <a:lnTo>
                      <a:pt x="1333500" y="1186815"/>
                    </a:lnTo>
                    <a:lnTo>
                      <a:pt x="1331595" y="1193483"/>
                    </a:lnTo>
                    <a:lnTo>
                      <a:pt x="1327785" y="1199198"/>
                    </a:lnTo>
                    <a:lnTo>
                      <a:pt x="1323023" y="1204913"/>
                    </a:lnTo>
                    <a:lnTo>
                      <a:pt x="1317308" y="1210628"/>
                    </a:lnTo>
                    <a:lnTo>
                      <a:pt x="1310640" y="1215390"/>
                    </a:lnTo>
                    <a:lnTo>
                      <a:pt x="1303020" y="1220153"/>
                    </a:lnTo>
                    <a:lnTo>
                      <a:pt x="1294448" y="1223963"/>
                    </a:lnTo>
                    <a:lnTo>
                      <a:pt x="1284923" y="1227773"/>
                    </a:lnTo>
                    <a:lnTo>
                      <a:pt x="1275398" y="1231583"/>
                    </a:lnTo>
                    <a:lnTo>
                      <a:pt x="1265873" y="1235393"/>
                    </a:lnTo>
                    <a:lnTo>
                      <a:pt x="1255395" y="1239203"/>
                    </a:lnTo>
                    <a:lnTo>
                      <a:pt x="1233488" y="1245870"/>
                    </a:lnTo>
                    <a:lnTo>
                      <a:pt x="1210628" y="1252538"/>
                    </a:lnTo>
                    <a:lnTo>
                      <a:pt x="1199198" y="1256348"/>
                    </a:lnTo>
                    <a:lnTo>
                      <a:pt x="1187768" y="1260158"/>
                    </a:lnTo>
                    <a:lnTo>
                      <a:pt x="1177290" y="1263968"/>
                    </a:lnTo>
                    <a:lnTo>
                      <a:pt x="1166813" y="1268730"/>
                    </a:lnTo>
                    <a:lnTo>
                      <a:pt x="1156335" y="1273493"/>
                    </a:lnTo>
                    <a:lnTo>
                      <a:pt x="1146810" y="1278255"/>
                    </a:lnTo>
                    <a:lnTo>
                      <a:pt x="1137285" y="1283970"/>
                    </a:lnTo>
                    <a:lnTo>
                      <a:pt x="1128713" y="1290638"/>
                    </a:lnTo>
                    <a:lnTo>
                      <a:pt x="1121093" y="1297305"/>
                    </a:lnTo>
                    <a:lnTo>
                      <a:pt x="1114425" y="1304925"/>
                    </a:lnTo>
                    <a:lnTo>
                      <a:pt x="1108710" y="1313498"/>
                    </a:lnTo>
                    <a:lnTo>
                      <a:pt x="1103948" y="1322070"/>
                    </a:lnTo>
                    <a:lnTo>
                      <a:pt x="1100138" y="1332548"/>
                    </a:lnTo>
                    <a:lnTo>
                      <a:pt x="1097280" y="1343025"/>
                    </a:lnTo>
                    <a:lnTo>
                      <a:pt x="1096328" y="1354455"/>
                    </a:lnTo>
                    <a:lnTo>
                      <a:pt x="1096328" y="1365885"/>
                    </a:lnTo>
                    <a:lnTo>
                      <a:pt x="1097280" y="1370648"/>
                    </a:lnTo>
                    <a:lnTo>
                      <a:pt x="1097280" y="1374458"/>
                    </a:lnTo>
                    <a:lnTo>
                      <a:pt x="1098233" y="1378268"/>
                    </a:lnTo>
                    <a:lnTo>
                      <a:pt x="1099185" y="1382078"/>
                    </a:lnTo>
                    <a:lnTo>
                      <a:pt x="1100138" y="1385888"/>
                    </a:lnTo>
                    <a:lnTo>
                      <a:pt x="1101090" y="1389698"/>
                    </a:lnTo>
                    <a:lnTo>
                      <a:pt x="1102043" y="1393508"/>
                    </a:lnTo>
                    <a:lnTo>
                      <a:pt x="1103948" y="1396365"/>
                    </a:lnTo>
                    <a:lnTo>
                      <a:pt x="1107758" y="1402080"/>
                    </a:lnTo>
                    <a:lnTo>
                      <a:pt x="1112520" y="1407795"/>
                    </a:lnTo>
                    <a:lnTo>
                      <a:pt x="1117283" y="1412558"/>
                    </a:lnTo>
                    <a:lnTo>
                      <a:pt x="1122998" y="1418273"/>
                    </a:lnTo>
                    <a:lnTo>
                      <a:pt x="1134428" y="1427798"/>
                    </a:lnTo>
                    <a:lnTo>
                      <a:pt x="1145858" y="1436370"/>
                    </a:lnTo>
                    <a:lnTo>
                      <a:pt x="1157288" y="1443990"/>
                    </a:lnTo>
                    <a:lnTo>
                      <a:pt x="1167765" y="1451610"/>
                    </a:lnTo>
                    <a:lnTo>
                      <a:pt x="1166813" y="1441133"/>
                    </a:lnTo>
                    <a:lnTo>
                      <a:pt x="1166813" y="1430655"/>
                    </a:lnTo>
                    <a:lnTo>
                      <a:pt x="1165860" y="1420178"/>
                    </a:lnTo>
                    <a:lnTo>
                      <a:pt x="1165860" y="1409700"/>
                    </a:lnTo>
                    <a:lnTo>
                      <a:pt x="1165860" y="1399223"/>
                    </a:lnTo>
                    <a:lnTo>
                      <a:pt x="1165860" y="1388745"/>
                    </a:lnTo>
                    <a:lnTo>
                      <a:pt x="1164908" y="1378268"/>
                    </a:lnTo>
                    <a:lnTo>
                      <a:pt x="1164908" y="1367790"/>
                    </a:lnTo>
                    <a:lnTo>
                      <a:pt x="1164908" y="1364933"/>
                    </a:lnTo>
                    <a:lnTo>
                      <a:pt x="1165860" y="1362075"/>
                    </a:lnTo>
                    <a:lnTo>
                      <a:pt x="1166813" y="1359218"/>
                    </a:lnTo>
                    <a:lnTo>
                      <a:pt x="1167765" y="1356360"/>
                    </a:lnTo>
                    <a:lnTo>
                      <a:pt x="1169670" y="1354455"/>
                    </a:lnTo>
                    <a:lnTo>
                      <a:pt x="1171575" y="1351598"/>
                    </a:lnTo>
                    <a:lnTo>
                      <a:pt x="1173480" y="1349693"/>
                    </a:lnTo>
                    <a:lnTo>
                      <a:pt x="1175385" y="1347788"/>
                    </a:lnTo>
                    <a:lnTo>
                      <a:pt x="1181100" y="1343025"/>
                    </a:lnTo>
                    <a:lnTo>
                      <a:pt x="1187768" y="1339215"/>
                    </a:lnTo>
                    <a:lnTo>
                      <a:pt x="1194435" y="1335405"/>
                    </a:lnTo>
                    <a:lnTo>
                      <a:pt x="1203008" y="1331595"/>
                    </a:lnTo>
                    <a:lnTo>
                      <a:pt x="1211580" y="1327785"/>
                    </a:lnTo>
                    <a:lnTo>
                      <a:pt x="1221105" y="1323975"/>
                    </a:lnTo>
                    <a:lnTo>
                      <a:pt x="1230630" y="1320165"/>
                    </a:lnTo>
                    <a:lnTo>
                      <a:pt x="1241108" y="1316355"/>
                    </a:lnTo>
                    <a:lnTo>
                      <a:pt x="1262063" y="1309688"/>
                    </a:lnTo>
                    <a:lnTo>
                      <a:pt x="1283018" y="1303020"/>
                    </a:lnTo>
                    <a:lnTo>
                      <a:pt x="1298258" y="1298258"/>
                    </a:lnTo>
                    <a:lnTo>
                      <a:pt x="1313498" y="1293495"/>
                    </a:lnTo>
                    <a:lnTo>
                      <a:pt x="1328738" y="1288733"/>
                    </a:lnTo>
                    <a:lnTo>
                      <a:pt x="1343025" y="1283018"/>
                    </a:lnTo>
                    <a:lnTo>
                      <a:pt x="1349693" y="1280160"/>
                    </a:lnTo>
                    <a:lnTo>
                      <a:pt x="1356360" y="1277303"/>
                    </a:lnTo>
                    <a:lnTo>
                      <a:pt x="1363028" y="1273493"/>
                    </a:lnTo>
                    <a:lnTo>
                      <a:pt x="1368743" y="1269683"/>
                    </a:lnTo>
                    <a:lnTo>
                      <a:pt x="1374458" y="1265873"/>
                    </a:lnTo>
                    <a:lnTo>
                      <a:pt x="1380173" y="1262063"/>
                    </a:lnTo>
                    <a:lnTo>
                      <a:pt x="1385888" y="1258253"/>
                    </a:lnTo>
                    <a:lnTo>
                      <a:pt x="1390650" y="1253490"/>
                    </a:lnTo>
                    <a:lnTo>
                      <a:pt x="1395413" y="1248728"/>
                    </a:lnTo>
                    <a:lnTo>
                      <a:pt x="1400175" y="1243965"/>
                    </a:lnTo>
                    <a:lnTo>
                      <a:pt x="1404938" y="1239203"/>
                    </a:lnTo>
                    <a:lnTo>
                      <a:pt x="1408748" y="1234440"/>
                    </a:lnTo>
                    <a:lnTo>
                      <a:pt x="1412558" y="1228725"/>
                    </a:lnTo>
                    <a:lnTo>
                      <a:pt x="1416368" y="1223010"/>
                    </a:lnTo>
                    <a:lnTo>
                      <a:pt x="1419225" y="1217295"/>
                    </a:lnTo>
                    <a:lnTo>
                      <a:pt x="1422083" y="1211580"/>
                    </a:lnTo>
                    <a:lnTo>
                      <a:pt x="1423988" y="1204913"/>
                    </a:lnTo>
                    <a:lnTo>
                      <a:pt x="1425893" y="1198245"/>
                    </a:lnTo>
                    <a:lnTo>
                      <a:pt x="1426845" y="1191578"/>
                    </a:lnTo>
                    <a:lnTo>
                      <a:pt x="1427798" y="1183958"/>
                    </a:lnTo>
                    <a:lnTo>
                      <a:pt x="1428750" y="1177290"/>
                    </a:lnTo>
                    <a:lnTo>
                      <a:pt x="1428750" y="1169670"/>
                    </a:lnTo>
                    <a:lnTo>
                      <a:pt x="1428750" y="1162050"/>
                    </a:lnTo>
                    <a:lnTo>
                      <a:pt x="1427798" y="1153478"/>
                    </a:lnTo>
                    <a:lnTo>
                      <a:pt x="1427798" y="1147763"/>
                    </a:lnTo>
                    <a:lnTo>
                      <a:pt x="1426845" y="1142048"/>
                    </a:lnTo>
                    <a:lnTo>
                      <a:pt x="1425893" y="1136333"/>
                    </a:lnTo>
                    <a:lnTo>
                      <a:pt x="1424940" y="1130618"/>
                    </a:lnTo>
                    <a:lnTo>
                      <a:pt x="1423035" y="1124903"/>
                    </a:lnTo>
                    <a:lnTo>
                      <a:pt x="1421130" y="1119188"/>
                    </a:lnTo>
                    <a:lnTo>
                      <a:pt x="1419225" y="1113473"/>
                    </a:lnTo>
                    <a:lnTo>
                      <a:pt x="1416368" y="1108710"/>
                    </a:lnTo>
                    <a:lnTo>
                      <a:pt x="1413510" y="1103948"/>
                    </a:lnTo>
                    <a:lnTo>
                      <a:pt x="1409700" y="1099185"/>
                    </a:lnTo>
                    <a:lnTo>
                      <a:pt x="1405890" y="1094423"/>
                    </a:lnTo>
                    <a:lnTo>
                      <a:pt x="1402080" y="1089660"/>
                    </a:lnTo>
                    <a:lnTo>
                      <a:pt x="1398270" y="1084898"/>
                    </a:lnTo>
                    <a:lnTo>
                      <a:pt x="1393508" y="1080135"/>
                    </a:lnTo>
                    <a:lnTo>
                      <a:pt x="1388745" y="1076325"/>
                    </a:lnTo>
                    <a:lnTo>
                      <a:pt x="1383983" y="1072515"/>
                    </a:lnTo>
                    <a:lnTo>
                      <a:pt x="1373505" y="1064895"/>
                    </a:lnTo>
                    <a:lnTo>
                      <a:pt x="1363028" y="1058228"/>
                    </a:lnTo>
                    <a:lnTo>
                      <a:pt x="1351598" y="1051560"/>
                    </a:lnTo>
                    <a:lnTo>
                      <a:pt x="1339215" y="1044893"/>
                    </a:lnTo>
                    <a:lnTo>
                      <a:pt x="1325880" y="1039178"/>
                    </a:lnTo>
                    <a:lnTo>
                      <a:pt x="1312545" y="1033463"/>
                    </a:lnTo>
                    <a:lnTo>
                      <a:pt x="1298258" y="1027748"/>
                    </a:lnTo>
                    <a:lnTo>
                      <a:pt x="1282065" y="1024890"/>
                    </a:lnTo>
                    <a:lnTo>
                      <a:pt x="1282065" y="1024890"/>
                    </a:lnTo>
                    <a:close/>
                    <a:moveTo>
                      <a:pt x="1297305" y="300038"/>
                    </a:moveTo>
                    <a:lnTo>
                      <a:pt x="1295400" y="344805"/>
                    </a:lnTo>
                    <a:lnTo>
                      <a:pt x="1294448" y="343853"/>
                    </a:lnTo>
                    <a:lnTo>
                      <a:pt x="1294448" y="353378"/>
                    </a:lnTo>
                    <a:lnTo>
                      <a:pt x="1292543" y="395288"/>
                    </a:lnTo>
                    <a:lnTo>
                      <a:pt x="1311593" y="399098"/>
                    </a:lnTo>
                    <a:lnTo>
                      <a:pt x="1329690" y="403860"/>
                    </a:lnTo>
                    <a:lnTo>
                      <a:pt x="1338263" y="406718"/>
                    </a:lnTo>
                    <a:lnTo>
                      <a:pt x="1345883" y="409575"/>
                    </a:lnTo>
                    <a:lnTo>
                      <a:pt x="1353503" y="412433"/>
                    </a:lnTo>
                    <a:lnTo>
                      <a:pt x="1361123" y="415290"/>
                    </a:lnTo>
                    <a:lnTo>
                      <a:pt x="1368743" y="418148"/>
                    </a:lnTo>
                    <a:lnTo>
                      <a:pt x="1375410" y="421005"/>
                    </a:lnTo>
                    <a:lnTo>
                      <a:pt x="1382078" y="423863"/>
                    </a:lnTo>
                    <a:lnTo>
                      <a:pt x="1388745" y="427673"/>
                    </a:lnTo>
                    <a:lnTo>
                      <a:pt x="1394460" y="431483"/>
                    </a:lnTo>
                    <a:lnTo>
                      <a:pt x="1400175" y="435293"/>
                    </a:lnTo>
                    <a:lnTo>
                      <a:pt x="1405890" y="439103"/>
                    </a:lnTo>
                    <a:lnTo>
                      <a:pt x="1410653" y="442913"/>
                    </a:lnTo>
                    <a:lnTo>
                      <a:pt x="1415415" y="447675"/>
                    </a:lnTo>
                    <a:lnTo>
                      <a:pt x="1420178" y="451485"/>
                    </a:lnTo>
                    <a:lnTo>
                      <a:pt x="1423988" y="456248"/>
                    </a:lnTo>
                    <a:lnTo>
                      <a:pt x="1427798" y="461010"/>
                    </a:lnTo>
                    <a:lnTo>
                      <a:pt x="1431608" y="465773"/>
                    </a:lnTo>
                    <a:lnTo>
                      <a:pt x="1434465" y="470535"/>
                    </a:lnTo>
                    <a:lnTo>
                      <a:pt x="1437323" y="475298"/>
                    </a:lnTo>
                    <a:lnTo>
                      <a:pt x="1440180" y="481013"/>
                    </a:lnTo>
                    <a:lnTo>
                      <a:pt x="1442085" y="485775"/>
                    </a:lnTo>
                    <a:lnTo>
                      <a:pt x="1443990" y="491490"/>
                    </a:lnTo>
                    <a:lnTo>
                      <a:pt x="1444943" y="497205"/>
                    </a:lnTo>
                    <a:lnTo>
                      <a:pt x="1445895" y="502920"/>
                    </a:lnTo>
                    <a:lnTo>
                      <a:pt x="1446848" y="508635"/>
                    </a:lnTo>
                    <a:lnTo>
                      <a:pt x="1446848" y="514350"/>
                    </a:lnTo>
                    <a:lnTo>
                      <a:pt x="1446848" y="520065"/>
                    </a:lnTo>
                    <a:lnTo>
                      <a:pt x="1446848" y="526733"/>
                    </a:lnTo>
                    <a:lnTo>
                      <a:pt x="1446848" y="534353"/>
                    </a:lnTo>
                    <a:lnTo>
                      <a:pt x="1445895" y="541020"/>
                    </a:lnTo>
                    <a:lnTo>
                      <a:pt x="1444943" y="548640"/>
                    </a:lnTo>
                    <a:lnTo>
                      <a:pt x="1443990" y="555308"/>
                    </a:lnTo>
                    <a:lnTo>
                      <a:pt x="1426845" y="547688"/>
                    </a:lnTo>
                    <a:lnTo>
                      <a:pt x="1408748" y="541020"/>
                    </a:lnTo>
                    <a:lnTo>
                      <a:pt x="1390650" y="534353"/>
                    </a:lnTo>
                    <a:lnTo>
                      <a:pt x="1372553" y="528638"/>
                    </a:lnTo>
                    <a:lnTo>
                      <a:pt x="1353503" y="523875"/>
                    </a:lnTo>
                    <a:lnTo>
                      <a:pt x="1334453" y="519113"/>
                    </a:lnTo>
                    <a:lnTo>
                      <a:pt x="1315403" y="515303"/>
                    </a:lnTo>
                    <a:lnTo>
                      <a:pt x="1296353" y="512445"/>
                    </a:lnTo>
                    <a:lnTo>
                      <a:pt x="1296353" y="541020"/>
                    </a:lnTo>
                    <a:lnTo>
                      <a:pt x="1314450" y="543878"/>
                    </a:lnTo>
                    <a:lnTo>
                      <a:pt x="1331595" y="547688"/>
                    </a:lnTo>
                    <a:lnTo>
                      <a:pt x="1348740" y="552450"/>
                    </a:lnTo>
                    <a:lnTo>
                      <a:pt x="1365885" y="557213"/>
                    </a:lnTo>
                    <a:lnTo>
                      <a:pt x="1383030" y="562928"/>
                    </a:lnTo>
                    <a:lnTo>
                      <a:pt x="1399223" y="568643"/>
                    </a:lnTo>
                    <a:lnTo>
                      <a:pt x="1416368" y="575310"/>
                    </a:lnTo>
                    <a:lnTo>
                      <a:pt x="1432560" y="581978"/>
                    </a:lnTo>
                    <a:lnTo>
                      <a:pt x="1429703" y="586740"/>
                    </a:lnTo>
                    <a:lnTo>
                      <a:pt x="1425893" y="591503"/>
                    </a:lnTo>
                    <a:lnTo>
                      <a:pt x="1422083" y="596265"/>
                    </a:lnTo>
                    <a:lnTo>
                      <a:pt x="1418273" y="601028"/>
                    </a:lnTo>
                    <a:lnTo>
                      <a:pt x="1414463" y="604838"/>
                    </a:lnTo>
                    <a:lnTo>
                      <a:pt x="1409700" y="608648"/>
                    </a:lnTo>
                    <a:lnTo>
                      <a:pt x="1404938" y="612458"/>
                    </a:lnTo>
                    <a:lnTo>
                      <a:pt x="1400175" y="616268"/>
                    </a:lnTo>
                    <a:lnTo>
                      <a:pt x="1395413" y="620078"/>
                    </a:lnTo>
                    <a:lnTo>
                      <a:pt x="1389698" y="623888"/>
                    </a:lnTo>
                    <a:lnTo>
                      <a:pt x="1384935" y="627698"/>
                    </a:lnTo>
                    <a:lnTo>
                      <a:pt x="1379220" y="630555"/>
                    </a:lnTo>
                    <a:lnTo>
                      <a:pt x="1366838" y="637223"/>
                    </a:lnTo>
                    <a:lnTo>
                      <a:pt x="1353503" y="642938"/>
                    </a:lnTo>
                    <a:lnTo>
                      <a:pt x="1340168" y="648653"/>
                    </a:lnTo>
                    <a:lnTo>
                      <a:pt x="1324928" y="654368"/>
                    </a:lnTo>
                    <a:lnTo>
                      <a:pt x="1309688" y="659130"/>
                    </a:lnTo>
                    <a:lnTo>
                      <a:pt x="1293495" y="663893"/>
                    </a:lnTo>
                    <a:lnTo>
                      <a:pt x="1277303" y="668655"/>
                    </a:lnTo>
                    <a:lnTo>
                      <a:pt x="1260158" y="673418"/>
                    </a:lnTo>
                    <a:lnTo>
                      <a:pt x="1242060" y="677228"/>
                    </a:lnTo>
                    <a:lnTo>
                      <a:pt x="1223010" y="681990"/>
                    </a:lnTo>
                    <a:lnTo>
                      <a:pt x="1202055" y="686753"/>
                    </a:lnTo>
                    <a:lnTo>
                      <a:pt x="1180148" y="691515"/>
                    </a:lnTo>
                    <a:lnTo>
                      <a:pt x="1169670" y="694373"/>
                    </a:lnTo>
                    <a:lnTo>
                      <a:pt x="1159193" y="697230"/>
                    </a:lnTo>
                    <a:lnTo>
                      <a:pt x="1147763" y="701040"/>
                    </a:lnTo>
                    <a:lnTo>
                      <a:pt x="1136333" y="704850"/>
                    </a:lnTo>
                    <a:lnTo>
                      <a:pt x="1125855" y="708660"/>
                    </a:lnTo>
                    <a:lnTo>
                      <a:pt x="1115378" y="713423"/>
                    </a:lnTo>
                    <a:lnTo>
                      <a:pt x="1104900" y="718185"/>
                    </a:lnTo>
                    <a:lnTo>
                      <a:pt x="1094423" y="722948"/>
                    </a:lnTo>
                    <a:lnTo>
                      <a:pt x="1083945" y="727710"/>
                    </a:lnTo>
                    <a:lnTo>
                      <a:pt x="1073468" y="733425"/>
                    </a:lnTo>
                    <a:lnTo>
                      <a:pt x="1062990" y="739140"/>
                    </a:lnTo>
                    <a:lnTo>
                      <a:pt x="1053465" y="744855"/>
                    </a:lnTo>
                    <a:lnTo>
                      <a:pt x="1043940" y="751523"/>
                    </a:lnTo>
                    <a:lnTo>
                      <a:pt x="1035368" y="758190"/>
                    </a:lnTo>
                    <a:lnTo>
                      <a:pt x="1026795" y="765810"/>
                    </a:lnTo>
                    <a:lnTo>
                      <a:pt x="1019175" y="773430"/>
                    </a:lnTo>
                    <a:lnTo>
                      <a:pt x="1011555" y="782003"/>
                    </a:lnTo>
                    <a:lnTo>
                      <a:pt x="1004888" y="790575"/>
                    </a:lnTo>
                    <a:lnTo>
                      <a:pt x="998220" y="800100"/>
                    </a:lnTo>
                    <a:lnTo>
                      <a:pt x="992505" y="809625"/>
                    </a:lnTo>
                    <a:lnTo>
                      <a:pt x="987743" y="820103"/>
                    </a:lnTo>
                    <a:lnTo>
                      <a:pt x="982980" y="830580"/>
                    </a:lnTo>
                    <a:lnTo>
                      <a:pt x="979170" y="841058"/>
                    </a:lnTo>
                    <a:lnTo>
                      <a:pt x="976313" y="852488"/>
                    </a:lnTo>
                    <a:lnTo>
                      <a:pt x="974408" y="863918"/>
                    </a:lnTo>
                    <a:lnTo>
                      <a:pt x="972503" y="876300"/>
                    </a:lnTo>
                    <a:lnTo>
                      <a:pt x="972503" y="889635"/>
                    </a:lnTo>
                    <a:lnTo>
                      <a:pt x="972503" y="902970"/>
                    </a:lnTo>
                    <a:lnTo>
                      <a:pt x="973455" y="914400"/>
                    </a:lnTo>
                    <a:lnTo>
                      <a:pt x="975360" y="924878"/>
                    </a:lnTo>
                    <a:lnTo>
                      <a:pt x="977265" y="935355"/>
                    </a:lnTo>
                    <a:lnTo>
                      <a:pt x="980123" y="945833"/>
                    </a:lnTo>
                    <a:lnTo>
                      <a:pt x="983933" y="955358"/>
                    </a:lnTo>
                    <a:lnTo>
                      <a:pt x="987743" y="964883"/>
                    </a:lnTo>
                    <a:lnTo>
                      <a:pt x="992505" y="973455"/>
                    </a:lnTo>
                    <a:lnTo>
                      <a:pt x="997268" y="982028"/>
                    </a:lnTo>
                    <a:lnTo>
                      <a:pt x="1002030" y="989648"/>
                    </a:lnTo>
                    <a:lnTo>
                      <a:pt x="1007745" y="997268"/>
                    </a:lnTo>
                    <a:lnTo>
                      <a:pt x="1013460" y="1004888"/>
                    </a:lnTo>
                    <a:lnTo>
                      <a:pt x="1019175" y="1011555"/>
                    </a:lnTo>
                    <a:lnTo>
                      <a:pt x="1025843" y="1018223"/>
                    </a:lnTo>
                    <a:lnTo>
                      <a:pt x="1032510" y="1023938"/>
                    </a:lnTo>
                    <a:lnTo>
                      <a:pt x="1039178" y="1029653"/>
                    </a:lnTo>
                    <a:lnTo>
                      <a:pt x="1045845" y="1035368"/>
                    </a:lnTo>
                    <a:lnTo>
                      <a:pt x="1053465" y="1041083"/>
                    </a:lnTo>
                    <a:lnTo>
                      <a:pt x="1061085" y="1045845"/>
                    </a:lnTo>
                    <a:lnTo>
                      <a:pt x="1068705" y="1050608"/>
                    </a:lnTo>
                    <a:lnTo>
                      <a:pt x="1076325" y="1055370"/>
                    </a:lnTo>
                    <a:lnTo>
                      <a:pt x="1083945" y="1059180"/>
                    </a:lnTo>
                    <a:lnTo>
                      <a:pt x="1091565" y="1062990"/>
                    </a:lnTo>
                    <a:lnTo>
                      <a:pt x="1099185" y="1066800"/>
                    </a:lnTo>
                    <a:lnTo>
                      <a:pt x="1106805" y="1069658"/>
                    </a:lnTo>
                    <a:lnTo>
                      <a:pt x="1122045" y="1075373"/>
                    </a:lnTo>
                    <a:lnTo>
                      <a:pt x="1136333" y="1080135"/>
                    </a:lnTo>
                    <a:lnTo>
                      <a:pt x="1149668" y="1083945"/>
                    </a:lnTo>
                    <a:lnTo>
                      <a:pt x="1162050" y="1087755"/>
                    </a:lnTo>
                    <a:lnTo>
                      <a:pt x="1161098" y="1075373"/>
                    </a:lnTo>
                    <a:lnTo>
                      <a:pt x="1161098" y="1062990"/>
                    </a:lnTo>
                    <a:lnTo>
                      <a:pt x="1161098" y="1050608"/>
                    </a:lnTo>
                    <a:lnTo>
                      <a:pt x="1161098" y="1038225"/>
                    </a:lnTo>
                    <a:lnTo>
                      <a:pt x="1160145" y="1025843"/>
                    </a:lnTo>
                    <a:lnTo>
                      <a:pt x="1160145" y="1011555"/>
                    </a:lnTo>
                    <a:lnTo>
                      <a:pt x="1160145" y="999173"/>
                    </a:lnTo>
                    <a:lnTo>
                      <a:pt x="1159193" y="986790"/>
                    </a:lnTo>
                    <a:lnTo>
                      <a:pt x="1152525" y="982980"/>
                    </a:lnTo>
                    <a:lnTo>
                      <a:pt x="1145858" y="979170"/>
                    </a:lnTo>
                    <a:lnTo>
                      <a:pt x="1139190" y="975360"/>
                    </a:lnTo>
                    <a:lnTo>
                      <a:pt x="1132523" y="971550"/>
                    </a:lnTo>
                    <a:lnTo>
                      <a:pt x="1126808" y="966788"/>
                    </a:lnTo>
                    <a:lnTo>
                      <a:pt x="1121093" y="962025"/>
                    </a:lnTo>
                    <a:lnTo>
                      <a:pt x="1115378" y="957263"/>
                    </a:lnTo>
                    <a:lnTo>
                      <a:pt x="1110615" y="951548"/>
                    </a:lnTo>
                    <a:lnTo>
                      <a:pt x="1105853" y="945833"/>
                    </a:lnTo>
                    <a:lnTo>
                      <a:pt x="1102043" y="939165"/>
                    </a:lnTo>
                    <a:lnTo>
                      <a:pt x="1098233" y="932498"/>
                    </a:lnTo>
                    <a:lnTo>
                      <a:pt x="1095375" y="924878"/>
                    </a:lnTo>
                    <a:lnTo>
                      <a:pt x="1094423" y="921068"/>
                    </a:lnTo>
                    <a:lnTo>
                      <a:pt x="1093470" y="917258"/>
                    </a:lnTo>
                    <a:lnTo>
                      <a:pt x="1092518" y="912495"/>
                    </a:lnTo>
                    <a:lnTo>
                      <a:pt x="1091565" y="907733"/>
                    </a:lnTo>
                    <a:lnTo>
                      <a:pt x="1091565" y="902970"/>
                    </a:lnTo>
                    <a:lnTo>
                      <a:pt x="1091565" y="898208"/>
                    </a:lnTo>
                    <a:lnTo>
                      <a:pt x="1091565" y="893445"/>
                    </a:lnTo>
                    <a:lnTo>
                      <a:pt x="1091565" y="888683"/>
                    </a:lnTo>
                    <a:lnTo>
                      <a:pt x="1092518" y="881063"/>
                    </a:lnTo>
                    <a:lnTo>
                      <a:pt x="1093470" y="874395"/>
                    </a:lnTo>
                    <a:lnTo>
                      <a:pt x="1096328" y="867728"/>
                    </a:lnTo>
                    <a:lnTo>
                      <a:pt x="1099185" y="862013"/>
                    </a:lnTo>
                    <a:lnTo>
                      <a:pt x="1102995" y="856298"/>
                    </a:lnTo>
                    <a:lnTo>
                      <a:pt x="1106805" y="850583"/>
                    </a:lnTo>
                    <a:lnTo>
                      <a:pt x="1111568" y="845820"/>
                    </a:lnTo>
                    <a:lnTo>
                      <a:pt x="1117283" y="841058"/>
                    </a:lnTo>
                    <a:lnTo>
                      <a:pt x="1122998" y="836295"/>
                    </a:lnTo>
                    <a:lnTo>
                      <a:pt x="1129665" y="831533"/>
                    </a:lnTo>
                    <a:lnTo>
                      <a:pt x="1136333" y="826770"/>
                    </a:lnTo>
                    <a:lnTo>
                      <a:pt x="1143953" y="822960"/>
                    </a:lnTo>
                    <a:lnTo>
                      <a:pt x="1152525" y="818198"/>
                    </a:lnTo>
                    <a:lnTo>
                      <a:pt x="1161098" y="814388"/>
                    </a:lnTo>
                    <a:lnTo>
                      <a:pt x="1170623" y="810578"/>
                    </a:lnTo>
                    <a:lnTo>
                      <a:pt x="1180148" y="806768"/>
                    </a:lnTo>
                    <a:lnTo>
                      <a:pt x="1200150" y="800100"/>
                    </a:lnTo>
                    <a:lnTo>
                      <a:pt x="1220153" y="794385"/>
                    </a:lnTo>
                    <a:lnTo>
                      <a:pt x="1242060" y="788670"/>
                    </a:lnTo>
                    <a:lnTo>
                      <a:pt x="1263968" y="782955"/>
                    </a:lnTo>
                    <a:lnTo>
                      <a:pt x="1308735" y="771525"/>
                    </a:lnTo>
                    <a:lnTo>
                      <a:pt x="1353503" y="759143"/>
                    </a:lnTo>
                    <a:lnTo>
                      <a:pt x="1370648" y="753428"/>
                    </a:lnTo>
                    <a:lnTo>
                      <a:pt x="1386840" y="747713"/>
                    </a:lnTo>
                    <a:lnTo>
                      <a:pt x="1402080" y="741998"/>
                    </a:lnTo>
                    <a:lnTo>
                      <a:pt x="1416368" y="736283"/>
                    </a:lnTo>
                    <a:lnTo>
                      <a:pt x="1430655" y="730568"/>
                    </a:lnTo>
                    <a:lnTo>
                      <a:pt x="1443038" y="724853"/>
                    </a:lnTo>
                    <a:lnTo>
                      <a:pt x="1455420" y="718185"/>
                    </a:lnTo>
                    <a:lnTo>
                      <a:pt x="1465898" y="712470"/>
                    </a:lnTo>
                    <a:lnTo>
                      <a:pt x="1476375" y="705803"/>
                    </a:lnTo>
                    <a:lnTo>
                      <a:pt x="1485900" y="699135"/>
                    </a:lnTo>
                    <a:lnTo>
                      <a:pt x="1494473" y="692468"/>
                    </a:lnTo>
                    <a:lnTo>
                      <a:pt x="1503045" y="685800"/>
                    </a:lnTo>
                    <a:lnTo>
                      <a:pt x="1510665" y="679133"/>
                    </a:lnTo>
                    <a:lnTo>
                      <a:pt x="1517333" y="671513"/>
                    </a:lnTo>
                    <a:lnTo>
                      <a:pt x="1523048" y="663893"/>
                    </a:lnTo>
                    <a:lnTo>
                      <a:pt x="1528763" y="656273"/>
                    </a:lnTo>
                    <a:lnTo>
                      <a:pt x="1533525" y="661035"/>
                    </a:lnTo>
                    <a:lnTo>
                      <a:pt x="1539240" y="665798"/>
                    </a:lnTo>
                    <a:lnTo>
                      <a:pt x="1544003" y="670560"/>
                    </a:lnTo>
                    <a:lnTo>
                      <a:pt x="1548765" y="675323"/>
                    </a:lnTo>
                    <a:lnTo>
                      <a:pt x="1547813" y="676275"/>
                    </a:lnTo>
                    <a:lnTo>
                      <a:pt x="1548765" y="676275"/>
                    </a:lnTo>
                    <a:lnTo>
                      <a:pt x="1549718" y="676275"/>
                    </a:lnTo>
                    <a:lnTo>
                      <a:pt x="1554480" y="681038"/>
                    </a:lnTo>
                    <a:lnTo>
                      <a:pt x="1457325" y="769620"/>
                    </a:lnTo>
                    <a:lnTo>
                      <a:pt x="1450658" y="763905"/>
                    </a:lnTo>
                    <a:lnTo>
                      <a:pt x="1443990" y="758190"/>
                    </a:lnTo>
                    <a:lnTo>
                      <a:pt x="1437323" y="752475"/>
                    </a:lnTo>
                    <a:lnTo>
                      <a:pt x="1430655" y="747713"/>
                    </a:lnTo>
                    <a:lnTo>
                      <a:pt x="1400175" y="757238"/>
                    </a:lnTo>
                    <a:lnTo>
                      <a:pt x="1410653" y="763905"/>
                    </a:lnTo>
                    <a:lnTo>
                      <a:pt x="1420178" y="771525"/>
                    </a:lnTo>
                    <a:lnTo>
                      <a:pt x="1429703" y="779145"/>
                    </a:lnTo>
                    <a:lnTo>
                      <a:pt x="1439228" y="787718"/>
                    </a:lnTo>
                    <a:lnTo>
                      <a:pt x="1401128" y="826770"/>
                    </a:lnTo>
                    <a:lnTo>
                      <a:pt x="1399223" y="824865"/>
                    </a:lnTo>
                    <a:lnTo>
                      <a:pt x="1357313" y="831533"/>
                    </a:lnTo>
                    <a:lnTo>
                      <a:pt x="1349693" y="842010"/>
                    </a:lnTo>
                    <a:lnTo>
                      <a:pt x="1340168" y="842010"/>
                    </a:lnTo>
                    <a:lnTo>
                      <a:pt x="1362075" y="819150"/>
                    </a:lnTo>
                    <a:lnTo>
                      <a:pt x="1355408" y="816293"/>
                    </a:lnTo>
                    <a:lnTo>
                      <a:pt x="1332548" y="845820"/>
                    </a:lnTo>
                    <a:lnTo>
                      <a:pt x="1337310" y="845820"/>
                    </a:lnTo>
                    <a:lnTo>
                      <a:pt x="1337310" y="856298"/>
                    </a:lnTo>
                    <a:lnTo>
                      <a:pt x="1343978" y="860108"/>
                    </a:lnTo>
                    <a:lnTo>
                      <a:pt x="1347788" y="870585"/>
                    </a:lnTo>
                    <a:lnTo>
                      <a:pt x="1335405" y="870585"/>
                    </a:lnTo>
                    <a:lnTo>
                      <a:pt x="1321118" y="870585"/>
                    </a:lnTo>
                    <a:lnTo>
                      <a:pt x="1285875" y="853440"/>
                    </a:lnTo>
                    <a:lnTo>
                      <a:pt x="1282065" y="998220"/>
                    </a:lnTo>
                    <a:lnTo>
                      <a:pt x="1313498" y="1008698"/>
                    </a:lnTo>
                    <a:lnTo>
                      <a:pt x="1344930" y="1022985"/>
                    </a:lnTo>
                    <a:lnTo>
                      <a:pt x="1373505" y="1037273"/>
                    </a:lnTo>
                    <a:lnTo>
                      <a:pt x="1398270" y="1058228"/>
                    </a:lnTo>
                    <a:lnTo>
                      <a:pt x="1423035" y="1079183"/>
                    </a:lnTo>
                    <a:lnTo>
                      <a:pt x="1440180" y="1106805"/>
                    </a:lnTo>
                    <a:lnTo>
                      <a:pt x="1450658" y="1138238"/>
                    </a:lnTo>
                    <a:lnTo>
                      <a:pt x="1454468" y="1156335"/>
                    </a:lnTo>
                    <a:lnTo>
                      <a:pt x="1454468" y="1173480"/>
                    </a:lnTo>
                    <a:lnTo>
                      <a:pt x="1450658" y="1208723"/>
                    </a:lnTo>
                    <a:lnTo>
                      <a:pt x="1440180" y="1237298"/>
                    </a:lnTo>
                    <a:lnTo>
                      <a:pt x="1419225" y="1265873"/>
                    </a:lnTo>
                    <a:lnTo>
                      <a:pt x="1394460" y="1286828"/>
                    </a:lnTo>
                    <a:lnTo>
                      <a:pt x="1390650" y="1290638"/>
                    </a:lnTo>
                    <a:lnTo>
                      <a:pt x="1378268" y="1298258"/>
                    </a:lnTo>
                    <a:lnTo>
                      <a:pt x="1369695" y="1303020"/>
                    </a:lnTo>
                    <a:lnTo>
                      <a:pt x="1361123" y="1307783"/>
                    </a:lnTo>
                    <a:lnTo>
                      <a:pt x="1352550" y="1311593"/>
                    </a:lnTo>
                    <a:lnTo>
                      <a:pt x="1343025" y="1315403"/>
                    </a:lnTo>
                    <a:lnTo>
                      <a:pt x="1334453" y="1319213"/>
                    </a:lnTo>
                    <a:lnTo>
                      <a:pt x="1286828" y="1333500"/>
                    </a:lnTo>
                    <a:lnTo>
                      <a:pt x="1282065" y="1334453"/>
                    </a:lnTo>
                    <a:lnTo>
                      <a:pt x="1276350" y="1335405"/>
                    </a:lnTo>
                    <a:lnTo>
                      <a:pt x="1276350" y="1337310"/>
                    </a:lnTo>
                    <a:lnTo>
                      <a:pt x="1274445" y="1337310"/>
                    </a:lnTo>
                    <a:lnTo>
                      <a:pt x="1270635" y="1414463"/>
                    </a:lnTo>
                    <a:lnTo>
                      <a:pt x="1295400" y="1424940"/>
                    </a:lnTo>
                    <a:lnTo>
                      <a:pt x="1320165" y="1439228"/>
                    </a:lnTo>
                    <a:lnTo>
                      <a:pt x="1341120" y="1457325"/>
                    </a:lnTo>
                    <a:lnTo>
                      <a:pt x="1362075" y="1478280"/>
                    </a:lnTo>
                    <a:lnTo>
                      <a:pt x="1367790" y="1487805"/>
                    </a:lnTo>
                    <a:lnTo>
                      <a:pt x="1379220" y="1509713"/>
                    </a:lnTo>
                    <a:lnTo>
                      <a:pt x="1389698" y="1534478"/>
                    </a:lnTo>
                    <a:lnTo>
                      <a:pt x="1396365" y="1569720"/>
                    </a:lnTo>
                    <a:lnTo>
                      <a:pt x="1396365" y="1612583"/>
                    </a:lnTo>
                    <a:lnTo>
                      <a:pt x="1396365" y="1633538"/>
                    </a:lnTo>
                    <a:lnTo>
                      <a:pt x="1389698" y="1644015"/>
                    </a:lnTo>
                    <a:lnTo>
                      <a:pt x="1382078" y="1650683"/>
                    </a:lnTo>
                    <a:lnTo>
                      <a:pt x="1382078" y="1650683"/>
                    </a:lnTo>
                    <a:lnTo>
                      <a:pt x="1383030" y="1651635"/>
                    </a:lnTo>
                    <a:lnTo>
                      <a:pt x="1367790" y="1655445"/>
                    </a:lnTo>
                    <a:lnTo>
                      <a:pt x="1353503" y="1659255"/>
                    </a:lnTo>
                    <a:lnTo>
                      <a:pt x="1338263" y="1662113"/>
                    </a:lnTo>
                    <a:lnTo>
                      <a:pt x="1323023" y="1664970"/>
                    </a:lnTo>
                    <a:lnTo>
                      <a:pt x="1307783" y="1666875"/>
                    </a:lnTo>
                    <a:lnTo>
                      <a:pt x="1292543" y="1668780"/>
                    </a:lnTo>
                    <a:lnTo>
                      <a:pt x="1277303" y="1669733"/>
                    </a:lnTo>
                    <a:lnTo>
                      <a:pt x="1262063" y="1670685"/>
                    </a:lnTo>
                    <a:lnTo>
                      <a:pt x="1261110" y="1700213"/>
                    </a:lnTo>
                    <a:lnTo>
                      <a:pt x="1276350" y="1699260"/>
                    </a:lnTo>
                    <a:lnTo>
                      <a:pt x="1291590" y="1697355"/>
                    </a:lnTo>
                    <a:lnTo>
                      <a:pt x="1306830" y="1695450"/>
                    </a:lnTo>
                    <a:lnTo>
                      <a:pt x="1322070" y="1693545"/>
                    </a:lnTo>
                    <a:lnTo>
                      <a:pt x="1337310" y="1691640"/>
                    </a:lnTo>
                    <a:lnTo>
                      <a:pt x="1352550" y="1688783"/>
                    </a:lnTo>
                    <a:lnTo>
                      <a:pt x="1367790" y="1685925"/>
                    </a:lnTo>
                    <a:lnTo>
                      <a:pt x="1383030" y="1682115"/>
                    </a:lnTo>
                    <a:lnTo>
                      <a:pt x="1397318" y="1678305"/>
                    </a:lnTo>
                    <a:lnTo>
                      <a:pt x="1412558" y="1674495"/>
                    </a:lnTo>
                    <a:lnTo>
                      <a:pt x="1426845" y="1669733"/>
                    </a:lnTo>
                    <a:lnTo>
                      <a:pt x="1441133" y="1664970"/>
                    </a:lnTo>
                    <a:lnTo>
                      <a:pt x="1455420" y="1659255"/>
                    </a:lnTo>
                    <a:lnTo>
                      <a:pt x="1469708" y="1654493"/>
                    </a:lnTo>
                    <a:lnTo>
                      <a:pt x="1483995" y="1648778"/>
                    </a:lnTo>
                    <a:lnTo>
                      <a:pt x="1497330" y="1643063"/>
                    </a:lnTo>
                    <a:lnTo>
                      <a:pt x="1510665" y="1637348"/>
                    </a:lnTo>
                    <a:lnTo>
                      <a:pt x="1524000" y="1630680"/>
                    </a:lnTo>
                    <a:lnTo>
                      <a:pt x="1537335" y="1624013"/>
                    </a:lnTo>
                    <a:lnTo>
                      <a:pt x="1550670" y="1616393"/>
                    </a:lnTo>
                    <a:lnTo>
                      <a:pt x="1564005" y="1609725"/>
                    </a:lnTo>
                    <a:lnTo>
                      <a:pt x="1576388" y="1602105"/>
                    </a:lnTo>
                    <a:lnTo>
                      <a:pt x="1588770" y="1594485"/>
                    </a:lnTo>
                    <a:lnTo>
                      <a:pt x="1601153" y="1585913"/>
                    </a:lnTo>
                    <a:lnTo>
                      <a:pt x="1612583" y="1577340"/>
                    </a:lnTo>
                    <a:lnTo>
                      <a:pt x="1624965" y="1568768"/>
                    </a:lnTo>
                    <a:lnTo>
                      <a:pt x="1636395" y="1560195"/>
                    </a:lnTo>
                    <a:lnTo>
                      <a:pt x="1647825" y="1550670"/>
                    </a:lnTo>
                    <a:lnTo>
                      <a:pt x="1659255" y="1541145"/>
                    </a:lnTo>
                    <a:lnTo>
                      <a:pt x="1670685" y="1531620"/>
                    </a:lnTo>
                    <a:lnTo>
                      <a:pt x="1681163" y="1522095"/>
                    </a:lnTo>
                    <a:lnTo>
                      <a:pt x="1691640" y="1511618"/>
                    </a:lnTo>
                    <a:lnTo>
                      <a:pt x="1788795" y="1608773"/>
                    </a:lnTo>
                    <a:lnTo>
                      <a:pt x="1774508" y="1622108"/>
                    </a:lnTo>
                    <a:lnTo>
                      <a:pt x="1760220" y="1635443"/>
                    </a:lnTo>
                    <a:lnTo>
                      <a:pt x="1745933" y="1647825"/>
                    </a:lnTo>
                    <a:lnTo>
                      <a:pt x="1730693" y="1660208"/>
                    </a:lnTo>
                    <a:lnTo>
                      <a:pt x="1715453" y="1671638"/>
                    </a:lnTo>
                    <a:lnTo>
                      <a:pt x="1700213" y="1683068"/>
                    </a:lnTo>
                    <a:lnTo>
                      <a:pt x="1684973" y="1694498"/>
                    </a:lnTo>
                    <a:lnTo>
                      <a:pt x="1669733" y="1704975"/>
                    </a:lnTo>
                    <a:lnTo>
                      <a:pt x="1653540" y="1715453"/>
                    </a:lnTo>
                    <a:lnTo>
                      <a:pt x="1637348" y="1724978"/>
                    </a:lnTo>
                    <a:lnTo>
                      <a:pt x="1621155" y="1734503"/>
                    </a:lnTo>
                    <a:lnTo>
                      <a:pt x="1604010" y="1744028"/>
                    </a:lnTo>
                    <a:lnTo>
                      <a:pt x="1586865" y="1752600"/>
                    </a:lnTo>
                    <a:lnTo>
                      <a:pt x="1569720" y="1761173"/>
                    </a:lnTo>
                    <a:lnTo>
                      <a:pt x="1552575" y="1769745"/>
                    </a:lnTo>
                    <a:lnTo>
                      <a:pt x="1534478" y="1777365"/>
                    </a:lnTo>
                    <a:lnTo>
                      <a:pt x="1516380" y="1784985"/>
                    </a:lnTo>
                    <a:lnTo>
                      <a:pt x="1498283" y="1791653"/>
                    </a:lnTo>
                    <a:lnTo>
                      <a:pt x="1479233" y="1798320"/>
                    </a:lnTo>
                    <a:lnTo>
                      <a:pt x="1460183" y="1804035"/>
                    </a:lnTo>
                    <a:lnTo>
                      <a:pt x="1441133" y="1808798"/>
                    </a:lnTo>
                    <a:lnTo>
                      <a:pt x="1422083" y="1813560"/>
                    </a:lnTo>
                    <a:lnTo>
                      <a:pt x="1403033" y="1818323"/>
                    </a:lnTo>
                    <a:lnTo>
                      <a:pt x="1383030" y="1822133"/>
                    </a:lnTo>
                    <a:lnTo>
                      <a:pt x="1363028" y="1825943"/>
                    </a:lnTo>
                    <a:lnTo>
                      <a:pt x="1343025" y="1828800"/>
                    </a:lnTo>
                    <a:lnTo>
                      <a:pt x="1323023" y="1831658"/>
                    </a:lnTo>
                    <a:lnTo>
                      <a:pt x="1303020" y="1833563"/>
                    </a:lnTo>
                    <a:lnTo>
                      <a:pt x="1283018" y="1835468"/>
                    </a:lnTo>
                    <a:lnTo>
                      <a:pt x="1262063" y="1836420"/>
                    </a:lnTo>
                    <a:lnTo>
                      <a:pt x="1242060" y="1837373"/>
                    </a:lnTo>
                    <a:lnTo>
                      <a:pt x="1221105" y="1837373"/>
                    </a:lnTo>
                    <a:lnTo>
                      <a:pt x="1201103" y="1837373"/>
                    </a:lnTo>
                    <a:lnTo>
                      <a:pt x="1181100" y="1836420"/>
                    </a:lnTo>
                    <a:lnTo>
                      <a:pt x="1161098" y="1835468"/>
                    </a:lnTo>
                    <a:lnTo>
                      <a:pt x="1141095" y="1833563"/>
                    </a:lnTo>
                    <a:lnTo>
                      <a:pt x="1121093" y="1831658"/>
                    </a:lnTo>
                    <a:lnTo>
                      <a:pt x="1101090" y="1828800"/>
                    </a:lnTo>
                    <a:lnTo>
                      <a:pt x="1081088" y="1825943"/>
                    </a:lnTo>
                    <a:lnTo>
                      <a:pt x="1062038" y="1822133"/>
                    </a:lnTo>
                    <a:lnTo>
                      <a:pt x="1042035" y="1817370"/>
                    </a:lnTo>
                    <a:lnTo>
                      <a:pt x="1022985" y="1812608"/>
                    </a:lnTo>
                    <a:lnTo>
                      <a:pt x="1003935" y="1807845"/>
                    </a:lnTo>
                    <a:lnTo>
                      <a:pt x="984885" y="1802130"/>
                    </a:lnTo>
                    <a:lnTo>
                      <a:pt x="966788" y="1796415"/>
                    </a:lnTo>
                    <a:lnTo>
                      <a:pt x="947738" y="1789748"/>
                    </a:lnTo>
                    <a:lnTo>
                      <a:pt x="929640" y="1783080"/>
                    </a:lnTo>
                    <a:lnTo>
                      <a:pt x="911543" y="1775460"/>
                    </a:lnTo>
                    <a:lnTo>
                      <a:pt x="893445" y="1767840"/>
                    </a:lnTo>
                    <a:lnTo>
                      <a:pt x="876300" y="1760220"/>
                    </a:lnTo>
                    <a:lnTo>
                      <a:pt x="859155" y="1751648"/>
                    </a:lnTo>
                    <a:lnTo>
                      <a:pt x="842010" y="1743075"/>
                    </a:lnTo>
                    <a:lnTo>
                      <a:pt x="824865" y="1733550"/>
                    </a:lnTo>
                    <a:lnTo>
                      <a:pt x="808673" y="1724025"/>
                    </a:lnTo>
                    <a:lnTo>
                      <a:pt x="792480" y="1714500"/>
                    </a:lnTo>
                    <a:lnTo>
                      <a:pt x="776288" y="1704023"/>
                    </a:lnTo>
                    <a:lnTo>
                      <a:pt x="760095" y="1693545"/>
                    </a:lnTo>
                    <a:lnTo>
                      <a:pt x="744855" y="1683068"/>
                    </a:lnTo>
                    <a:lnTo>
                      <a:pt x="729615" y="1671638"/>
                    </a:lnTo>
                    <a:lnTo>
                      <a:pt x="714375" y="1660208"/>
                    </a:lnTo>
                    <a:lnTo>
                      <a:pt x="699135" y="1647825"/>
                    </a:lnTo>
                    <a:lnTo>
                      <a:pt x="683895" y="1635443"/>
                    </a:lnTo>
                    <a:lnTo>
                      <a:pt x="669608" y="1622108"/>
                    </a:lnTo>
                    <a:lnTo>
                      <a:pt x="655320" y="1608773"/>
                    </a:lnTo>
                    <a:lnTo>
                      <a:pt x="753428" y="1514475"/>
                    </a:lnTo>
                    <a:lnTo>
                      <a:pt x="763905" y="1524000"/>
                    </a:lnTo>
                    <a:lnTo>
                      <a:pt x="774383" y="1533525"/>
                    </a:lnTo>
                    <a:lnTo>
                      <a:pt x="784860" y="1543050"/>
                    </a:lnTo>
                    <a:lnTo>
                      <a:pt x="795338" y="1551623"/>
                    </a:lnTo>
                    <a:lnTo>
                      <a:pt x="805815" y="1560195"/>
                    </a:lnTo>
                    <a:lnTo>
                      <a:pt x="817245" y="1568768"/>
                    </a:lnTo>
                    <a:lnTo>
                      <a:pt x="827723" y="1577340"/>
                    </a:lnTo>
                    <a:lnTo>
                      <a:pt x="839153" y="1584960"/>
                    </a:lnTo>
                    <a:lnTo>
                      <a:pt x="850583" y="1592580"/>
                    </a:lnTo>
                    <a:lnTo>
                      <a:pt x="862965" y="1600200"/>
                    </a:lnTo>
                    <a:lnTo>
                      <a:pt x="874395" y="1607820"/>
                    </a:lnTo>
                    <a:lnTo>
                      <a:pt x="886778" y="1614488"/>
                    </a:lnTo>
                    <a:lnTo>
                      <a:pt x="899160" y="1621155"/>
                    </a:lnTo>
                    <a:lnTo>
                      <a:pt x="911543" y="1627823"/>
                    </a:lnTo>
                    <a:lnTo>
                      <a:pt x="923925" y="1633538"/>
                    </a:lnTo>
                    <a:lnTo>
                      <a:pt x="936308" y="1639253"/>
                    </a:lnTo>
                    <a:lnTo>
                      <a:pt x="949643" y="1644968"/>
                    </a:lnTo>
                    <a:lnTo>
                      <a:pt x="962978" y="1650683"/>
                    </a:lnTo>
                    <a:lnTo>
                      <a:pt x="976313" y="1656398"/>
                    </a:lnTo>
                    <a:lnTo>
                      <a:pt x="989648" y="1661160"/>
                    </a:lnTo>
                    <a:lnTo>
                      <a:pt x="1002983" y="1665923"/>
                    </a:lnTo>
                    <a:lnTo>
                      <a:pt x="1016318" y="1670685"/>
                    </a:lnTo>
                    <a:lnTo>
                      <a:pt x="1029653" y="1675448"/>
                    </a:lnTo>
                    <a:lnTo>
                      <a:pt x="1043940" y="1679258"/>
                    </a:lnTo>
                    <a:lnTo>
                      <a:pt x="1058228" y="1683068"/>
                    </a:lnTo>
                    <a:lnTo>
                      <a:pt x="1072515" y="1685925"/>
                    </a:lnTo>
                    <a:lnTo>
                      <a:pt x="1086803" y="1688783"/>
                    </a:lnTo>
                    <a:lnTo>
                      <a:pt x="1101090" y="1691640"/>
                    </a:lnTo>
                    <a:lnTo>
                      <a:pt x="1115378" y="1694498"/>
                    </a:lnTo>
                    <a:lnTo>
                      <a:pt x="1129665" y="1696403"/>
                    </a:lnTo>
                    <a:lnTo>
                      <a:pt x="1143953" y="1698308"/>
                    </a:lnTo>
                    <a:lnTo>
                      <a:pt x="1159193" y="1700213"/>
                    </a:lnTo>
                    <a:lnTo>
                      <a:pt x="1159193" y="1670685"/>
                    </a:lnTo>
                    <a:lnTo>
                      <a:pt x="1145858" y="1669733"/>
                    </a:lnTo>
                    <a:lnTo>
                      <a:pt x="1131570" y="1667828"/>
                    </a:lnTo>
                    <a:lnTo>
                      <a:pt x="1118235" y="1665923"/>
                    </a:lnTo>
                    <a:lnTo>
                      <a:pt x="1103948" y="1663065"/>
                    </a:lnTo>
                    <a:lnTo>
                      <a:pt x="1090613" y="1660208"/>
                    </a:lnTo>
                    <a:lnTo>
                      <a:pt x="1077278" y="1657350"/>
                    </a:lnTo>
                    <a:lnTo>
                      <a:pt x="1063943" y="1654493"/>
                    </a:lnTo>
                    <a:lnTo>
                      <a:pt x="1050608" y="1650683"/>
                    </a:lnTo>
                    <a:lnTo>
                      <a:pt x="1037273" y="1646873"/>
                    </a:lnTo>
                    <a:lnTo>
                      <a:pt x="1023938" y="1643063"/>
                    </a:lnTo>
                    <a:lnTo>
                      <a:pt x="1011555" y="1638300"/>
                    </a:lnTo>
                    <a:lnTo>
                      <a:pt x="999173" y="1633538"/>
                    </a:lnTo>
                    <a:lnTo>
                      <a:pt x="986790" y="1628775"/>
                    </a:lnTo>
                    <a:lnTo>
                      <a:pt x="974408" y="1624013"/>
                    </a:lnTo>
                    <a:lnTo>
                      <a:pt x="962025" y="1618298"/>
                    </a:lnTo>
                    <a:lnTo>
                      <a:pt x="949643" y="1612583"/>
                    </a:lnTo>
                    <a:lnTo>
                      <a:pt x="937260" y="1606868"/>
                    </a:lnTo>
                    <a:lnTo>
                      <a:pt x="925830" y="1601153"/>
                    </a:lnTo>
                    <a:lnTo>
                      <a:pt x="914400" y="1595438"/>
                    </a:lnTo>
                    <a:lnTo>
                      <a:pt x="902970" y="1588770"/>
                    </a:lnTo>
                    <a:lnTo>
                      <a:pt x="891540" y="1582103"/>
                    </a:lnTo>
                    <a:lnTo>
                      <a:pt x="880110" y="1575435"/>
                    </a:lnTo>
                    <a:lnTo>
                      <a:pt x="868680" y="1568768"/>
                    </a:lnTo>
                    <a:lnTo>
                      <a:pt x="858203" y="1561148"/>
                    </a:lnTo>
                    <a:lnTo>
                      <a:pt x="847725" y="1553528"/>
                    </a:lnTo>
                    <a:lnTo>
                      <a:pt x="837248" y="1545908"/>
                    </a:lnTo>
                    <a:lnTo>
                      <a:pt x="826770" y="1537335"/>
                    </a:lnTo>
                    <a:lnTo>
                      <a:pt x="816293" y="1528763"/>
                    </a:lnTo>
                    <a:lnTo>
                      <a:pt x="805815" y="1520190"/>
                    </a:lnTo>
                    <a:lnTo>
                      <a:pt x="795338" y="1511618"/>
                    </a:lnTo>
                    <a:lnTo>
                      <a:pt x="785813" y="1503045"/>
                    </a:lnTo>
                    <a:lnTo>
                      <a:pt x="776288" y="1494473"/>
                    </a:lnTo>
                    <a:lnTo>
                      <a:pt x="801053" y="1469708"/>
                    </a:lnTo>
                    <a:lnTo>
                      <a:pt x="802958" y="1470660"/>
                    </a:lnTo>
                    <a:lnTo>
                      <a:pt x="839153" y="1473518"/>
                    </a:lnTo>
                    <a:lnTo>
                      <a:pt x="857250" y="1452563"/>
                    </a:lnTo>
                    <a:lnTo>
                      <a:pt x="906780" y="1456373"/>
                    </a:lnTo>
                    <a:lnTo>
                      <a:pt x="914400" y="1438275"/>
                    </a:lnTo>
                    <a:lnTo>
                      <a:pt x="914400" y="1431608"/>
                    </a:lnTo>
                    <a:lnTo>
                      <a:pt x="916305" y="1432560"/>
                    </a:lnTo>
                    <a:lnTo>
                      <a:pt x="916305" y="1431608"/>
                    </a:lnTo>
                    <a:lnTo>
                      <a:pt x="916305" y="1431608"/>
                    </a:lnTo>
                    <a:lnTo>
                      <a:pt x="929640" y="1441133"/>
                    </a:lnTo>
                    <a:lnTo>
                      <a:pt x="942975" y="1450658"/>
                    </a:lnTo>
                    <a:lnTo>
                      <a:pt x="957263" y="1459230"/>
                    </a:lnTo>
                    <a:lnTo>
                      <a:pt x="971550" y="1467803"/>
                    </a:lnTo>
                    <a:lnTo>
                      <a:pt x="986790" y="1475423"/>
                    </a:lnTo>
                    <a:lnTo>
                      <a:pt x="1002030" y="1483043"/>
                    </a:lnTo>
                    <a:lnTo>
                      <a:pt x="1017270" y="1489710"/>
                    </a:lnTo>
                    <a:lnTo>
                      <a:pt x="1032510" y="1496378"/>
                    </a:lnTo>
                    <a:lnTo>
                      <a:pt x="1047750" y="1502093"/>
                    </a:lnTo>
                    <a:lnTo>
                      <a:pt x="1062990" y="1507808"/>
                    </a:lnTo>
                    <a:lnTo>
                      <a:pt x="1079183" y="1512570"/>
                    </a:lnTo>
                    <a:lnTo>
                      <a:pt x="1095375" y="1517333"/>
                    </a:lnTo>
                    <a:lnTo>
                      <a:pt x="1111568" y="1522095"/>
                    </a:lnTo>
                    <a:lnTo>
                      <a:pt x="1128713" y="1525905"/>
                    </a:lnTo>
                    <a:lnTo>
                      <a:pt x="1145858" y="1528763"/>
                    </a:lnTo>
                    <a:lnTo>
                      <a:pt x="1163003" y="1531620"/>
                    </a:lnTo>
                    <a:lnTo>
                      <a:pt x="1163003" y="1501140"/>
                    </a:lnTo>
                    <a:lnTo>
                      <a:pt x="1143953" y="1498283"/>
                    </a:lnTo>
                    <a:lnTo>
                      <a:pt x="1124903" y="1494473"/>
                    </a:lnTo>
                    <a:lnTo>
                      <a:pt x="1105853" y="1489710"/>
                    </a:lnTo>
                    <a:lnTo>
                      <a:pt x="1087755" y="1484948"/>
                    </a:lnTo>
                    <a:lnTo>
                      <a:pt x="1069658" y="1479233"/>
                    </a:lnTo>
                    <a:lnTo>
                      <a:pt x="1051560" y="1472565"/>
                    </a:lnTo>
                    <a:lnTo>
                      <a:pt x="1034415" y="1465898"/>
                    </a:lnTo>
                    <a:lnTo>
                      <a:pt x="1017270" y="1458278"/>
                    </a:lnTo>
                    <a:lnTo>
                      <a:pt x="1001078" y="1449705"/>
                    </a:lnTo>
                    <a:lnTo>
                      <a:pt x="984885" y="1441133"/>
                    </a:lnTo>
                    <a:lnTo>
                      <a:pt x="969645" y="1431608"/>
                    </a:lnTo>
                    <a:lnTo>
                      <a:pt x="954405" y="1421130"/>
                    </a:lnTo>
                    <a:lnTo>
                      <a:pt x="939165" y="1410653"/>
                    </a:lnTo>
                    <a:lnTo>
                      <a:pt x="924878" y="1399223"/>
                    </a:lnTo>
                    <a:lnTo>
                      <a:pt x="910590" y="1387793"/>
                    </a:lnTo>
                    <a:lnTo>
                      <a:pt x="897255" y="1375410"/>
                    </a:lnTo>
                    <a:lnTo>
                      <a:pt x="995363" y="1277303"/>
                    </a:lnTo>
                    <a:lnTo>
                      <a:pt x="1003935" y="1284923"/>
                    </a:lnTo>
                    <a:lnTo>
                      <a:pt x="1012508" y="1292543"/>
                    </a:lnTo>
                    <a:lnTo>
                      <a:pt x="1022033" y="1299210"/>
                    </a:lnTo>
                    <a:lnTo>
                      <a:pt x="1031558" y="1305878"/>
                    </a:lnTo>
                    <a:lnTo>
                      <a:pt x="1041083" y="1312545"/>
                    </a:lnTo>
                    <a:lnTo>
                      <a:pt x="1051560" y="1318260"/>
                    </a:lnTo>
                    <a:lnTo>
                      <a:pt x="1062038" y="1323975"/>
                    </a:lnTo>
                    <a:lnTo>
                      <a:pt x="1072515" y="1329690"/>
                    </a:lnTo>
                    <a:lnTo>
                      <a:pt x="1072515" y="1327785"/>
                    </a:lnTo>
                    <a:lnTo>
                      <a:pt x="1076325" y="1313498"/>
                    </a:lnTo>
                    <a:lnTo>
                      <a:pt x="1081088" y="1303973"/>
                    </a:lnTo>
                    <a:lnTo>
                      <a:pt x="1071563" y="1299210"/>
                    </a:lnTo>
                    <a:lnTo>
                      <a:pt x="1062038" y="1294448"/>
                    </a:lnTo>
                    <a:lnTo>
                      <a:pt x="1053465" y="1289685"/>
                    </a:lnTo>
                    <a:lnTo>
                      <a:pt x="1044893" y="1283970"/>
                    </a:lnTo>
                    <a:lnTo>
                      <a:pt x="1036320" y="1278255"/>
                    </a:lnTo>
                    <a:lnTo>
                      <a:pt x="1027748" y="1271588"/>
                    </a:lnTo>
                    <a:lnTo>
                      <a:pt x="1019175" y="1264920"/>
                    </a:lnTo>
                    <a:lnTo>
                      <a:pt x="1011555" y="1258253"/>
                    </a:lnTo>
                    <a:lnTo>
                      <a:pt x="1110615" y="1159193"/>
                    </a:lnTo>
                    <a:lnTo>
                      <a:pt x="1116330" y="1163955"/>
                    </a:lnTo>
                    <a:lnTo>
                      <a:pt x="1122045" y="1168718"/>
                    </a:lnTo>
                    <a:lnTo>
                      <a:pt x="1128713" y="1172528"/>
                    </a:lnTo>
                    <a:lnTo>
                      <a:pt x="1134428" y="1176338"/>
                    </a:lnTo>
                    <a:lnTo>
                      <a:pt x="1141095" y="1180148"/>
                    </a:lnTo>
                    <a:lnTo>
                      <a:pt x="1147763" y="1183958"/>
                    </a:lnTo>
                    <a:lnTo>
                      <a:pt x="1154430" y="1186815"/>
                    </a:lnTo>
                    <a:lnTo>
                      <a:pt x="1161098" y="1189673"/>
                    </a:lnTo>
                    <a:lnTo>
                      <a:pt x="1161098" y="1161098"/>
                    </a:lnTo>
                    <a:lnTo>
                      <a:pt x="1152525" y="1157288"/>
                    </a:lnTo>
                    <a:lnTo>
                      <a:pt x="1143953" y="1152525"/>
                    </a:lnTo>
                    <a:lnTo>
                      <a:pt x="1135380" y="1147763"/>
                    </a:lnTo>
                    <a:lnTo>
                      <a:pt x="1127760" y="1142048"/>
                    </a:lnTo>
                    <a:lnTo>
                      <a:pt x="1157288" y="1112520"/>
                    </a:lnTo>
                    <a:lnTo>
                      <a:pt x="1126808" y="1102043"/>
                    </a:lnTo>
                    <a:lnTo>
                      <a:pt x="1106805" y="1122045"/>
                    </a:lnTo>
                    <a:lnTo>
                      <a:pt x="1101090" y="1114425"/>
                    </a:lnTo>
                    <a:lnTo>
                      <a:pt x="1095375" y="1105853"/>
                    </a:lnTo>
                    <a:lnTo>
                      <a:pt x="1089660" y="1097280"/>
                    </a:lnTo>
                    <a:lnTo>
                      <a:pt x="1084898" y="1087755"/>
                    </a:lnTo>
                    <a:lnTo>
                      <a:pt x="1064895" y="1081088"/>
                    </a:lnTo>
                    <a:lnTo>
                      <a:pt x="1061085" y="1079183"/>
                    </a:lnTo>
                    <a:lnTo>
                      <a:pt x="1059180" y="1078230"/>
                    </a:lnTo>
                    <a:lnTo>
                      <a:pt x="1034415" y="1063943"/>
                    </a:lnTo>
                    <a:lnTo>
                      <a:pt x="1013460" y="1049655"/>
                    </a:lnTo>
                    <a:lnTo>
                      <a:pt x="995363" y="1031558"/>
                    </a:lnTo>
                    <a:lnTo>
                      <a:pt x="978218" y="1014413"/>
                    </a:lnTo>
                    <a:lnTo>
                      <a:pt x="967740" y="993458"/>
                    </a:lnTo>
                    <a:lnTo>
                      <a:pt x="957263" y="972503"/>
                    </a:lnTo>
                    <a:lnTo>
                      <a:pt x="950595" y="947738"/>
                    </a:lnTo>
                    <a:lnTo>
                      <a:pt x="942975" y="922973"/>
                    </a:lnTo>
                    <a:lnTo>
                      <a:pt x="942975" y="894398"/>
                    </a:lnTo>
                    <a:lnTo>
                      <a:pt x="945833" y="862013"/>
                    </a:lnTo>
                    <a:lnTo>
                      <a:pt x="951548" y="832485"/>
                    </a:lnTo>
                    <a:lnTo>
                      <a:pt x="953453" y="824865"/>
                    </a:lnTo>
                    <a:lnTo>
                      <a:pt x="969645" y="788670"/>
                    </a:lnTo>
                    <a:lnTo>
                      <a:pt x="975360" y="778193"/>
                    </a:lnTo>
                    <a:lnTo>
                      <a:pt x="973455" y="780098"/>
                    </a:lnTo>
                    <a:lnTo>
                      <a:pt x="975360" y="775335"/>
                    </a:lnTo>
                    <a:lnTo>
                      <a:pt x="986790" y="761048"/>
                    </a:lnTo>
                    <a:lnTo>
                      <a:pt x="891540" y="665798"/>
                    </a:lnTo>
                    <a:lnTo>
                      <a:pt x="904875" y="653415"/>
                    </a:lnTo>
                    <a:lnTo>
                      <a:pt x="919163" y="641985"/>
                    </a:lnTo>
                    <a:lnTo>
                      <a:pt x="933450" y="631508"/>
                    </a:lnTo>
                    <a:lnTo>
                      <a:pt x="948690" y="621030"/>
                    </a:lnTo>
                    <a:lnTo>
                      <a:pt x="963930" y="610553"/>
                    </a:lnTo>
                    <a:lnTo>
                      <a:pt x="979170" y="601028"/>
                    </a:lnTo>
                    <a:lnTo>
                      <a:pt x="994410" y="592455"/>
                    </a:lnTo>
                    <a:lnTo>
                      <a:pt x="1009650" y="583883"/>
                    </a:lnTo>
                    <a:lnTo>
                      <a:pt x="1025843" y="576263"/>
                    </a:lnTo>
                    <a:lnTo>
                      <a:pt x="1042035" y="569595"/>
                    </a:lnTo>
                    <a:lnTo>
                      <a:pt x="1059180" y="562928"/>
                    </a:lnTo>
                    <a:lnTo>
                      <a:pt x="1076325" y="557213"/>
                    </a:lnTo>
                    <a:lnTo>
                      <a:pt x="1093470" y="551498"/>
                    </a:lnTo>
                    <a:lnTo>
                      <a:pt x="1111568" y="546735"/>
                    </a:lnTo>
                    <a:lnTo>
                      <a:pt x="1129665" y="542925"/>
                    </a:lnTo>
                    <a:lnTo>
                      <a:pt x="1148715" y="539115"/>
                    </a:lnTo>
                    <a:lnTo>
                      <a:pt x="1148715" y="509588"/>
                    </a:lnTo>
                    <a:lnTo>
                      <a:pt x="1128713" y="513398"/>
                    </a:lnTo>
                    <a:lnTo>
                      <a:pt x="1108710" y="517208"/>
                    </a:lnTo>
                    <a:lnTo>
                      <a:pt x="1089660" y="521970"/>
                    </a:lnTo>
                    <a:lnTo>
                      <a:pt x="1070610" y="527685"/>
                    </a:lnTo>
                    <a:lnTo>
                      <a:pt x="1051560" y="533400"/>
                    </a:lnTo>
                    <a:lnTo>
                      <a:pt x="1033463" y="540068"/>
                    </a:lnTo>
                    <a:lnTo>
                      <a:pt x="1015365" y="547688"/>
                    </a:lnTo>
                    <a:lnTo>
                      <a:pt x="997268" y="555308"/>
                    </a:lnTo>
                    <a:lnTo>
                      <a:pt x="980123" y="564833"/>
                    </a:lnTo>
                    <a:lnTo>
                      <a:pt x="962978" y="574358"/>
                    </a:lnTo>
                    <a:lnTo>
                      <a:pt x="946785" y="584835"/>
                    </a:lnTo>
                    <a:lnTo>
                      <a:pt x="930593" y="595313"/>
                    </a:lnTo>
                    <a:lnTo>
                      <a:pt x="915353" y="606743"/>
                    </a:lnTo>
                    <a:lnTo>
                      <a:pt x="900113" y="618173"/>
                    </a:lnTo>
                    <a:lnTo>
                      <a:pt x="884873" y="630555"/>
                    </a:lnTo>
                    <a:lnTo>
                      <a:pt x="870585" y="643890"/>
                    </a:lnTo>
                    <a:lnTo>
                      <a:pt x="857250" y="631508"/>
                    </a:lnTo>
                    <a:lnTo>
                      <a:pt x="842963" y="658178"/>
                    </a:lnTo>
                    <a:lnTo>
                      <a:pt x="850583" y="666750"/>
                    </a:lnTo>
                    <a:lnTo>
                      <a:pt x="842963" y="675323"/>
                    </a:lnTo>
                    <a:lnTo>
                      <a:pt x="835343" y="683895"/>
                    </a:lnTo>
                    <a:lnTo>
                      <a:pt x="827723" y="692468"/>
                    </a:lnTo>
                    <a:lnTo>
                      <a:pt x="820103" y="701040"/>
                    </a:lnTo>
                    <a:lnTo>
                      <a:pt x="813435" y="710565"/>
                    </a:lnTo>
                    <a:lnTo>
                      <a:pt x="806768" y="720090"/>
                    </a:lnTo>
                    <a:lnTo>
                      <a:pt x="800100" y="729615"/>
                    </a:lnTo>
                    <a:lnTo>
                      <a:pt x="793433" y="739140"/>
                    </a:lnTo>
                    <a:lnTo>
                      <a:pt x="786765" y="748665"/>
                    </a:lnTo>
                    <a:lnTo>
                      <a:pt x="781050" y="758190"/>
                    </a:lnTo>
                    <a:lnTo>
                      <a:pt x="775335" y="768668"/>
                    </a:lnTo>
                    <a:lnTo>
                      <a:pt x="769620" y="779145"/>
                    </a:lnTo>
                    <a:lnTo>
                      <a:pt x="764858" y="789623"/>
                    </a:lnTo>
                    <a:lnTo>
                      <a:pt x="760095" y="799148"/>
                    </a:lnTo>
                    <a:lnTo>
                      <a:pt x="754380" y="809625"/>
                    </a:lnTo>
                    <a:lnTo>
                      <a:pt x="749618" y="820103"/>
                    </a:lnTo>
                    <a:lnTo>
                      <a:pt x="744855" y="830580"/>
                    </a:lnTo>
                    <a:lnTo>
                      <a:pt x="740093" y="841058"/>
                    </a:lnTo>
                    <a:lnTo>
                      <a:pt x="736283" y="852488"/>
                    </a:lnTo>
                    <a:lnTo>
                      <a:pt x="733425" y="863918"/>
                    </a:lnTo>
                    <a:lnTo>
                      <a:pt x="729615" y="875348"/>
                    </a:lnTo>
                    <a:lnTo>
                      <a:pt x="726758" y="886778"/>
                    </a:lnTo>
                    <a:lnTo>
                      <a:pt x="723900" y="899160"/>
                    </a:lnTo>
                    <a:lnTo>
                      <a:pt x="721043" y="910590"/>
                    </a:lnTo>
                    <a:lnTo>
                      <a:pt x="718185" y="922020"/>
                    </a:lnTo>
                    <a:lnTo>
                      <a:pt x="716280" y="933450"/>
                    </a:lnTo>
                    <a:lnTo>
                      <a:pt x="714375" y="945833"/>
                    </a:lnTo>
                    <a:lnTo>
                      <a:pt x="712470" y="958215"/>
                    </a:lnTo>
                    <a:lnTo>
                      <a:pt x="711518" y="969645"/>
                    </a:lnTo>
                    <a:lnTo>
                      <a:pt x="710565" y="982028"/>
                    </a:lnTo>
                    <a:lnTo>
                      <a:pt x="709613" y="994410"/>
                    </a:lnTo>
                    <a:lnTo>
                      <a:pt x="709613" y="1006793"/>
                    </a:lnTo>
                    <a:lnTo>
                      <a:pt x="570548" y="1006793"/>
                    </a:lnTo>
                    <a:lnTo>
                      <a:pt x="570548" y="990600"/>
                    </a:lnTo>
                    <a:lnTo>
                      <a:pt x="571500" y="975360"/>
                    </a:lnTo>
                    <a:lnTo>
                      <a:pt x="572453" y="960120"/>
                    </a:lnTo>
                    <a:lnTo>
                      <a:pt x="574358" y="944880"/>
                    </a:lnTo>
                    <a:lnTo>
                      <a:pt x="576263" y="929640"/>
                    </a:lnTo>
                    <a:lnTo>
                      <a:pt x="579120" y="914400"/>
                    </a:lnTo>
                    <a:lnTo>
                      <a:pt x="581978" y="899160"/>
                    </a:lnTo>
                    <a:lnTo>
                      <a:pt x="584835" y="883920"/>
                    </a:lnTo>
                    <a:lnTo>
                      <a:pt x="588645" y="868680"/>
                    </a:lnTo>
                    <a:lnTo>
                      <a:pt x="592455" y="853440"/>
                    </a:lnTo>
                    <a:lnTo>
                      <a:pt x="596265" y="838200"/>
                    </a:lnTo>
                    <a:lnTo>
                      <a:pt x="601028" y="823913"/>
                    </a:lnTo>
                    <a:lnTo>
                      <a:pt x="605790" y="809625"/>
                    </a:lnTo>
                    <a:lnTo>
                      <a:pt x="611505" y="795338"/>
                    </a:lnTo>
                    <a:lnTo>
                      <a:pt x="616268" y="781050"/>
                    </a:lnTo>
                    <a:lnTo>
                      <a:pt x="621983" y="766763"/>
                    </a:lnTo>
                    <a:lnTo>
                      <a:pt x="627698" y="752475"/>
                    </a:lnTo>
                    <a:lnTo>
                      <a:pt x="633413" y="739140"/>
                    </a:lnTo>
                    <a:lnTo>
                      <a:pt x="640080" y="725805"/>
                    </a:lnTo>
                    <a:lnTo>
                      <a:pt x="646748" y="712470"/>
                    </a:lnTo>
                    <a:lnTo>
                      <a:pt x="653415" y="699135"/>
                    </a:lnTo>
                    <a:lnTo>
                      <a:pt x="661035" y="685800"/>
                    </a:lnTo>
                    <a:lnTo>
                      <a:pt x="668655" y="673418"/>
                    </a:lnTo>
                    <a:lnTo>
                      <a:pt x="677228" y="661035"/>
                    </a:lnTo>
                    <a:lnTo>
                      <a:pt x="685800" y="648653"/>
                    </a:lnTo>
                    <a:lnTo>
                      <a:pt x="694373" y="636270"/>
                    </a:lnTo>
                    <a:lnTo>
                      <a:pt x="702945" y="624840"/>
                    </a:lnTo>
                    <a:lnTo>
                      <a:pt x="712470" y="613410"/>
                    </a:lnTo>
                    <a:lnTo>
                      <a:pt x="721995" y="601980"/>
                    </a:lnTo>
                    <a:lnTo>
                      <a:pt x="731520" y="590550"/>
                    </a:lnTo>
                    <a:lnTo>
                      <a:pt x="741045" y="580073"/>
                    </a:lnTo>
                    <a:lnTo>
                      <a:pt x="751523" y="569595"/>
                    </a:lnTo>
                    <a:lnTo>
                      <a:pt x="795338" y="614363"/>
                    </a:lnTo>
                    <a:lnTo>
                      <a:pt x="826770" y="603885"/>
                    </a:lnTo>
                    <a:lnTo>
                      <a:pt x="772478" y="548640"/>
                    </a:lnTo>
                    <a:lnTo>
                      <a:pt x="783908" y="538163"/>
                    </a:lnTo>
                    <a:lnTo>
                      <a:pt x="795338" y="527685"/>
                    </a:lnTo>
                    <a:lnTo>
                      <a:pt x="807720" y="517208"/>
                    </a:lnTo>
                    <a:lnTo>
                      <a:pt x="820103" y="506730"/>
                    </a:lnTo>
                    <a:lnTo>
                      <a:pt x="832485" y="497205"/>
                    </a:lnTo>
                    <a:lnTo>
                      <a:pt x="844868" y="487680"/>
                    </a:lnTo>
                    <a:lnTo>
                      <a:pt x="858203" y="478155"/>
                    </a:lnTo>
                    <a:lnTo>
                      <a:pt x="871538" y="469583"/>
                    </a:lnTo>
                    <a:lnTo>
                      <a:pt x="894398" y="421958"/>
                    </a:lnTo>
                    <a:lnTo>
                      <a:pt x="876300" y="434340"/>
                    </a:lnTo>
                    <a:lnTo>
                      <a:pt x="857250" y="445770"/>
                    </a:lnTo>
                    <a:lnTo>
                      <a:pt x="838200" y="458153"/>
                    </a:lnTo>
                    <a:lnTo>
                      <a:pt x="820103" y="470535"/>
                    </a:lnTo>
                    <a:lnTo>
                      <a:pt x="802958" y="483870"/>
                    </a:lnTo>
                    <a:lnTo>
                      <a:pt x="785813" y="498158"/>
                    </a:lnTo>
                    <a:lnTo>
                      <a:pt x="769620" y="512445"/>
                    </a:lnTo>
                    <a:lnTo>
                      <a:pt x="752475" y="527685"/>
                    </a:lnTo>
                    <a:lnTo>
                      <a:pt x="656273" y="430530"/>
                    </a:lnTo>
                    <a:lnTo>
                      <a:pt x="667703" y="419100"/>
                    </a:lnTo>
                    <a:lnTo>
                      <a:pt x="680085" y="408623"/>
                    </a:lnTo>
                    <a:lnTo>
                      <a:pt x="692468" y="398145"/>
                    </a:lnTo>
                    <a:lnTo>
                      <a:pt x="704850" y="387668"/>
                    </a:lnTo>
                    <a:lnTo>
                      <a:pt x="718185" y="377190"/>
                    </a:lnTo>
                    <a:lnTo>
                      <a:pt x="731520" y="366713"/>
                    </a:lnTo>
                    <a:lnTo>
                      <a:pt x="744855" y="356235"/>
                    </a:lnTo>
                    <a:lnTo>
                      <a:pt x="758190" y="346710"/>
                    </a:lnTo>
                    <a:lnTo>
                      <a:pt x="771525" y="337185"/>
                    </a:lnTo>
                    <a:lnTo>
                      <a:pt x="785813" y="328613"/>
                    </a:lnTo>
                    <a:lnTo>
                      <a:pt x="800100" y="320040"/>
                    </a:lnTo>
                    <a:lnTo>
                      <a:pt x="814388" y="311468"/>
                    </a:lnTo>
                    <a:lnTo>
                      <a:pt x="829628" y="302895"/>
                    </a:lnTo>
                    <a:lnTo>
                      <a:pt x="843915" y="295275"/>
                    </a:lnTo>
                    <a:lnTo>
                      <a:pt x="859155" y="287655"/>
                    </a:lnTo>
                    <a:lnTo>
                      <a:pt x="874395" y="280035"/>
                    </a:lnTo>
                    <a:lnTo>
                      <a:pt x="889635" y="273368"/>
                    </a:lnTo>
                    <a:lnTo>
                      <a:pt x="904875" y="266700"/>
                    </a:lnTo>
                    <a:lnTo>
                      <a:pt x="920115" y="260033"/>
                    </a:lnTo>
                    <a:lnTo>
                      <a:pt x="935355" y="254318"/>
                    </a:lnTo>
                    <a:lnTo>
                      <a:pt x="950595" y="248603"/>
                    </a:lnTo>
                    <a:lnTo>
                      <a:pt x="966788" y="243840"/>
                    </a:lnTo>
                    <a:lnTo>
                      <a:pt x="982980" y="239078"/>
                    </a:lnTo>
                    <a:lnTo>
                      <a:pt x="999173" y="234315"/>
                    </a:lnTo>
                    <a:lnTo>
                      <a:pt x="1015365" y="229553"/>
                    </a:lnTo>
                    <a:lnTo>
                      <a:pt x="1031558" y="224790"/>
                    </a:lnTo>
                    <a:lnTo>
                      <a:pt x="1047750" y="220980"/>
                    </a:lnTo>
                    <a:lnTo>
                      <a:pt x="1064895" y="217170"/>
                    </a:lnTo>
                    <a:lnTo>
                      <a:pt x="1081088" y="214313"/>
                    </a:lnTo>
                    <a:lnTo>
                      <a:pt x="1098233" y="211455"/>
                    </a:lnTo>
                    <a:lnTo>
                      <a:pt x="1115378" y="209550"/>
                    </a:lnTo>
                    <a:lnTo>
                      <a:pt x="1132523" y="207645"/>
                    </a:lnTo>
                    <a:lnTo>
                      <a:pt x="1132523" y="178118"/>
                    </a:lnTo>
                    <a:lnTo>
                      <a:pt x="1092518" y="182880"/>
                    </a:lnTo>
                    <a:lnTo>
                      <a:pt x="1053465" y="189548"/>
                    </a:lnTo>
                    <a:lnTo>
                      <a:pt x="1014413" y="198120"/>
                    </a:lnTo>
                    <a:lnTo>
                      <a:pt x="977265" y="208598"/>
                    </a:lnTo>
                    <a:lnTo>
                      <a:pt x="940118" y="220028"/>
                    </a:lnTo>
                    <a:lnTo>
                      <a:pt x="903923" y="234315"/>
                    </a:lnTo>
                    <a:lnTo>
                      <a:pt x="868680" y="249555"/>
                    </a:lnTo>
                    <a:lnTo>
                      <a:pt x="835343" y="266700"/>
                    </a:lnTo>
                    <a:lnTo>
                      <a:pt x="802005" y="284798"/>
                    </a:lnTo>
                    <a:lnTo>
                      <a:pt x="769620" y="304800"/>
                    </a:lnTo>
                    <a:lnTo>
                      <a:pt x="738188" y="325755"/>
                    </a:lnTo>
                    <a:lnTo>
                      <a:pt x="707708" y="348615"/>
                    </a:lnTo>
                    <a:lnTo>
                      <a:pt x="678180" y="372428"/>
                    </a:lnTo>
                    <a:lnTo>
                      <a:pt x="649605" y="398145"/>
                    </a:lnTo>
                    <a:lnTo>
                      <a:pt x="622935" y="423863"/>
                    </a:lnTo>
                    <a:lnTo>
                      <a:pt x="596265" y="451485"/>
                    </a:lnTo>
                    <a:lnTo>
                      <a:pt x="571500" y="480060"/>
                    </a:lnTo>
                    <a:lnTo>
                      <a:pt x="547688" y="509588"/>
                    </a:lnTo>
                    <a:lnTo>
                      <a:pt x="523875" y="541020"/>
                    </a:lnTo>
                    <a:lnTo>
                      <a:pt x="502920" y="573405"/>
                    </a:lnTo>
                    <a:lnTo>
                      <a:pt x="482918" y="605790"/>
                    </a:lnTo>
                    <a:lnTo>
                      <a:pt x="464820" y="640080"/>
                    </a:lnTo>
                    <a:lnTo>
                      <a:pt x="448628" y="675323"/>
                    </a:lnTo>
                    <a:lnTo>
                      <a:pt x="433388" y="711518"/>
                    </a:lnTo>
                    <a:lnTo>
                      <a:pt x="420053" y="747713"/>
                    </a:lnTo>
                    <a:lnTo>
                      <a:pt x="408623" y="784860"/>
                    </a:lnTo>
                    <a:lnTo>
                      <a:pt x="398145" y="822960"/>
                    </a:lnTo>
                    <a:lnTo>
                      <a:pt x="389573" y="862013"/>
                    </a:lnTo>
                    <a:lnTo>
                      <a:pt x="382905" y="901065"/>
                    </a:lnTo>
                    <a:lnTo>
                      <a:pt x="378143" y="941070"/>
                    </a:lnTo>
                    <a:lnTo>
                      <a:pt x="375285" y="982028"/>
                    </a:lnTo>
                    <a:lnTo>
                      <a:pt x="374333" y="1022985"/>
                    </a:lnTo>
                    <a:lnTo>
                      <a:pt x="375285" y="1066800"/>
                    </a:lnTo>
                    <a:lnTo>
                      <a:pt x="378143" y="1109663"/>
                    </a:lnTo>
                    <a:lnTo>
                      <a:pt x="383858" y="1152525"/>
                    </a:lnTo>
                    <a:lnTo>
                      <a:pt x="391478" y="1193483"/>
                    </a:lnTo>
                    <a:lnTo>
                      <a:pt x="401003" y="1234440"/>
                    </a:lnTo>
                    <a:lnTo>
                      <a:pt x="412433" y="1275398"/>
                    </a:lnTo>
                    <a:lnTo>
                      <a:pt x="425768" y="1314450"/>
                    </a:lnTo>
                    <a:lnTo>
                      <a:pt x="441008" y="1352550"/>
                    </a:lnTo>
                    <a:lnTo>
                      <a:pt x="458153" y="1389698"/>
                    </a:lnTo>
                    <a:lnTo>
                      <a:pt x="477203" y="1425893"/>
                    </a:lnTo>
                    <a:lnTo>
                      <a:pt x="498158" y="1461135"/>
                    </a:lnTo>
                    <a:lnTo>
                      <a:pt x="520065" y="1495425"/>
                    </a:lnTo>
                    <a:lnTo>
                      <a:pt x="543878" y="1528763"/>
                    </a:lnTo>
                    <a:lnTo>
                      <a:pt x="568643" y="1560195"/>
                    </a:lnTo>
                    <a:lnTo>
                      <a:pt x="595313" y="1590675"/>
                    </a:lnTo>
                    <a:lnTo>
                      <a:pt x="623888" y="1620203"/>
                    </a:lnTo>
                    <a:lnTo>
                      <a:pt x="653415" y="1647825"/>
                    </a:lnTo>
                    <a:lnTo>
                      <a:pt x="684848" y="1674495"/>
                    </a:lnTo>
                    <a:lnTo>
                      <a:pt x="716280" y="1700213"/>
                    </a:lnTo>
                    <a:lnTo>
                      <a:pt x="749618" y="1724025"/>
                    </a:lnTo>
                    <a:lnTo>
                      <a:pt x="783908" y="1745933"/>
                    </a:lnTo>
                    <a:lnTo>
                      <a:pt x="819150" y="1766888"/>
                    </a:lnTo>
                    <a:lnTo>
                      <a:pt x="855345" y="1785938"/>
                    </a:lnTo>
                    <a:lnTo>
                      <a:pt x="892493" y="1803083"/>
                    </a:lnTo>
                    <a:lnTo>
                      <a:pt x="930593" y="1818323"/>
                    </a:lnTo>
                    <a:lnTo>
                      <a:pt x="969645" y="1831658"/>
                    </a:lnTo>
                    <a:lnTo>
                      <a:pt x="1009650" y="1843088"/>
                    </a:lnTo>
                    <a:lnTo>
                      <a:pt x="1050608" y="1852613"/>
                    </a:lnTo>
                    <a:lnTo>
                      <a:pt x="1091565" y="1860233"/>
                    </a:lnTo>
                    <a:lnTo>
                      <a:pt x="1134428" y="1864995"/>
                    </a:lnTo>
                    <a:lnTo>
                      <a:pt x="1177290" y="1868805"/>
                    </a:lnTo>
                    <a:lnTo>
                      <a:pt x="1221105" y="1869758"/>
                    </a:lnTo>
                    <a:lnTo>
                      <a:pt x="1264920" y="1868805"/>
                    </a:lnTo>
                    <a:lnTo>
                      <a:pt x="1307783" y="1864995"/>
                    </a:lnTo>
                    <a:lnTo>
                      <a:pt x="1349693" y="1860233"/>
                    </a:lnTo>
                    <a:lnTo>
                      <a:pt x="1391603" y="1852613"/>
                    </a:lnTo>
                    <a:lnTo>
                      <a:pt x="1432560" y="1843088"/>
                    </a:lnTo>
                    <a:lnTo>
                      <a:pt x="1472565" y="1831658"/>
                    </a:lnTo>
                    <a:lnTo>
                      <a:pt x="1512570" y="1818323"/>
                    </a:lnTo>
                    <a:lnTo>
                      <a:pt x="1550670" y="1803083"/>
                    </a:lnTo>
                    <a:lnTo>
                      <a:pt x="1587818" y="1785938"/>
                    </a:lnTo>
                    <a:lnTo>
                      <a:pt x="1624965" y="1766888"/>
                    </a:lnTo>
                    <a:lnTo>
                      <a:pt x="1660208" y="1745933"/>
                    </a:lnTo>
                    <a:lnTo>
                      <a:pt x="1694498" y="1724025"/>
                    </a:lnTo>
                    <a:lnTo>
                      <a:pt x="1727835" y="1700213"/>
                    </a:lnTo>
                    <a:lnTo>
                      <a:pt x="1760220" y="1674495"/>
                    </a:lnTo>
                    <a:lnTo>
                      <a:pt x="1790700" y="1647825"/>
                    </a:lnTo>
                    <a:lnTo>
                      <a:pt x="1820228" y="1620203"/>
                    </a:lnTo>
                    <a:lnTo>
                      <a:pt x="1847850" y="1590675"/>
                    </a:lnTo>
                    <a:lnTo>
                      <a:pt x="1874520" y="1560195"/>
                    </a:lnTo>
                    <a:lnTo>
                      <a:pt x="1900238" y="1528763"/>
                    </a:lnTo>
                    <a:lnTo>
                      <a:pt x="1924050" y="1495425"/>
                    </a:lnTo>
                    <a:lnTo>
                      <a:pt x="1945958" y="1461135"/>
                    </a:lnTo>
                    <a:lnTo>
                      <a:pt x="1965960" y="1425893"/>
                    </a:lnTo>
                    <a:lnTo>
                      <a:pt x="1985010" y="1389698"/>
                    </a:lnTo>
                    <a:lnTo>
                      <a:pt x="2002155" y="1352550"/>
                    </a:lnTo>
                    <a:lnTo>
                      <a:pt x="2017395" y="1314450"/>
                    </a:lnTo>
                    <a:lnTo>
                      <a:pt x="2030730" y="1275398"/>
                    </a:lnTo>
                    <a:lnTo>
                      <a:pt x="2042160" y="1234440"/>
                    </a:lnTo>
                    <a:lnTo>
                      <a:pt x="2051685" y="1193483"/>
                    </a:lnTo>
                    <a:lnTo>
                      <a:pt x="2059305" y="1152525"/>
                    </a:lnTo>
                    <a:lnTo>
                      <a:pt x="2065020" y="1109663"/>
                    </a:lnTo>
                    <a:lnTo>
                      <a:pt x="2068830" y="1066800"/>
                    </a:lnTo>
                    <a:lnTo>
                      <a:pt x="2069783" y="1022985"/>
                    </a:lnTo>
                    <a:lnTo>
                      <a:pt x="2068830" y="982028"/>
                    </a:lnTo>
                    <a:lnTo>
                      <a:pt x="2065973" y="942023"/>
                    </a:lnTo>
                    <a:lnTo>
                      <a:pt x="2061210" y="902018"/>
                    </a:lnTo>
                    <a:lnTo>
                      <a:pt x="2054543" y="862965"/>
                    </a:lnTo>
                    <a:lnTo>
                      <a:pt x="2045970" y="823913"/>
                    </a:lnTo>
                    <a:lnTo>
                      <a:pt x="2035493" y="785813"/>
                    </a:lnTo>
                    <a:lnTo>
                      <a:pt x="2024063" y="748665"/>
                    </a:lnTo>
                    <a:lnTo>
                      <a:pt x="2010728" y="712470"/>
                    </a:lnTo>
                    <a:lnTo>
                      <a:pt x="1995488" y="676275"/>
                    </a:lnTo>
                    <a:lnTo>
                      <a:pt x="1979295" y="641033"/>
                    </a:lnTo>
                    <a:lnTo>
                      <a:pt x="1961198" y="606743"/>
                    </a:lnTo>
                    <a:lnTo>
                      <a:pt x="1941195" y="573405"/>
                    </a:lnTo>
                    <a:lnTo>
                      <a:pt x="1920240" y="541973"/>
                    </a:lnTo>
                    <a:lnTo>
                      <a:pt x="1898333" y="511493"/>
                    </a:lnTo>
                    <a:lnTo>
                      <a:pt x="1874520" y="481013"/>
                    </a:lnTo>
                    <a:lnTo>
                      <a:pt x="1848803" y="452438"/>
                    </a:lnTo>
                    <a:lnTo>
                      <a:pt x="1823085" y="424815"/>
                    </a:lnTo>
                    <a:lnTo>
                      <a:pt x="1795463" y="399098"/>
                    </a:lnTo>
                    <a:lnTo>
                      <a:pt x="1766888" y="373380"/>
                    </a:lnTo>
                    <a:lnTo>
                      <a:pt x="1736408" y="349568"/>
                    </a:lnTo>
                    <a:lnTo>
                      <a:pt x="1704975" y="323850"/>
                    </a:lnTo>
                    <a:lnTo>
                      <a:pt x="1672590" y="302895"/>
                    </a:lnTo>
                    <a:lnTo>
                      <a:pt x="1640205" y="282893"/>
                    </a:lnTo>
                    <a:lnTo>
                      <a:pt x="1605915" y="264795"/>
                    </a:lnTo>
                    <a:lnTo>
                      <a:pt x="1570673" y="247650"/>
                    </a:lnTo>
                    <a:lnTo>
                      <a:pt x="1534478" y="232410"/>
                    </a:lnTo>
                    <a:lnTo>
                      <a:pt x="1498283" y="219075"/>
                    </a:lnTo>
                    <a:lnTo>
                      <a:pt x="1461135" y="206693"/>
                    </a:lnTo>
                    <a:lnTo>
                      <a:pt x="1423035" y="196215"/>
                    </a:lnTo>
                    <a:lnTo>
                      <a:pt x="1384935" y="187643"/>
                    </a:lnTo>
                    <a:lnTo>
                      <a:pt x="1344930" y="180975"/>
                    </a:lnTo>
                    <a:lnTo>
                      <a:pt x="1304925" y="176213"/>
                    </a:lnTo>
                    <a:lnTo>
                      <a:pt x="1304925" y="205740"/>
                    </a:lnTo>
                    <a:lnTo>
                      <a:pt x="1322070" y="207645"/>
                    </a:lnTo>
                    <a:lnTo>
                      <a:pt x="1339215" y="210503"/>
                    </a:lnTo>
                    <a:lnTo>
                      <a:pt x="1356360" y="213360"/>
                    </a:lnTo>
                    <a:lnTo>
                      <a:pt x="1373505" y="216218"/>
                    </a:lnTo>
                    <a:lnTo>
                      <a:pt x="1390650" y="220028"/>
                    </a:lnTo>
                    <a:lnTo>
                      <a:pt x="1407795" y="223838"/>
                    </a:lnTo>
                    <a:lnTo>
                      <a:pt x="1424940" y="227648"/>
                    </a:lnTo>
                    <a:lnTo>
                      <a:pt x="1441133" y="232410"/>
                    </a:lnTo>
                    <a:lnTo>
                      <a:pt x="1457325" y="237173"/>
                    </a:lnTo>
                    <a:lnTo>
                      <a:pt x="1473518" y="242888"/>
                    </a:lnTo>
                    <a:lnTo>
                      <a:pt x="1489710" y="248603"/>
                    </a:lnTo>
                    <a:lnTo>
                      <a:pt x="1505903" y="254318"/>
                    </a:lnTo>
                    <a:lnTo>
                      <a:pt x="1522095" y="260033"/>
                    </a:lnTo>
                    <a:lnTo>
                      <a:pt x="1537335" y="266700"/>
                    </a:lnTo>
                    <a:lnTo>
                      <a:pt x="1552575" y="273368"/>
                    </a:lnTo>
                    <a:lnTo>
                      <a:pt x="1567815" y="280035"/>
                    </a:lnTo>
                    <a:lnTo>
                      <a:pt x="1583055" y="287655"/>
                    </a:lnTo>
                    <a:lnTo>
                      <a:pt x="1598295" y="295275"/>
                    </a:lnTo>
                    <a:lnTo>
                      <a:pt x="1613535" y="302895"/>
                    </a:lnTo>
                    <a:lnTo>
                      <a:pt x="1628775" y="311468"/>
                    </a:lnTo>
                    <a:lnTo>
                      <a:pt x="1643063" y="320040"/>
                    </a:lnTo>
                    <a:lnTo>
                      <a:pt x="1657350" y="329565"/>
                    </a:lnTo>
                    <a:lnTo>
                      <a:pt x="1671638" y="339090"/>
                    </a:lnTo>
                    <a:lnTo>
                      <a:pt x="1685925" y="348615"/>
                    </a:lnTo>
                    <a:lnTo>
                      <a:pt x="1700213" y="358140"/>
                    </a:lnTo>
                    <a:lnTo>
                      <a:pt x="1713548" y="368618"/>
                    </a:lnTo>
                    <a:lnTo>
                      <a:pt x="1726883" y="379095"/>
                    </a:lnTo>
                    <a:lnTo>
                      <a:pt x="1740218" y="389573"/>
                    </a:lnTo>
                    <a:lnTo>
                      <a:pt x="1752600" y="400050"/>
                    </a:lnTo>
                    <a:lnTo>
                      <a:pt x="1764983" y="410528"/>
                    </a:lnTo>
                    <a:lnTo>
                      <a:pt x="1777365" y="421958"/>
                    </a:lnTo>
                    <a:lnTo>
                      <a:pt x="1789748" y="433388"/>
                    </a:lnTo>
                    <a:lnTo>
                      <a:pt x="1696403" y="525780"/>
                    </a:lnTo>
                    <a:lnTo>
                      <a:pt x="1699260" y="511493"/>
                    </a:lnTo>
                    <a:lnTo>
                      <a:pt x="1688783" y="507683"/>
                    </a:lnTo>
                    <a:lnTo>
                      <a:pt x="1671638" y="503873"/>
                    </a:lnTo>
                    <a:lnTo>
                      <a:pt x="1675448" y="493395"/>
                    </a:lnTo>
                    <a:lnTo>
                      <a:pt x="1664970" y="454343"/>
                    </a:lnTo>
                    <a:lnTo>
                      <a:pt x="1640205" y="429578"/>
                    </a:lnTo>
                    <a:lnTo>
                      <a:pt x="1569720" y="390525"/>
                    </a:lnTo>
                    <a:lnTo>
                      <a:pt x="1563053" y="398145"/>
                    </a:lnTo>
                    <a:lnTo>
                      <a:pt x="1548765" y="401955"/>
                    </a:lnTo>
                    <a:lnTo>
                      <a:pt x="1566863" y="430530"/>
                    </a:lnTo>
                    <a:lnTo>
                      <a:pt x="1567815" y="433388"/>
                    </a:lnTo>
                    <a:lnTo>
                      <a:pt x="1556385" y="426720"/>
                    </a:lnTo>
                    <a:lnTo>
                      <a:pt x="1544955" y="421005"/>
                    </a:lnTo>
                    <a:lnTo>
                      <a:pt x="1533525" y="414338"/>
                    </a:lnTo>
                    <a:lnTo>
                      <a:pt x="1522095" y="408623"/>
                    </a:lnTo>
                    <a:lnTo>
                      <a:pt x="1516380" y="402908"/>
                    </a:lnTo>
                    <a:lnTo>
                      <a:pt x="1511618" y="397193"/>
                    </a:lnTo>
                    <a:lnTo>
                      <a:pt x="1505903" y="391478"/>
                    </a:lnTo>
                    <a:lnTo>
                      <a:pt x="1501140" y="385763"/>
                    </a:lnTo>
                    <a:lnTo>
                      <a:pt x="1495425" y="380048"/>
                    </a:lnTo>
                    <a:lnTo>
                      <a:pt x="1489710" y="375285"/>
                    </a:lnTo>
                    <a:lnTo>
                      <a:pt x="1483043" y="369570"/>
                    </a:lnTo>
                    <a:lnTo>
                      <a:pt x="1477328" y="364808"/>
                    </a:lnTo>
                    <a:lnTo>
                      <a:pt x="1463993" y="355283"/>
                    </a:lnTo>
                    <a:lnTo>
                      <a:pt x="1449705" y="346710"/>
                    </a:lnTo>
                    <a:lnTo>
                      <a:pt x="1435418" y="338138"/>
                    </a:lnTo>
                    <a:lnTo>
                      <a:pt x="1420178" y="331470"/>
                    </a:lnTo>
                    <a:lnTo>
                      <a:pt x="1404938" y="324803"/>
                    </a:lnTo>
                    <a:lnTo>
                      <a:pt x="1389698" y="319088"/>
                    </a:lnTo>
                    <a:lnTo>
                      <a:pt x="1374458" y="313373"/>
                    </a:lnTo>
                    <a:lnTo>
                      <a:pt x="1359218" y="308610"/>
                    </a:lnTo>
                    <a:lnTo>
                      <a:pt x="1343978" y="304800"/>
                    </a:lnTo>
                    <a:lnTo>
                      <a:pt x="1327785" y="301943"/>
                    </a:lnTo>
                    <a:lnTo>
                      <a:pt x="1312545" y="300038"/>
                    </a:lnTo>
                    <a:lnTo>
                      <a:pt x="1297305" y="300038"/>
                    </a:lnTo>
                    <a:lnTo>
                      <a:pt x="1297305" y="300038"/>
                    </a:lnTo>
                    <a:close/>
                    <a:moveTo>
                      <a:pt x="1543050" y="619125"/>
                    </a:moveTo>
                    <a:lnTo>
                      <a:pt x="1546860" y="608648"/>
                    </a:lnTo>
                    <a:lnTo>
                      <a:pt x="1549718" y="598170"/>
                    </a:lnTo>
                    <a:lnTo>
                      <a:pt x="1552575" y="587693"/>
                    </a:lnTo>
                    <a:lnTo>
                      <a:pt x="1554480" y="576263"/>
                    </a:lnTo>
                    <a:lnTo>
                      <a:pt x="1556385" y="564833"/>
                    </a:lnTo>
                    <a:lnTo>
                      <a:pt x="1557338" y="552450"/>
                    </a:lnTo>
                    <a:lnTo>
                      <a:pt x="1558290" y="540068"/>
                    </a:lnTo>
                    <a:lnTo>
                      <a:pt x="1559243" y="526733"/>
                    </a:lnTo>
                    <a:lnTo>
                      <a:pt x="1559243" y="517208"/>
                    </a:lnTo>
                    <a:lnTo>
                      <a:pt x="1559243" y="508635"/>
                    </a:lnTo>
                    <a:lnTo>
                      <a:pt x="1558290" y="500063"/>
                    </a:lnTo>
                    <a:lnTo>
                      <a:pt x="1557338" y="491490"/>
                    </a:lnTo>
                    <a:lnTo>
                      <a:pt x="1555433" y="482918"/>
                    </a:lnTo>
                    <a:lnTo>
                      <a:pt x="1553528" y="474345"/>
                    </a:lnTo>
                    <a:lnTo>
                      <a:pt x="1550670" y="465773"/>
                    </a:lnTo>
                    <a:lnTo>
                      <a:pt x="1547813" y="458153"/>
                    </a:lnTo>
                    <a:lnTo>
                      <a:pt x="1555433" y="462915"/>
                    </a:lnTo>
                    <a:lnTo>
                      <a:pt x="1564005" y="467678"/>
                    </a:lnTo>
                    <a:lnTo>
                      <a:pt x="1571625" y="472440"/>
                    </a:lnTo>
                    <a:lnTo>
                      <a:pt x="1579245" y="477203"/>
                    </a:lnTo>
                    <a:lnTo>
                      <a:pt x="1583055" y="495300"/>
                    </a:lnTo>
                    <a:lnTo>
                      <a:pt x="1586865" y="526733"/>
                    </a:lnTo>
                    <a:lnTo>
                      <a:pt x="1586865" y="544830"/>
                    </a:lnTo>
                    <a:lnTo>
                      <a:pt x="1623060" y="590550"/>
                    </a:lnTo>
                    <a:lnTo>
                      <a:pt x="1604963" y="594360"/>
                    </a:lnTo>
                    <a:lnTo>
                      <a:pt x="1616393" y="608648"/>
                    </a:lnTo>
                    <a:lnTo>
                      <a:pt x="1584960" y="639128"/>
                    </a:lnTo>
                    <a:lnTo>
                      <a:pt x="1573530" y="618173"/>
                    </a:lnTo>
                    <a:lnTo>
                      <a:pt x="1564958" y="638175"/>
                    </a:lnTo>
                    <a:lnTo>
                      <a:pt x="1559243" y="633413"/>
                    </a:lnTo>
                    <a:lnTo>
                      <a:pt x="1553528" y="628650"/>
                    </a:lnTo>
                    <a:lnTo>
                      <a:pt x="1547813" y="623888"/>
                    </a:lnTo>
                    <a:lnTo>
                      <a:pt x="1543050" y="619125"/>
                    </a:lnTo>
                    <a:lnTo>
                      <a:pt x="1543050" y="619125"/>
                    </a:lnTo>
                    <a:close/>
                    <a:moveTo>
                      <a:pt x="1140143" y="318135"/>
                    </a:moveTo>
                    <a:lnTo>
                      <a:pt x="1129665" y="322898"/>
                    </a:lnTo>
                    <a:lnTo>
                      <a:pt x="1119188" y="327660"/>
                    </a:lnTo>
                    <a:lnTo>
                      <a:pt x="1108710" y="332423"/>
                    </a:lnTo>
                    <a:lnTo>
                      <a:pt x="1098233" y="337185"/>
                    </a:lnTo>
                    <a:lnTo>
                      <a:pt x="1087755" y="341948"/>
                    </a:lnTo>
                    <a:lnTo>
                      <a:pt x="1077278" y="346710"/>
                    </a:lnTo>
                    <a:lnTo>
                      <a:pt x="1066800" y="351473"/>
                    </a:lnTo>
                    <a:lnTo>
                      <a:pt x="1056323" y="356235"/>
                    </a:lnTo>
                    <a:lnTo>
                      <a:pt x="1046798" y="358140"/>
                    </a:lnTo>
                    <a:lnTo>
                      <a:pt x="1038225" y="360045"/>
                    </a:lnTo>
                    <a:lnTo>
                      <a:pt x="1029653" y="361950"/>
                    </a:lnTo>
                    <a:lnTo>
                      <a:pt x="1021080" y="364808"/>
                    </a:lnTo>
                    <a:lnTo>
                      <a:pt x="1012508" y="367665"/>
                    </a:lnTo>
                    <a:lnTo>
                      <a:pt x="1004888" y="370523"/>
                    </a:lnTo>
                    <a:lnTo>
                      <a:pt x="997268" y="374333"/>
                    </a:lnTo>
                    <a:lnTo>
                      <a:pt x="989648" y="378143"/>
                    </a:lnTo>
                    <a:lnTo>
                      <a:pt x="982028" y="382905"/>
                    </a:lnTo>
                    <a:lnTo>
                      <a:pt x="974408" y="387668"/>
                    </a:lnTo>
                    <a:lnTo>
                      <a:pt x="967740" y="392430"/>
                    </a:lnTo>
                    <a:lnTo>
                      <a:pt x="961073" y="397193"/>
                    </a:lnTo>
                    <a:lnTo>
                      <a:pt x="954405" y="402908"/>
                    </a:lnTo>
                    <a:lnTo>
                      <a:pt x="947738" y="408623"/>
                    </a:lnTo>
                    <a:lnTo>
                      <a:pt x="942023" y="414338"/>
                    </a:lnTo>
                    <a:lnTo>
                      <a:pt x="936308" y="420053"/>
                    </a:lnTo>
                    <a:lnTo>
                      <a:pt x="930593" y="426720"/>
                    </a:lnTo>
                    <a:lnTo>
                      <a:pt x="923925" y="428625"/>
                    </a:lnTo>
                    <a:lnTo>
                      <a:pt x="919163" y="436245"/>
                    </a:lnTo>
                    <a:lnTo>
                      <a:pt x="914400" y="443865"/>
                    </a:lnTo>
                    <a:lnTo>
                      <a:pt x="909638" y="451485"/>
                    </a:lnTo>
                    <a:lnTo>
                      <a:pt x="904875" y="460058"/>
                    </a:lnTo>
                    <a:lnTo>
                      <a:pt x="900113" y="468630"/>
                    </a:lnTo>
                    <a:lnTo>
                      <a:pt x="895350" y="476250"/>
                    </a:lnTo>
                    <a:lnTo>
                      <a:pt x="891540" y="485775"/>
                    </a:lnTo>
                    <a:lnTo>
                      <a:pt x="887730" y="495300"/>
                    </a:lnTo>
                    <a:lnTo>
                      <a:pt x="883920" y="504825"/>
                    </a:lnTo>
                    <a:lnTo>
                      <a:pt x="880110" y="515303"/>
                    </a:lnTo>
                    <a:lnTo>
                      <a:pt x="877253" y="525780"/>
                    </a:lnTo>
                    <a:lnTo>
                      <a:pt x="874395" y="536258"/>
                    </a:lnTo>
                    <a:lnTo>
                      <a:pt x="871538" y="546735"/>
                    </a:lnTo>
                    <a:lnTo>
                      <a:pt x="868680" y="558165"/>
                    </a:lnTo>
                    <a:lnTo>
                      <a:pt x="868680" y="558165"/>
                    </a:lnTo>
                    <a:lnTo>
                      <a:pt x="868680" y="558165"/>
                    </a:lnTo>
                    <a:lnTo>
                      <a:pt x="868680" y="560070"/>
                    </a:lnTo>
                    <a:lnTo>
                      <a:pt x="868680" y="562928"/>
                    </a:lnTo>
                    <a:lnTo>
                      <a:pt x="866775" y="562928"/>
                    </a:lnTo>
                    <a:lnTo>
                      <a:pt x="865823" y="571500"/>
                    </a:lnTo>
                    <a:lnTo>
                      <a:pt x="863918" y="578168"/>
                    </a:lnTo>
                    <a:lnTo>
                      <a:pt x="861060" y="584835"/>
                    </a:lnTo>
                    <a:lnTo>
                      <a:pt x="857250" y="589598"/>
                    </a:lnTo>
                    <a:lnTo>
                      <a:pt x="853440" y="595313"/>
                    </a:lnTo>
                    <a:lnTo>
                      <a:pt x="849630" y="600075"/>
                    </a:lnTo>
                    <a:lnTo>
                      <a:pt x="844868" y="603885"/>
                    </a:lnTo>
                    <a:lnTo>
                      <a:pt x="840105" y="607695"/>
                    </a:lnTo>
                    <a:lnTo>
                      <a:pt x="834390" y="610553"/>
                    </a:lnTo>
                    <a:lnTo>
                      <a:pt x="828675" y="613410"/>
                    </a:lnTo>
                    <a:lnTo>
                      <a:pt x="822960" y="615315"/>
                    </a:lnTo>
                    <a:lnTo>
                      <a:pt x="819150" y="617220"/>
                    </a:lnTo>
                    <a:lnTo>
                      <a:pt x="812483" y="619125"/>
                    </a:lnTo>
                    <a:lnTo>
                      <a:pt x="805815" y="620078"/>
                    </a:lnTo>
                    <a:lnTo>
                      <a:pt x="799148" y="620078"/>
                    </a:lnTo>
                    <a:lnTo>
                      <a:pt x="792480" y="620078"/>
                    </a:lnTo>
                    <a:lnTo>
                      <a:pt x="796290" y="621030"/>
                    </a:lnTo>
                    <a:lnTo>
                      <a:pt x="801053" y="621983"/>
                    </a:lnTo>
                    <a:lnTo>
                      <a:pt x="806768" y="621983"/>
                    </a:lnTo>
                    <a:lnTo>
                      <a:pt x="812483" y="621983"/>
                    </a:lnTo>
                    <a:lnTo>
                      <a:pt x="818198" y="621983"/>
                    </a:lnTo>
                    <a:lnTo>
                      <a:pt x="824865" y="621030"/>
                    </a:lnTo>
                    <a:lnTo>
                      <a:pt x="832485" y="619125"/>
                    </a:lnTo>
                    <a:lnTo>
                      <a:pt x="841058" y="616268"/>
                    </a:lnTo>
                    <a:lnTo>
                      <a:pt x="837248" y="625793"/>
                    </a:lnTo>
                    <a:lnTo>
                      <a:pt x="834390" y="635318"/>
                    </a:lnTo>
                    <a:lnTo>
                      <a:pt x="833438" y="638175"/>
                    </a:lnTo>
                    <a:lnTo>
                      <a:pt x="832485" y="642938"/>
                    </a:lnTo>
                    <a:lnTo>
                      <a:pt x="831533" y="647700"/>
                    </a:lnTo>
                    <a:lnTo>
                      <a:pt x="831533" y="652463"/>
                    </a:lnTo>
                    <a:lnTo>
                      <a:pt x="834390" y="645795"/>
                    </a:lnTo>
                    <a:lnTo>
                      <a:pt x="837248" y="639128"/>
                    </a:lnTo>
                    <a:lnTo>
                      <a:pt x="840105" y="632460"/>
                    </a:lnTo>
                    <a:lnTo>
                      <a:pt x="843915" y="626745"/>
                    </a:lnTo>
                    <a:lnTo>
                      <a:pt x="846773" y="621030"/>
                    </a:lnTo>
                    <a:lnTo>
                      <a:pt x="850583" y="615315"/>
                    </a:lnTo>
                    <a:lnTo>
                      <a:pt x="854393" y="609600"/>
                    </a:lnTo>
                    <a:lnTo>
                      <a:pt x="858203" y="604838"/>
                    </a:lnTo>
                    <a:lnTo>
                      <a:pt x="862013" y="600075"/>
                    </a:lnTo>
                    <a:lnTo>
                      <a:pt x="865823" y="595313"/>
                    </a:lnTo>
                    <a:lnTo>
                      <a:pt x="869633" y="591503"/>
                    </a:lnTo>
                    <a:lnTo>
                      <a:pt x="873443" y="588645"/>
                    </a:lnTo>
                    <a:lnTo>
                      <a:pt x="878205" y="585788"/>
                    </a:lnTo>
                    <a:lnTo>
                      <a:pt x="882015" y="583883"/>
                    </a:lnTo>
                    <a:lnTo>
                      <a:pt x="886778" y="581978"/>
                    </a:lnTo>
                    <a:lnTo>
                      <a:pt x="891540" y="581025"/>
                    </a:lnTo>
                    <a:lnTo>
                      <a:pt x="893445" y="581025"/>
                    </a:lnTo>
                    <a:lnTo>
                      <a:pt x="924878" y="571500"/>
                    </a:lnTo>
                    <a:lnTo>
                      <a:pt x="936308" y="565785"/>
                    </a:lnTo>
                    <a:lnTo>
                      <a:pt x="947738" y="560070"/>
                    </a:lnTo>
                    <a:lnTo>
                      <a:pt x="959168" y="554355"/>
                    </a:lnTo>
                    <a:lnTo>
                      <a:pt x="969645" y="548640"/>
                    </a:lnTo>
                    <a:lnTo>
                      <a:pt x="981075" y="541973"/>
                    </a:lnTo>
                    <a:lnTo>
                      <a:pt x="991553" y="535305"/>
                    </a:lnTo>
                    <a:lnTo>
                      <a:pt x="1002030" y="528638"/>
                    </a:lnTo>
                    <a:lnTo>
                      <a:pt x="1012508" y="521970"/>
                    </a:lnTo>
                    <a:lnTo>
                      <a:pt x="1022985" y="514350"/>
                    </a:lnTo>
                    <a:lnTo>
                      <a:pt x="1032510" y="506730"/>
                    </a:lnTo>
                    <a:lnTo>
                      <a:pt x="1042035" y="498158"/>
                    </a:lnTo>
                    <a:lnTo>
                      <a:pt x="1051560" y="489585"/>
                    </a:lnTo>
                    <a:lnTo>
                      <a:pt x="1061085" y="481013"/>
                    </a:lnTo>
                    <a:lnTo>
                      <a:pt x="1070610" y="471488"/>
                    </a:lnTo>
                    <a:lnTo>
                      <a:pt x="1079183" y="461963"/>
                    </a:lnTo>
                    <a:lnTo>
                      <a:pt x="1087755" y="451485"/>
                    </a:lnTo>
                    <a:lnTo>
                      <a:pt x="1144905" y="416243"/>
                    </a:lnTo>
                    <a:lnTo>
                      <a:pt x="1140143" y="318135"/>
                    </a:lnTo>
                    <a:lnTo>
                      <a:pt x="1140143" y="318135"/>
                    </a:lnTo>
                    <a:close/>
                    <a:moveTo>
                      <a:pt x="953453" y="466725"/>
                    </a:moveTo>
                    <a:lnTo>
                      <a:pt x="966788" y="441008"/>
                    </a:lnTo>
                    <a:lnTo>
                      <a:pt x="986790" y="441008"/>
                    </a:lnTo>
                    <a:lnTo>
                      <a:pt x="975360" y="462915"/>
                    </a:lnTo>
                    <a:lnTo>
                      <a:pt x="953453" y="466725"/>
                    </a:lnTo>
                    <a:lnTo>
                      <a:pt x="953453" y="466725"/>
                    </a:lnTo>
                    <a:close/>
                    <a:moveTo>
                      <a:pt x="1222058" y="0"/>
                    </a:moveTo>
                    <a:lnTo>
                      <a:pt x="1204913" y="0"/>
                    </a:lnTo>
                    <a:lnTo>
                      <a:pt x="1186815" y="6668"/>
                    </a:lnTo>
                    <a:lnTo>
                      <a:pt x="1176338" y="13335"/>
                    </a:lnTo>
                    <a:lnTo>
                      <a:pt x="1165860" y="23813"/>
                    </a:lnTo>
                    <a:lnTo>
                      <a:pt x="1158240" y="38100"/>
                    </a:lnTo>
                    <a:lnTo>
                      <a:pt x="1154430" y="52388"/>
                    </a:lnTo>
                    <a:lnTo>
                      <a:pt x="1152525" y="84773"/>
                    </a:lnTo>
                    <a:lnTo>
                      <a:pt x="1152525" y="120015"/>
                    </a:lnTo>
                    <a:lnTo>
                      <a:pt x="1159193" y="155258"/>
                    </a:lnTo>
                    <a:lnTo>
                      <a:pt x="1169670" y="211455"/>
                    </a:lnTo>
                    <a:lnTo>
                      <a:pt x="1180148" y="657225"/>
                    </a:lnTo>
                    <a:lnTo>
                      <a:pt x="1225868" y="646748"/>
                    </a:lnTo>
                    <a:lnTo>
                      <a:pt x="1261110" y="640080"/>
                    </a:lnTo>
                    <a:lnTo>
                      <a:pt x="1271588" y="212408"/>
                    </a:lnTo>
                    <a:lnTo>
                      <a:pt x="1282065" y="156210"/>
                    </a:lnTo>
                    <a:lnTo>
                      <a:pt x="1285875" y="120968"/>
                    </a:lnTo>
                    <a:lnTo>
                      <a:pt x="1289685" y="85725"/>
                    </a:lnTo>
                    <a:lnTo>
                      <a:pt x="1289685" y="53340"/>
                    </a:lnTo>
                    <a:lnTo>
                      <a:pt x="1282065" y="35243"/>
                    </a:lnTo>
                    <a:lnTo>
                      <a:pt x="1278255" y="24765"/>
                    </a:lnTo>
                    <a:lnTo>
                      <a:pt x="1267778" y="14288"/>
                    </a:lnTo>
                    <a:lnTo>
                      <a:pt x="1257300" y="7620"/>
                    </a:lnTo>
                    <a:lnTo>
                      <a:pt x="1240155" y="0"/>
                    </a:lnTo>
                    <a:lnTo>
                      <a:pt x="1222058" y="0"/>
                    </a:lnTo>
                    <a:lnTo>
                      <a:pt x="1222058" y="0"/>
                    </a:lnTo>
                    <a:close/>
                    <a:moveTo>
                      <a:pt x="1386840" y="280035"/>
                    </a:moveTo>
                    <a:lnTo>
                      <a:pt x="1394460" y="272415"/>
                    </a:lnTo>
                    <a:lnTo>
                      <a:pt x="1379220" y="264795"/>
                    </a:lnTo>
                    <a:lnTo>
                      <a:pt x="1335405" y="264795"/>
                    </a:lnTo>
                    <a:lnTo>
                      <a:pt x="1324928" y="272415"/>
                    </a:lnTo>
                    <a:lnTo>
                      <a:pt x="1299210" y="268605"/>
                    </a:lnTo>
                    <a:lnTo>
                      <a:pt x="1299210" y="276225"/>
                    </a:lnTo>
                    <a:lnTo>
                      <a:pt x="1343025" y="280035"/>
                    </a:lnTo>
                    <a:lnTo>
                      <a:pt x="1364933" y="280035"/>
                    </a:lnTo>
                    <a:lnTo>
                      <a:pt x="1386840" y="280035"/>
                    </a:lnTo>
                    <a:lnTo>
                      <a:pt x="1386840" y="280035"/>
                    </a:lnTo>
                    <a:close/>
                    <a:moveTo>
                      <a:pt x="1303973" y="1173480"/>
                    </a:moveTo>
                    <a:lnTo>
                      <a:pt x="1303973" y="1169670"/>
                    </a:lnTo>
                    <a:lnTo>
                      <a:pt x="1296353" y="1163003"/>
                    </a:lnTo>
                    <a:lnTo>
                      <a:pt x="1281113" y="1152525"/>
                    </a:lnTo>
                    <a:lnTo>
                      <a:pt x="1277303" y="1152525"/>
                    </a:lnTo>
                    <a:lnTo>
                      <a:pt x="1277303" y="1202055"/>
                    </a:lnTo>
                    <a:lnTo>
                      <a:pt x="1295400" y="1187768"/>
                    </a:lnTo>
                    <a:lnTo>
                      <a:pt x="1303020" y="1181100"/>
                    </a:lnTo>
                    <a:lnTo>
                      <a:pt x="1303020" y="1173480"/>
                    </a:lnTo>
                    <a:lnTo>
                      <a:pt x="1303973" y="1173480"/>
                    </a:lnTo>
                    <a:close/>
                    <a:moveTo>
                      <a:pt x="1830705" y="715328"/>
                    </a:moveTo>
                    <a:lnTo>
                      <a:pt x="1830705" y="715328"/>
                    </a:lnTo>
                    <a:lnTo>
                      <a:pt x="1836420" y="717233"/>
                    </a:lnTo>
                    <a:lnTo>
                      <a:pt x="1840230" y="710565"/>
                    </a:lnTo>
                    <a:lnTo>
                      <a:pt x="1815465" y="668655"/>
                    </a:lnTo>
                    <a:lnTo>
                      <a:pt x="1786890" y="625793"/>
                    </a:lnTo>
                    <a:lnTo>
                      <a:pt x="1763078" y="606743"/>
                    </a:lnTo>
                    <a:lnTo>
                      <a:pt x="1751648" y="592455"/>
                    </a:lnTo>
                    <a:lnTo>
                      <a:pt x="1740218" y="578168"/>
                    </a:lnTo>
                    <a:lnTo>
                      <a:pt x="1727835" y="564833"/>
                    </a:lnTo>
                    <a:lnTo>
                      <a:pt x="1715453" y="551498"/>
                    </a:lnTo>
                    <a:lnTo>
                      <a:pt x="1812608" y="454343"/>
                    </a:lnTo>
                    <a:lnTo>
                      <a:pt x="1825943" y="467678"/>
                    </a:lnTo>
                    <a:lnTo>
                      <a:pt x="1838325" y="481965"/>
                    </a:lnTo>
                    <a:lnTo>
                      <a:pt x="1850708" y="496253"/>
                    </a:lnTo>
                    <a:lnTo>
                      <a:pt x="1862138" y="510540"/>
                    </a:lnTo>
                    <a:lnTo>
                      <a:pt x="1873568" y="525780"/>
                    </a:lnTo>
                    <a:lnTo>
                      <a:pt x="1884998" y="541020"/>
                    </a:lnTo>
                    <a:lnTo>
                      <a:pt x="1895475" y="556260"/>
                    </a:lnTo>
                    <a:lnTo>
                      <a:pt x="1905953" y="571500"/>
                    </a:lnTo>
                    <a:lnTo>
                      <a:pt x="1916430" y="586740"/>
                    </a:lnTo>
                    <a:lnTo>
                      <a:pt x="1925955" y="602933"/>
                    </a:lnTo>
                    <a:lnTo>
                      <a:pt x="1935480" y="619125"/>
                    </a:lnTo>
                    <a:lnTo>
                      <a:pt x="1945005" y="635318"/>
                    </a:lnTo>
                    <a:lnTo>
                      <a:pt x="1953578" y="651510"/>
                    </a:lnTo>
                    <a:lnTo>
                      <a:pt x="1962150" y="668655"/>
                    </a:lnTo>
                    <a:lnTo>
                      <a:pt x="1969770" y="685800"/>
                    </a:lnTo>
                    <a:lnTo>
                      <a:pt x="1977390" y="702945"/>
                    </a:lnTo>
                    <a:lnTo>
                      <a:pt x="1985010" y="721043"/>
                    </a:lnTo>
                    <a:lnTo>
                      <a:pt x="1991678" y="739140"/>
                    </a:lnTo>
                    <a:lnTo>
                      <a:pt x="1997393" y="757238"/>
                    </a:lnTo>
                    <a:lnTo>
                      <a:pt x="2003108" y="775335"/>
                    </a:lnTo>
                    <a:lnTo>
                      <a:pt x="2008823" y="794385"/>
                    </a:lnTo>
                    <a:lnTo>
                      <a:pt x="2013585" y="812483"/>
                    </a:lnTo>
                    <a:lnTo>
                      <a:pt x="2018348" y="831533"/>
                    </a:lnTo>
                    <a:lnTo>
                      <a:pt x="2023110" y="850583"/>
                    </a:lnTo>
                    <a:lnTo>
                      <a:pt x="2026920" y="869633"/>
                    </a:lnTo>
                    <a:lnTo>
                      <a:pt x="2030730" y="888683"/>
                    </a:lnTo>
                    <a:lnTo>
                      <a:pt x="2033588" y="907733"/>
                    </a:lnTo>
                    <a:lnTo>
                      <a:pt x="2035493" y="927735"/>
                    </a:lnTo>
                    <a:lnTo>
                      <a:pt x="2037398" y="947738"/>
                    </a:lnTo>
                    <a:lnTo>
                      <a:pt x="2038350" y="967740"/>
                    </a:lnTo>
                    <a:lnTo>
                      <a:pt x="2039303" y="987743"/>
                    </a:lnTo>
                    <a:lnTo>
                      <a:pt x="2039303" y="1007745"/>
                    </a:lnTo>
                    <a:lnTo>
                      <a:pt x="1902143" y="1007745"/>
                    </a:lnTo>
                    <a:lnTo>
                      <a:pt x="1901190" y="987743"/>
                    </a:lnTo>
                    <a:lnTo>
                      <a:pt x="1900238" y="967740"/>
                    </a:lnTo>
                    <a:lnTo>
                      <a:pt x="1898333" y="948690"/>
                    </a:lnTo>
                    <a:lnTo>
                      <a:pt x="1896428" y="929640"/>
                    </a:lnTo>
                    <a:lnTo>
                      <a:pt x="1893570" y="910590"/>
                    </a:lnTo>
                    <a:lnTo>
                      <a:pt x="1889760" y="891540"/>
                    </a:lnTo>
                    <a:lnTo>
                      <a:pt x="1885950" y="872490"/>
                    </a:lnTo>
                    <a:lnTo>
                      <a:pt x="1881188" y="854393"/>
                    </a:lnTo>
                    <a:lnTo>
                      <a:pt x="1876425" y="836295"/>
                    </a:lnTo>
                    <a:lnTo>
                      <a:pt x="1871663" y="818198"/>
                    </a:lnTo>
                    <a:lnTo>
                      <a:pt x="1865948" y="800100"/>
                    </a:lnTo>
                    <a:lnTo>
                      <a:pt x="1859280" y="782955"/>
                    </a:lnTo>
                    <a:lnTo>
                      <a:pt x="1852613" y="765810"/>
                    </a:lnTo>
                    <a:lnTo>
                      <a:pt x="1844993" y="748665"/>
                    </a:lnTo>
                    <a:lnTo>
                      <a:pt x="1837373" y="731520"/>
                    </a:lnTo>
                    <a:lnTo>
                      <a:pt x="1830705" y="715328"/>
                    </a:lnTo>
                    <a:lnTo>
                      <a:pt x="1830705" y="715328"/>
                    </a:lnTo>
                    <a:close/>
                    <a:moveTo>
                      <a:pt x="1635443" y="633413"/>
                    </a:moveTo>
                    <a:lnTo>
                      <a:pt x="1635443" y="633413"/>
                    </a:lnTo>
                    <a:lnTo>
                      <a:pt x="1635443" y="633413"/>
                    </a:lnTo>
                    <a:lnTo>
                      <a:pt x="1669733" y="638175"/>
                    </a:lnTo>
                    <a:lnTo>
                      <a:pt x="1676400" y="648653"/>
                    </a:lnTo>
                    <a:lnTo>
                      <a:pt x="1672590" y="662940"/>
                    </a:lnTo>
                    <a:lnTo>
                      <a:pt x="1718310" y="691515"/>
                    </a:lnTo>
                    <a:lnTo>
                      <a:pt x="1725930" y="687705"/>
                    </a:lnTo>
                    <a:lnTo>
                      <a:pt x="1784985" y="758190"/>
                    </a:lnTo>
                    <a:lnTo>
                      <a:pt x="1808798" y="747713"/>
                    </a:lnTo>
                    <a:lnTo>
                      <a:pt x="1809750" y="746760"/>
                    </a:lnTo>
                    <a:lnTo>
                      <a:pt x="1810703" y="745808"/>
                    </a:lnTo>
                    <a:lnTo>
                      <a:pt x="1817370" y="761048"/>
                    </a:lnTo>
                    <a:lnTo>
                      <a:pt x="1824038" y="776288"/>
                    </a:lnTo>
                    <a:lnTo>
                      <a:pt x="1829753" y="791528"/>
                    </a:lnTo>
                    <a:lnTo>
                      <a:pt x="1835468" y="806768"/>
                    </a:lnTo>
                    <a:lnTo>
                      <a:pt x="1840230" y="822960"/>
                    </a:lnTo>
                    <a:lnTo>
                      <a:pt x="1844993" y="838200"/>
                    </a:lnTo>
                    <a:lnTo>
                      <a:pt x="1849755" y="854393"/>
                    </a:lnTo>
                    <a:lnTo>
                      <a:pt x="1853565" y="870585"/>
                    </a:lnTo>
                    <a:lnTo>
                      <a:pt x="1857375" y="886778"/>
                    </a:lnTo>
                    <a:lnTo>
                      <a:pt x="1861185" y="902970"/>
                    </a:lnTo>
                    <a:lnTo>
                      <a:pt x="1864043" y="920115"/>
                    </a:lnTo>
                    <a:lnTo>
                      <a:pt x="1866900" y="937260"/>
                    </a:lnTo>
                    <a:lnTo>
                      <a:pt x="1868805" y="954405"/>
                    </a:lnTo>
                    <a:lnTo>
                      <a:pt x="1870710" y="971550"/>
                    </a:lnTo>
                    <a:lnTo>
                      <a:pt x="1871663" y="988695"/>
                    </a:lnTo>
                    <a:lnTo>
                      <a:pt x="1872615" y="1006793"/>
                    </a:lnTo>
                    <a:lnTo>
                      <a:pt x="1735455" y="1006793"/>
                    </a:lnTo>
                    <a:lnTo>
                      <a:pt x="1734503" y="993458"/>
                    </a:lnTo>
                    <a:lnTo>
                      <a:pt x="1733550" y="980123"/>
                    </a:lnTo>
                    <a:lnTo>
                      <a:pt x="1732598" y="966788"/>
                    </a:lnTo>
                    <a:lnTo>
                      <a:pt x="1730693" y="953453"/>
                    </a:lnTo>
                    <a:lnTo>
                      <a:pt x="1728788" y="940118"/>
                    </a:lnTo>
                    <a:lnTo>
                      <a:pt x="1726883" y="926783"/>
                    </a:lnTo>
                    <a:lnTo>
                      <a:pt x="1724025" y="913448"/>
                    </a:lnTo>
                    <a:lnTo>
                      <a:pt x="1721168" y="901065"/>
                    </a:lnTo>
                    <a:lnTo>
                      <a:pt x="1725930" y="897255"/>
                    </a:lnTo>
                    <a:lnTo>
                      <a:pt x="1732598" y="855345"/>
                    </a:lnTo>
                    <a:lnTo>
                      <a:pt x="1725930" y="805815"/>
                    </a:lnTo>
                    <a:lnTo>
                      <a:pt x="1711643" y="752475"/>
                    </a:lnTo>
                    <a:lnTo>
                      <a:pt x="1672590" y="696278"/>
                    </a:lnTo>
                    <a:lnTo>
                      <a:pt x="1679258" y="700088"/>
                    </a:lnTo>
                    <a:lnTo>
                      <a:pt x="1685925" y="696278"/>
                    </a:lnTo>
                    <a:lnTo>
                      <a:pt x="1654493" y="675323"/>
                    </a:lnTo>
                    <a:lnTo>
                      <a:pt x="1650683" y="681990"/>
                    </a:lnTo>
                    <a:lnTo>
                      <a:pt x="1682115" y="727710"/>
                    </a:lnTo>
                    <a:lnTo>
                      <a:pt x="1700213" y="762953"/>
                    </a:lnTo>
                    <a:lnTo>
                      <a:pt x="1714500" y="798195"/>
                    </a:lnTo>
                    <a:lnTo>
                      <a:pt x="1718310" y="822960"/>
                    </a:lnTo>
                    <a:lnTo>
                      <a:pt x="1725930" y="864870"/>
                    </a:lnTo>
                    <a:lnTo>
                      <a:pt x="1711643" y="864870"/>
                    </a:lnTo>
                    <a:lnTo>
                      <a:pt x="1707833" y="854393"/>
                    </a:lnTo>
                    <a:lnTo>
                      <a:pt x="1704023" y="843915"/>
                    </a:lnTo>
                    <a:lnTo>
                      <a:pt x="1700213" y="833438"/>
                    </a:lnTo>
                    <a:lnTo>
                      <a:pt x="1696403" y="823913"/>
                    </a:lnTo>
                    <a:lnTo>
                      <a:pt x="1700213" y="818198"/>
                    </a:lnTo>
                    <a:lnTo>
                      <a:pt x="1689735" y="803910"/>
                    </a:lnTo>
                    <a:lnTo>
                      <a:pt x="1689735" y="785813"/>
                    </a:lnTo>
                    <a:lnTo>
                      <a:pt x="1679258" y="775335"/>
                    </a:lnTo>
                    <a:lnTo>
                      <a:pt x="1674495" y="775335"/>
                    </a:lnTo>
                    <a:lnTo>
                      <a:pt x="1671638" y="770573"/>
                    </a:lnTo>
                    <a:lnTo>
                      <a:pt x="1668780" y="766763"/>
                    </a:lnTo>
                    <a:lnTo>
                      <a:pt x="1665923" y="762000"/>
                    </a:lnTo>
                    <a:lnTo>
                      <a:pt x="1663065" y="757238"/>
                    </a:lnTo>
                    <a:lnTo>
                      <a:pt x="1664018" y="757238"/>
                    </a:lnTo>
                    <a:lnTo>
                      <a:pt x="1667828" y="757238"/>
                    </a:lnTo>
                    <a:lnTo>
                      <a:pt x="1664018" y="746760"/>
                    </a:lnTo>
                    <a:lnTo>
                      <a:pt x="1670685" y="742950"/>
                    </a:lnTo>
                    <a:lnTo>
                      <a:pt x="1666875" y="736283"/>
                    </a:lnTo>
                    <a:lnTo>
                      <a:pt x="1653540" y="742950"/>
                    </a:lnTo>
                    <a:lnTo>
                      <a:pt x="1653540" y="741998"/>
                    </a:lnTo>
                    <a:lnTo>
                      <a:pt x="1660208" y="721995"/>
                    </a:lnTo>
                    <a:lnTo>
                      <a:pt x="1649730" y="718185"/>
                    </a:lnTo>
                    <a:lnTo>
                      <a:pt x="1644968" y="727710"/>
                    </a:lnTo>
                    <a:lnTo>
                      <a:pt x="1633538" y="711518"/>
                    </a:lnTo>
                    <a:lnTo>
                      <a:pt x="1621155" y="696278"/>
                    </a:lnTo>
                    <a:lnTo>
                      <a:pt x="1608773" y="681038"/>
                    </a:lnTo>
                    <a:lnTo>
                      <a:pt x="1595438" y="666750"/>
                    </a:lnTo>
                    <a:lnTo>
                      <a:pt x="1635443" y="633413"/>
                    </a:lnTo>
                    <a:lnTo>
                      <a:pt x="1635443" y="633413"/>
                    </a:lnTo>
                    <a:close/>
                    <a:moveTo>
                      <a:pt x="1575435" y="690563"/>
                    </a:moveTo>
                    <a:lnTo>
                      <a:pt x="1577340" y="692468"/>
                    </a:lnTo>
                    <a:lnTo>
                      <a:pt x="1578293" y="691515"/>
                    </a:lnTo>
                    <a:lnTo>
                      <a:pt x="1596390" y="714375"/>
                    </a:lnTo>
                    <a:lnTo>
                      <a:pt x="1597343" y="713423"/>
                    </a:lnTo>
                    <a:lnTo>
                      <a:pt x="1608773" y="727710"/>
                    </a:lnTo>
                    <a:lnTo>
                      <a:pt x="1619250" y="742950"/>
                    </a:lnTo>
                    <a:lnTo>
                      <a:pt x="1628775" y="758190"/>
                    </a:lnTo>
                    <a:lnTo>
                      <a:pt x="1638300" y="773430"/>
                    </a:lnTo>
                    <a:lnTo>
                      <a:pt x="1636395" y="774383"/>
                    </a:lnTo>
                    <a:lnTo>
                      <a:pt x="1636395" y="774383"/>
                    </a:lnTo>
                    <a:lnTo>
                      <a:pt x="1623060" y="778193"/>
                    </a:lnTo>
                    <a:lnTo>
                      <a:pt x="1623060" y="800100"/>
                    </a:lnTo>
                    <a:lnTo>
                      <a:pt x="1662113" y="824865"/>
                    </a:lnTo>
                    <a:lnTo>
                      <a:pt x="1663065" y="824865"/>
                    </a:lnTo>
                    <a:lnTo>
                      <a:pt x="1664970" y="824865"/>
                    </a:lnTo>
                    <a:lnTo>
                      <a:pt x="1670685" y="839153"/>
                    </a:lnTo>
                    <a:lnTo>
                      <a:pt x="1676400" y="853440"/>
                    </a:lnTo>
                    <a:lnTo>
                      <a:pt x="1682115" y="867728"/>
                    </a:lnTo>
                    <a:lnTo>
                      <a:pt x="1686878" y="882968"/>
                    </a:lnTo>
                    <a:lnTo>
                      <a:pt x="1684020" y="884873"/>
                    </a:lnTo>
                    <a:lnTo>
                      <a:pt x="1684020" y="884873"/>
                    </a:lnTo>
                    <a:lnTo>
                      <a:pt x="1680210" y="895350"/>
                    </a:lnTo>
                    <a:lnTo>
                      <a:pt x="1665923" y="902018"/>
                    </a:lnTo>
                    <a:lnTo>
                      <a:pt x="1662113" y="923925"/>
                    </a:lnTo>
                    <a:lnTo>
                      <a:pt x="1651635" y="927735"/>
                    </a:lnTo>
                    <a:lnTo>
                      <a:pt x="1644968" y="938213"/>
                    </a:lnTo>
                    <a:lnTo>
                      <a:pt x="1638300" y="933450"/>
                    </a:lnTo>
                    <a:lnTo>
                      <a:pt x="1624013" y="933450"/>
                    </a:lnTo>
                    <a:lnTo>
                      <a:pt x="1630680" y="922973"/>
                    </a:lnTo>
                    <a:lnTo>
                      <a:pt x="1637348" y="894398"/>
                    </a:lnTo>
                    <a:lnTo>
                      <a:pt x="1647825" y="887730"/>
                    </a:lnTo>
                    <a:lnTo>
                      <a:pt x="1619250" y="862965"/>
                    </a:lnTo>
                    <a:lnTo>
                      <a:pt x="1598295" y="869633"/>
                    </a:lnTo>
                    <a:lnTo>
                      <a:pt x="1594485" y="887730"/>
                    </a:lnTo>
                    <a:lnTo>
                      <a:pt x="1583055" y="902018"/>
                    </a:lnTo>
                    <a:lnTo>
                      <a:pt x="1568768" y="891540"/>
                    </a:lnTo>
                    <a:lnTo>
                      <a:pt x="1564958" y="881063"/>
                    </a:lnTo>
                    <a:lnTo>
                      <a:pt x="1571625" y="877253"/>
                    </a:lnTo>
                    <a:lnTo>
                      <a:pt x="1575435" y="883920"/>
                    </a:lnTo>
                    <a:lnTo>
                      <a:pt x="1582103" y="880110"/>
                    </a:lnTo>
                    <a:lnTo>
                      <a:pt x="1578293" y="869633"/>
                    </a:lnTo>
                    <a:lnTo>
                      <a:pt x="1567815" y="869633"/>
                    </a:lnTo>
                    <a:lnTo>
                      <a:pt x="1567815" y="874395"/>
                    </a:lnTo>
                    <a:lnTo>
                      <a:pt x="1564005" y="874395"/>
                    </a:lnTo>
                    <a:lnTo>
                      <a:pt x="1532573" y="838200"/>
                    </a:lnTo>
                    <a:lnTo>
                      <a:pt x="1522095" y="831533"/>
                    </a:lnTo>
                    <a:lnTo>
                      <a:pt x="1525905" y="827723"/>
                    </a:lnTo>
                    <a:lnTo>
                      <a:pt x="1536383" y="823913"/>
                    </a:lnTo>
                    <a:lnTo>
                      <a:pt x="1525905" y="820103"/>
                    </a:lnTo>
                    <a:lnTo>
                      <a:pt x="1515428" y="823913"/>
                    </a:lnTo>
                    <a:lnTo>
                      <a:pt x="1523048" y="830580"/>
                    </a:lnTo>
                    <a:lnTo>
                      <a:pt x="1507808" y="830580"/>
                    </a:lnTo>
                    <a:lnTo>
                      <a:pt x="1500188" y="820103"/>
                    </a:lnTo>
                    <a:lnTo>
                      <a:pt x="1495425" y="809625"/>
                    </a:lnTo>
                    <a:lnTo>
                      <a:pt x="1486853" y="799148"/>
                    </a:lnTo>
                    <a:lnTo>
                      <a:pt x="1478280" y="789623"/>
                    </a:lnTo>
                    <a:lnTo>
                      <a:pt x="1575435" y="690563"/>
                    </a:lnTo>
                    <a:lnTo>
                      <a:pt x="1575435" y="690563"/>
                    </a:lnTo>
                    <a:close/>
                    <a:moveTo>
                      <a:pt x="1484948" y="841058"/>
                    </a:moveTo>
                    <a:lnTo>
                      <a:pt x="1483043" y="841058"/>
                    </a:lnTo>
                    <a:lnTo>
                      <a:pt x="1483043" y="842010"/>
                    </a:lnTo>
                    <a:lnTo>
                      <a:pt x="1479233" y="859155"/>
                    </a:lnTo>
                    <a:lnTo>
                      <a:pt x="1464945" y="848678"/>
                    </a:lnTo>
                    <a:lnTo>
                      <a:pt x="1454468" y="852488"/>
                    </a:lnTo>
                    <a:lnTo>
                      <a:pt x="1461135" y="862965"/>
                    </a:lnTo>
                    <a:lnTo>
                      <a:pt x="1464945" y="862965"/>
                    </a:lnTo>
                    <a:lnTo>
                      <a:pt x="1461135" y="877253"/>
                    </a:lnTo>
                    <a:lnTo>
                      <a:pt x="1454468" y="869633"/>
                    </a:lnTo>
                    <a:lnTo>
                      <a:pt x="1440180" y="865823"/>
                    </a:lnTo>
                    <a:lnTo>
                      <a:pt x="1450658" y="862013"/>
                    </a:lnTo>
                    <a:lnTo>
                      <a:pt x="1450658" y="858203"/>
                    </a:lnTo>
                    <a:lnTo>
                      <a:pt x="1440180" y="851535"/>
                    </a:lnTo>
                    <a:lnTo>
                      <a:pt x="1443990" y="823913"/>
                    </a:lnTo>
                    <a:lnTo>
                      <a:pt x="1443990" y="823913"/>
                    </a:lnTo>
                    <a:lnTo>
                      <a:pt x="1459230" y="808673"/>
                    </a:lnTo>
                    <a:lnTo>
                      <a:pt x="1465898" y="816293"/>
                    </a:lnTo>
                    <a:lnTo>
                      <a:pt x="1471613" y="823913"/>
                    </a:lnTo>
                    <a:lnTo>
                      <a:pt x="1477328" y="832485"/>
                    </a:lnTo>
                    <a:lnTo>
                      <a:pt x="1484948" y="841058"/>
                    </a:lnTo>
                    <a:lnTo>
                      <a:pt x="1484948" y="841058"/>
                    </a:lnTo>
                    <a:close/>
                    <a:moveTo>
                      <a:pt x="1548765" y="1585913"/>
                    </a:moveTo>
                    <a:lnTo>
                      <a:pt x="1562100" y="1559243"/>
                    </a:lnTo>
                    <a:lnTo>
                      <a:pt x="1554480" y="1544955"/>
                    </a:lnTo>
                    <a:lnTo>
                      <a:pt x="1575435" y="1527810"/>
                    </a:lnTo>
                    <a:lnTo>
                      <a:pt x="1575435" y="1517333"/>
                    </a:lnTo>
                    <a:lnTo>
                      <a:pt x="1558290" y="1506855"/>
                    </a:lnTo>
                    <a:lnTo>
                      <a:pt x="1571625" y="1482090"/>
                    </a:lnTo>
                    <a:lnTo>
                      <a:pt x="1592580" y="1453515"/>
                    </a:lnTo>
                    <a:lnTo>
                      <a:pt x="1571625" y="1432560"/>
                    </a:lnTo>
                    <a:lnTo>
                      <a:pt x="1558290" y="1432560"/>
                    </a:lnTo>
                    <a:lnTo>
                      <a:pt x="1548765" y="1420178"/>
                    </a:lnTo>
                    <a:lnTo>
                      <a:pt x="1556385" y="1414463"/>
                    </a:lnTo>
                    <a:lnTo>
                      <a:pt x="1564005" y="1407795"/>
                    </a:lnTo>
                    <a:lnTo>
                      <a:pt x="1570673" y="1402080"/>
                    </a:lnTo>
                    <a:lnTo>
                      <a:pt x="1577340" y="1395413"/>
                    </a:lnTo>
                    <a:lnTo>
                      <a:pt x="1626870" y="1445895"/>
                    </a:lnTo>
                    <a:lnTo>
                      <a:pt x="1626870" y="1454468"/>
                    </a:lnTo>
                    <a:lnTo>
                      <a:pt x="1626870" y="1454468"/>
                    </a:lnTo>
                    <a:lnTo>
                      <a:pt x="1636395" y="1455420"/>
                    </a:lnTo>
                    <a:lnTo>
                      <a:pt x="1673543" y="1493520"/>
                    </a:lnTo>
                    <a:lnTo>
                      <a:pt x="1659255" y="1506855"/>
                    </a:lnTo>
                    <a:lnTo>
                      <a:pt x="1644968" y="1520190"/>
                    </a:lnTo>
                    <a:lnTo>
                      <a:pt x="1629728" y="1532573"/>
                    </a:lnTo>
                    <a:lnTo>
                      <a:pt x="1614488" y="1544955"/>
                    </a:lnTo>
                    <a:lnTo>
                      <a:pt x="1598295" y="1556385"/>
                    </a:lnTo>
                    <a:lnTo>
                      <a:pt x="1582103" y="1567815"/>
                    </a:lnTo>
                    <a:lnTo>
                      <a:pt x="1565910" y="1578293"/>
                    </a:lnTo>
                    <a:lnTo>
                      <a:pt x="1548765" y="1585913"/>
                    </a:lnTo>
                    <a:lnTo>
                      <a:pt x="1548765" y="1585913"/>
                    </a:lnTo>
                    <a:close/>
                    <a:moveTo>
                      <a:pt x="1560195" y="1335405"/>
                    </a:moveTo>
                    <a:lnTo>
                      <a:pt x="1564958" y="1323023"/>
                    </a:lnTo>
                    <a:lnTo>
                      <a:pt x="1550670" y="1280160"/>
                    </a:lnTo>
                    <a:lnTo>
                      <a:pt x="1533525" y="1308735"/>
                    </a:lnTo>
                    <a:lnTo>
                      <a:pt x="1520190" y="1295400"/>
                    </a:lnTo>
                    <a:lnTo>
                      <a:pt x="1525905" y="1287780"/>
                    </a:lnTo>
                    <a:lnTo>
                      <a:pt x="1540193" y="1263015"/>
                    </a:lnTo>
                    <a:lnTo>
                      <a:pt x="1533525" y="1256348"/>
                    </a:lnTo>
                    <a:lnTo>
                      <a:pt x="1544003" y="1235393"/>
                    </a:lnTo>
                    <a:lnTo>
                      <a:pt x="1540193" y="1218248"/>
                    </a:lnTo>
                    <a:lnTo>
                      <a:pt x="1536383" y="1200150"/>
                    </a:lnTo>
                    <a:lnTo>
                      <a:pt x="1522095" y="1196340"/>
                    </a:lnTo>
                    <a:lnTo>
                      <a:pt x="1518285" y="1206818"/>
                    </a:lnTo>
                    <a:lnTo>
                      <a:pt x="1514475" y="1204913"/>
                    </a:lnTo>
                    <a:lnTo>
                      <a:pt x="1522095" y="1192530"/>
                    </a:lnTo>
                    <a:lnTo>
                      <a:pt x="1528763" y="1180148"/>
                    </a:lnTo>
                    <a:lnTo>
                      <a:pt x="1534478" y="1166813"/>
                    </a:lnTo>
                    <a:lnTo>
                      <a:pt x="1540193" y="1153478"/>
                    </a:lnTo>
                    <a:lnTo>
                      <a:pt x="1552575" y="1147763"/>
                    </a:lnTo>
                    <a:lnTo>
                      <a:pt x="1560195" y="1140143"/>
                    </a:lnTo>
                    <a:lnTo>
                      <a:pt x="1564005" y="1143953"/>
                    </a:lnTo>
                    <a:lnTo>
                      <a:pt x="1570673" y="1133475"/>
                    </a:lnTo>
                    <a:lnTo>
                      <a:pt x="1564005" y="1126808"/>
                    </a:lnTo>
                    <a:lnTo>
                      <a:pt x="1570673" y="1122998"/>
                    </a:lnTo>
                    <a:lnTo>
                      <a:pt x="1581150" y="1126808"/>
                    </a:lnTo>
                    <a:lnTo>
                      <a:pt x="1602105" y="1126808"/>
                    </a:lnTo>
                    <a:lnTo>
                      <a:pt x="1616393" y="1122998"/>
                    </a:lnTo>
                    <a:lnTo>
                      <a:pt x="1651635" y="1112520"/>
                    </a:lnTo>
                    <a:lnTo>
                      <a:pt x="1644968" y="1102043"/>
                    </a:lnTo>
                    <a:lnTo>
                      <a:pt x="1641158" y="1087755"/>
                    </a:lnTo>
                    <a:lnTo>
                      <a:pt x="1659255" y="1094423"/>
                    </a:lnTo>
                    <a:lnTo>
                      <a:pt x="1665923" y="1090613"/>
                    </a:lnTo>
                    <a:lnTo>
                      <a:pt x="1662113" y="1076325"/>
                    </a:lnTo>
                    <a:lnTo>
                      <a:pt x="1641158" y="1083945"/>
                    </a:lnTo>
                    <a:lnTo>
                      <a:pt x="1616393" y="1080135"/>
                    </a:lnTo>
                    <a:lnTo>
                      <a:pt x="1599248" y="1041083"/>
                    </a:lnTo>
                    <a:lnTo>
                      <a:pt x="1600200" y="1041083"/>
                    </a:lnTo>
                    <a:lnTo>
                      <a:pt x="1600200" y="1041083"/>
                    </a:lnTo>
                    <a:lnTo>
                      <a:pt x="1598295" y="1038225"/>
                    </a:lnTo>
                    <a:lnTo>
                      <a:pt x="1706880" y="1038225"/>
                    </a:lnTo>
                    <a:lnTo>
                      <a:pt x="1705928" y="1049655"/>
                    </a:lnTo>
                    <a:lnTo>
                      <a:pt x="1704975" y="1061085"/>
                    </a:lnTo>
                    <a:lnTo>
                      <a:pt x="1704023" y="1072515"/>
                    </a:lnTo>
                    <a:lnTo>
                      <a:pt x="1703070" y="1083945"/>
                    </a:lnTo>
                    <a:lnTo>
                      <a:pt x="1702118" y="1094423"/>
                    </a:lnTo>
                    <a:lnTo>
                      <a:pt x="1700213" y="1104900"/>
                    </a:lnTo>
                    <a:lnTo>
                      <a:pt x="1698308" y="1115378"/>
                    </a:lnTo>
                    <a:lnTo>
                      <a:pt x="1696403" y="1125855"/>
                    </a:lnTo>
                    <a:lnTo>
                      <a:pt x="1693545" y="1136333"/>
                    </a:lnTo>
                    <a:lnTo>
                      <a:pt x="1690688" y="1146810"/>
                    </a:lnTo>
                    <a:lnTo>
                      <a:pt x="1687830" y="1157288"/>
                    </a:lnTo>
                    <a:lnTo>
                      <a:pt x="1684973" y="1167765"/>
                    </a:lnTo>
                    <a:lnTo>
                      <a:pt x="1681163" y="1177290"/>
                    </a:lnTo>
                    <a:lnTo>
                      <a:pt x="1677353" y="1187768"/>
                    </a:lnTo>
                    <a:lnTo>
                      <a:pt x="1673543" y="1198245"/>
                    </a:lnTo>
                    <a:lnTo>
                      <a:pt x="1669733" y="1208723"/>
                    </a:lnTo>
                    <a:lnTo>
                      <a:pt x="1664970" y="1218248"/>
                    </a:lnTo>
                    <a:lnTo>
                      <a:pt x="1661160" y="1227773"/>
                    </a:lnTo>
                    <a:lnTo>
                      <a:pt x="1656398" y="1237298"/>
                    </a:lnTo>
                    <a:lnTo>
                      <a:pt x="1651635" y="1246823"/>
                    </a:lnTo>
                    <a:lnTo>
                      <a:pt x="1646873" y="1256348"/>
                    </a:lnTo>
                    <a:lnTo>
                      <a:pt x="1642110" y="1265873"/>
                    </a:lnTo>
                    <a:lnTo>
                      <a:pt x="1636395" y="1275398"/>
                    </a:lnTo>
                    <a:lnTo>
                      <a:pt x="1630680" y="1284923"/>
                    </a:lnTo>
                    <a:lnTo>
                      <a:pt x="1624965" y="1293495"/>
                    </a:lnTo>
                    <a:lnTo>
                      <a:pt x="1619250" y="1302068"/>
                    </a:lnTo>
                    <a:lnTo>
                      <a:pt x="1613535" y="1310640"/>
                    </a:lnTo>
                    <a:lnTo>
                      <a:pt x="1606868" y="1319213"/>
                    </a:lnTo>
                    <a:lnTo>
                      <a:pt x="1600200" y="1327785"/>
                    </a:lnTo>
                    <a:lnTo>
                      <a:pt x="1593533" y="1336358"/>
                    </a:lnTo>
                    <a:lnTo>
                      <a:pt x="1586865" y="1344930"/>
                    </a:lnTo>
                    <a:lnTo>
                      <a:pt x="1579245" y="1352550"/>
                    </a:lnTo>
                    <a:lnTo>
                      <a:pt x="1560195" y="1335405"/>
                    </a:lnTo>
                    <a:lnTo>
                      <a:pt x="1560195" y="1335405"/>
                    </a:lnTo>
                    <a:close/>
                    <a:moveTo>
                      <a:pt x="1503045" y="1320165"/>
                    </a:moveTo>
                    <a:lnTo>
                      <a:pt x="1496378" y="1321118"/>
                    </a:lnTo>
                    <a:lnTo>
                      <a:pt x="1497330" y="1322070"/>
                    </a:lnTo>
                    <a:lnTo>
                      <a:pt x="1493520" y="1325880"/>
                    </a:lnTo>
                    <a:lnTo>
                      <a:pt x="1462088" y="1319213"/>
                    </a:lnTo>
                    <a:lnTo>
                      <a:pt x="1455420" y="1323023"/>
                    </a:lnTo>
                    <a:lnTo>
                      <a:pt x="1437323" y="1308735"/>
                    </a:lnTo>
                    <a:lnTo>
                      <a:pt x="1423035" y="1304925"/>
                    </a:lnTo>
                    <a:lnTo>
                      <a:pt x="1443038" y="1288733"/>
                    </a:lnTo>
                    <a:lnTo>
                      <a:pt x="1443038" y="1286828"/>
                    </a:lnTo>
                    <a:lnTo>
                      <a:pt x="1460183" y="1278255"/>
                    </a:lnTo>
                    <a:lnTo>
                      <a:pt x="1503045" y="1320165"/>
                    </a:lnTo>
                    <a:lnTo>
                      <a:pt x="1503045" y="1320165"/>
                    </a:lnTo>
                    <a:close/>
                    <a:moveTo>
                      <a:pt x="1582103" y="1006793"/>
                    </a:moveTo>
                    <a:lnTo>
                      <a:pt x="1582103" y="1000125"/>
                    </a:lnTo>
                    <a:lnTo>
                      <a:pt x="1596390" y="989648"/>
                    </a:lnTo>
                    <a:lnTo>
                      <a:pt x="1596390" y="982980"/>
                    </a:lnTo>
                    <a:lnTo>
                      <a:pt x="1603058" y="979170"/>
                    </a:lnTo>
                    <a:lnTo>
                      <a:pt x="1620203" y="975360"/>
                    </a:lnTo>
                    <a:lnTo>
                      <a:pt x="1620203" y="967740"/>
                    </a:lnTo>
                    <a:lnTo>
                      <a:pt x="1605915" y="961073"/>
                    </a:lnTo>
                    <a:lnTo>
                      <a:pt x="1630680" y="946785"/>
                    </a:lnTo>
                    <a:lnTo>
                      <a:pt x="1654493" y="942975"/>
                    </a:lnTo>
                    <a:lnTo>
                      <a:pt x="1662113" y="928688"/>
                    </a:lnTo>
                    <a:lnTo>
                      <a:pt x="1676400" y="922020"/>
                    </a:lnTo>
                    <a:lnTo>
                      <a:pt x="1683068" y="907733"/>
                    </a:lnTo>
                    <a:lnTo>
                      <a:pt x="1686878" y="889635"/>
                    </a:lnTo>
                    <a:lnTo>
                      <a:pt x="1686878" y="891540"/>
                    </a:lnTo>
                    <a:lnTo>
                      <a:pt x="1686878" y="890588"/>
                    </a:lnTo>
                    <a:lnTo>
                      <a:pt x="1687830" y="889635"/>
                    </a:lnTo>
                    <a:lnTo>
                      <a:pt x="1688783" y="894398"/>
                    </a:lnTo>
                    <a:lnTo>
                      <a:pt x="1689735" y="899160"/>
                    </a:lnTo>
                    <a:lnTo>
                      <a:pt x="1690688" y="903923"/>
                    </a:lnTo>
                    <a:lnTo>
                      <a:pt x="1691640" y="908685"/>
                    </a:lnTo>
                    <a:lnTo>
                      <a:pt x="1687830" y="913448"/>
                    </a:lnTo>
                    <a:lnTo>
                      <a:pt x="1687830" y="913448"/>
                    </a:lnTo>
                    <a:lnTo>
                      <a:pt x="1678305" y="949643"/>
                    </a:lnTo>
                    <a:lnTo>
                      <a:pt x="1674495" y="963930"/>
                    </a:lnTo>
                    <a:lnTo>
                      <a:pt x="1689735" y="945833"/>
                    </a:lnTo>
                    <a:lnTo>
                      <a:pt x="1696403" y="935355"/>
                    </a:lnTo>
                    <a:lnTo>
                      <a:pt x="1697355" y="943928"/>
                    </a:lnTo>
                    <a:lnTo>
                      <a:pt x="1698308" y="952500"/>
                    </a:lnTo>
                    <a:lnTo>
                      <a:pt x="1699260" y="962025"/>
                    </a:lnTo>
                    <a:lnTo>
                      <a:pt x="1700213" y="970598"/>
                    </a:lnTo>
                    <a:lnTo>
                      <a:pt x="1701165" y="979170"/>
                    </a:lnTo>
                    <a:lnTo>
                      <a:pt x="1701165" y="987743"/>
                    </a:lnTo>
                    <a:lnTo>
                      <a:pt x="1701165" y="997268"/>
                    </a:lnTo>
                    <a:lnTo>
                      <a:pt x="1701165" y="1006793"/>
                    </a:lnTo>
                    <a:lnTo>
                      <a:pt x="1582103" y="1006793"/>
                    </a:lnTo>
                    <a:lnTo>
                      <a:pt x="1582103" y="1006793"/>
                    </a:lnTo>
                    <a:close/>
                    <a:moveTo>
                      <a:pt x="1417320" y="776288"/>
                    </a:moveTo>
                    <a:lnTo>
                      <a:pt x="1415415" y="778193"/>
                    </a:lnTo>
                    <a:lnTo>
                      <a:pt x="1404938" y="784860"/>
                    </a:lnTo>
                    <a:lnTo>
                      <a:pt x="1398270" y="795338"/>
                    </a:lnTo>
                    <a:lnTo>
                      <a:pt x="1391603" y="788670"/>
                    </a:lnTo>
                    <a:lnTo>
                      <a:pt x="1370648" y="795338"/>
                    </a:lnTo>
                    <a:lnTo>
                      <a:pt x="1377315" y="805815"/>
                    </a:lnTo>
                    <a:lnTo>
                      <a:pt x="1391603" y="798195"/>
                    </a:lnTo>
                    <a:lnTo>
                      <a:pt x="1402080" y="802005"/>
                    </a:lnTo>
                    <a:lnTo>
                      <a:pt x="1402080" y="795338"/>
                    </a:lnTo>
                    <a:lnTo>
                      <a:pt x="1408748" y="791528"/>
                    </a:lnTo>
                    <a:lnTo>
                      <a:pt x="1412558" y="787718"/>
                    </a:lnTo>
                    <a:lnTo>
                      <a:pt x="1423035" y="783908"/>
                    </a:lnTo>
                    <a:lnTo>
                      <a:pt x="1431608" y="783908"/>
                    </a:lnTo>
                    <a:lnTo>
                      <a:pt x="1417320" y="776288"/>
                    </a:lnTo>
                    <a:lnTo>
                      <a:pt x="1417320" y="776288"/>
                    </a:lnTo>
                    <a:close/>
                    <a:moveTo>
                      <a:pt x="1674495" y="1448753"/>
                    </a:moveTo>
                    <a:lnTo>
                      <a:pt x="1680210" y="1441133"/>
                    </a:lnTo>
                    <a:lnTo>
                      <a:pt x="1669733" y="1388745"/>
                    </a:lnTo>
                    <a:lnTo>
                      <a:pt x="1663065" y="1384935"/>
                    </a:lnTo>
                    <a:lnTo>
                      <a:pt x="1666875" y="1377315"/>
                    </a:lnTo>
                    <a:lnTo>
                      <a:pt x="1645920" y="1370648"/>
                    </a:lnTo>
                    <a:lnTo>
                      <a:pt x="1639253" y="1388745"/>
                    </a:lnTo>
                    <a:lnTo>
                      <a:pt x="1639253" y="1413510"/>
                    </a:lnTo>
                    <a:lnTo>
                      <a:pt x="1598295" y="1372553"/>
                    </a:lnTo>
                    <a:lnTo>
                      <a:pt x="1605915" y="1363980"/>
                    </a:lnTo>
                    <a:lnTo>
                      <a:pt x="1613535" y="1355408"/>
                    </a:lnTo>
                    <a:lnTo>
                      <a:pt x="1620203" y="1346835"/>
                    </a:lnTo>
                    <a:lnTo>
                      <a:pt x="1627823" y="1337310"/>
                    </a:lnTo>
                    <a:lnTo>
                      <a:pt x="1634490" y="1328738"/>
                    </a:lnTo>
                    <a:lnTo>
                      <a:pt x="1641158" y="1319213"/>
                    </a:lnTo>
                    <a:lnTo>
                      <a:pt x="1647825" y="1309688"/>
                    </a:lnTo>
                    <a:lnTo>
                      <a:pt x="1654493" y="1300163"/>
                    </a:lnTo>
                    <a:lnTo>
                      <a:pt x="1660208" y="1290638"/>
                    </a:lnTo>
                    <a:lnTo>
                      <a:pt x="1665923" y="1281113"/>
                    </a:lnTo>
                    <a:lnTo>
                      <a:pt x="1671638" y="1270635"/>
                    </a:lnTo>
                    <a:lnTo>
                      <a:pt x="1677353" y="1260158"/>
                    </a:lnTo>
                    <a:lnTo>
                      <a:pt x="1683068" y="1249680"/>
                    </a:lnTo>
                    <a:lnTo>
                      <a:pt x="1687830" y="1239203"/>
                    </a:lnTo>
                    <a:lnTo>
                      <a:pt x="1692593" y="1228725"/>
                    </a:lnTo>
                    <a:lnTo>
                      <a:pt x="1697355" y="1218248"/>
                    </a:lnTo>
                    <a:lnTo>
                      <a:pt x="1702118" y="1207770"/>
                    </a:lnTo>
                    <a:lnTo>
                      <a:pt x="1706880" y="1197293"/>
                    </a:lnTo>
                    <a:lnTo>
                      <a:pt x="1710690" y="1186815"/>
                    </a:lnTo>
                    <a:lnTo>
                      <a:pt x="1714500" y="1176338"/>
                    </a:lnTo>
                    <a:lnTo>
                      <a:pt x="1718310" y="1164908"/>
                    </a:lnTo>
                    <a:lnTo>
                      <a:pt x="1721168" y="1153478"/>
                    </a:lnTo>
                    <a:lnTo>
                      <a:pt x="1724025" y="1142048"/>
                    </a:lnTo>
                    <a:lnTo>
                      <a:pt x="1726883" y="1130618"/>
                    </a:lnTo>
                    <a:lnTo>
                      <a:pt x="1728788" y="1119188"/>
                    </a:lnTo>
                    <a:lnTo>
                      <a:pt x="1730693" y="1107758"/>
                    </a:lnTo>
                    <a:lnTo>
                      <a:pt x="1732598" y="1096328"/>
                    </a:lnTo>
                    <a:lnTo>
                      <a:pt x="1734503" y="1084898"/>
                    </a:lnTo>
                    <a:lnTo>
                      <a:pt x="1735455" y="1072515"/>
                    </a:lnTo>
                    <a:lnTo>
                      <a:pt x="1736408" y="1061085"/>
                    </a:lnTo>
                    <a:lnTo>
                      <a:pt x="1736408" y="1048703"/>
                    </a:lnTo>
                    <a:lnTo>
                      <a:pt x="1737360" y="1036320"/>
                    </a:lnTo>
                    <a:lnTo>
                      <a:pt x="1874520" y="1036320"/>
                    </a:lnTo>
                    <a:lnTo>
                      <a:pt x="1873568" y="1052513"/>
                    </a:lnTo>
                    <a:lnTo>
                      <a:pt x="1872615" y="1067753"/>
                    </a:lnTo>
                    <a:lnTo>
                      <a:pt x="1871663" y="1082993"/>
                    </a:lnTo>
                    <a:lnTo>
                      <a:pt x="1869758" y="1098233"/>
                    </a:lnTo>
                    <a:lnTo>
                      <a:pt x="1867853" y="1113473"/>
                    </a:lnTo>
                    <a:lnTo>
                      <a:pt x="1864995" y="1128713"/>
                    </a:lnTo>
                    <a:lnTo>
                      <a:pt x="1862138" y="1143953"/>
                    </a:lnTo>
                    <a:lnTo>
                      <a:pt x="1859280" y="1159193"/>
                    </a:lnTo>
                    <a:lnTo>
                      <a:pt x="1855470" y="1174433"/>
                    </a:lnTo>
                    <a:lnTo>
                      <a:pt x="1851660" y="1189673"/>
                    </a:lnTo>
                    <a:lnTo>
                      <a:pt x="1847850" y="1203960"/>
                    </a:lnTo>
                    <a:lnTo>
                      <a:pt x="1843088" y="1218248"/>
                    </a:lnTo>
                    <a:lnTo>
                      <a:pt x="1838325" y="1232535"/>
                    </a:lnTo>
                    <a:lnTo>
                      <a:pt x="1833563" y="1246823"/>
                    </a:lnTo>
                    <a:lnTo>
                      <a:pt x="1828800" y="1261110"/>
                    </a:lnTo>
                    <a:lnTo>
                      <a:pt x="1823085" y="1275398"/>
                    </a:lnTo>
                    <a:lnTo>
                      <a:pt x="1817370" y="1288733"/>
                    </a:lnTo>
                    <a:lnTo>
                      <a:pt x="1810703" y="1302068"/>
                    </a:lnTo>
                    <a:lnTo>
                      <a:pt x="1804035" y="1315403"/>
                    </a:lnTo>
                    <a:lnTo>
                      <a:pt x="1797368" y="1328738"/>
                    </a:lnTo>
                    <a:lnTo>
                      <a:pt x="1790700" y="1342073"/>
                    </a:lnTo>
                    <a:lnTo>
                      <a:pt x="1783080" y="1354455"/>
                    </a:lnTo>
                    <a:lnTo>
                      <a:pt x="1775460" y="1366838"/>
                    </a:lnTo>
                    <a:lnTo>
                      <a:pt x="1767840" y="1379220"/>
                    </a:lnTo>
                    <a:lnTo>
                      <a:pt x="1759268" y="1391603"/>
                    </a:lnTo>
                    <a:lnTo>
                      <a:pt x="1750695" y="1403985"/>
                    </a:lnTo>
                    <a:lnTo>
                      <a:pt x="1741170" y="1415415"/>
                    </a:lnTo>
                    <a:lnTo>
                      <a:pt x="1732598" y="1426845"/>
                    </a:lnTo>
                    <a:lnTo>
                      <a:pt x="1723073" y="1438275"/>
                    </a:lnTo>
                    <a:lnTo>
                      <a:pt x="1713548" y="1448753"/>
                    </a:lnTo>
                    <a:lnTo>
                      <a:pt x="1704023" y="1460183"/>
                    </a:lnTo>
                    <a:lnTo>
                      <a:pt x="1694498" y="1470660"/>
                    </a:lnTo>
                    <a:lnTo>
                      <a:pt x="1674495" y="1448753"/>
                    </a:lnTo>
                    <a:lnTo>
                      <a:pt x="1674495" y="1448753"/>
                    </a:lnTo>
                    <a:close/>
                    <a:moveTo>
                      <a:pt x="776288" y="1039178"/>
                    </a:moveTo>
                    <a:lnTo>
                      <a:pt x="776288" y="1039178"/>
                    </a:lnTo>
                    <a:lnTo>
                      <a:pt x="765810" y="1074420"/>
                    </a:lnTo>
                    <a:lnTo>
                      <a:pt x="780098" y="1084898"/>
                    </a:lnTo>
                    <a:lnTo>
                      <a:pt x="765810" y="1105853"/>
                    </a:lnTo>
                    <a:lnTo>
                      <a:pt x="744855" y="1105853"/>
                    </a:lnTo>
                    <a:lnTo>
                      <a:pt x="743903" y="1097280"/>
                    </a:lnTo>
                    <a:lnTo>
                      <a:pt x="742950" y="1088708"/>
                    </a:lnTo>
                    <a:lnTo>
                      <a:pt x="741998" y="1080135"/>
                    </a:lnTo>
                    <a:lnTo>
                      <a:pt x="741045" y="1071563"/>
                    </a:lnTo>
                    <a:lnTo>
                      <a:pt x="740093" y="1062038"/>
                    </a:lnTo>
                    <a:lnTo>
                      <a:pt x="740093" y="1053465"/>
                    </a:lnTo>
                    <a:lnTo>
                      <a:pt x="739140" y="1044893"/>
                    </a:lnTo>
                    <a:lnTo>
                      <a:pt x="738188" y="1035368"/>
                    </a:lnTo>
                    <a:lnTo>
                      <a:pt x="780098" y="1035368"/>
                    </a:lnTo>
                    <a:lnTo>
                      <a:pt x="776288" y="1039178"/>
                    </a:lnTo>
                    <a:lnTo>
                      <a:pt x="776288" y="1039178"/>
                    </a:lnTo>
                    <a:close/>
                    <a:moveTo>
                      <a:pt x="711518" y="1080135"/>
                    </a:moveTo>
                    <a:lnTo>
                      <a:pt x="709613" y="1080135"/>
                    </a:lnTo>
                    <a:lnTo>
                      <a:pt x="709613" y="1081088"/>
                    </a:lnTo>
                    <a:lnTo>
                      <a:pt x="691515" y="1084898"/>
                    </a:lnTo>
                    <a:lnTo>
                      <a:pt x="687705" y="1102043"/>
                    </a:lnTo>
                    <a:lnTo>
                      <a:pt x="652463" y="1144905"/>
                    </a:lnTo>
                    <a:lnTo>
                      <a:pt x="656273" y="1207770"/>
                    </a:lnTo>
                    <a:lnTo>
                      <a:pt x="617220" y="1218248"/>
                    </a:lnTo>
                    <a:lnTo>
                      <a:pt x="601028" y="1218248"/>
                    </a:lnTo>
                    <a:lnTo>
                      <a:pt x="594360" y="1196340"/>
                    </a:lnTo>
                    <a:lnTo>
                      <a:pt x="588645" y="1174433"/>
                    </a:lnTo>
                    <a:lnTo>
                      <a:pt x="582930" y="1152525"/>
                    </a:lnTo>
                    <a:lnTo>
                      <a:pt x="579120" y="1129665"/>
                    </a:lnTo>
                    <a:lnTo>
                      <a:pt x="575310" y="1106805"/>
                    </a:lnTo>
                    <a:lnTo>
                      <a:pt x="572453" y="1083945"/>
                    </a:lnTo>
                    <a:lnTo>
                      <a:pt x="571500" y="1072515"/>
                    </a:lnTo>
                    <a:lnTo>
                      <a:pt x="570548" y="1061085"/>
                    </a:lnTo>
                    <a:lnTo>
                      <a:pt x="571500" y="1047750"/>
                    </a:lnTo>
                    <a:lnTo>
                      <a:pt x="571500" y="1035368"/>
                    </a:lnTo>
                    <a:lnTo>
                      <a:pt x="708660" y="1035368"/>
                    </a:lnTo>
                    <a:lnTo>
                      <a:pt x="708660" y="1046798"/>
                    </a:lnTo>
                    <a:lnTo>
                      <a:pt x="709613" y="1057275"/>
                    </a:lnTo>
                    <a:lnTo>
                      <a:pt x="710565" y="1068705"/>
                    </a:lnTo>
                    <a:lnTo>
                      <a:pt x="711518" y="1080135"/>
                    </a:lnTo>
                    <a:lnTo>
                      <a:pt x="711518" y="1080135"/>
                    </a:lnTo>
                    <a:close/>
                    <a:moveTo>
                      <a:pt x="571500" y="1219200"/>
                    </a:moveTo>
                    <a:lnTo>
                      <a:pt x="567690" y="1219200"/>
                    </a:lnTo>
                    <a:lnTo>
                      <a:pt x="567690" y="1219200"/>
                    </a:lnTo>
                    <a:lnTo>
                      <a:pt x="567690" y="1221105"/>
                    </a:lnTo>
                    <a:lnTo>
                      <a:pt x="559118" y="1221105"/>
                    </a:lnTo>
                    <a:lnTo>
                      <a:pt x="552450" y="1210628"/>
                    </a:lnTo>
                    <a:lnTo>
                      <a:pt x="514350" y="1206818"/>
                    </a:lnTo>
                    <a:lnTo>
                      <a:pt x="524828" y="1223963"/>
                    </a:lnTo>
                    <a:lnTo>
                      <a:pt x="490538" y="1217295"/>
                    </a:lnTo>
                    <a:lnTo>
                      <a:pt x="501015" y="1206818"/>
                    </a:lnTo>
                    <a:lnTo>
                      <a:pt x="490538" y="1200150"/>
                    </a:lnTo>
                    <a:lnTo>
                      <a:pt x="466725" y="1210628"/>
                    </a:lnTo>
                    <a:lnTo>
                      <a:pt x="456248" y="1227773"/>
                    </a:lnTo>
                    <a:lnTo>
                      <a:pt x="460058" y="1265873"/>
                    </a:lnTo>
                    <a:lnTo>
                      <a:pt x="491490" y="1338263"/>
                    </a:lnTo>
                    <a:lnTo>
                      <a:pt x="505778" y="1359218"/>
                    </a:lnTo>
                    <a:lnTo>
                      <a:pt x="512445" y="1363028"/>
                    </a:lnTo>
                    <a:lnTo>
                      <a:pt x="491490" y="1321118"/>
                    </a:lnTo>
                    <a:lnTo>
                      <a:pt x="484823" y="1300163"/>
                    </a:lnTo>
                    <a:lnTo>
                      <a:pt x="491490" y="1293495"/>
                    </a:lnTo>
                    <a:lnTo>
                      <a:pt x="487680" y="1283018"/>
                    </a:lnTo>
                    <a:lnTo>
                      <a:pt x="501968" y="1283018"/>
                    </a:lnTo>
                    <a:lnTo>
                      <a:pt x="521970" y="1313498"/>
                    </a:lnTo>
                    <a:lnTo>
                      <a:pt x="525780" y="1317308"/>
                    </a:lnTo>
                    <a:lnTo>
                      <a:pt x="525780" y="1293495"/>
                    </a:lnTo>
                    <a:lnTo>
                      <a:pt x="533400" y="1300163"/>
                    </a:lnTo>
                    <a:lnTo>
                      <a:pt x="537210" y="1310640"/>
                    </a:lnTo>
                    <a:lnTo>
                      <a:pt x="557213" y="1318260"/>
                    </a:lnTo>
                    <a:lnTo>
                      <a:pt x="567690" y="1310640"/>
                    </a:lnTo>
                    <a:lnTo>
                      <a:pt x="572453" y="1310640"/>
                    </a:lnTo>
                    <a:lnTo>
                      <a:pt x="572453" y="1329690"/>
                    </a:lnTo>
                    <a:lnTo>
                      <a:pt x="579120" y="1343978"/>
                    </a:lnTo>
                    <a:lnTo>
                      <a:pt x="593408" y="1343978"/>
                    </a:lnTo>
                    <a:lnTo>
                      <a:pt x="618173" y="1392555"/>
                    </a:lnTo>
                    <a:lnTo>
                      <a:pt x="632460" y="1396365"/>
                    </a:lnTo>
                    <a:lnTo>
                      <a:pt x="639128" y="1375410"/>
                    </a:lnTo>
                    <a:lnTo>
                      <a:pt x="639128" y="1372553"/>
                    </a:lnTo>
                    <a:lnTo>
                      <a:pt x="639128" y="1372553"/>
                    </a:lnTo>
                    <a:lnTo>
                      <a:pt x="639128" y="1371600"/>
                    </a:lnTo>
                    <a:lnTo>
                      <a:pt x="648653" y="1387793"/>
                    </a:lnTo>
                    <a:lnTo>
                      <a:pt x="659130" y="1403985"/>
                    </a:lnTo>
                    <a:lnTo>
                      <a:pt x="669608" y="1419225"/>
                    </a:lnTo>
                    <a:lnTo>
                      <a:pt x="681038" y="1434465"/>
                    </a:lnTo>
                    <a:lnTo>
                      <a:pt x="692468" y="1449705"/>
                    </a:lnTo>
                    <a:lnTo>
                      <a:pt x="704850" y="1463993"/>
                    </a:lnTo>
                    <a:lnTo>
                      <a:pt x="718185" y="1478280"/>
                    </a:lnTo>
                    <a:lnTo>
                      <a:pt x="731520" y="1492568"/>
                    </a:lnTo>
                    <a:lnTo>
                      <a:pt x="635318" y="1588770"/>
                    </a:lnTo>
                    <a:lnTo>
                      <a:pt x="621983" y="1575435"/>
                    </a:lnTo>
                    <a:lnTo>
                      <a:pt x="609600" y="1561148"/>
                    </a:lnTo>
                    <a:lnTo>
                      <a:pt x="597218" y="1546860"/>
                    </a:lnTo>
                    <a:lnTo>
                      <a:pt x="584835" y="1532573"/>
                    </a:lnTo>
                    <a:lnTo>
                      <a:pt x="573405" y="1517333"/>
                    </a:lnTo>
                    <a:lnTo>
                      <a:pt x="561975" y="1502093"/>
                    </a:lnTo>
                    <a:lnTo>
                      <a:pt x="551498" y="1486853"/>
                    </a:lnTo>
                    <a:lnTo>
                      <a:pt x="541020" y="1471613"/>
                    </a:lnTo>
                    <a:lnTo>
                      <a:pt x="530543" y="1456373"/>
                    </a:lnTo>
                    <a:lnTo>
                      <a:pt x="521018" y="1440180"/>
                    </a:lnTo>
                    <a:lnTo>
                      <a:pt x="511493" y="1423988"/>
                    </a:lnTo>
                    <a:lnTo>
                      <a:pt x="501968" y="1407795"/>
                    </a:lnTo>
                    <a:lnTo>
                      <a:pt x="493395" y="1390650"/>
                    </a:lnTo>
                    <a:lnTo>
                      <a:pt x="484823" y="1373505"/>
                    </a:lnTo>
                    <a:lnTo>
                      <a:pt x="476250" y="1356360"/>
                    </a:lnTo>
                    <a:lnTo>
                      <a:pt x="468630" y="1339215"/>
                    </a:lnTo>
                    <a:lnTo>
                      <a:pt x="461010" y="1321118"/>
                    </a:lnTo>
                    <a:lnTo>
                      <a:pt x="454343" y="1303020"/>
                    </a:lnTo>
                    <a:lnTo>
                      <a:pt x="448628" y="1284923"/>
                    </a:lnTo>
                    <a:lnTo>
                      <a:pt x="442913" y="1266825"/>
                    </a:lnTo>
                    <a:lnTo>
                      <a:pt x="437198" y="1247775"/>
                    </a:lnTo>
                    <a:lnTo>
                      <a:pt x="432435" y="1229678"/>
                    </a:lnTo>
                    <a:lnTo>
                      <a:pt x="427673" y="1210628"/>
                    </a:lnTo>
                    <a:lnTo>
                      <a:pt x="422910" y="1191578"/>
                    </a:lnTo>
                    <a:lnTo>
                      <a:pt x="419100" y="1172528"/>
                    </a:lnTo>
                    <a:lnTo>
                      <a:pt x="415290" y="1153478"/>
                    </a:lnTo>
                    <a:lnTo>
                      <a:pt x="412433" y="1133475"/>
                    </a:lnTo>
                    <a:lnTo>
                      <a:pt x="410528" y="1113473"/>
                    </a:lnTo>
                    <a:lnTo>
                      <a:pt x="408623" y="1093470"/>
                    </a:lnTo>
                    <a:lnTo>
                      <a:pt x="406718" y="1073468"/>
                    </a:lnTo>
                    <a:lnTo>
                      <a:pt x="405765" y="1053465"/>
                    </a:lnTo>
                    <a:lnTo>
                      <a:pt x="404813" y="1033463"/>
                    </a:lnTo>
                    <a:lnTo>
                      <a:pt x="542925" y="1033463"/>
                    </a:lnTo>
                    <a:lnTo>
                      <a:pt x="543878" y="1057275"/>
                    </a:lnTo>
                    <a:lnTo>
                      <a:pt x="545783" y="1081088"/>
                    </a:lnTo>
                    <a:lnTo>
                      <a:pt x="548640" y="1103948"/>
                    </a:lnTo>
                    <a:lnTo>
                      <a:pt x="551498" y="1126808"/>
                    </a:lnTo>
                    <a:lnTo>
                      <a:pt x="556260" y="1149668"/>
                    </a:lnTo>
                    <a:lnTo>
                      <a:pt x="561023" y="1172528"/>
                    </a:lnTo>
                    <a:lnTo>
                      <a:pt x="565785" y="1194435"/>
                    </a:lnTo>
                    <a:lnTo>
                      <a:pt x="571500" y="1219200"/>
                    </a:lnTo>
                    <a:lnTo>
                      <a:pt x="571500" y="1219200"/>
                    </a:lnTo>
                    <a:close/>
                    <a:moveTo>
                      <a:pt x="724853" y="1441133"/>
                    </a:moveTo>
                    <a:lnTo>
                      <a:pt x="738188" y="1431608"/>
                    </a:lnTo>
                    <a:lnTo>
                      <a:pt x="769620" y="1448753"/>
                    </a:lnTo>
                    <a:lnTo>
                      <a:pt x="774383" y="1451610"/>
                    </a:lnTo>
                    <a:lnTo>
                      <a:pt x="753428" y="1472565"/>
                    </a:lnTo>
                    <a:lnTo>
                      <a:pt x="745808" y="1464945"/>
                    </a:lnTo>
                    <a:lnTo>
                      <a:pt x="738188" y="1457325"/>
                    </a:lnTo>
                    <a:lnTo>
                      <a:pt x="731520" y="1449705"/>
                    </a:lnTo>
                    <a:lnTo>
                      <a:pt x="724853" y="1441133"/>
                    </a:lnTo>
                    <a:lnTo>
                      <a:pt x="724853" y="1441133"/>
                    </a:lnTo>
                    <a:close/>
                    <a:moveTo>
                      <a:pt x="843915" y="1323975"/>
                    </a:moveTo>
                    <a:lnTo>
                      <a:pt x="847725" y="1290638"/>
                    </a:lnTo>
                    <a:lnTo>
                      <a:pt x="833438" y="1259205"/>
                    </a:lnTo>
                    <a:lnTo>
                      <a:pt x="829628" y="1205865"/>
                    </a:lnTo>
                    <a:lnTo>
                      <a:pt x="812483" y="1174433"/>
                    </a:lnTo>
                    <a:lnTo>
                      <a:pt x="816293" y="1153478"/>
                    </a:lnTo>
                    <a:lnTo>
                      <a:pt x="795338" y="1114425"/>
                    </a:lnTo>
                    <a:lnTo>
                      <a:pt x="778193" y="1106805"/>
                    </a:lnTo>
                    <a:lnTo>
                      <a:pt x="784860" y="1085850"/>
                    </a:lnTo>
                    <a:lnTo>
                      <a:pt x="778193" y="1067753"/>
                    </a:lnTo>
                    <a:lnTo>
                      <a:pt x="784860" y="1049655"/>
                    </a:lnTo>
                    <a:lnTo>
                      <a:pt x="805815" y="1049655"/>
                    </a:lnTo>
                    <a:lnTo>
                      <a:pt x="812483" y="1040130"/>
                    </a:lnTo>
                    <a:lnTo>
                      <a:pt x="812483" y="1039178"/>
                    </a:lnTo>
                    <a:lnTo>
                      <a:pt x="814388" y="1035368"/>
                    </a:lnTo>
                    <a:lnTo>
                      <a:pt x="842010" y="1035368"/>
                    </a:lnTo>
                    <a:lnTo>
                      <a:pt x="843915" y="1039178"/>
                    </a:lnTo>
                    <a:lnTo>
                      <a:pt x="843915" y="1039178"/>
                    </a:lnTo>
                    <a:lnTo>
                      <a:pt x="843915" y="1039178"/>
                    </a:lnTo>
                    <a:lnTo>
                      <a:pt x="843915" y="1039178"/>
                    </a:lnTo>
                    <a:lnTo>
                      <a:pt x="843915" y="1039178"/>
                    </a:lnTo>
                    <a:lnTo>
                      <a:pt x="846773" y="1049655"/>
                    </a:lnTo>
                    <a:lnTo>
                      <a:pt x="843915" y="1081088"/>
                    </a:lnTo>
                    <a:lnTo>
                      <a:pt x="837248" y="1087755"/>
                    </a:lnTo>
                    <a:lnTo>
                      <a:pt x="850583" y="1112520"/>
                    </a:lnTo>
                    <a:lnTo>
                      <a:pt x="843915" y="1119188"/>
                    </a:lnTo>
                    <a:lnTo>
                      <a:pt x="837248" y="1112520"/>
                    </a:lnTo>
                    <a:lnTo>
                      <a:pt x="834390" y="1112520"/>
                    </a:lnTo>
                    <a:lnTo>
                      <a:pt x="841058" y="1129665"/>
                    </a:lnTo>
                    <a:lnTo>
                      <a:pt x="850583" y="1147763"/>
                    </a:lnTo>
                    <a:lnTo>
                      <a:pt x="853440" y="1147763"/>
                    </a:lnTo>
                    <a:lnTo>
                      <a:pt x="856298" y="1129665"/>
                    </a:lnTo>
                    <a:lnTo>
                      <a:pt x="849630" y="1125855"/>
                    </a:lnTo>
                    <a:lnTo>
                      <a:pt x="849630" y="1114425"/>
                    </a:lnTo>
                    <a:lnTo>
                      <a:pt x="849630" y="1092518"/>
                    </a:lnTo>
                    <a:lnTo>
                      <a:pt x="857250" y="1049655"/>
                    </a:lnTo>
                    <a:lnTo>
                      <a:pt x="855345" y="1044893"/>
                    </a:lnTo>
                    <a:lnTo>
                      <a:pt x="849630" y="1036320"/>
                    </a:lnTo>
                    <a:lnTo>
                      <a:pt x="851535" y="1036320"/>
                    </a:lnTo>
                    <a:lnTo>
                      <a:pt x="850583" y="1033463"/>
                    </a:lnTo>
                    <a:lnTo>
                      <a:pt x="878205" y="1033463"/>
                    </a:lnTo>
                    <a:lnTo>
                      <a:pt x="879158" y="1049655"/>
                    </a:lnTo>
                    <a:lnTo>
                      <a:pt x="881063" y="1064895"/>
                    </a:lnTo>
                    <a:lnTo>
                      <a:pt x="882968" y="1080135"/>
                    </a:lnTo>
                    <a:lnTo>
                      <a:pt x="886778" y="1095375"/>
                    </a:lnTo>
                    <a:lnTo>
                      <a:pt x="890588" y="1110615"/>
                    </a:lnTo>
                    <a:lnTo>
                      <a:pt x="895350" y="1125855"/>
                    </a:lnTo>
                    <a:lnTo>
                      <a:pt x="901065" y="1140143"/>
                    </a:lnTo>
                    <a:lnTo>
                      <a:pt x="906780" y="1154430"/>
                    </a:lnTo>
                    <a:lnTo>
                      <a:pt x="912495" y="1168718"/>
                    </a:lnTo>
                    <a:lnTo>
                      <a:pt x="919163" y="1182053"/>
                    </a:lnTo>
                    <a:lnTo>
                      <a:pt x="926783" y="1195388"/>
                    </a:lnTo>
                    <a:lnTo>
                      <a:pt x="934403" y="1208723"/>
                    </a:lnTo>
                    <a:lnTo>
                      <a:pt x="942975" y="1221105"/>
                    </a:lnTo>
                    <a:lnTo>
                      <a:pt x="952500" y="1232535"/>
                    </a:lnTo>
                    <a:lnTo>
                      <a:pt x="962025" y="1243965"/>
                    </a:lnTo>
                    <a:lnTo>
                      <a:pt x="971550" y="1254443"/>
                    </a:lnTo>
                    <a:lnTo>
                      <a:pt x="872490" y="1353503"/>
                    </a:lnTo>
                    <a:lnTo>
                      <a:pt x="865823" y="1345883"/>
                    </a:lnTo>
                    <a:lnTo>
                      <a:pt x="859155" y="1338263"/>
                    </a:lnTo>
                    <a:lnTo>
                      <a:pt x="852488" y="1330643"/>
                    </a:lnTo>
                    <a:lnTo>
                      <a:pt x="843915" y="1323975"/>
                    </a:lnTo>
                    <a:lnTo>
                      <a:pt x="843915" y="1323975"/>
                    </a:lnTo>
                    <a:close/>
                    <a:moveTo>
                      <a:pt x="837248" y="1006793"/>
                    </a:moveTo>
                    <a:lnTo>
                      <a:pt x="825818" y="989648"/>
                    </a:lnTo>
                    <a:lnTo>
                      <a:pt x="825818" y="964883"/>
                    </a:lnTo>
                    <a:lnTo>
                      <a:pt x="843915" y="954405"/>
                    </a:lnTo>
                    <a:lnTo>
                      <a:pt x="872490" y="958215"/>
                    </a:lnTo>
                    <a:lnTo>
                      <a:pt x="879158" y="964883"/>
                    </a:lnTo>
                    <a:lnTo>
                      <a:pt x="879158" y="966788"/>
                    </a:lnTo>
                    <a:lnTo>
                      <a:pt x="881063" y="973455"/>
                    </a:lnTo>
                    <a:lnTo>
                      <a:pt x="880110" y="982028"/>
                    </a:lnTo>
                    <a:lnTo>
                      <a:pt x="879158" y="989648"/>
                    </a:lnTo>
                    <a:lnTo>
                      <a:pt x="878205" y="998220"/>
                    </a:lnTo>
                    <a:lnTo>
                      <a:pt x="878205" y="1006793"/>
                    </a:lnTo>
                    <a:lnTo>
                      <a:pt x="837248" y="1006793"/>
                    </a:lnTo>
                    <a:lnTo>
                      <a:pt x="837248" y="1006793"/>
                    </a:lnTo>
                    <a:close/>
                    <a:moveTo>
                      <a:pt x="907733" y="1059180"/>
                    </a:moveTo>
                    <a:lnTo>
                      <a:pt x="909638" y="1062990"/>
                    </a:lnTo>
                    <a:lnTo>
                      <a:pt x="922973" y="1078230"/>
                    </a:lnTo>
                    <a:lnTo>
                      <a:pt x="943928" y="1078230"/>
                    </a:lnTo>
                    <a:lnTo>
                      <a:pt x="968693" y="1095375"/>
                    </a:lnTo>
                    <a:lnTo>
                      <a:pt x="976313" y="1091565"/>
                    </a:lnTo>
                    <a:lnTo>
                      <a:pt x="993458" y="1105853"/>
                    </a:lnTo>
                    <a:lnTo>
                      <a:pt x="982980" y="1113473"/>
                    </a:lnTo>
                    <a:lnTo>
                      <a:pt x="1003935" y="1123950"/>
                    </a:lnTo>
                    <a:lnTo>
                      <a:pt x="1003935" y="1109663"/>
                    </a:lnTo>
                    <a:lnTo>
                      <a:pt x="1014413" y="1092518"/>
                    </a:lnTo>
                    <a:lnTo>
                      <a:pt x="1024890" y="1106805"/>
                    </a:lnTo>
                    <a:lnTo>
                      <a:pt x="1039178" y="1121093"/>
                    </a:lnTo>
                    <a:lnTo>
                      <a:pt x="1018223" y="1127760"/>
                    </a:lnTo>
                    <a:lnTo>
                      <a:pt x="1024890" y="1145858"/>
                    </a:lnTo>
                    <a:lnTo>
                      <a:pt x="1039178" y="1138238"/>
                    </a:lnTo>
                    <a:lnTo>
                      <a:pt x="1039178" y="1131570"/>
                    </a:lnTo>
                    <a:lnTo>
                      <a:pt x="1049655" y="1124903"/>
                    </a:lnTo>
                    <a:lnTo>
                      <a:pt x="1056323" y="1093470"/>
                    </a:lnTo>
                    <a:lnTo>
                      <a:pt x="1057275" y="1096328"/>
                    </a:lnTo>
                    <a:lnTo>
                      <a:pt x="1057275" y="1093470"/>
                    </a:lnTo>
                    <a:lnTo>
                      <a:pt x="1059180" y="1090613"/>
                    </a:lnTo>
                    <a:lnTo>
                      <a:pt x="1062038" y="1097280"/>
                    </a:lnTo>
                    <a:lnTo>
                      <a:pt x="1064895" y="1103948"/>
                    </a:lnTo>
                    <a:lnTo>
                      <a:pt x="1068705" y="1109663"/>
                    </a:lnTo>
                    <a:lnTo>
                      <a:pt x="1072515" y="1115378"/>
                    </a:lnTo>
                    <a:lnTo>
                      <a:pt x="1076325" y="1121093"/>
                    </a:lnTo>
                    <a:lnTo>
                      <a:pt x="1081088" y="1126808"/>
                    </a:lnTo>
                    <a:lnTo>
                      <a:pt x="1085850" y="1131570"/>
                    </a:lnTo>
                    <a:lnTo>
                      <a:pt x="1090613" y="1137285"/>
                    </a:lnTo>
                    <a:lnTo>
                      <a:pt x="990600" y="1237298"/>
                    </a:lnTo>
                    <a:lnTo>
                      <a:pt x="982028" y="1227773"/>
                    </a:lnTo>
                    <a:lnTo>
                      <a:pt x="974408" y="1218248"/>
                    </a:lnTo>
                    <a:lnTo>
                      <a:pt x="966788" y="1207770"/>
                    </a:lnTo>
                    <a:lnTo>
                      <a:pt x="960120" y="1197293"/>
                    </a:lnTo>
                    <a:lnTo>
                      <a:pt x="953453" y="1186815"/>
                    </a:lnTo>
                    <a:lnTo>
                      <a:pt x="946785" y="1176338"/>
                    </a:lnTo>
                    <a:lnTo>
                      <a:pt x="941070" y="1165860"/>
                    </a:lnTo>
                    <a:lnTo>
                      <a:pt x="935355" y="1155383"/>
                    </a:lnTo>
                    <a:lnTo>
                      <a:pt x="930593" y="1143953"/>
                    </a:lnTo>
                    <a:lnTo>
                      <a:pt x="925830" y="1132523"/>
                    </a:lnTo>
                    <a:lnTo>
                      <a:pt x="921068" y="1121093"/>
                    </a:lnTo>
                    <a:lnTo>
                      <a:pt x="917258" y="1108710"/>
                    </a:lnTo>
                    <a:lnTo>
                      <a:pt x="913448" y="1096328"/>
                    </a:lnTo>
                    <a:lnTo>
                      <a:pt x="910590" y="1083945"/>
                    </a:lnTo>
                    <a:lnTo>
                      <a:pt x="907733" y="1071563"/>
                    </a:lnTo>
                    <a:lnTo>
                      <a:pt x="907733" y="1059180"/>
                    </a:lnTo>
                    <a:lnTo>
                      <a:pt x="907733" y="1059180"/>
                    </a:lnTo>
                    <a:close/>
                    <a:moveTo>
                      <a:pt x="967740" y="784860"/>
                    </a:moveTo>
                    <a:lnTo>
                      <a:pt x="962978" y="788670"/>
                    </a:lnTo>
                    <a:lnTo>
                      <a:pt x="962978" y="788670"/>
                    </a:lnTo>
                    <a:lnTo>
                      <a:pt x="934403" y="823913"/>
                    </a:lnTo>
                    <a:lnTo>
                      <a:pt x="909638" y="862965"/>
                    </a:lnTo>
                    <a:lnTo>
                      <a:pt x="902970" y="862965"/>
                    </a:lnTo>
                    <a:lnTo>
                      <a:pt x="890588" y="865823"/>
                    </a:lnTo>
                    <a:lnTo>
                      <a:pt x="883920" y="865823"/>
                    </a:lnTo>
                    <a:lnTo>
                      <a:pt x="870585" y="880110"/>
                    </a:lnTo>
                    <a:lnTo>
                      <a:pt x="887730" y="876300"/>
                    </a:lnTo>
                    <a:lnTo>
                      <a:pt x="904875" y="872490"/>
                    </a:lnTo>
                    <a:lnTo>
                      <a:pt x="901065" y="879158"/>
                    </a:lnTo>
                    <a:lnTo>
                      <a:pt x="887730" y="885825"/>
                    </a:lnTo>
                    <a:lnTo>
                      <a:pt x="881063" y="885825"/>
                    </a:lnTo>
                    <a:lnTo>
                      <a:pt x="860108" y="902970"/>
                    </a:lnTo>
                    <a:lnTo>
                      <a:pt x="840105" y="899160"/>
                    </a:lnTo>
                    <a:lnTo>
                      <a:pt x="809625" y="954405"/>
                    </a:lnTo>
                    <a:lnTo>
                      <a:pt x="816293" y="967740"/>
                    </a:lnTo>
                    <a:lnTo>
                      <a:pt x="799148" y="984885"/>
                    </a:lnTo>
                    <a:lnTo>
                      <a:pt x="799148" y="1004888"/>
                    </a:lnTo>
                    <a:lnTo>
                      <a:pt x="739140" y="1004888"/>
                    </a:lnTo>
                    <a:lnTo>
                      <a:pt x="739140" y="993458"/>
                    </a:lnTo>
                    <a:lnTo>
                      <a:pt x="740093" y="982028"/>
                    </a:lnTo>
                    <a:lnTo>
                      <a:pt x="741045" y="970598"/>
                    </a:lnTo>
                    <a:lnTo>
                      <a:pt x="741998" y="959168"/>
                    </a:lnTo>
                    <a:lnTo>
                      <a:pt x="743903" y="948690"/>
                    </a:lnTo>
                    <a:lnTo>
                      <a:pt x="745808" y="937260"/>
                    </a:lnTo>
                    <a:lnTo>
                      <a:pt x="747713" y="926783"/>
                    </a:lnTo>
                    <a:lnTo>
                      <a:pt x="750570" y="915353"/>
                    </a:lnTo>
                    <a:lnTo>
                      <a:pt x="752475" y="904875"/>
                    </a:lnTo>
                    <a:lnTo>
                      <a:pt x="755333" y="894398"/>
                    </a:lnTo>
                    <a:lnTo>
                      <a:pt x="758190" y="883920"/>
                    </a:lnTo>
                    <a:lnTo>
                      <a:pt x="761048" y="873443"/>
                    </a:lnTo>
                    <a:lnTo>
                      <a:pt x="764858" y="862965"/>
                    </a:lnTo>
                    <a:lnTo>
                      <a:pt x="768668" y="853440"/>
                    </a:lnTo>
                    <a:lnTo>
                      <a:pt x="772478" y="842963"/>
                    </a:lnTo>
                    <a:lnTo>
                      <a:pt x="776288" y="833438"/>
                    </a:lnTo>
                    <a:lnTo>
                      <a:pt x="780098" y="823913"/>
                    </a:lnTo>
                    <a:lnTo>
                      <a:pt x="784860" y="813435"/>
                    </a:lnTo>
                    <a:lnTo>
                      <a:pt x="789623" y="803910"/>
                    </a:lnTo>
                    <a:lnTo>
                      <a:pt x="794385" y="794385"/>
                    </a:lnTo>
                    <a:lnTo>
                      <a:pt x="799148" y="784860"/>
                    </a:lnTo>
                    <a:lnTo>
                      <a:pt x="803910" y="775335"/>
                    </a:lnTo>
                    <a:lnTo>
                      <a:pt x="809625" y="765810"/>
                    </a:lnTo>
                    <a:lnTo>
                      <a:pt x="815340" y="756285"/>
                    </a:lnTo>
                    <a:lnTo>
                      <a:pt x="821055" y="746760"/>
                    </a:lnTo>
                    <a:lnTo>
                      <a:pt x="826770" y="738188"/>
                    </a:lnTo>
                    <a:lnTo>
                      <a:pt x="833438" y="729615"/>
                    </a:lnTo>
                    <a:lnTo>
                      <a:pt x="840105" y="721043"/>
                    </a:lnTo>
                    <a:lnTo>
                      <a:pt x="846773" y="712470"/>
                    </a:lnTo>
                    <a:lnTo>
                      <a:pt x="853440" y="703898"/>
                    </a:lnTo>
                    <a:lnTo>
                      <a:pt x="860108" y="695325"/>
                    </a:lnTo>
                    <a:lnTo>
                      <a:pt x="867728" y="687705"/>
                    </a:lnTo>
                    <a:lnTo>
                      <a:pt x="967740" y="784860"/>
                    </a:lnTo>
                    <a:lnTo>
                      <a:pt x="967740" y="784860"/>
                    </a:lnTo>
                    <a:close/>
                    <a:moveTo>
                      <a:pt x="1634490" y="403860"/>
                    </a:moveTo>
                    <a:lnTo>
                      <a:pt x="1627823" y="389573"/>
                    </a:lnTo>
                    <a:lnTo>
                      <a:pt x="1609725" y="379095"/>
                    </a:lnTo>
                    <a:lnTo>
                      <a:pt x="1595438" y="393383"/>
                    </a:lnTo>
                    <a:lnTo>
                      <a:pt x="1612583" y="401003"/>
                    </a:lnTo>
                    <a:lnTo>
                      <a:pt x="1633538" y="415290"/>
                    </a:lnTo>
                    <a:lnTo>
                      <a:pt x="1633538" y="403860"/>
                    </a:lnTo>
                    <a:lnTo>
                      <a:pt x="1634490" y="403860"/>
                    </a:lnTo>
                    <a:close/>
                    <a:moveTo>
                      <a:pt x="1553528" y="796290"/>
                    </a:moveTo>
                    <a:lnTo>
                      <a:pt x="1553528" y="806768"/>
                    </a:lnTo>
                    <a:lnTo>
                      <a:pt x="1578293" y="799148"/>
                    </a:lnTo>
                    <a:lnTo>
                      <a:pt x="1584960" y="784860"/>
                    </a:lnTo>
                    <a:lnTo>
                      <a:pt x="1567815" y="763905"/>
                    </a:lnTo>
                    <a:lnTo>
                      <a:pt x="1574483" y="749618"/>
                    </a:lnTo>
                    <a:lnTo>
                      <a:pt x="1599248" y="763905"/>
                    </a:lnTo>
                    <a:lnTo>
                      <a:pt x="1603058" y="760095"/>
                    </a:lnTo>
                    <a:lnTo>
                      <a:pt x="1599248" y="760095"/>
                    </a:lnTo>
                    <a:lnTo>
                      <a:pt x="1592580" y="749618"/>
                    </a:lnTo>
                    <a:lnTo>
                      <a:pt x="1603058" y="742950"/>
                    </a:lnTo>
                    <a:lnTo>
                      <a:pt x="1592580" y="732473"/>
                    </a:lnTo>
                    <a:lnTo>
                      <a:pt x="1571625" y="742950"/>
                    </a:lnTo>
                    <a:lnTo>
                      <a:pt x="1564958" y="757238"/>
                    </a:lnTo>
                    <a:lnTo>
                      <a:pt x="1561148" y="767715"/>
                    </a:lnTo>
                    <a:lnTo>
                      <a:pt x="1571625" y="782003"/>
                    </a:lnTo>
                    <a:lnTo>
                      <a:pt x="1567815" y="788670"/>
                    </a:lnTo>
                    <a:lnTo>
                      <a:pt x="1553528" y="796290"/>
                    </a:lnTo>
                    <a:lnTo>
                      <a:pt x="1553528" y="796290"/>
                    </a:lnTo>
                    <a:close/>
                    <a:moveTo>
                      <a:pt x="547688" y="1421130"/>
                    </a:moveTo>
                    <a:lnTo>
                      <a:pt x="547688" y="1413510"/>
                    </a:lnTo>
                    <a:lnTo>
                      <a:pt x="537210" y="1385888"/>
                    </a:lnTo>
                    <a:lnTo>
                      <a:pt x="522923" y="1382078"/>
                    </a:lnTo>
                    <a:lnTo>
                      <a:pt x="547688" y="1421130"/>
                    </a:lnTo>
                    <a:lnTo>
                      <a:pt x="547688" y="1421130"/>
                    </a:lnTo>
                    <a:close/>
                    <a:moveTo>
                      <a:pt x="1116330" y="898208"/>
                    </a:moveTo>
                    <a:lnTo>
                      <a:pt x="1120140" y="912495"/>
                    </a:lnTo>
                    <a:lnTo>
                      <a:pt x="1126808" y="926783"/>
                    </a:lnTo>
                    <a:lnTo>
                      <a:pt x="1137285" y="941070"/>
                    </a:lnTo>
                    <a:lnTo>
                      <a:pt x="1155383" y="951548"/>
                    </a:lnTo>
                    <a:lnTo>
                      <a:pt x="1155383" y="941070"/>
                    </a:lnTo>
                    <a:lnTo>
                      <a:pt x="1141095" y="923925"/>
                    </a:lnTo>
                    <a:lnTo>
                      <a:pt x="1148715" y="909638"/>
                    </a:lnTo>
                    <a:lnTo>
                      <a:pt x="1155383" y="905828"/>
                    </a:lnTo>
                    <a:lnTo>
                      <a:pt x="1155383" y="845820"/>
                    </a:lnTo>
                    <a:lnTo>
                      <a:pt x="1151573" y="845820"/>
                    </a:lnTo>
                    <a:lnTo>
                      <a:pt x="1137285" y="856298"/>
                    </a:lnTo>
                    <a:lnTo>
                      <a:pt x="1126808" y="866775"/>
                    </a:lnTo>
                    <a:lnTo>
                      <a:pt x="1120140" y="881063"/>
                    </a:lnTo>
                    <a:lnTo>
                      <a:pt x="1116330" y="898208"/>
                    </a:lnTo>
                    <a:lnTo>
                      <a:pt x="1116330" y="898208"/>
                    </a:lnTo>
                    <a:close/>
                    <a:moveTo>
                      <a:pt x="822008" y="639128"/>
                    </a:moveTo>
                    <a:lnTo>
                      <a:pt x="812483" y="628650"/>
                    </a:lnTo>
                    <a:lnTo>
                      <a:pt x="832485" y="624840"/>
                    </a:lnTo>
                    <a:lnTo>
                      <a:pt x="822008" y="639128"/>
                    </a:lnTo>
                    <a:lnTo>
                      <a:pt x="822008" y="639128"/>
                    </a:lnTo>
                    <a:close/>
                    <a:moveTo>
                      <a:pt x="2039303" y="1035368"/>
                    </a:moveTo>
                    <a:lnTo>
                      <a:pt x="1902143" y="1035368"/>
                    </a:lnTo>
                    <a:lnTo>
                      <a:pt x="1901190" y="1051560"/>
                    </a:lnTo>
                    <a:lnTo>
                      <a:pt x="1900238" y="1067753"/>
                    </a:lnTo>
                    <a:lnTo>
                      <a:pt x="1899285" y="1083945"/>
                    </a:lnTo>
                    <a:lnTo>
                      <a:pt x="1897380" y="1100138"/>
                    </a:lnTo>
                    <a:lnTo>
                      <a:pt x="1895475" y="1115378"/>
                    </a:lnTo>
                    <a:lnTo>
                      <a:pt x="1893570" y="1131570"/>
                    </a:lnTo>
                    <a:lnTo>
                      <a:pt x="1890713" y="1146810"/>
                    </a:lnTo>
                    <a:lnTo>
                      <a:pt x="1887855" y="1162050"/>
                    </a:lnTo>
                    <a:lnTo>
                      <a:pt x="1884045" y="1177290"/>
                    </a:lnTo>
                    <a:lnTo>
                      <a:pt x="1880235" y="1193483"/>
                    </a:lnTo>
                    <a:lnTo>
                      <a:pt x="1875473" y="1208723"/>
                    </a:lnTo>
                    <a:lnTo>
                      <a:pt x="1870710" y="1223963"/>
                    </a:lnTo>
                    <a:lnTo>
                      <a:pt x="1865948" y="1239203"/>
                    </a:lnTo>
                    <a:lnTo>
                      <a:pt x="1860233" y="1253490"/>
                    </a:lnTo>
                    <a:lnTo>
                      <a:pt x="1854518" y="1268730"/>
                    </a:lnTo>
                    <a:lnTo>
                      <a:pt x="1848803" y="1283018"/>
                    </a:lnTo>
                    <a:lnTo>
                      <a:pt x="1843088" y="1297305"/>
                    </a:lnTo>
                    <a:lnTo>
                      <a:pt x="1836420" y="1311593"/>
                    </a:lnTo>
                    <a:lnTo>
                      <a:pt x="1829753" y="1325880"/>
                    </a:lnTo>
                    <a:lnTo>
                      <a:pt x="1823085" y="1340168"/>
                    </a:lnTo>
                    <a:lnTo>
                      <a:pt x="1815465" y="1353503"/>
                    </a:lnTo>
                    <a:lnTo>
                      <a:pt x="1807845" y="1366838"/>
                    </a:lnTo>
                    <a:lnTo>
                      <a:pt x="1800225" y="1380173"/>
                    </a:lnTo>
                    <a:lnTo>
                      <a:pt x="1791653" y="1393508"/>
                    </a:lnTo>
                    <a:lnTo>
                      <a:pt x="1783080" y="1405890"/>
                    </a:lnTo>
                    <a:lnTo>
                      <a:pt x="1773555" y="1418273"/>
                    </a:lnTo>
                    <a:lnTo>
                      <a:pt x="1764030" y="1430655"/>
                    </a:lnTo>
                    <a:lnTo>
                      <a:pt x="1754505" y="1443038"/>
                    </a:lnTo>
                    <a:lnTo>
                      <a:pt x="1744028" y="1455420"/>
                    </a:lnTo>
                    <a:lnTo>
                      <a:pt x="1734503" y="1466850"/>
                    </a:lnTo>
                    <a:lnTo>
                      <a:pt x="1724025" y="1478280"/>
                    </a:lnTo>
                    <a:lnTo>
                      <a:pt x="1717358" y="1489710"/>
                    </a:lnTo>
                    <a:lnTo>
                      <a:pt x="1810703" y="1585913"/>
                    </a:lnTo>
                    <a:lnTo>
                      <a:pt x="1824038" y="1572578"/>
                    </a:lnTo>
                    <a:lnTo>
                      <a:pt x="1836420" y="1558290"/>
                    </a:lnTo>
                    <a:lnTo>
                      <a:pt x="1848803" y="1544003"/>
                    </a:lnTo>
                    <a:lnTo>
                      <a:pt x="1860233" y="1529715"/>
                    </a:lnTo>
                    <a:lnTo>
                      <a:pt x="1871663" y="1515428"/>
                    </a:lnTo>
                    <a:lnTo>
                      <a:pt x="1882140" y="1500188"/>
                    </a:lnTo>
                    <a:lnTo>
                      <a:pt x="1892618" y="1484948"/>
                    </a:lnTo>
                    <a:lnTo>
                      <a:pt x="1903095" y="1469708"/>
                    </a:lnTo>
                    <a:lnTo>
                      <a:pt x="1913573" y="1453515"/>
                    </a:lnTo>
                    <a:lnTo>
                      <a:pt x="1924050" y="1438275"/>
                    </a:lnTo>
                    <a:lnTo>
                      <a:pt x="1933575" y="1422083"/>
                    </a:lnTo>
                    <a:lnTo>
                      <a:pt x="1942148" y="1405890"/>
                    </a:lnTo>
                    <a:lnTo>
                      <a:pt x="1950720" y="1388745"/>
                    </a:lnTo>
                    <a:lnTo>
                      <a:pt x="1959293" y="1372553"/>
                    </a:lnTo>
                    <a:lnTo>
                      <a:pt x="1967865" y="1355408"/>
                    </a:lnTo>
                    <a:lnTo>
                      <a:pt x="1975485" y="1338263"/>
                    </a:lnTo>
                    <a:lnTo>
                      <a:pt x="1982153" y="1321118"/>
                    </a:lnTo>
                    <a:lnTo>
                      <a:pt x="1988820" y="1303973"/>
                    </a:lnTo>
                    <a:lnTo>
                      <a:pt x="1994535" y="1285875"/>
                    </a:lnTo>
                    <a:lnTo>
                      <a:pt x="2000250" y="1267778"/>
                    </a:lnTo>
                    <a:lnTo>
                      <a:pt x="2005965" y="1249680"/>
                    </a:lnTo>
                    <a:lnTo>
                      <a:pt x="2011680" y="1230630"/>
                    </a:lnTo>
                    <a:lnTo>
                      <a:pt x="2016443" y="1211580"/>
                    </a:lnTo>
                    <a:lnTo>
                      <a:pt x="2021205" y="1192530"/>
                    </a:lnTo>
                    <a:lnTo>
                      <a:pt x="2025015" y="1173480"/>
                    </a:lnTo>
                    <a:lnTo>
                      <a:pt x="2028825" y="1154430"/>
                    </a:lnTo>
                    <a:lnTo>
                      <a:pt x="2031683" y="1134428"/>
                    </a:lnTo>
                    <a:lnTo>
                      <a:pt x="2034540" y="1115378"/>
                    </a:lnTo>
                    <a:lnTo>
                      <a:pt x="2036445" y="1095375"/>
                    </a:lnTo>
                    <a:lnTo>
                      <a:pt x="2037398" y="1075373"/>
                    </a:lnTo>
                    <a:lnTo>
                      <a:pt x="2038350" y="1055370"/>
                    </a:lnTo>
                    <a:lnTo>
                      <a:pt x="2039303" y="1035368"/>
                    </a:lnTo>
                    <a:lnTo>
                      <a:pt x="2039303" y="1035368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9C6822F7-7A5B-E487-B495-CFE916BB4A05}"/>
                  </a:ext>
                </a:extLst>
              </p:cNvPr>
              <p:cNvSpPr/>
              <p:nvPr/>
            </p:nvSpPr>
            <p:spPr>
              <a:xfrm>
                <a:off x="17176883" y="4573588"/>
                <a:ext cx="19050" cy="2150745"/>
              </a:xfrm>
              <a:custGeom>
                <a:avLst/>
                <a:gdLst>
                  <a:gd name="connsiteX0" fmla="*/ 0 w 19050"/>
                  <a:gd name="connsiteY0" fmla="*/ 0 h 2150745"/>
                  <a:gd name="connsiteX1" fmla="*/ 19050 w 19050"/>
                  <a:gd name="connsiteY1" fmla="*/ 0 h 2150745"/>
                  <a:gd name="connsiteX2" fmla="*/ 19050 w 19050"/>
                  <a:gd name="connsiteY2" fmla="*/ 2150745 h 2150745"/>
                  <a:gd name="connsiteX3" fmla="*/ 0 w 19050"/>
                  <a:gd name="connsiteY3" fmla="*/ 2150745 h 2150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215074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2150745"/>
                    </a:lnTo>
                    <a:lnTo>
                      <a:pt x="0" y="215074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37C2B6F3-2E55-1FBB-0FD3-FED0B32E426B}"/>
                  </a:ext>
                </a:extLst>
              </p:cNvPr>
              <p:cNvSpPr/>
              <p:nvPr userDrawn="1"/>
            </p:nvSpPr>
            <p:spPr>
              <a:xfrm>
                <a:off x="20547403" y="4573588"/>
                <a:ext cx="19050" cy="2150745"/>
              </a:xfrm>
              <a:custGeom>
                <a:avLst/>
                <a:gdLst>
                  <a:gd name="connsiteX0" fmla="*/ 0 w 19050"/>
                  <a:gd name="connsiteY0" fmla="*/ 0 h 2150745"/>
                  <a:gd name="connsiteX1" fmla="*/ 19050 w 19050"/>
                  <a:gd name="connsiteY1" fmla="*/ 0 h 2150745"/>
                  <a:gd name="connsiteX2" fmla="*/ 19050 w 19050"/>
                  <a:gd name="connsiteY2" fmla="*/ 2150745 h 2150745"/>
                  <a:gd name="connsiteX3" fmla="*/ 0 w 19050"/>
                  <a:gd name="connsiteY3" fmla="*/ 2150745 h 21507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215074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2150745"/>
                    </a:lnTo>
                    <a:lnTo>
                      <a:pt x="0" y="215074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</p:grp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36B5D6-1856-B068-019D-84920168DFD6}"/>
                </a:ext>
              </a:extLst>
            </p:cNvPr>
            <p:cNvSpPr/>
            <p:nvPr/>
          </p:nvSpPr>
          <p:spPr>
            <a:xfrm>
              <a:off x="10052050" y="830928"/>
              <a:ext cx="2443162" cy="2161222"/>
            </a:xfrm>
            <a:custGeom>
              <a:avLst/>
              <a:gdLst>
                <a:gd name="connsiteX0" fmla="*/ 404813 w 2443162"/>
                <a:gd name="connsiteY0" fmla="*/ 1006793 h 2161222"/>
                <a:gd name="connsiteX1" fmla="*/ 536258 w 2443162"/>
                <a:gd name="connsiteY1" fmla="*/ 1006793 h 2161222"/>
                <a:gd name="connsiteX2" fmla="*/ 541973 w 2443162"/>
                <a:gd name="connsiteY2" fmla="*/ 989648 h 2161222"/>
                <a:gd name="connsiteX3" fmla="*/ 542925 w 2443162"/>
                <a:gd name="connsiteY3" fmla="*/ 973455 h 2161222"/>
                <a:gd name="connsiteX4" fmla="*/ 543878 w 2443162"/>
                <a:gd name="connsiteY4" fmla="*/ 957263 h 2161222"/>
                <a:gd name="connsiteX5" fmla="*/ 545783 w 2443162"/>
                <a:gd name="connsiteY5" fmla="*/ 941070 h 2161222"/>
                <a:gd name="connsiteX6" fmla="*/ 547688 w 2443162"/>
                <a:gd name="connsiteY6" fmla="*/ 924878 h 2161222"/>
                <a:gd name="connsiteX7" fmla="*/ 549593 w 2443162"/>
                <a:gd name="connsiteY7" fmla="*/ 909638 h 2161222"/>
                <a:gd name="connsiteX8" fmla="*/ 552450 w 2443162"/>
                <a:gd name="connsiteY8" fmla="*/ 893445 h 2161222"/>
                <a:gd name="connsiteX9" fmla="*/ 555308 w 2443162"/>
                <a:gd name="connsiteY9" fmla="*/ 878205 h 2161222"/>
                <a:gd name="connsiteX10" fmla="*/ 559118 w 2443162"/>
                <a:gd name="connsiteY10" fmla="*/ 862013 h 2161222"/>
                <a:gd name="connsiteX11" fmla="*/ 562928 w 2443162"/>
                <a:gd name="connsiteY11" fmla="*/ 846773 h 2161222"/>
                <a:gd name="connsiteX12" fmla="*/ 566738 w 2443162"/>
                <a:gd name="connsiteY12" fmla="*/ 831533 h 2161222"/>
                <a:gd name="connsiteX13" fmla="*/ 576263 w 2443162"/>
                <a:gd name="connsiteY13" fmla="*/ 801053 h 2161222"/>
                <a:gd name="connsiteX14" fmla="*/ 581978 w 2443162"/>
                <a:gd name="connsiteY14" fmla="*/ 785813 h 2161222"/>
                <a:gd name="connsiteX15" fmla="*/ 587693 w 2443162"/>
                <a:gd name="connsiteY15" fmla="*/ 770573 h 2161222"/>
                <a:gd name="connsiteX16" fmla="*/ 593408 w 2443162"/>
                <a:gd name="connsiteY16" fmla="*/ 756285 h 2161222"/>
                <a:gd name="connsiteX17" fmla="*/ 600075 w 2443162"/>
                <a:gd name="connsiteY17" fmla="*/ 741998 h 2161222"/>
                <a:gd name="connsiteX18" fmla="*/ 606743 w 2443162"/>
                <a:gd name="connsiteY18" fmla="*/ 727710 h 2161222"/>
                <a:gd name="connsiteX19" fmla="*/ 613410 w 2443162"/>
                <a:gd name="connsiteY19" fmla="*/ 713423 h 2161222"/>
                <a:gd name="connsiteX20" fmla="*/ 620078 w 2443162"/>
                <a:gd name="connsiteY20" fmla="*/ 699135 h 2161222"/>
                <a:gd name="connsiteX21" fmla="*/ 627698 w 2443162"/>
                <a:gd name="connsiteY21" fmla="*/ 684848 h 2161222"/>
                <a:gd name="connsiteX22" fmla="*/ 635318 w 2443162"/>
                <a:gd name="connsiteY22" fmla="*/ 671513 h 2161222"/>
                <a:gd name="connsiteX23" fmla="*/ 643890 w 2443162"/>
                <a:gd name="connsiteY23" fmla="*/ 658178 h 2161222"/>
                <a:gd name="connsiteX24" fmla="*/ 652463 w 2443162"/>
                <a:gd name="connsiteY24" fmla="*/ 644843 h 2161222"/>
                <a:gd name="connsiteX25" fmla="*/ 661035 w 2443162"/>
                <a:gd name="connsiteY25" fmla="*/ 631508 h 2161222"/>
                <a:gd name="connsiteX26" fmla="*/ 670560 w 2443162"/>
                <a:gd name="connsiteY26" fmla="*/ 619125 h 2161222"/>
                <a:gd name="connsiteX27" fmla="*/ 680085 w 2443162"/>
                <a:gd name="connsiteY27" fmla="*/ 606743 h 2161222"/>
                <a:gd name="connsiteX28" fmla="*/ 689610 w 2443162"/>
                <a:gd name="connsiteY28" fmla="*/ 594360 h 2161222"/>
                <a:gd name="connsiteX29" fmla="*/ 700088 w 2443162"/>
                <a:gd name="connsiteY29" fmla="*/ 582930 h 2161222"/>
                <a:gd name="connsiteX30" fmla="*/ 710565 w 2443162"/>
                <a:gd name="connsiteY30" fmla="*/ 571500 h 2161222"/>
                <a:gd name="connsiteX31" fmla="*/ 721043 w 2443162"/>
                <a:gd name="connsiteY31" fmla="*/ 560070 h 2161222"/>
                <a:gd name="connsiteX32" fmla="*/ 731520 w 2443162"/>
                <a:gd name="connsiteY32" fmla="*/ 548640 h 2161222"/>
                <a:gd name="connsiteX33" fmla="*/ 635318 w 2443162"/>
                <a:gd name="connsiteY33" fmla="*/ 451485 h 2161222"/>
                <a:gd name="connsiteX34" fmla="*/ 621983 w 2443162"/>
                <a:gd name="connsiteY34" fmla="*/ 464820 h 2161222"/>
                <a:gd name="connsiteX35" fmla="*/ 609600 w 2443162"/>
                <a:gd name="connsiteY35" fmla="*/ 479108 h 2161222"/>
                <a:gd name="connsiteX36" fmla="*/ 597218 w 2443162"/>
                <a:gd name="connsiteY36" fmla="*/ 493395 h 2161222"/>
                <a:gd name="connsiteX37" fmla="*/ 585788 w 2443162"/>
                <a:gd name="connsiteY37" fmla="*/ 507683 h 2161222"/>
                <a:gd name="connsiteX38" fmla="*/ 574358 w 2443162"/>
                <a:gd name="connsiteY38" fmla="*/ 522923 h 2161222"/>
                <a:gd name="connsiteX39" fmla="*/ 562928 w 2443162"/>
                <a:gd name="connsiteY39" fmla="*/ 538163 h 2161222"/>
                <a:gd name="connsiteX40" fmla="*/ 552450 w 2443162"/>
                <a:gd name="connsiteY40" fmla="*/ 553403 h 2161222"/>
                <a:gd name="connsiteX41" fmla="*/ 541973 w 2443162"/>
                <a:gd name="connsiteY41" fmla="*/ 568643 h 2161222"/>
                <a:gd name="connsiteX42" fmla="*/ 532448 w 2443162"/>
                <a:gd name="connsiteY42" fmla="*/ 583883 h 2161222"/>
                <a:gd name="connsiteX43" fmla="*/ 521970 w 2443162"/>
                <a:gd name="connsiteY43" fmla="*/ 600075 h 2161222"/>
                <a:gd name="connsiteX44" fmla="*/ 512445 w 2443162"/>
                <a:gd name="connsiteY44" fmla="*/ 616268 h 2161222"/>
                <a:gd name="connsiteX45" fmla="*/ 502920 w 2443162"/>
                <a:gd name="connsiteY45" fmla="*/ 632460 h 2161222"/>
                <a:gd name="connsiteX46" fmla="*/ 494348 w 2443162"/>
                <a:gd name="connsiteY46" fmla="*/ 649605 h 2161222"/>
                <a:gd name="connsiteX47" fmla="*/ 485775 w 2443162"/>
                <a:gd name="connsiteY47" fmla="*/ 666750 h 2161222"/>
                <a:gd name="connsiteX48" fmla="*/ 477203 w 2443162"/>
                <a:gd name="connsiteY48" fmla="*/ 683895 h 2161222"/>
                <a:gd name="connsiteX49" fmla="*/ 469583 w 2443162"/>
                <a:gd name="connsiteY49" fmla="*/ 701040 h 2161222"/>
                <a:gd name="connsiteX50" fmla="*/ 461963 w 2443162"/>
                <a:gd name="connsiteY50" fmla="*/ 719138 h 2161222"/>
                <a:gd name="connsiteX51" fmla="*/ 455295 w 2443162"/>
                <a:gd name="connsiteY51" fmla="*/ 737235 h 2161222"/>
                <a:gd name="connsiteX52" fmla="*/ 448628 w 2443162"/>
                <a:gd name="connsiteY52" fmla="*/ 755333 h 2161222"/>
                <a:gd name="connsiteX53" fmla="*/ 442913 w 2443162"/>
                <a:gd name="connsiteY53" fmla="*/ 773430 h 2161222"/>
                <a:gd name="connsiteX54" fmla="*/ 437198 w 2443162"/>
                <a:gd name="connsiteY54" fmla="*/ 792480 h 2161222"/>
                <a:gd name="connsiteX55" fmla="*/ 431483 w 2443162"/>
                <a:gd name="connsiteY55" fmla="*/ 811530 h 2161222"/>
                <a:gd name="connsiteX56" fmla="*/ 426720 w 2443162"/>
                <a:gd name="connsiteY56" fmla="*/ 830580 h 2161222"/>
                <a:gd name="connsiteX57" fmla="*/ 421958 w 2443162"/>
                <a:gd name="connsiteY57" fmla="*/ 849630 h 2161222"/>
                <a:gd name="connsiteX58" fmla="*/ 418148 w 2443162"/>
                <a:gd name="connsiteY58" fmla="*/ 868680 h 2161222"/>
                <a:gd name="connsiteX59" fmla="*/ 414338 w 2443162"/>
                <a:gd name="connsiteY59" fmla="*/ 888683 h 2161222"/>
                <a:gd name="connsiteX60" fmla="*/ 411480 w 2443162"/>
                <a:gd name="connsiteY60" fmla="*/ 907733 h 2161222"/>
                <a:gd name="connsiteX61" fmla="*/ 408623 w 2443162"/>
                <a:gd name="connsiteY61" fmla="*/ 927735 h 2161222"/>
                <a:gd name="connsiteX62" fmla="*/ 406718 w 2443162"/>
                <a:gd name="connsiteY62" fmla="*/ 947738 h 2161222"/>
                <a:gd name="connsiteX63" fmla="*/ 404813 w 2443162"/>
                <a:gd name="connsiteY63" fmla="*/ 967740 h 2161222"/>
                <a:gd name="connsiteX64" fmla="*/ 403860 w 2443162"/>
                <a:gd name="connsiteY64" fmla="*/ 987743 h 2161222"/>
                <a:gd name="connsiteX65" fmla="*/ 404813 w 2443162"/>
                <a:gd name="connsiteY65" fmla="*/ 1006793 h 2161222"/>
                <a:gd name="connsiteX66" fmla="*/ 404813 w 2443162"/>
                <a:gd name="connsiteY66" fmla="*/ 1006793 h 2161222"/>
                <a:gd name="connsiteX67" fmla="*/ 1229678 w 2443162"/>
                <a:gd name="connsiteY67" fmla="*/ 1350645 h 2161222"/>
                <a:gd name="connsiteX68" fmla="*/ 1208723 w 2443162"/>
                <a:gd name="connsiteY68" fmla="*/ 1358265 h 2161222"/>
                <a:gd name="connsiteX69" fmla="*/ 1198245 w 2443162"/>
                <a:gd name="connsiteY69" fmla="*/ 1362075 h 2161222"/>
                <a:gd name="connsiteX70" fmla="*/ 1194435 w 2443162"/>
                <a:gd name="connsiteY70" fmla="*/ 1365885 h 2161222"/>
                <a:gd name="connsiteX71" fmla="*/ 1198245 w 2443162"/>
                <a:gd name="connsiteY71" fmla="*/ 1744028 h 2161222"/>
                <a:gd name="connsiteX72" fmla="*/ 1202055 w 2443162"/>
                <a:gd name="connsiteY72" fmla="*/ 1768793 h 2161222"/>
                <a:gd name="connsiteX73" fmla="*/ 1205865 w 2443162"/>
                <a:gd name="connsiteY73" fmla="*/ 1786890 h 2161222"/>
                <a:gd name="connsiteX74" fmla="*/ 1212533 w 2443162"/>
                <a:gd name="connsiteY74" fmla="*/ 1797368 h 2161222"/>
                <a:gd name="connsiteX75" fmla="*/ 1219200 w 2443162"/>
                <a:gd name="connsiteY75" fmla="*/ 1801178 h 2161222"/>
                <a:gd name="connsiteX76" fmla="*/ 1226820 w 2443162"/>
                <a:gd name="connsiteY76" fmla="*/ 1797368 h 2161222"/>
                <a:gd name="connsiteX77" fmla="*/ 1233488 w 2443162"/>
                <a:gd name="connsiteY77" fmla="*/ 1786890 h 2161222"/>
                <a:gd name="connsiteX78" fmla="*/ 1237298 w 2443162"/>
                <a:gd name="connsiteY78" fmla="*/ 1768793 h 2161222"/>
                <a:gd name="connsiteX79" fmla="*/ 1237298 w 2443162"/>
                <a:gd name="connsiteY79" fmla="*/ 1743075 h 2161222"/>
                <a:gd name="connsiteX80" fmla="*/ 1247775 w 2443162"/>
                <a:gd name="connsiteY80" fmla="*/ 1343025 h 2161222"/>
                <a:gd name="connsiteX81" fmla="*/ 1229678 w 2443162"/>
                <a:gd name="connsiteY81" fmla="*/ 1350645 h 2161222"/>
                <a:gd name="connsiteX82" fmla="*/ 1229678 w 2443162"/>
                <a:gd name="connsiteY82" fmla="*/ 1350645 h 2161222"/>
                <a:gd name="connsiteX83" fmla="*/ 1190625 w 2443162"/>
                <a:gd name="connsiteY83" fmla="*/ 1226820 h 2161222"/>
                <a:gd name="connsiteX84" fmla="*/ 1226820 w 2443162"/>
                <a:gd name="connsiteY84" fmla="*/ 1216343 h 2161222"/>
                <a:gd name="connsiteX85" fmla="*/ 1247775 w 2443162"/>
                <a:gd name="connsiteY85" fmla="*/ 1209675 h 2161222"/>
                <a:gd name="connsiteX86" fmla="*/ 1258253 w 2443162"/>
                <a:gd name="connsiteY86" fmla="*/ 806768 h 2161222"/>
                <a:gd name="connsiteX87" fmla="*/ 1215390 w 2443162"/>
                <a:gd name="connsiteY87" fmla="*/ 817245 h 2161222"/>
                <a:gd name="connsiteX88" fmla="*/ 1183958 w 2443162"/>
                <a:gd name="connsiteY88" fmla="*/ 827723 h 2161222"/>
                <a:gd name="connsiteX89" fmla="*/ 1190625 w 2443162"/>
                <a:gd name="connsiteY89" fmla="*/ 1226820 h 2161222"/>
                <a:gd name="connsiteX90" fmla="*/ 1190625 w 2443162"/>
                <a:gd name="connsiteY90" fmla="*/ 1226820 h 2161222"/>
                <a:gd name="connsiteX91" fmla="*/ 471488 w 2443162"/>
                <a:gd name="connsiteY91" fmla="*/ 374333 h 2161222"/>
                <a:gd name="connsiteX92" fmla="*/ 485775 w 2443162"/>
                <a:gd name="connsiteY92" fmla="*/ 352425 h 2161222"/>
                <a:gd name="connsiteX93" fmla="*/ 501015 w 2443162"/>
                <a:gd name="connsiteY93" fmla="*/ 328613 h 2161222"/>
                <a:gd name="connsiteX94" fmla="*/ 517208 w 2443162"/>
                <a:gd name="connsiteY94" fmla="*/ 304800 h 2161222"/>
                <a:gd name="connsiteX95" fmla="*/ 533400 w 2443162"/>
                <a:gd name="connsiteY95" fmla="*/ 280988 h 2161222"/>
                <a:gd name="connsiteX96" fmla="*/ 549593 w 2443162"/>
                <a:gd name="connsiteY96" fmla="*/ 259080 h 2161222"/>
                <a:gd name="connsiteX97" fmla="*/ 564833 w 2443162"/>
                <a:gd name="connsiteY97" fmla="*/ 238125 h 2161222"/>
                <a:gd name="connsiteX98" fmla="*/ 572453 w 2443162"/>
                <a:gd name="connsiteY98" fmla="*/ 229553 h 2161222"/>
                <a:gd name="connsiteX99" fmla="*/ 580073 w 2443162"/>
                <a:gd name="connsiteY99" fmla="*/ 220980 h 2161222"/>
                <a:gd name="connsiteX100" fmla="*/ 586740 w 2443162"/>
                <a:gd name="connsiteY100" fmla="*/ 214313 h 2161222"/>
                <a:gd name="connsiteX101" fmla="*/ 592455 w 2443162"/>
                <a:gd name="connsiteY101" fmla="*/ 208598 h 2161222"/>
                <a:gd name="connsiteX102" fmla="*/ 577215 w 2443162"/>
                <a:gd name="connsiteY102" fmla="*/ 212408 h 2161222"/>
                <a:gd name="connsiteX103" fmla="*/ 561975 w 2443162"/>
                <a:gd name="connsiteY103" fmla="*/ 217170 h 2161222"/>
                <a:gd name="connsiteX104" fmla="*/ 547688 w 2443162"/>
                <a:gd name="connsiteY104" fmla="*/ 221933 h 2161222"/>
                <a:gd name="connsiteX105" fmla="*/ 533400 w 2443162"/>
                <a:gd name="connsiteY105" fmla="*/ 226695 h 2161222"/>
                <a:gd name="connsiteX106" fmla="*/ 519113 w 2443162"/>
                <a:gd name="connsiteY106" fmla="*/ 232410 h 2161222"/>
                <a:gd name="connsiteX107" fmla="*/ 505778 w 2443162"/>
                <a:gd name="connsiteY107" fmla="*/ 239078 h 2161222"/>
                <a:gd name="connsiteX108" fmla="*/ 492443 w 2443162"/>
                <a:gd name="connsiteY108" fmla="*/ 245745 h 2161222"/>
                <a:gd name="connsiteX109" fmla="*/ 479108 w 2443162"/>
                <a:gd name="connsiteY109" fmla="*/ 253365 h 2161222"/>
                <a:gd name="connsiteX110" fmla="*/ 466725 w 2443162"/>
                <a:gd name="connsiteY110" fmla="*/ 260985 h 2161222"/>
                <a:gd name="connsiteX111" fmla="*/ 454343 w 2443162"/>
                <a:gd name="connsiteY111" fmla="*/ 269558 h 2161222"/>
                <a:gd name="connsiteX112" fmla="*/ 441960 w 2443162"/>
                <a:gd name="connsiteY112" fmla="*/ 278130 h 2161222"/>
                <a:gd name="connsiteX113" fmla="*/ 430530 w 2443162"/>
                <a:gd name="connsiteY113" fmla="*/ 287655 h 2161222"/>
                <a:gd name="connsiteX114" fmla="*/ 419100 w 2443162"/>
                <a:gd name="connsiteY114" fmla="*/ 298133 h 2161222"/>
                <a:gd name="connsiteX115" fmla="*/ 407670 w 2443162"/>
                <a:gd name="connsiteY115" fmla="*/ 308610 h 2161222"/>
                <a:gd name="connsiteX116" fmla="*/ 397193 w 2443162"/>
                <a:gd name="connsiteY116" fmla="*/ 319088 h 2161222"/>
                <a:gd name="connsiteX117" fmla="*/ 386715 w 2443162"/>
                <a:gd name="connsiteY117" fmla="*/ 329565 h 2161222"/>
                <a:gd name="connsiteX118" fmla="*/ 377190 w 2443162"/>
                <a:gd name="connsiteY118" fmla="*/ 340995 h 2161222"/>
                <a:gd name="connsiteX119" fmla="*/ 367665 w 2443162"/>
                <a:gd name="connsiteY119" fmla="*/ 352425 h 2161222"/>
                <a:gd name="connsiteX120" fmla="*/ 358140 w 2443162"/>
                <a:gd name="connsiteY120" fmla="*/ 363855 h 2161222"/>
                <a:gd name="connsiteX121" fmla="*/ 349568 w 2443162"/>
                <a:gd name="connsiteY121" fmla="*/ 376238 h 2161222"/>
                <a:gd name="connsiteX122" fmla="*/ 340995 w 2443162"/>
                <a:gd name="connsiteY122" fmla="*/ 388620 h 2161222"/>
                <a:gd name="connsiteX123" fmla="*/ 333375 w 2443162"/>
                <a:gd name="connsiteY123" fmla="*/ 401955 h 2161222"/>
                <a:gd name="connsiteX124" fmla="*/ 325755 w 2443162"/>
                <a:gd name="connsiteY124" fmla="*/ 415290 h 2161222"/>
                <a:gd name="connsiteX125" fmla="*/ 320040 w 2443162"/>
                <a:gd name="connsiteY125" fmla="*/ 428625 h 2161222"/>
                <a:gd name="connsiteX126" fmla="*/ 313373 w 2443162"/>
                <a:gd name="connsiteY126" fmla="*/ 441960 h 2161222"/>
                <a:gd name="connsiteX127" fmla="*/ 307658 w 2443162"/>
                <a:gd name="connsiteY127" fmla="*/ 456248 h 2161222"/>
                <a:gd name="connsiteX128" fmla="*/ 301943 w 2443162"/>
                <a:gd name="connsiteY128" fmla="*/ 470535 h 2161222"/>
                <a:gd name="connsiteX129" fmla="*/ 295275 w 2443162"/>
                <a:gd name="connsiteY129" fmla="*/ 483870 h 2161222"/>
                <a:gd name="connsiteX130" fmla="*/ 290513 w 2443162"/>
                <a:gd name="connsiteY130" fmla="*/ 498158 h 2161222"/>
                <a:gd name="connsiteX131" fmla="*/ 285750 w 2443162"/>
                <a:gd name="connsiteY131" fmla="*/ 513398 h 2161222"/>
                <a:gd name="connsiteX132" fmla="*/ 281940 w 2443162"/>
                <a:gd name="connsiteY132" fmla="*/ 528638 h 2161222"/>
                <a:gd name="connsiteX133" fmla="*/ 279083 w 2443162"/>
                <a:gd name="connsiteY133" fmla="*/ 542925 h 2161222"/>
                <a:gd name="connsiteX134" fmla="*/ 291465 w 2443162"/>
                <a:gd name="connsiteY134" fmla="*/ 530543 h 2161222"/>
                <a:gd name="connsiteX135" fmla="*/ 304800 w 2443162"/>
                <a:gd name="connsiteY135" fmla="*/ 519113 h 2161222"/>
                <a:gd name="connsiteX136" fmla="*/ 318135 w 2443162"/>
                <a:gd name="connsiteY136" fmla="*/ 507683 h 2161222"/>
                <a:gd name="connsiteX137" fmla="*/ 332423 w 2443162"/>
                <a:gd name="connsiteY137" fmla="*/ 497205 h 2161222"/>
                <a:gd name="connsiteX138" fmla="*/ 360045 w 2443162"/>
                <a:gd name="connsiteY138" fmla="*/ 476250 h 2161222"/>
                <a:gd name="connsiteX139" fmla="*/ 386715 w 2443162"/>
                <a:gd name="connsiteY139" fmla="*/ 455295 h 2161222"/>
                <a:gd name="connsiteX140" fmla="*/ 400050 w 2443162"/>
                <a:gd name="connsiteY140" fmla="*/ 445770 h 2161222"/>
                <a:gd name="connsiteX141" fmla="*/ 412433 w 2443162"/>
                <a:gd name="connsiteY141" fmla="*/ 435293 h 2161222"/>
                <a:gd name="connsiteX142" fmla="*/ 423863 w 2443162"/>
                <a:gd name="connsiteY142" fmla="*/ 424815 h 2161222"/>
                <a:gd name="connsiteX143" fmla="*/ 435293 w 2443162"/>
                <a:gd name="connsiteY143" fmla="*/ 415290 h 2161222"/>
                <a:gd name="connsiteX144" fmla="*/ 445770 w 2443162"/>
                <a:gd name="connsiteY144" fmla="*/ 404813 h 2161222"/>
                <a:gd name="connsiteX145" fmla="*/ 455295 w 2443162"/>
                <a:gd name="connsiteY145" fmla="*/ 394335 h 2161222"/>
                <a:gd name="connsiteX146" fmla="*/ 460058 w 2443162"/>
                <a:gd name="connsiteY146" fmla="*/ 389573 h 2161222"/>
                <a:gd name="connsiteX147" fmla="*/ 464820 w 2443162"/>
                <a:gd name="connsiteY147" fmla="*/ 384810 h 2161222"/>
                <a:gd name="connsiteX148" fmla="*/ 468630 w 2443162"/>
                <a:gd name="connsiteY148" fmla="*/ 379095 h 2161222"/>
                <a:gd name="connsiteX149" fmla="*/ 471488 w 2443162"/>
                <a:gd name="connsiteY149" fmla="*/ 374333 h 2161222"/>
                <a:gd name="connsiteX150" fmla="*/ 471488 w 2443162"/>
                <a:gd name="connsiteY150" fmla="*/ 374333 h 2161222"/>
                <a:gd name="connsiteX151" fmla="*/ 390525 w 2443162"/>
                <a:gd name="connsiteY151" fmla="*/ 633413 h 2161222"/>
                <a:gd name="connsiteX152" fmla="*/ 385763 w 2443162"/>
                <a:gd name="connsiteY152" fmla="*/ 641033 h 2161222"/>
                <a:gd name="connsiteX153" fmla="*/ 380048 w 2443162"/>
                <a:gd name="connsiteY153" fmla="*/ 648653 h 2161222"/>
                <a:gd name="connsiteX154" fmla="*/ 372428 w 2443162"/>
                <a:gd name="connsiteY154" fmla="*/ 657225 h 2161222"/>
                <a:gd name="connsiteX155" fmla="*/ 364808 w 2443162"/>
                <a:gd name="connsiteY155" fmla="*/ 664845 h 2161222"/>
                <a:gd name="connsiteX156" fmla="*/ 356235 w 2443162"/>
                <a:gd name="connsiteY156" fmla="*/ 673418 h 2161222"/>
                <a:gd name="connsiteX157" fmla="*/ 347663 w 2443162"/>
                <a:gd name="connsiteY157" fmla="*/ 681990 h 2161222"/>
                <a:gd name="connsiteX158" fmla="*/ 337185 w 2443162"/>
                <a:gd name="connsiteY158" fmla="*/ 690563 h 2161222"/>
                <a:gd name="connsiteX159" fmla="*/ 326708 w 2443162"/>
                <a:gd name="connsiteY159" fmla="*/ 699135 h 2161222"/>
                <a:gd name="connsiteX160" fmla="*/ 304800 w 2443162"/>
                <a:gd name="connsiteY160" fmla="*/ 717233 h 2161222"/>
                <a:gd name="connsiteX161" fmla="*/ 282893 w 2443162"/>
                <a:gd name="connsiteY161" fmla="*/ 737235 h 2161222"/>
                <a:gd name="connsiteX162" fmla="*/ 271463 w 2443162"/>
                <a:gd name="connsiteY162" fmla="*/ 747713 h 2161222"/>
                <a:gd name="connsiteX163" fmla="*/ 260033 w 2443162"/>
                <a:gd name="connsiteY163" fmla="*/ 758190 h 2161222"/>
                <a:gd name="connsiteX164" fmla="*/ 248603 w 2443162"/>
                <a:gd name="connsiteY164" fmla="*/ 769620 h 2161222"/>
                <a:gd name="connsiteX165" fmla="*/ 238125 w 2443162"/>
                <a:gd name="connsiteY165" fmla="*/ 782003 h 2161222"/>
                <a:gd name="connsiteX166" fmla="*/ 232410 w 2443162"/>
                <a:gd name="connsiteY166" fmla="*/ 788670 h 2161222"/>
                <a:gd name="connsiteX167" fmla="*/ 226695 w 2443162"/>
                <a:gd name="connsiteY167" fmla="*/ 797243 h 2161222"/>
                <a:gd name="connsiteX168" fmla="*/ 220980 w 2443162"/>
                <a:gd name="connsiteY168" fmla="*/ 806768 h 2161222"/>
                <a:gd name="connsiteX169" fmla="*/ 215265 w 2443162"/>
                <a:gd name="connsiteY169" fmla="*/ 816293 h 2161222"/>
                <a:gd name="connsiteX170" fmla="*/ 209550 w 2443162"/>
                <a:gd name="connsiteY170" fmla="*/ 826770 h 2161222"/>
                <a:gd name="connsiteX171" fmla="*/ 203835 w 2443162"/>
                <a:gd name="connsiteY171" fmla="*/ 838200 h 2161222"/>
                <a:gd name="connsiteX172" fmla="*/ 198120 w 2443162"/>
                <a:gd name="connsiteY172" fmla="*/ 849630 h 2161222"/>
                <a:gd name="connsiteX173" fmla="*/ 192405 w 2443162"/>
                <a:gd name="connsiteY173" fmla="*/ 861060 h 2161222"/>
                <a:gd name="connsiteX174" fmla="*/ 187643 w 2443162"/>
                <a:gd name="connsiteY174" fmla="*/ 873443 h 2161222"/>
                <a:gd name="connsiteX175" fmla="*/ 180975 w 2443162"/>
                <a:gd name="connsiteY175" fmla="*/ 884873 h 2161222"/>
                <a:gd name="connsiteX176" fmla="*/ 176213 w 2443162"/>
                <a:gd name="connsiteY176" fmla="*/ 897255 h 2161222"/>
                <a:gd name="connsiteX177" fmla="*/ 172403 w 2443162"/>
                <a:gd name="connsiteY177" fmla="*/ 909638 h 2161222"/>
                <a:gd name="connsiteX178" fmla="*/ 168593 w 2443162"/>
                <a:gd name="connsiteY178" fmla="*/ 922020 h 2161222"/>
                <a:gd name="connsiteX179" fmla="*/ 165735 w 2443162"/>
                <a:gd name="connsiteY179" fmla="*/ 933450 h 2161222"/>
                <a:gd name="connsiteX180" fmla="*/ 162878 w 2443162"/>
                <a:gd name="connsiteY180" fmla="*/ 944880 h 2161222"/>
                <a:gd name="connsiteX181" fmla="*/ 160020 w 2443162"/>
                <a:gd name="connsiteY181" fmla="*/ 956310 h 2161222"/>
                <a:gd name="connsiteX182" fmla="*/ 149543 w 2443162"/>
                <a:gd name="connsiteY182" fmla="*/ 860108 h 2161222"/>
                <a:gd name="connsiteX183" fmla="*/ 146685 w 2443162"/>
                <a:gd name="connsiteY183" fmla="*/ 841058 h 2161222"/>
                <a:gd name="connsiteX184" fmla="*/ 142875 w 2443162"/>
                <a:gd name="connsiteY184" fmla="*/ 822008 h 2161222"/>
                <a:gd name="connsiteX185" fmla="*/ 140018 w 2443162"/>
                <a:gd name="connsiteY185" fmla="*/ 802958 h 2161222"/>
                <a:gd name="connsiteX186" fmla="*/ 137160 w 2443162"/>
                <a:gd name="connsiteY186" fmla="*/ 782955 h 2161222"/>
                <a:gd name="connsiteX187" fmla="*/ 133350 w 2443162"/>
                <a:gd name="connsiteY187" fmla="*/ 763905 h 2161222"/>
                <a:gd name="connsiteX188" fmla="*/ 130493 w 2443162"/>
                <a:gd name="connsiteY188" fmla="*/ 743903 h 2161222"/>
                <a:gd name="connsiteX189" fmla="*/ 128588 w 2443162"/>
                <a:gd name="connsiteY189" fmla="*/ 723900 h 2161222"/>
                <a:gd name="connsiteX190" fmla="*/ 126683 w 2443162"/>
                <a:gd name="connsiteY190" fmla="*/ 703898 h 2161222"/>
                <a:gd name="connsiteX191" fmla="*/ 125730 w 2443162"/>
                <a:gd name="connsiteY191" fmla="*/ 683895 h 2161222"/>
                <a:gd name="connsiteX192" fmla="*/ 125730 w 2443162"/>
                <a:gd name="connsiteY192" fmla="*/ 663893 h 2161222"/>
                <a:gd name="connsiteX193" fmla="*/ 125730 w 2443162"/>
                <a:gd name="connsiteY193" fmla="*/ 643890 h 2161222"/>
                <a:gd name="connsiteX194" fmla="*/ 126683 w 2443162"/>
                <a:gd name="connsiteY194" fmla="*/ 623888 h 2161222"/>
                <a:gd name="connsiteX195" fmla="*/ 126683 w 2443162"/>
                <a:gd name="connsiteY195" fmla="*/ 614363 h 2161222"/>
                <a:gd name="connsiteX196" fmla="*/ 127635 w 2443162"/>
                <a:gd name="connsiteY196" fmla="*/ 603885 h 2161222"/>
                <a:gd name="connsiteX197" fmla="*/ 128588 w 2443162"/>
                <a:gd name="connsiteY197" fmla="*/ 594360 h 2161222"/>
                <a:gd name="connsiteX198" fmla="*/ 130493 w 2443162"/>
                <a:gd name="connsiteY198" fmla="*/ 584835 h 2161222"/>
                <a:gd name="connsiteX199" fmla="*/ 131445 w 2443162"/>
                <a:gd name="connsiteY199" fmla="*/ 575310 h 2161222"/>
                <a:gd name="connsiteX200" fmla="*/ 133350 w 2443162"/>
                <a:gd name="connsiteY200" fmla="*/ 565785 h 2161222"/>
                <a:gd name="connsiteX201" fmla="*/ 135255 w 2443162"/>
                <a:gd name="connsiteY201" fmla="*/ 556260 h 2161222"/>
                <a:gd name="connsiteX202" fmla="*/ 138113 w 2443162"/>
                <a:gd name="connsiteY202" fmla="*/ 546735 h 2161222"/>
                <a:gd name="connsiteX203" fmla="*/ 123825 w 2443162"/>
                <a:gd name="connsiteY203" fmla="*/ 570548 h 2161222"/>
                <a:gd name="connsiteX204" fmla="*/ 109538 w 2443162"/>
                <a:gd name="connsiteY204" fmla="*/ 596265 h 2161222"/>
                <a:gd name="connsiteX205" fmla="*/ 101918 w 2443162"/>
                <a:gd name="connsiteY205" fmla="*/ 609600 h 2161222"/>
                <a:gd name="connsiteX206" fmla="*/ 95250 w 2443162"/>
                <a:gd name="connsiteY206" fmla="*/ 622935 h 2161222"/>
                <a:gd name="connsiteX207" fmla="*/ 88583 w 2443162"/>
                <a:gd name="connsiteY207" fmla="*/ 636270 h 2161222"/>
                <a:gd name="connsiteX208" fmla="*/ 82868 w 2443162"/>
                <a:gd name="connsiteY208" fmla="*/ 649605 h 2161222"/>
                <a:gd name="connsiteX209" fmla="*/ 77153 w 2443162"/>
                <a:gd name="connsiteY209" fmla="*/ 662940 h 2161222"/>
                <a:gd name="connsiteX210" fmla="*/ 72390 w 2443162"/>
                <a:gd name="connsiteY210" fmla="*/ 676275 h 2161222"/>
                <a:gd name="connsiteX211" fmla="*/ 67628 w 2443162"/>
                <a:gd name="connsiteY211" fmla="*/ 690563 h 2161222"/>
                <a:gd name="connsiteX212" fmla="*/ 64770 w 2443162"/>
                <a:gd name="connsiteY212" fmla="*/ 704850 h 2161222"/>
                <a:gd name="connsiteX213" fmla="*/ 61913 w 2443162"/>
                <a:gd name="connsiteY213" fmla="*/ 719138 h 2161222"/>
                <a:gd name="connsiteX214" fmla="*/ 60008 w 2443162"/>
                <a:gd name="connsiteY214" fmla="*/ 734378 h 2161222"/>
                <a:gd name="connsiteX215" fmla="*/ 59055 w 2443162"/>
                <a:gd name="connsiteY215" fmla="*/ 741998 h 2161222"/>
                <a:gd name="connsiteX216" fmla="*/ 58103 w 2443162"/>
                <a:gd name="connsiteY216" fmla="*/ 749618 h 2161222"/>
                <a:gd name="connsiteX217" fmla="*/ 58103 w 2443162"/>
                <a:gd name="connsiteY217" fmla="*/ 757238 h 2161222"/>
                <a:gd name="connsiteX218" fmla="*/ 58103 w 2443162"/>
                <a:gd name="connsiteY218" fmla="*/ 764858 h 2161222"/>
                <a:gd name="connsiteX219" fmla="*/ 58103 w 2443162"/>
                <a:gd name="connsiteY219" fmla="*/ 775335 h 2161222"/>
                <a:gd name="connsiteX220" fmla="*/ 59055 w 2443162"/>
                <a:gd name="connsiteY220" fmla="*/ 785813 h 2161222"/>
                <a:gd name="connsiteX221" fmla="*/ 60008 w 2443162"/>
                <a:gd name="connsiteY221" fmla="*/ 796290 h 2161222"/>
                <a:gd name="connsiteX222" fmla="*/ 60960 w 2443162"/>
                <a:gd name="connsiteY222" fmla="*/ 806768 h 2161222"/>
                <a:gd name="connsiteX223" fmla="*/ 61913 w 2443162"/>
                <a:gd name="connsiteY223" fmla="*/ 817245 h 2161222"/>
                <a:gd name="connsiteX224" fmla="*/ 63818 w 2443162"/>
                <a:gd name="connsiteY224" fmla="*/ 827723 h 2161222"/>
                <a:gd name="connsiteX225" fmla="*/ 65723 w 2443162"/>
                <a:gd name="connsiteY225" fmla="*/ 837248 h 2161222"/>
                <a:gd name="connsiteX226" fmla="*/ 68580 w 2443162"/>
                <a:gd name="connsiteY226" fmla="*/ 846773 h 2161222"/>
                <a:gd name="connsiteX227" fmla="*/ 71438 w 2443162"/>
                <a:gd name="connsiteY227" fmla="*/ 856298 h 2161222"/>
                <a:gd name="connsiteX228" fmla="*/ 74295 w 2443162"/>
                <a:gd name="connsiteY228" fmla="*/ 865823 h 2161222"/>
                <a:gd name="connsiteX229" fmla="*/ 77153 w 2443162"/>
                <a:gd name="connsiteY229" fmla="*/ 875348 h 2161222"/>
                <a:gd name="connsiteX230" fmla="*/ 80963 w 2443162"/>
                <a:gd name="connsiteY230" fmla="*/ 884873 h 2161222"/>
                <a:gd name="connsiteX231" fmla="*/ 87630 w 2443162"/>
                <a:gd name="connsiteY231" fmla="*/ 902970 h 2161222"/>
                <a:gd name="connsiteX232" fmla="*/ 95250 w 2443162"/>
                <a:gd name="connsiteY232" fmla="*/ 920115 h 2161222"/>
                <a:gd name="connsiteX233" fmla="*/ 111443 w 2443162"/>
                <a:gd name="connsiteY233" fmla="*/ 955358 h 2161222"/>
                <a:gd name="connsiteX234" fmla="*/ 128588 w 2443162"/>
                <a:gd name="connsiteY234" fmla="*/ 990600 h 2161222"/>
                <a:gd name="connsiteX235" fmla="*/ 136208 w 2443162"/>
                <a:gd name="connsiteY235" fmla="*/ 1008698 h 2161222"/>
                <a:gd name="connsiteX236" fmla="*/ 143828 w 2443162"/>
                <a:gd name="connsiteY236" fmla="*/ 1026795 h 2161222"/>
                <a:gd name="connsiteX237" fmla="*/ 150495 w 2443162"/>
                <a:gd name="connsiteY237" fmla="*/ 1044893 h 2161222"/>
                <a:gd name="connsiteX238" fmla="*/ 156210 w 2443162"/>
                <a:gd name="connsiteY238" fmla="*/ 1063943 h 2161222"/>
                <a:gd name="connsiteX239" fmla="*/ 157163 w 2443162"/>
                <a:gd name="connsiteY239" fmla="*/ 1058228 h 2161222"/>
                <a:gd name="connsiteX240" fmla="*/ 158115 w 2443162"/>
                <a:gd name="connsiteY240" fmla="*/ 1051560 h 2161222"/>
                <a:gd name="connsiteX241" fmla="*/ 160020 w 2443162"/>
                <a:gd name="connsiteY241" fmla="*/ 1044893 h 2161222"/>
                <a:gd name="connsiteX242" fmla="*/ 161925 w 2443162"/>
                <a:gd name="connsiteY242" fmla="*/ 1038225 h 2161222"/>
                <a:gd name="connsiteX243" fmla="*/ 164783 w 2443162"/>
                <a:gd name="connsiteY243" fmla="*/ 1031558 h 2161222"/>
                <a:gd name="connsiteX244" fmla="*/ 167640 w 2443162"/>
                <a:gd name="connsiteY244" fmla="*/ 1023938 h 2161222"/>
                <a:gd name="connsiteX245" fmla="*/ 171450 w 2443162"/>
                <a:gd name="connsiteY245" fmla="*/ 1016318 h 2161222"/>
                <a:gd name="connsiteX246" fmla="*/ 175260 w 2443162"/>
                <a:gd name="connsiteY246" fmla="*/ 1008698 h 2161222"/>
                <a:gd name="connsiteX247" fmla="*/ 182880 w 2443162"/>
                <a:gd name="connsiteY247" fmla="*/ 992505 h 2161222"/>
                <a:gd name="connsiteX248" fmla="*/ 191453 w 2443162"/>
                <a:gd name="connsiteY248" fmla="*/ 976313 h 2161222"/>
                <a:gd name="connsiteX249" fmla="*/ 200978 w 2443162"/>
                <a:gd name="connsiteY249" fmla="*/ 960120 h 2161222"/>
                <a:gd name="connsiteX250" fmla="*/ 211455 w 2443162"/>
                <a:gd name="connsiteY250" fmla="*/ 943928 h 2161222"/>
                <a:gd name="connsiteX251" fmla="*/ 221933 w 2443162"/>
                <a:gd name="connsiteY251" fmla="*/ 927735 h 2161222"/>
                <a:gd name="connsiteX252" fmla="*/ 232410 w 2443162"/>
                <a:gd name="connsiteY252" fmla="*/ 912495 h 2161222"/>
                <a:gd name="connsiteX253" fmla="*/ 242888 w 2443162"/>
                <a:gd name="connsiteY253" fmla="*/ 897255 h 2161222"/>
                <a:gd name="connsiteX254" fmla="*/ 253365 w 2443162"/>
                <a:gd name="connsiteY254" fmla="*/ 883920 h 2161222"/>
                <a:gd name="connsiteX255" fmla="*/ 263843 w 2443162"/>
                <a:gd name="connsiteY255" fmla="*/ 870585 h 2161222"/>
                <a:gd name="connsiteX256" fmla="*/ 273368 w 2443162"/>
                <a:gd name="connsiteY256" fmla="*/ 859155 h 2161222"/>
                <a:gd name="connsiteX257" fmla="*/ 281940 w 2443162"/>
                <a:gd name="connsiteY257" fmla="*/ 848678 h 2161222"/>
                <a:gd name="connsiteX258" fmla="*/ 290513 w 2443162"/>
                <a:gd name="connsiteY258" fmla="*/ 840105 h 2161222"/>
                <a:gd name="connsiteX259" fmla="*/ 301943 w 2443162"/>
                <a:gd name="connsiteY259" fmla="*/ 824865 h 2161222"/>
                <a:gd name="connsiteX260" fmla="*/ 312420 w 2443162"/>
                <a:gd name="connsiteY260" fmla="*/ 811530 h 2161222"/>
                <a:gd name="connsiteX261" fmla="*/ 321945 w 2443162"/>
                <a:gd name="connsiteY261" fmla="*/ 799148 h 2161222"/>
                <a:gd name="connsiteX262" fmla="*/ 329565 w 2443162"/>
                <a:gd name="connsiteY262" fmla="*/ 787718 h 2161222"/>
                <a:gd name="connsiteX263" fmla="*/ 336233 w 2443162"/>
                <a:gd name="connsiteY263" fmla="*/ 777240 h 2161222"/>
                <a:gd name="connsiteX264" fmla="*/ 341948 w 2443162"/>
                <a:gd name="connsiteY264" fmla="*/ 766763 h 2161222"/>
                <a:gd name="connsiteX265" fmla="*/ 347663 w 2443162"/>
                <a:gd name="connsiteY265" fmla="*/ 756285 h 2161222"/>
                <a:gd name="connsiteX266" fmla="*/ 352425 w 2443162"/>
                <a:gd name="connsiteY266" fmla="*/ 745808 h 2161222"/>
                <a:gd name="connsiteX267" fmla="*/ 357188 w 2443162"/>
                <a:gd name="connsiteY267" fmla="*/ 735330 h 2161222"/>
                <a:gd name="connsiteX268" fmla="*/ 361950 w 2443162"/>
                <a:gd name="connsiteY268" fmla="*/ 724853 h 2161222"/>
                <a:gd name="connsiteX269" fmla="*/ 366713 w 2443162"/>
                <a:gd name="connsiteY269" fmla="*/ 713423 h 2161222"/>
                <a:gd name="connsiteX270" fmla="*/ 371475 w 2443162"/>
                <a:gd name="connsiteY270" fmla="*/ 701040 h 2161222"/>
                <a:gd name="connsiteX271" fmla="*/ 381953 w 2443162"/>
                <a:gd name="connsiteY271" fmla="*/ 672465 h 2161222"/>
                <a:gd name="connsiteX272" fmla="*/ 390525 w 2443162"/>
                <a:gd name="connsiteY272" fmla="*/ 633413 h 2161222"/>
                <a:gd name="connsiteX273" fmla="*/ 390525 w 2443162"/>
                <a:gd name="connsiteY273" fmla="*/ 633413 h 2161222"/>
                <a:gd name="connsiteX274" fmla="*/ 310515 w 2443162"/>
                <a:gd name="connsiteY274" fmla="*/ 882968 h 2161222"/>
                <a:gd name="connsiteX275" fmla="*/ 295275 w 2443162"/>
                <a:gd name="connsiteY275" fmla="*/ 902970 h 2161222"/>
                <a:gd name="connsiteX276" fmla="*/ 280988 w 2443162"/>
                <a:gd name="connsiteY276" fmla="*/ 922973 h 2161222"/>
                <a:gd name="connsiteX277" fmla="*/ 266700 w 2443162"/>
                <a:gd name="connsiteY277" fmla="*/ 942023 h 2161222"/>
                <a:gd name="connsiteX278" fmla="*/ 253365 w 2443162"/>
                <a:gd name="connsiteY278" fmla="*/ 961073 h 2161222"/>
                <a:gd name="connsiteX279" fmla="*/ 240983 w 2443162"/>
                <a:gd name="connsiteY279" fmla="*/ 979170 h 2161222"/>
                <a:gd name="connsiteX280" fmla="*/ 229553 w 2443162"/>
                <a:gd name="connsiteY280" fmla="*/ 998220 h 2161222"/>
                <a:gd name="connsiteX281" fmla="*/ 224790 w 2443162"/>
                <a:gd name="connsiteY281" fmla="*/ 1007745 h 2161222"/>
                <a:gd name="connsiteX282" fmla="*/ 220028 w 2443162"/>
                <a:gd name="connsiteY282" fmla="*/ 1017270 h 2161222"/>
                <a:gd name="connsiteX283" fmla="*/ 215265 w 2443162"/>
                <a:gd name="connsiteY283" fmla="*/ 1026795 h 2161222"/>
                <a:gd name="connsiteX284" fmla="*/ 210503 w 2443162"/>
                <a:gd name="connsiteY284" fmla="*/ 1036320 h 2161222"/>
                <a:gd name="connsiteX285" fmla="*/ 205740 w 2443162"/>
                <a:gd name="connsiteY285" fmla="*/ 1045845 h 2161222"/>
                <a:gd name="connsiteX286" fmla="*/ 201930 w 2443162"/>
                <a:gd name="connsiteY286" fmla="*/ 1055370 h 2161222"/>
                <a:gd name="connsiteX287" fmla="*/ 198120 w 2443162"/>
                <a:gd name="connsiteY287" fmla="*/ 1064895 h 2161222"/>
                <a:gd name="connsiteX288" fmla="*/ 194310 w 2443162"/>
                <a:gd name="connsiteY288" fmla="*/ 1075373 h 2161222"/>
                <a:gd name="connsiteX289" fmla="*/ 191453 w 2443162"/>
                <a:gd name="connsiteY289" fmla="*/ 1085850 h 2161222"/>
                <a:gd name="connsiteX290" fmla="*/ 188595 w 2443162"/>
                <a:gd name="connsiteY290" fmla="*/ 1096328 h 2161222"/>
                <a:gd name="connsiteX291" fmla="*/ 186690 w 2443162"/>
                <a:gd name="connsiteY291" fmla="*/ 1106805 h 2161222"/>
                <a:gd name="connsiteX292" fmla="*/ 184785 w 2443162"/>
                <a:gd name="connsiteY292" fmla="*/ 1118235 h 2161222"/>
                <a:gd name="connsiteX293" fmla="*/ 182880 w 2443162"/>
                <a:gd name="connsiteY293" fmla="*/ 1129665 h 2161222"/>
                <a:gd name="connsiteX294" fmla="*/ 180975 w 2443162"/>
                <a:gd name="connsiteY294" fmla="*/ 1141095 h 2161222"/>
                <a:gd name="connsiteX295" fmla="*/ 180023 w 2443162"/>
                <a:gd name="connsiteY295" fmla="*/ 1153478 h 2161222"/>
                <a:gd name="connsiteX296" fmla="*/ 179070 w 2443162"/>
                <a:gd name="connsiteY296" fmla="*/ 1165860 h 2161222"/>
                <a:gd name="connsiteX297" fmla="*/ 179070 w 2443162"/>
                <a:gd name="connsiteY297" fmla="*/ 1179195 h 2161222"/>
                <a:gd name="connsiteX298" fmla="*/ 179070 w 2443162"/>
                <a:gd name="connsiteY298" fmla="*/ 1192530 h 2161222"/>
                <a:gd name="connsiteX299" fmla="*/ 179070 w 2443162"/>
                <a:gd name="connsiteY299" fmla="*/ 1206818 h 2161222"/>
                <a:gd name="connsiteX300" fmla="*/ 180023 w 2443162"/>
                <a:gd name="connsiteY300" fmla="*/ 1221105 h 2161222"/>
                <a:gd name="connsiteX301" fmla="*/ 177165 w 2443162"/>
                <a:gd name="connsiteY301" fmla="*/ 1208723 h 2161222"/>
                <a:gd name="connsiteX302" fmla="*/ 173355 w 2443162"/>
                <a:gd name="connsiteY302" fmla="*/ 1196340 h 2161222"/>
                <a:gd name="connsiteX303" fmla="*/ 169545 w 2443162"/>
                <a:gd name="connsiteY303" fmla="*/ 1183958 h 2161222"/>
                <a:gd name="connsiteX304" fmla="*/ 165735 w 2443162"/>
                <a:gd name="connsiteY304" fmla="*/ 1171575 h 2161222"/>
                <a:gd name="connsiteX305" fmla="*/ 160973 w 2443162"/>
                <a:gd name="connsiteY305" fmla="*/ 1159193 h 2161222"/>
                <a:gd name="connsiteX306" fmla="*/ 156210 w 2443162"/>
                <a:gd name="connsiteY306" fmla="*/ 1146810 h 2161222"/>
                <a:gd name="connsiteX307" fmla="*/ 150495 w 2443162"/>
                <a:gd name="connsiteY307" fmla="*/ 1134428 h 2161222"/>
                <a:gd name="connsiteX308" fmla="*/ 145733 w 2443162"/>
                <a:gd name="connsiteY308" fmla="*/ 1122045 h 2161222"/>
                <a:gd name="connsiteX309" fmla="*/ 133350 w 2443162"/>
                <a:gd name="connsiteY309" fmla="*/ 1097280 h 2161222"/>
                <a:gd name="connsiteX310" fmla="*/ 120968 w 2443162"/>
                <a:gd name="connsiteY310" fmla="*/ 1072515 h 2161222"/>
                <a:gd name="connsiteX311" fmla="*/ 107633 w 2443162"/>
                <a:gd name="connsiteY311" fmla="*/ 1047750 h 2161222"/>
                <a:gd name="connsiteX312" fmla="*/ 94298 w 2443162"/>
                <a:gd name="connsiteY312" fmla="*/ 1023938 h 2161222"/>
                <a:gd name="connsiteX313" fmla="*/ 81915 w 2443162"/>
                <a:gd name="connsiteY313" fmla="*/ 1000125 h 2161222"/>
                <a:gd name="connsiteX314" fmla="*/ 69533 w 2443162"/>
                <a:gd name="connsiteY314" fmla="*/ 976313 h 2161222"/>
                <a:gd name="connsiteX315" fmla="*/ 63818 w 2443162"/>
                <a:gd name="connsiteY315" fmla="*/ 964883 h 2161222"/>
                <a:gd name="connsiteX316" fmla="*/ 58103 w 2443162"/>
                <a:gd name="connsiteY316" fmla="*/ 953453 h 2161222"/>
                <a:gd name="connsiteX317" fmla="*/ 53340 w 2443162"/>
                <a:gd name="connsiteY317" fmla="*/ 942023 h 2161222"/>
                <a:gd name="connsiteX318" fmla="*/ 48578 w 2443162"/>
                <a:gd name="connsiteY318" fmla="*/ 930593 h 2161222"/>
                <a:gd name="connsiteX319" fmla="*/ 43815 w 2443162"/>
                <a:gd name="connsiteY319" fmla="*/ 919163 h 2161222"/>
                <a:gd name="connsiteX320" fmla="*/ 40005 w 2443162"/>
                <a:gd name="connsiteY320" fmla="*/ 907733 h 2161222"/>
                <a:gd name="connsiteX321" fmla="*/ 38100 w 2443162"/>
                <a:gd name="connsiteY321" fmla="*/ 899160 h 2161222"/>
                <a:gd name="connsiteX322" fmla="*/ 35243 w 2443162"/>
                <a:gd name="connsiteY322" fmla="*/ 887730 h 2161222"/>
                <a:gd name="connsiteX323" fmla="*/ 32385 w 2443162"/>
                <a:gd name="connsiteY323" fmla="*/ 876300 h 2161222"/>
                <a:gd name="connsiteX324" fmla="*/ 30480 w 2443162"/>
                <a:gd name="connsiteY324" fmla="*/ 865823 h 2161222"/>
                <a:gd name="connsiteX325" fmla="*/ 29528 w 2443162"/>
                <a:gd name="connsiteY325" fmla="*/ 855345 h 2161222"/>
                <a:gd name="connsiteX326" fmla="*/ 28575 w 2443162"/>
                <a:gd name="connsiteY326" fmla="*/ 843915 h 2161222"/>
                <a:gd name="connsiteX327" fmla="*/ 23813 w 2443162"/>
                <a:gd name="connsiteY327" fmla="*/ 867728 h 2161222"/>
                <a:gd name="connsiteX328" fmla="*/ 20003 w 2443162"/>
                <a:gd name="connsiteY328" fmla="*/ 890588 h 2161222"/>
                <a:gd name="connsiteX329" fmla="*/ 17145 w 2443162"/>
                <a:gd name="connsiteY329" fmla="*/ 912495 h 2161222"/>
                <a:gd name="connsiteX330" fmla="*/ 15240 w 2443162"/>
                <a:gd name="connsiteY330" fmla="*/ 933450 h 2161222"/>
                <a:gd name="connsiteX331" fmla="*/ 14288 w 2443162"/>
                <a:gd name="connsiteY331" fmla="*/ 952500 h 2161222"/>
                <a:gd name="connsiteX332" fmla="*/ 14288 w 2443162"/>
                <a:gd name="connsiteY332" fmla="*/ 971550 h 2161222"/>
                <a:gd name="connsiteX333" fmla="*/ 14288 w 2443162"/>
                <a:gd name="connsiteY333" fmla="*/ 989648 h 2161222"/>
                <a:gd name="connsiteX334" fmla="*/ 15240 w 2443162"/>
                <a:gd name="connsiteY334" fmla="*/ 1006793 h 2161222"/>
                <a:gd name="connsiteX335" fmla="*/ 17145 w 2443162"/>
                <a:gd name="connsiteY335" fmla="*/ 1022985 h 2161222"/>
                <a:gd name="connsiteX336" fmla="*/ 20003 w 2443162"/>
                <a:gd name="connsiteY336" fmla="*/ 1038225 h 2161222"/>
                <a:gd name="connsiteX337" fmla="*/ 23813 w 2443162"/>
                <a:gd name="connsiteY337" fmla="*/ 1052513 h 2161222"/>
                <a:gd name="connsiteX338" fmla="*/ 27623 w 2443162"/>
                <a:gd name="connsiteY338" fmla="*/ 1066800 h 2161222"/>
                <a:gd name="connsiteX339" fmla="*/ 32385 w 2443162"/>
                <a:gd name="connsiteY339" fmla="*/ 1081088 h 2161222"/>
                <a:gd name="connsiteX340" fmla="*/ 37148 w 2443162"/>
                <a:gd name="connsiteY340" fmla="*/ 1094423 h 2161222"/>
                <a:gd name="connsiteX341" fmla="*/ 42863 w 2443162"/>
                <a:gd name="connsiteY341" fmla="*/ 1107758 h 2161222"/>
                <a:gd name="connsiteX342" fmla="*/ 49530 w 2443162"/>
                <a:gd name="connsiteY342" fmla="*/ 1120140 h 2161222"/>
                <a:gd name="connsiteX343" fmla="*/ 56198 w 2443162"/>
                <a:gd name="connsiteY343" fmla="*/ 1132523 h 2161222"/>
                <a:gd name="connsiteX344" fmla="*/ 63818 w 2443162"/>
                <a:gd name="connsiteY344" fmla="*/ 1144905 h 2161222"/>
                <a:gd name="connsiteX345" fmla="*/ 71438 w 2443162"/>
                <a:gd name="connsiteY345" fmla="*/ 1157288 h 2161222"/>
                <a:gd name="connsiteX346" fmla="*/ 80010 w 2443162"/>
                <a:gd name="connsiteY346" fmla="*/ 1168718 h 2161222"/>
                <a:gd name="connsiteX347" fmla="*/ 88583 w 2443162"/>
                <a:gd name="connsiteY347" fmla="*/ 1181100 h 2161222"/>
                <a:gd name="connsiteX348" fmla="*/ 98108 w 2443162"/>
                <a:gd name="connsiteY348" fmla="*/ 1192530 h 2161222"/>
                <a:gd name="connsiteX349" fmla="*/ 107633 w 2443162"/>
                <a:gd name="connsiteY349" fmla="*/ 1204913 h 2161222"/>
                <a:gd name="connsiteX350" fmla="*/ 117158 w 2443162"/>
                <a:gd name="connsiteY350" fmla="*/ 1217295 h 2161222"/>
                <a:gd name="connsiteX351" fmla="*/ 138113 w 2443162"/>
                <a:gd name="connsiteY351" fmla="*/ 1242060 h 2161222"/>
                <a:gd name="connsiteX352" fmla="*/ 160020 w 2443162"/>
                <a:gd name="connsiteY352" fmla="*/ 1268730 h 2161222"/>
                <a:gd name="connsiteX353" fmla="*/ 171450 w 2443162"/>
                <a:gd name="connsiteY353" fmla="*/ 1283018 h 2161222"/>
                <a:gd name="connsiteX354" fmla="*/ 182880 w 2443162"/>
                <a:gd name="connsiteY354" fmla="*/ 1297305 h 2161222"/>
                <a:gd name="connsiteX355" fmla="*/ 195263 w 2443162"/>
                <a:gd name="connsiteY355" fmla="*/ 1312545 h 2161222"/>
                <a:gd name="connsiteX356" fmla="*/ 207645 w 2443162"/>
                <a:gd name="connsiteY356" fmla="*/ 1328738 h 2161222"/>
                <a:gd name="connsiteX357" fmla="*/ 206693 w 2443162"/>
                <a:gd name="connsiteY357" fmla="*/ 1317308 h 2161222"/>
                <a:gd name="connsiteX358" fmla="*/ 206693 w 2443162"/>
                <a:gd name="connsiteY358" fmla="*/ 1305878 h 2161222"/>
                <a:gd name="connsiteX359" fmla="*/ 206693 w 2443162"/>
                <a:gd name="connsiteY359" fmla="*/ 1294448 h 2161222"/>
                <a:gd name="connsiteX360" fmla="*/ 207645 w 2443162"/>
                <a:gd name="connsiteY360" fmla="*/ 1283018 h 2161222"/>
                <a:gd name="connsiteX361" fmla="*/ 209550 w 2443162"/>
                <a:gd name="connsiteY361" fmla="*/ 1270635 h 2161222"/>
                <a:gd name="connsiteX362" fmla="*/ 211455 w 2443162"/>
                <a:gd name="connsiteY362" fmla="*/ 1258253 h 2161222"/>
                <a:gd name="connsiteX363" fmla="*/ 214313 w 2443162"/>
                <a:gd name="connsiteY363" fmla="*/ 1245870 h 2161222"/>
                <a:gd name="connsiteX364" fmla="*/ 218123 w 2443162"/>
                <a:gd name="connsiteY364" fmla="*/ 1233488 h 2161222"/>
                <a:gd name="connsiteX365" fmla="*/ 221933 w 2443162"/>
                <a:gd name="connsiteY365" fmla="*/ 1221105 h 2161222"/>
                <a:gd name="connsiteX366" fmla="*/ 226695 w 2443162"/>
                <a:gd name="connsiteY366" fmla="*/ 1207770 h 2161222"/>
                <a:gd name="connsiteX367" fmla="*/ 231458 w 2443162"/>
                <a:gd name="connsiteY367" fmla="*/ 1194435 h 2161222"/>
                <a:gd name="connsiteX368" fmla="*/ 236220 w 2443162"/>
                <a:gd name="connsiteY368" fmla="*/ 1181100 h 2161222"/>
                <a:gd name="connsiteX369" fmla="*/ 246698 w 2443162"/>
                <a:gd name="connsiteY369" fmla="*/ 1154430 h 2161222"/>
                <a:gd name="connsiteX370" fmla="*/ 257175 w 2443162"/>
                <a:gd name="connsiteY370" fmla="*/ 1126808 h 2161222"/>
                <a:gd name="connsiteX371" fmla="*/ 268605 w 2443162"/>
                <a:gd name="connsiteY371" fmla="*/ 1099185 h 2161222"/>
                <a:gd name="connsiteX372" fmla="*/ 279083 w 2443162"/>
                <a:gd name="connsiteY372" fmla="*/ 1070610 h 2161222"/>
                <a:gd name="connsiteX373" fmla="*/ 283845 w 2443162"/>
                <a:gd name="connsiteY373" fmla="*/ 1056323 h 2161222"/>
                <a:gd name="connsiteX374" fmla="*/ 288608 w 2443162"/>
                <a:gd name="connsiteY374" fmla="*/ 1042035 h 2161222"/>
                <a:gd name="connsiteX375" fmla="*/ 293370 w 2443162"/>
                <a:gd name="connsiteY375" fmla="*/ 1026795 h 2161222"/>
                <a:gd name="connsiteX376" fmla="*/ 297180 w 2443162"/>
                <a:gd name="connsiteY376" fmla="*/ 1011555 h 2161222"/>
                <a:gd name="connsiteX377" fmla="*/ 300990 w 2443162"/>
                <a:gd name="connsiteY377" fmla="*/ 996315 h 2161222"/>
                <a:gd name="connsiteX378" fmla="*/ 303848 w 2443162"/>
                <a:gd name="connsiteY378" fmla="*/ 981075 h 2161222"/>
                <a:gd name="connsiteX379" fmla="*/ 306705 w 2443162"/>
                <a:gd name="connsiteY379" fmla="*/ 964883 h 2161222"/>
                <a:gd name="connsiteX380" fmla="*/ 308610 w 2443162"/>
                <a:gd name="connsiteY380" fmla="*/ 949643 h 2161222"/>
                <a:gd name="connsiteX381" fmla="*/ 309563 w 2443162"/>
                <a:gd name="connsiteY381" fmla="*/ 933450 h 2161222"/>
                <a:gd name="connsiteX382" fmla="*/ 310515 w 2443162"/>
                <a:gd name="connsiteY382" fmla="*/ 917258 h 2161222"/>
                <a:gd name="connsiteX383" fmla="*/ 310515 w 2443162"/>
                <a:gd name="connsiteY383" fmla="*/ 901065 h 2161222"/>
                <a:gd name="connsiteX384" fmla="*/ 310515 w 2443162"/>
                <a:gd name="connsiteY384" fmla="*/ 882968 h 2161222"/>
                <a:gd name="connsiteX385" fmla="*/ 310515 w 2443162"/>
                <a:gd name="connsiteY385" fmla="*/ 882968 h 2161222"/>
                <a:gd name="connsiteX386" fmla="*/ 332423 w 2443162"/>
                <a:gd name="connsiteY386" fmla="*/ 1591628 h 2161222"/>
                <a:gd name="connsiteX387" fmla="*/ 328613 w 2443162"/>
                <a:gd name="connsiteY387" fmla="*/ 1579245 h 2161222"/>
                <a:gd name="connsiteX388" fmla="*/ 325755 w 2443162"/>
                <a:gd name="connsiteY388" fmla="*/ 1566863 h 2161222"/>
                <a:gd name="connsiteX389" fmla="*/ 322898 w 2443162"/>
                <a:gd name="connsiteY389" fmla="*/ 1553528 h 2161222"/>
                <a:gd name="connsiteX390" fmla="*/ 320993 w 2443162"/>
                <a:gd name="connsiteY390" fmla="*/ 1540193 h 2161222"/>
                <a:gd name="connsiteX391" fmla="*/ 320040 w 2443162"/>
                <a:gd name="connsiteY391" fmla="*/ 1526858 h 2161222"/>
                <a:gd name="connsiteX392" fmla="*/ 319088 w 2443162"/>
                <a:gd name="connsiteY392" fmla="*/ 1512570 h 2161222"/>
                <a:gd name="connsiteX393" fmla="*/ 319088 w 2443162"/>
                <a:gd name="connsiteY393" fmla="*/ 1498283 h 2161222"/>
                <a:gd name="connsiteX394" fmla="*/ 319088 w 2443162"/>
                <a:gd name="connsiteY394" fmla="*/ 1482090 h 2161222"/>
                <a:gd name="connsiteX395" fmla="*/ 319088 w 2443162"/>
                <a:gd name="connsiteY395" fmla="*/ 1467803 h 2161222"/>
                <a:gd name="connsiteX396" fmla="*/ 320040 w 2443162"/>
                <a:gd name="connsiteY396" fmla="*/ 1453515 h 2161222"/>
                <a:gd name="connsiteX397" fmla="*/ 320993 w 2443162"/>
                <a:gd name="connsiteY397" fmla="*/ 1438275 h 2161222"/>
                <a:gd name="connsiteX398" fmla="*/ 321945 w 2443162"/>
                <a:gd name="connsiteY398" fmla="*/ 1423035 h 2161222"/>
                <a:gd name="connsiteX399" fmla="*/ 323850 w 2443162"/>
                <a:gd name="connsiteY399" fmla="*/ 1390650 h 2161222"/>
                <a:gd name="connsiteX400" fmla="*/ 326708 w 2443162"/>
                <a:gd name="connsiteY400" fmla="*/ 1359218 h 2161222"/>
                <a:gd name="connsiteX401" fmla="*/ 329565 w 2443162"/>
                <a:gd name="connsiteY401" fmla="*/ 1327785 h 2161222"/>
                <a:gd name="connsiteX402" fmla="*/ 331470 w 2443162"/>
                <a:gd name="connsiteY402" fmla="*/ 1296353 h 2161222"/>
                <a:gd name="connsiteX403" fmla="*/ 331470 w 2443162"/>
                <a:gd name="connsiteY403" fmla="*/ 1280160 h 2161222"/>
                <a:gd name="connsiteX404" fmla="*/ 331470 w 2443162"/>
                <a:gd name="connsiteY404" fmla="*/ 1264920 h 2161222"/>
                <a:gd name="connsiteX405" fmla="*/ 331470 w 2443162"/>
                <a:gd name="connsiteY405" fmla="*/ 1248728 h 2161222"/>
                <a:gd name="connsiteX406" fmla="*/ 331470 w 2443162"/>
                <a:gd name="connsiteY406" fmla="*/ 1233488 h 2161222"/>
                <a:gd name="connsiteX407" fmla="*/ 330518 w 2443162"/>
                <a:gd name="connsiteY407" fmla="*/ 1218248 h 2161222"/>
                <a:gd name="connsiteX408" fmla="*/ 328613 w 2443162"/>
                <a:gd name="connsiteY408" fmla="*/ 1203008 h 2161222"/>
                <a:gd name="connsiteX409" fmla="*/ 326708 w 2443162"/>
                <a:gd name="connsiteY409" fmla="*/ 1187768 h 2161222"/>
                <a:gd name="connsiteX410" fmla="*/ 323850 w 2443162"/>
                <a:gd name="connsiteY410" fmla="*/ 1172528 h 2161222"/>
                <a:gd name="connsiteX411" fmla="*/ 320040 w 2443162"/>
                <a:gd name="connsiteY411" fmla="*/ 1157288 h 2161222"/>
                <a:gd name="connsiteX412" fmla="*/ 314325 w 2443162"/>
                <a:gd name="connsiteY412" fmla="*/ 1143000 h 2161222"/>
                <a:gd name="connsiteX413" fmla="*/ 309563 w 2443162"/>
                <a:gd name="connsiteY413" fmla="*/ 1128713 h 2161222"/>
                <a:gd name="connsiteX414" fmla="*/ 303848 w 2443162"/>
                <a:gd name="connsiteY414" fmla="*/ 1114425 h 2161222"/>
                <a:gd name="connsiteX415" fmla="*/ 297180 w 2443162"/>
                <a:gd name="connsiteY415" fmla="*/ 1137285 h 2161222"/>
                <a:gd name="connsiteX416" fmla="*/ 290513 w 2443162"/>
                <a:gd name="connsiteY416" fmla="*/ 1159193 h 2161222"/>
                <a:gd name="connsiteX417" fmla="*/ 283845 w 2443162"/>
                <a:gd name="connsiteY417" fmla="*/ 1181100 h 2161222"/>
                <a:gd name="connsiteX418" fmla="*/ 277178 w 2443162"/>
                <a:gd name="connsiteY418" fmla="*/ 1202055 h 2161222"/>
                <a:gd name="connsiteX419" fmla="*/ 271463 w 2443162"/>
                <a:gd name="connsiteY419" fmla="*/ 1223963 h 2161222"/>
                <a:gd name="connsiteX420" fmla="*/ 265748 w 2443162"/>
                <a:gd name="connsiteY420" fmla="*/ 1244918 h 2161222"/>
                <a:gd name="connsiteX421" fmla="*/ 260985 w 2443162"/>
                <a:gd name="connsiteY421" fmla="*/ 1266825 h 2161222"/>
                <a:gd name="connsiteX422" fmla="*/ 257175 w 2443162"/>
                <a:gd name="connsiteY422" fmla="*/ 1288733 h 2161222"/>
                <a:gd name="connsiteX423" fmla="*/ 256223 w 2443162"/>
                <a:gd name="connsiteY423" fmla="*/ 1300163 h 2161222"/>
                <a:gd name="connsiteX424" fmla="*/ 255270 w 2443162"/>
                <a:gd name="connsiteY424" fmla="*/ 1311593 h 2161222"/>
                <a:gd name="connsiteX425" fmla="*/ 254318 w 2443162"/>
                <a:gd name="connsiteY425" fmla="*/ 1323023 h 2161222"/>
                <a:gd name="connsiteX426" fmla="*/ 253365 w 2443162"/>
                <a:gd name="connsiteY426" fmla="*/ 1334453 h 2161222"/>
                <a:gd name="connsiteX427" fmla="*/ 253365 w 2443162"/>
                <a:gd name="connsiteY427" fmla="*/ 1345883 h 2161222"/>
                <a:gd name="connsiteX428" fmla="*/ 253365 w 2443162"/>
                <a:gd name="connsiteY428" fmla="*/ 1358265 h 2161222"/>
                <a:gd name="connsiteX429" fmla="*/ 253365 w 2443162"/>
                <a:gd name="connsiteY429" fmla="*/ 1370648 h 2161222"/>
                <a:gd name="connsiteX430" fmla="*/ 254318 w 2443162"/>
                <a:gd name="connsiteY430" fmla="*/ 1383030 h 2161222"/>
                <a:gd name="connsiteX431" fmla="*/ 255270 w 2443162"/>
                <a:gd name="connsiteY431" fmla="*/ 1395413 h 2161222"/>
                <a:gd name="connsiteX432" fmla="*/ 256223 w 2443162"/>
                <a:gd name="connsiteY432" fmla="*/ 1407795 h 2161222"/>
                <a:gd name="connsiteX433" fmla="*/ 258128 w 2443162"/>
                <a:gd name="connsiteY433" fmla="*/ 1421130 h 2161222"/>
                <a:gd name="connsiteX434" fmla="*/ 260033 w 2443162"/>
                <a:gd name="connsiteY434" fmla="*/ 1434465 h 2161222"/>
                <a:gd name="connsiteX435" fmla="*/ 262890 w 2443162"/>
                <a:gd name="connsiteY435" fmla="*/ 1447800 h 2161222"/>
                <a:gd name="connsiteX436" fmla="*/ 265748 w 2443162"/>
                <a:gd name="connsiteY436" fmla="*/ 1462088 h 2161222"/>
                <a:gd name="connsiteX437" fmla="*/ 269558 w 2443162"/>
                <a:gd name="connsiteY437" fmla="*/ 1476375 h 2161222"/>
                <a:gd name="connsiteX438" fmla="*/ 273368 w 2443162"/>
                <a:gd name="connsiteY438" fmla="*/ 1490663 h 2161222"/>
                <a:gd name="connsiteX439" fmla="*/ 268605 w 2443162"/>
                <a:gd name="connsiteY439" fmla="*/ 1483043 h 2161222"/>
                <a:gd name="connsiteX440" fmla="*/ 261938 w 2443162"/>
                <a:gd name="connsiteY440" fmla="*/ 1471613 h 2161222"/>
                <a:gd name="connsiteX441" fmla="*/ 252413 w 2443162"/>
                <a:gd name="connsiteY441" fmla="*/ 1456373 h 2161222"/>
                <a:gd name="connsiteX442" fmla="*/ 240983 w 2443162"/>
                <a:gd name="connsiteY442" fmla="*/ 1439228 h 2161222"/>
                <a:gd name="connsiteX443" fmla="*/ 227648 w 2443162"/>
                <a:gd name="connsiteY443" fmla="*/ 1419225 h 2161222"/>
                <a:gd name="connsiteX444" fmla="*/ 211455 w 2443162"/>
                <a:gd name="connsiteY444" fmla="*/ 1397318 h 2161222"/>
                <a:gd name="connsiteX445" fmla="*/ 202883 w 2443162"/>
                <a:gd name="connsiteY445" fmla="*/ 1386840 h 2161222"/>
                <a:gd name="connsiteX446" fmla="*/ 193358 w 2443162"/>
                <a:gd name="connsiteY446" fmla="*/ 1375410 h 2161222"/>
                <a:gd name="connsiteX447" fmla="*/ 183833 w 2443162"/>
                <a:gd name="connsiteY447" fmla="*/ 1363980 h 2161222"/>
                <a:gd name="connsiteX448" fmla="*/ 173355 w 2443162"/>
                <a:gd name="connsiteY448" fmla="*/ 1352550 h 2161222"/>
                <a:gd name="connsiteX449" fmla="*/ 149543 w 2443162"/>
                <a:gd name="connsiteY449" fmla="*/ 1323975 h 2161222"/>
                <a:gd name="connsiteX450" fmla="*/ 124778 w 2443162"/>
                <a:gd name="connsiteY450" fmla="*/ 1295400 h 2161222"/>
                <a:gd name="connsiteX451" fmla="*/ 100013 w 2443162"/>
                <a:gd name="connsiteY451" fmla="*/ 1266825 h 2161222"/>
                <a:gd name="connsiteX452" fmla="*/ 76200 w 2443162"/>
                <a:gd name="connsiteY452" fmla="*/ 1238250 h 2161222"/>
                <a:gd name="connsiteX453" fmla="*/ 64770 w 2443162"/>
                <a:gd name="connsiteY453" fmla="*/ 1219200 h 2161222"/>
                <a:gd name="connsiteX454" fmla="*/ 53340 w 2443162"/>
                <a:gd name="connsiteY454" fmla="*/ 1204913 h 2161222"/>
                <a:gd name="connsiteX455" fmla="*/ 42863 w 2443162"/>
                <a:gd name="connsiteY455" fmla="*/ 1190625 h 2161222"/>
                <a:gd name="connsiteX456" fmla="*/ 32385 w 2443162"/>
                <a:gd name="connsiteY456" fmla="*/ 1176338 h 2161222"/>
                <a:gd name="connsiteX457" fmla="*/ 22860 w 2443162"/>
                <a:gd name="connsiteY457" fmla="*/ 1163003 h 2161222"/>
                <a:gd name="connsiteX458" fmla="*/ 14288 w 2443162"/>
                <a:gd name="connsiteY458" fmla="*/ 1149668 h 2161222"/>
                <a:gd name="connsiteX459" fmla="*/ 6668 w 2443162"/>
                <a:gd name="connsiteY459" fmla="*/ 1137285 h 2161222"/>
                <a:gd name="connsiteX460" fmla="*/ 0 w 2443162"/>
                <a:gd name="connsiteY460" fmla="*/ 1124903 h 2161222"/>
                <a:gd name="connsiteX461" fmla="*/ 953 w 2443162"/>
                <a:gd name="connsiteY461" fmla="*/ 1154430 h 2161222"/>
                <a:gd name="connsiteX462" fmla="*/ 2858 w 2443162"/>
                <a:gd name="connsiteY462" fmla="*/ 1182053 h 2161222"/>
                <a:gd name="connsiteX463" fmla="*/ 6668 w 2443162"/>
                <a:gd name="connsiteY463" fmla="*/ 1208723 h 2161222"/>
                <a:gd name="connsiteX464" fmla="*/ 12383 w 2443162"/>
                <a:gd name="connsiteY464" fmla="*/ 1234440 h 2161222"/>
                <a:gd name="connsiteX465" fmla="*/ 19050 w 2443162"/>
                <a:gd name="connsiteY465" fmla="*/ 1258253 h 2161222"/>
                <a:gd name="connsiteX466" fmla="*/ 26670 w 2443162"/>
                <a:gd name="connsiteY466" fmla="*/ 1281113 h 2161222"/>
                <a:gd name="connsiteX467" fmla="*/ 36195 w 2443162"/>
                <a:gd name="connsiteY467" fmla="*/ 1303020 h 2161222"/>
                <a:gd name="connsiteX468" fmla="*/ 46673 w 2443162"/>
                <a:gd name="connsiteY468" fmla="*/ 1323975 h 2161222"/>
                <a:gd name="connsiteX469" fmla="*/ 57150 w 2443162"/>
                <a:gd name="connsiteY469" fmla="*/ 1343025 h 2161222"/>
                <a:gd name="connsiteX470" fmla="*/ 69533 w 2443162"/>
                <a:gd name="connsiteY470" fmla="*/ 1362075 h 2161222"/>
                <a:gd name="connsiteX471" fmla="*/ 81915 w 2443162"/>
                <a:gd name="connsiteY471" fmla="*/ 1380173 h 2161222"/>
                <a:gd name="connsiteX472" fmla="*/ 95250 w 2443162"/>
                <a:gd name="connsiteY472" fmla="*/ 1396365 h 2161222"/>
                <a:gd name="connsiteX473" fmla="*/ 109538 w 2443162"/>
                <a:gd name="connsiteY473" fmla="*/ 1412558 h 2161222"/>
                <a:gd name="connsiteX474" fmla="*/ 123825 w 2443162"/>
                <a:gd name="connsiteY474" fmla="*/ 1427798 h 2161222"/>
                <a:gd name="connsiteX475" fmla="*/ 139065 w 2443162"/>
                <a:gd name="connsiteY475" fmla="*/ 1442085 h 2161222"/>
                <a:gd name="connsiteX476" fmla="*/ 154305 w 2443162"/>
                <a:gd name="connsiteY476" fmla="*/ 1455420 h 2161222"/>
                <a:gd name="connsiteX477" fmla="*/ 169545 w 2443162"/>
                <a:gd name="connsiteY477" fmla="*/ 1467803 h 2161222"/>
                <a:gd name="connsiteX478" fmla="*/ 184785 w 2443162"/>
                <a:gd name="connsiteY478" fmla="*/ 1480185 h 2161222"/>
                <a:gd name="connsiteX479" fmla="*/ 200025 w 2443162"/>
                <a:gd name="connsiteY479" fmla="*/ 1490663 h 2161222"/>
                <a:gd name="connsiteX480" fmla="*/ 215265 w 2443162"/>
                <a:gd name="connsiteY480" fmla="*/ 1501140 h 2161222"/>
                <a:gd name="connsiteX481" fmla="*/ 243840 w 2443162"/>
                <a:gd name="connsiteY481" fmla="*/ 1520190 h 2161222"/>
                <a:gd name="connsiteX482" fmla="*/ 269558 w 2443162"/>
                <a:gd name="connsiteY482" fmla="*/ 1537335 h 2161222"/>
                <a:gd name="connsiteX483" fmla="*/ 281940 w 2443162"/>
                <a:gd name="connsiteY483" fmla="*/ 1544955 h 2161222"/>
                <a:gd name="connsiteX484" fmla="*/ 292418 w 2443162"/>
                <a:gd name="connsiteY484" fmla="*/ 1552575 h 2161222"/>
                <a:gd name="connsiteX485" fmla="*/ 302895 w 2443162"/>
                <a:gd name="connsiteY485" fmla="*/ 1559243 h 2161222"/>
                <a:gd name="connsiteX486" fmla="*/ 311468 w 2443162"/>
                <a:gd name="connsiteY486" fmla="*/ 1565910 h 2161222"/>
                <a:gd name="connsiteX487" fmla="*/ 319088 w 2443162"/>
                <a:gd name="connsiteY487" fmla="*/ 1572578 h 2161222"/>
                <a:gd name="connsiteX488" fmla="*/ 325755 w 2443162"/>
                <a:gd name="connsiteY488" fmla="*/ 1578293 h 2161222"/>
                <a:gd name="connsiteX489" fmla="*/ 330518 w 2443162"/>
                <a:gd name="connsiteY489" fmla="*/ 1584008 h 2161222"/>
                <a:gd name="connsiteX490" fmla="*/ 332423 w 2443162"/>
                <a:gd name="connsiteY490" fmla="*/ 1591628 h 2161222"/>
                <a:gd name="connsiteX491" fmla="*/ 332423 w 2443162"/>
                <a:gd name="connsiteY491" fmla="*/ 1591628 h 2161222"/>
                <a:gd name="connsiteX492" fmla="*/ 177165 w 2443162"/>
                <a:gd name="connsiteY492" fmla="*/ 813435 h 2161222"/>
                <a:gd name="connsiteX493" fmla="*/ 182880 w 2443162"/>
                <a:gd name="connsiteY493" fmla="*/ 797243 h 2161222"/>
                <a:gd name="connsiteX494" fmla="*/ 189548 w 2443162"/>
                <a:gd name="connsiteY494" fmla="*/ 782003 h 2161222"/>
                <a:gd name="connsiteX495" fmla="*/ 197168 w 2443162"/>
                <a:gd name="connsiteY495" fmla="*/ 766763 h 2161222"/>
                <a:gd name="connsiteX496" fmla="*/ 205740 w 2443162"/>
                <a:gd name="connsiteY496" fmla="*/ 753428 h 2161222"/>
                <a:gd name="connsiteX497" fmla="*/ 215265 w 2443162"/>
                <a:gd name="connsiteY497" fmla="*/ 740093 h 2161222"/>
                <a:gd name="connsiteX498" fmla="*/ 224790 w 2443162"/>
                <a:gd name="connsiteY498" fmla="*/ 727710 h 2161222"/>
                <a:gd name="connsiteX499" fmla="*/ 235268 w 2443162"/>
                <a:gd name="connsiteY499" fmla="*/ 716280 h 2161222"/>
                <a:gd name="connsiteX500" fmla="*/ 245745 w 2443162"/>
                <a:gd name="connsiteY500" fmla="*/ 704850 h 2161222"/>
                <a:gd name="connsiteX501" fmla="*/ 256223 w 2443162"/>
                <a:gd name="connsiteY501" fmla="*/ 694373 h 2161222"/>
                <a:gd name="connsiteX502" fmla="*/ 267653 w 2443162"/>
                <a:gd name="connsiteY502" fmla="*/ 683895 h 2161222"/>
                <a:gd name="connsiteX503" fmla="*/ 279083 w 2443162"/>
                <a:gd name="connsiteY503" fmla="*/ 673418 h 2161222"/>
                <a:gd name="connsiteX504" fmla="*/ 290513 w 2443162"/>
                <a:gd name="connsiteY504" fmla="*/ 663893 h 2161222"/>
                <a:gd name="connsiteX505" fmla="*/ 315278 w 2443162"/>
                <a:gd name="connsiteY505" fmla="*/ 643890 h 2161222"/>
                <a:gd name="connsiteX506" fmla="*/ 340043 w 2443162"/>
                <a:gd name="connsiteY506" fmla="*/ 624840 h 2161222"/>
                <a:gd name="connsiteX507" fmla="*/ 352425 w 2443162"/>
                <a:gd name="connsiteY507" fmla="*/ 615315 h 2161222"/>
                <a:gd name="connsiteX508" fmla="*/ 364808 w 2443162"/>
                <a:gd name="connsiteY508" fmla="*/ 605790 h 2161222"/>
                <a:gd name="connsiteX509" fmla="*/ 377190 w 2443162"/>
                <a:gd name="connsiteY509" fmla="*/ 595313 h 2161222"/>
                <a:gd name="connsiteX510" fmla="*/ 389573 w 2443162"/>
                <a:gd name="connsiteY510" fmla="*/ 584835 h 2161222"/>
                <a:gd name="connsiteX511" fmla="*/ 401003 w 2443162"/>
                <a:gd name="connsiteY511" fmla="*/ 574358 h 2161222"/>
                <a:gd name="connsiteX512" fmla="*/ 412433 w 2443162"/>
                <a:gd name="connsiteY512" fmla="*/ 563880 h 2161222"/>
                <a:gd name="connsiteX513" fmla="*/ 423863 w 2443162"/>
                <a:gd name="connsiteY513" fmla="*/ 553403 h 2161222"/>
                <a:gd name="connsiteX514" fmla="*/ 434340 w 2443162"/>
                <a:gd name="connsiteY514" fmla="*/ 541973 h 2161222"/>
                <a:gd name="connsiteX515" fmla="*/ 444818 w 2443162"/>
                <a:gd name="connsiteY515" fmla="*/ 529590 h 2161222"/>
                <a:gd name="connsiteX516" fmla="*/ 455295 w 2443162"/>
                <a:gd name="connsiteY516" fmla="*/ 516255 h 2161222"/>
                <a:gd name="connsiteX517" fmla="*/ 464820 w 2443162"/>
                <a:gd name="connsiteY517" fmla="*/ 502920 h 2161222"/>
                <a:gd name="connsiteX518" fmla="*/ 473393 w 2443162"/>
                <a:gd name="connsiteY518" fmla="*/ 488633 h 2161222"/>
                <a:gd name="connsiteX519" fmla="*/ 481013 w 2443162"/>
                <a:gd name="connsiteY519" fmla="*/ 473393 h 2161222"/>
                <a:gd name="connsiteX520" fmla="*/ 487680 w 2443162"/>
                <a:gd name="connsiteY520" fmla="*/ 458153 h 2161222"/>
                <a:gd name="connsiteX521" fmla="*/ 493395 w 2443162"/>
                <a:gd name="connsiteY521" fmla="*/ 441008 h 2161222"/>
                <a:gd name="connsiteX522" fmla="*/ 499110 w 2443162"/>
                <a:gd name="connsiteY522" fmla="*/ 422910 h 2161222"/>
                <a:gd name="connsiteX523" fmla="*/ 486728 w 2443162"/>
                <a:gd name="connsiteY523" fmla="*/ 434340 h 2161222"/>
                <a:gd name="connsiteX524" fmla="*/ 476250 w 2443162"/>
                <a:gd name="connsiteY524" fmla="*/ 445770 h 2161222"/>
                <a:gd name="connsiteX525" fmla="*/ 462915 w 2443162"/>
                <a:gd name="connsiteY525" fmla="*/ 456248 h 2161222"/>
                <a:gd name="connsiteX526" fmla="*/ 449580 w 2443162"/>
                <a:gd name="connsiteY526" fmla="*/ 465773 h 2161222"/>
                <a:gd name="connsiteX527" fmla="*/ 436245 w 2443162"/>
                <a:gd name="connsiteY527" fmla="*/ 475298 h 2161222"/>
                <a:gd name="connsiteX528" fmla="*/ 421958 w 2443162"/>
                <a:gd name="connsiteY528" fmla="*/ 484823 h 2161222"/>
                <a:gd name="connsiteX529" fmla="*/ 408623 w 2443162"/>
                <a:gd name="connsiteY529" fmla="*/ 493395 h 2161222"/>
                <a:gd name="connsiteX530" fmla="*/ 394335 w 2443162"/>
                <a:gd name="connsiteY530" fmla="*/ 502920 h 2161222"/>
                <a:gd name="connsiteX531" fmla="*/ 366713 w 2443162"/>
                <a:gd name="connsiteY531" fmla="*/ 521018 h 2161222"/>
                <a:gd name="connsiteX532" fmla="*/ 339090 w 2443162"/>
                <a:gd name="connsiteY532" fmla="*/ 540068 h 2161222"/>
                <a:gd name="connsiteX533" fmla="*/ 324803 w 2443162"/>
                <a:gd name="connsiteY533" fmla="*/ 550545 h 2161222"/>
                <a:gd name="connsiteX534" fmla="*/ 311468 w 2443162"/>
                <a:gd name="connsiteY534" fmla="*/ 561023 h 2161222"/>
                <a:gd name="connsiteX535" fmla="*/ 298133 w 2443162"/>
                <a:gd name="connsiteY535" fmla="*/ 572453 h 2161222"/>
                <a:gd name="connsiteX536" fmla="*/ 285750 w 2443162"/>
                <a:gd name="connsiteY536" fmla="*/ 581978 h 2161222"/>
                <a:gd name="connsiteX537" fmla="*/ 274320 w 2443162"/>
                <a:gd name="connsiteY537" fmla="*/ 594360 h 2161222"/>
                <a:gd name="connsiteX538" fmla="*/ 263843 w 2443162"/>
                <a:gd name="connsiteY538" fmla="*/ 606743 h 2161222"/>
                <a:gd name="connsiteX539" fmla="*/ 254318 w 2443162"/>
                <a:gd name="connsiteY539" fmla="*/ 619125 h 2161222"/>
                <a:gd name="connsiteX540" fmla="*/ 245745 w 2443162"/>
                <a:gd name="connsiteY540" fmla="*/ 631508 h 2161222"/>
                <a:gd name="connsiteX541" fmla="*/ 237173 w 2443162"/>
                <a:gd name="connsiteY541" fmla="*/ 643890 h 2161222"/>
                <a:gd name="connsiteX542" fmla="*/ 228600 w 2443162"/>
                <a:gd name="connsiteY542" fmla="*/ 657225 h 2161222"/>
                <a:gd name="connsiteX543" fmla="*/ 220980 w 2443162"/>
                <a:gd name="connsiteY543" fmla="*/ 670560 h 2161222"/>
                <a:gd name="connsiteX544" fmla="*/ 214313 w 2443162"/>
                <a:gd name="connsiteY544" fmla="*/ 684848 h 2161222"/>
                <a:gd name="connsiteX545" fmla="*/ 220028 w 2443162"/>
                <a:gd name="connsiteY545" fmla="*/ 663893 h 2161222"/>
                <a:gd name="connsiteX546" fmla="*/ 225743 w 2443162"/>
                <a:gd name="connsiteY546" fmla="*/ 642938 h 2161222"/>
                <a:gd name="connsiteX547" fmla="*/ 231458 w 2443162"/>
                <a:gd name="connsiteY547" fmla="*/ 621983 h 2161222"/>
                <a:gd name="connsiteX548" fmla="*/ 236220 w 2443162"/>
                <a:gd name="connsiteY548" fmla="*/ 601028 h 2161222"/>
                <a:gd name="connsiteX549" fmla="*/ 240030 w 2443162"/>
                <a:gd name="connsiteY549" fmla="*/ 580073 h 2161222"/>
                <a:gd name="connsiteX550" fmla="*/ 242888 w 2443162"/>
                <a:gd name="connsiteY550" fmla="*/ 560070 h 2161222"/>
                <a:gd name="connsiteX551" fmla="*/ 243840 w 2443162"/>
                <a:gd name="connsiteY551" fmla="*/ 550545 h 2161222"/>
                <a:gd name="connsiteX552" fmla="*/ 244793 w 2443162"/>
                <a:gd name="connsiteY552" fmla="*/ 541020 h 2161222"/>
                <a:gd name="connsiteX553" fmla="*/ 244793 w 2443162"/>
                <a:gd name="connsiteY553" fmla="*/ 531495 h 2161222"/>
                <a:gd name="connsiteX554" fmla="*/ 244793 w 2443162"/>
                <a:gd name="connsiteY554" fmla="*/ 521970 h 2161222"/>
                <a:gd name="connsiteX555" fmla="*/ 247650 w 2443162"/>
                <a:gd name="connsiteY555" fmla="*/ 496253 h 2161222"/>
                <a:gd name="connsiteX556" fmla="*/ 249555 w 2443162"/>
                <a:gd name="connsiteY556" fmla="*/ 477203 h 2161222"/>
                <a:gd name="connsiteX557" fmla="*/ 251460 w 2443162"/>
                <a:gd name="connsiteY557" fmla="*/ 461963 h 2161222"/>
                <a:gd name="connsiteX558" fmla="*/ 254318 w 2443162"/>
                <a:gd name="connsiteY558" fmla="*/ 449580 h 2161222"/>
                <a:gd name="connsiteX559" fmla="*/ 255270 w 2443162"/>
                <a:gd name="connsiteY559" fmla="*/ 443865 h 2161222"/>
                <a:gd name="connsiteX560" fmla="*/ 257175 w 2443162"/>
                <a:gd name="connsiteY560" fmla="*/ 438150 h 2161222"/>
                <a:gd name="connsiteX561" fmla="*/ 259080 w 2443162"/>
                <a:gd name="connsiteY561" fmla="*/ 431483 h 2161222"/>
                <a:gd name="connsiteX562" fmla="*/ 261938 w 2443162"/>
                <a:gd name="connsiteY562" fmla="*/ 423863 h 2161222"/>
                <a:gd name="connsiteX563" fmla="*/ 269558 w 2443162"/>
                <a:gd name="connsiteY563" fmla="*/ 405765 h 2161222"/>
                <a:gd name="connsiteX564" fmla="*/ 280035 w 2443162"/>
                <a:gd name="connsiteY564" fmla="*/ 381953 h 2161222"/>
                <a:gd name="connsiteX565" fmla="*/ 283845 w 2443162"/>
                <a:gd name="connsiteY565" fmla="*/ 375285 h 2161222"/>
                <a:gd name="connsiteX566" fmla="*/ 290513 w 2443162"/>
                <a:gd name="connsiteY566" fmla="*/ 365760 h 2161222"/>
                <a:gd name="connsiteX567" fmla="*/ 296228 w 2443162"/>
                <a:gd name="connsiteY567" fmla="*/ 356235 h 2161222"/>
                <a:gd name="connsiteX568" fmla="*/ 300038 w 2443162"/>
                <a:gd name="connsiteY568" fmla="*/ 349568 h 2161222"/>
                <a:gd name="connsiteX569" fmla="*/ 292418 w 2443162"/>
                <a:gd name="connsiteY569" fmla="*/ 355283 h 2161222"/>
                <a:gd name="connsiteX570" fmla="*/ 285750 w 2443162"/>
                <a:gd name="connsiteY570" fmla="*/ 360998 h 2161222"/>
                <a:gd name="connsiteX571" fmla="*/ 279083 w 2443162"/>
                <a:gd name="connsiteY571" fmla="*/ 366713 h 2161222"/>
                <a:gd name="connsiteX572" fmla="*/ 272415 w 2443162"/>
                <a:gd name="connsiteY572" fmla="*/ 372428 h 2161222"/>
                <a:gd name="connsiteX573" fmla="*/ 266700 w 2443162"/>
                <a:gd name="connsiteY573" fmla="*/ 376238 h 2161222"/>
                <a:gd name="connsiteX574" fmla="*/ 260985 w 2443162"/>
                <a:gd name="connsiteY574" fmla="*/ 381953 h 2161222"/>
                <a:gd name="connsiteX575" fmla="*/ 255270 w 2443162"/>
                <a:gd name="connsiteY575" fmla="*/ 387668 h 2161222"/>
                <a:gd name="connsiteX576" fmla="*/ 249555 w 2443162"/>
                <a:gd name="connsiteY576" fmla="*/ 393383 h 2161222"/>
                <a:gd name="connsiteX577" fmla="*/ 243840 w 2443162"/>
                <a:gd name="connsiteY577" fmla="*/ 400050 h 2161222"/>
                <a:gd name="connsiteX578" fmla="*/ 238125 w 2443162"/>
                <a:gd name="connsiteY578" fmla="*/ 406718 h 2161222"/>
                <a:gd name="connsiteX579" fmla="*/ 233363 w 2443162"/>
                <a:gd name="connsiteY579" fmla="*/ 412433 h 2161222"/>
                <a:gd name="connsiteX580" fmla="*/ 228600 w 2443162"/>
                <a:gd name="connsiteY580" fmla="*/ 420053 h 2161222"/>
                <a:gd name="connsiteX581" fmla="*/ 223838 w 2443162"/>
                <a:gd name="connsiteY581" fmla="*/ 426720 h 2161222"/>
                <a:gd name="connsiteX582" fmla="*/ 219075 w 2443162"/>
                <a:gd name="connsiteY582" fmla="*/ 433388 h 2161222"/>
                <a:gd name="connsiteX583" fmla="*/ 214313 w 2443162"/>
                <a:gd name="connsiteY583" fmla="*/ 440055 h 2161222"/>
                <a:gd name="connsiteX584" fmla="*/ 210503 w 2443162"/>
                <a:gd name="connsiteY584" fmla="*/ 446723 h 2161222"/>
                <a:gd name="connsiteX585" fmla="*/ 206693 w 2443162"/>
                <a:gd name="connsiteY585" fmla="*/ 454343 h 2161222"/>
                <a:gd name="connsiteX586" fmla="*/ 202883 w 2443162"/>
                <a:gd name="connsiteY586" fmla="*/ 461010 h 2161222"/>
                <a:gd name="connsiteX587" fmla="*/ 199073 w 2443162"/>
                <a:gd name="connsiteY587" fmla="*/ 468630 h 2161222"/>
                <a:gd name="connsiteX588" fmla="*/ 196215 w 2443162"/>
                <a:gd name="connsiteY588" fmla="*/ 476250 h 2161222"/>
                <a:gd name="connsiteX589" fmla="*/ 190500 w 2443162"/>
                <a:gd name="connsiteY589" fmla="*/ 491490 h 2161222"/>
                <a:gd name="connsiteX590" fmla="*/ 184785 w 2443162"/>
                <a:gd name="connsiteY590" fmla="*/ 507683 h 2161222"/>
                <a:gd name="connsiteX591" fmla="*/ 180023 w 2443162"/>
                <a:gd name="connsiteY591" fmla="*/ 523875 h 2161222"/>
                <a:gd name="connsiteX592" fmla="*/ 176213 w 2443162"/>
                <a:gd name="connsiteY592" fmla="*/ 541020 h 2161222"/>
                <a:gd name="connsiteX593" fmla="*/ 171450 w 2443162"/>
                <a:gd name="connsiteY593" fmla="*/ 557213 h 2161222"/>
                <a:gd name="connsiteX594" fmla="*/ 168593 w 2443162"/>
                <a:gd name="connsiteY594" fmla="*/ 575310 h 2161222"/>
                <a:gd name="connsiteX595" fmla="*/ 167640 w 2443162"/>
                <a:gd name="connsiteY595" fmla="*/ 590550 h 2161222"/>
                <a:gd name="connsiteX596" fmla="*/ 166688 w 2443162"/>
                <a:gd name="connsiteY596" fmla="*/ 605790 h 2161222"/>
                <a:gd name="connsiteX597" fmla="*/ 166688 w 2443162"/>
                <a:gd name="connsiteY597" fmla="*/ 621030 h 2161222"/>
                <a:gd name="connsiteX598" fmla="*/ 165735 w 2443162"/>
                <a:gd name="connsiteY598" fmla="*/ 635318 h 2161222"/>
                <a:gd name="connsiteX599" fmla="*/ 165735 w 2443162"/>
                <a:gd name="connsiteY599" fmla="*/ 650558 h 2161222"/>
                <a:gd name="connsiteX600" fmla="*/ 165735 w 2443162"/>
                <a:gd name="connsiteY600" fmla="*/ 664845 h 2161222"/>
                <a:gd name="connsiteX601" fmla="*/ 165735 w 2443162"/>
                <a:gd name="connsiteY601" fmla="*/ 679133 h 2161222"/>
                <a:gd name="connsiteX602" fmla="*/ 166688 w 2443162"/>
                <a:gd name="connsiteY602" fmla="*/ 693420 h 2161222"/>
                <a:gd name="connsiteX603" fmla="*/ 168593 w 2443162"/>
                <a:gd name="connsiteY603" fmla="*/ 721995 h 2161222"/>
                <a:gd name="connsiteX604" fmla="*/ 171450 w 2443162"/>
                <a:gd name="connsiteY604" fmla="*/ 751523 h 2161222"/>
                <a:gd name="connsiteX605" fmla="*/ 174308 w 2443162"/>
                <a:gd name="connsiteY605" fmla="*/ 782003 h 2161222"/>
                <a:gd name="connsiteX606" fmla="*/ 177165 w 2443162"/>
                <a:gd name="connsiteY606" fmla="*/ 813435 h 2161222"/>
                <a:gd name="connsiteX607" fmla="*/ 177165 w 2443162"/>
                <a:gd name="connsiteY607" fmla="*/ 813435 h 2161222"/>
                <a:gd name="connsiteX608" fmla="*/ 520065 w 2443162"/>
                <a:gd name="connsiteY608" fmla="*/ 1794510 h 2161222"/>
                <a:gd name="connsiteX609" fmla="*/ 513398 w 2443162"/>
                <a:gd name="connsiteY609" fmla="*/ 1784033 h 2161222"/>
                <a:gd name="connsiteX610" fmla="*/ 506730 w 2443162"/>
                <a:gd name="connsiteY610" fmla="*/ 1772603 h 2161222"/>
                <a:gd name="connsiteX611" fmla="*/ 501015 w 2443162"/>
                <a:gd name="connsiteY611" fmla="*/ 1761173 h 2161222"/>
                <a:gd name="connsiteX612" fmla="*/ 495300 w 2443162"/>
                <a:gd name="connsiteY612" fmla="*/ 1748790 h 2161222"/>
                <a:gd name="connsiteX613" fmla="*/ 490538 w 2443162"/>
                <a:gd name="connsiteY613" fmla="*/ 1736408 h 2161222"/>
                <a:gd name="connsiteX614" fmla="*/ 485775 w 2443162"/>
                <a:gd name="connsiteY614" fmla="*/ 1724025 h 2161222"/>
                <a:gd name="connsiteX615" fmla="*/ 481965 w 2443162"/>
                <a:gd name="connsiteY615" fmla="*/ 1710690 h 2161222"/>
                <a:gd name="connsiteX616" fmla="*/ 478155 w 2443162"/>
                <a:gd name="connsiteY616" fmla="*/ 1697355 h 2161222"/>
                <a:gd name="connsiteX617" fmla="*/ 475298 w 2443162"/>
                <a:gd name="connsiteY617" fmla="*/ 1683068 h 2161222"/>
                <a:gd name="connsiteX618" fmla="*/ 471488 w 2443162"/>
                <a:gd name="connsiteY618" fmla="*/ 1668780 h 2161222"/>
                <a:gd name="connsiteX619" fmla="*/ 468630 w 2443162"/>
                <a:gd name="connsiteY619" fmla="*/ 1654493 h 2161222"/>
                <a:gd name="connsiteX620" fmla="*/ 465773 w 2443162"/>
                <a:gd name="connsiteY620" fmla="*/ 1640205 h 2161222"/>
                <a:gd name="connsiteX621" fmla="*/ 460058 w 2443162"/>
                <a:gd name="connsiteY621" fmla="*/ 1611630 h 2161222"/>
                <a:gd name="connsiteX622" fmla="*/ 454343 w 2443162"/>
                <a:gd name="connsiteY622" fmla="*/ 1582103 h 2161222"/>
                <a:gd name="connsiteX623" fmla="*/ 448628 w 2443162"/>
                <a:gd name="connsiteY623" fmla="*/ 1552575 h 2161222"/>
                <a:gd name="connsiteX624" fmla="*/ 441960 w 2443162"/>
                <a:gd name="connsiteY624" fmla="*/ 1523048 h 2161222"/>
                <a:gd name="connsiteX625" fmla="*/ 438150 w 2443162"/>
                <a:gd name="connsiteY625" fmla="*/ 1507808 h 2161222"/>
                <a:gd name="connsiteX626" fmla="*/ 434340 w 2443162"/>
                <a:gd name="connsiteY626" fmla="*/ 1493520 h 2161222"/>
                <a:gd name="connsiteX627" fmla="*/ 429578 w 2443162"/>
                <a:gd name="connsiteY627" fmla="*/ 1479233 h 2161222"/>
                <a:gd name="connsiteX628" fmla="*/ 424815 w 2443162"/>
                <a:gd name="connsiteY628" fmla="*/ 1464945 h 2161222"/>
                <a:gd name="connsiteX629" fmla="*/ 420053 w 2443162"/>
                <a:gd name="connsiteY629" fmla="*/ 1450658 h 2161222"/>
                <a:gd name="connsiteX630" fmla="*/ 414338 w 2443162"/>
                <a:gd name="connsiteY630" fmla="*/ 1436370 h 2161222"/>
                <a:gd name="connsiteX631" fmla="*/ 407670 w 2443162"/>
                <a:gd name="connsiteY631" fmla="*/ 1423035 h 2161222"/>
                <a:gd name="connsiteX632" fmla="*/ 401003 w 2443162"/>
                <a:gd name="connsiteY632" fmla="*/ 1409700 h 2161222"/>
                <a:gd name="connsiteX633" fmla="*/ 393383 w 2443162"/>
                <a:gd name="connsiteY633" fmla="*/ 1396365 h 2161222"/>
                <a:gd name="connsiteX634" fmla="*/ 384810 w 2443162"/>
                <a:gd name="connsiteY634" fmla="*/ 1383983 h 2161222"/>
                <a:gd name="connsiteX635" fmla="*/ 375285 w 2443162"/>
                <a:gd name="connsiteY635" fmla="*/ 1371600 h 2161222"/>
                <a:gd name="connsiteX636" fmla="*/ 365760 w 2443162"/>
                <a:gd name="connsiteY636" fmla="*/ 1360170 h 2161222"/>
                <a:gd name="connsiteX637" fmla="*/ 366713 w 2443162"/>
                <a:gd name="connsiteY637" fmla="*/ 1385888 h 2161222"/>
                <a:gd name="connsiteX638" fmla="*/ 367665 w 2443162"/>
                <a:gd name="connsiteY638" fmla="*/ 1410653 h 2161222"/>
                <a:gd name="connsiteX639" fmla="*/ 366713 w 2443162"/>
                <a:gd name="connsiteY639" fmla="*/ 1435418 h 2161222"/>
                <a:gd name="connsiteX640" fmla="*/ 366713 w 2443162"/>
                <a:gd name="connsiteY640" fmla="*/ 1458278 h 2161222"/>
                <a:gd name="connsiteX641" fmla="*/ 366713 w 2443162"/>
                <a:gd name="connsiteY641" fmla="*/ 1480185 h 2161222"/>
                <a:gd name="connsiteX642" fmla="*/ 366713 w 2443162"/>
                <a:gd name="connsiteY642" fmla="*/ 1502093 h 2161222"/>
                <a:gd name="connsiteX643" fmla="*/ 366713 w 2443162"/>
                <a:gd name="connsiteY643" fmla="*/ 1523048 h 2161222"/>
                <a:gd name="connsiteX644" fmla="*/ 366713 w 2443162"/>
                <a:gd name="connsiteY644" fmla="*/ 1543050 h 2161222"/>
                <a:gd name="connsiteX645" fmla="*/ 366713 w 2443162"/>
                <a:gd name="connsiteY645" fmla="*/ 1553528 h 2161222"/>
                <a:gd name="connsiteX646" fmla="*/ 367665 w 2443162"/>
                <a:gd name="connsiteY646" fmla="*/ 1563053 h 2161222"/>
                <a:gd name="connsiteX647" fmla="*/ 368618 w 2443162"/>
                <a:gd name="connsiteY647" fmla="*/ 1572578 h 2161222"/>
                <a:gd name="connsiteX648" fmla="*/ 369570 w 2443162"/>
                <a:gd name="connsiteY648" fmla="*/ 1582103 h 2161222"/>
                <a:gd name="connsiteX649" fmla="*/ 371475 w 2443162"/>
                <a:gd name="connsiteY649" fmla="*/ 1591628 h 2161222"/>
                <a:gd name="connsiteX650" fmla="*/ 373380 w 2443162"/>
                <a:gd name="connsiteY650" fmla="*/ 1601153 h 2161222"/>
                <a:gd name="connsiteX651" fmla="*/ 376238 w 2443162"/>
                <a:gd name="connsiteY651" fmla="*/ 1610678 h 2161222"/>
                <a:gd name="connsiteX652" fmla="*/ 379095 w 2443162"/>
                <a:gd name="connsiteY652" fmla="*/ 1620203 h 2161222"/>
                <a:gd name="connsiteX653" fmla="*/ 382905 w 2443162"/>
                <a:gd name="connsiteY653" fmla="*/ 1629728 h 2161222"/>
                <a:gd name="connsiteX654" fmla="*/ 386715 w 2443162"/>
                <a:gd name="connsiteY654" fmla="*/ 1639253 h 2161222"/>
                <a:gd name="connsiteX655" fmla="*/ 390525 w 2443162"/>
                <a:gd name="connsiteY655" fmla="*/ 1648778 h 2161222"/>
                <a:gd name="connsiteX656" fmla="*/ 395288 w 2443162"/>
                <a:gd name="connsiteY656" fmla="*/ 1658303 h 2161222"/>
                <a:gd name="connsiteX657" fmla="*/ 400050 w 2443162"/>
                <a:gd name="connsiteY657" fmla="*/ 1666875 h 2161222"/>
                <a:gd name="connsiteX658" fmla="*/ 405765 w 2443162"/>
                <a:gd name="connsiteY658" fmla="*/ 1676400 h 2161222"/>
                <a:gd name="connsiteX659" fmla="*/ 411480 w 2443162"/>
                <a:gd name="connsiteY659" fmla="*/ 1685925 h 2161222"/>
                <a:gd name="connsiteX660" fmla="*/ 418148 w 2443162"/>
                <a:gd name="connsiteY660" fmla="*/ 1694498 h 2161222"/>
                <a:gd name="connsiteX661" fmla="*/ 405765 w 2443162"/>
                <a:gd name="connsiteY661" fmla="*/ 1684020 h 2161222"/>
                <a:gd name="connsiteX662" fmla="*/ 392430 w 2443162"/>
                <a:gd name="connsiteY662" fmla="*/ 1672590 h 2161222"/>
                <a:gd name="connsiteX663" fmla="*/ 376238 w 2443162"/>
                <a:gd name="connsiteY663" fmla="*/ 1660208 h 2161222"/>
                <a:gd name="connsiteX664" fmla="*/ 359093 w 2443162"/>
                <a:gd name="connsiteY664" fmla="*/ 1646873 h 2161222"/>
                <a:gd name="connsiteX665" fmla="*/ 348615 w 2443162"/>
                <a:gd name="connsiteY665" fmla="*/ 1640205 h 2161222"/>
                <a:gd name="connsiteX666" fmla="*/ 338138 w 2443162"/>
                <a:gd name="connsiteY666" fmla="*/ 1633538 h 2161222"/>
                <a:gd name="connsiteX667" fmla="*/ 327660 w 2443162"/>
                <a:gd name="connsiteY667" fmla="*/ 1626870 h 2161222"/>
                <a:gd name="connsiteX668" fmla="*/ 316230 w 2443162"/>
                <a:gd name="connsiteY668" fmla="*/ 1620203 h 2161222"/>
                <a:gd name="connsiteX669" fmla="*/ 303848 w 2443162"/>
                <a:gd name="connsiteY669" fmla="*/ 1613535 h 2161222"/>
                <a:gd name="connsiteX670" fmla="*/ 290513 w 2443162"/>
                <a:gd name="connsiteY670" fmla="*/ 1607820 h 2161222"/>
                <a:gd name="connsiteX671" fmla="*/ 277178 w 2443162"/>
                <a:gd name="connsiteY671" fmla="*/ 1602105 h 2161222"/>
                <a:gd name="connsiteX672" fmla="*/ 262890 w 2443162"/>
                <a:gd name="connsiteY672" fmla="*/ 1596390 h 2161222"/>
                <a:gd name="connsiteX673" fmla="*/ 254318 w 2443162"/>
                <a:gd name="connsiteY673" fmla="*/ 1593533 h 2161222"/>
                <a:gd name="connsiteX674" fmla="*/ 245745 w 2443162"/>
                <a:gd name="connsiteY674" fmla="*/ 1589723 h 2161222"/>
                <a:gd name="connsiteX675" fmla="*/ 238125 w 2443162"/>
                <a:gd name="connsiteY675" fmla="*/ 1585913 h 2161222"/>
                <a:gd name="connsiteX676" fmla="*/ 230505 w 2443162"/>
                <a:gd name="connsiteY676" fmla="*/ 1581150 h 2161222"/>
                <a:gd name="connsiteX677" fmla="*/ 222885 w 2443162"/>
                <a:gd name="connsiteY677" fmla="*/ 1576388 h 2161222"/>
                <a:gd name="connsiteX678" fmla="*/ 215265 w 2443162"/>
                <a:gd name="connsiteY678" fmla="*/ 1571625 h 2161222"/>
                <a:gd name="connsiteX679" fmla="*/ 207645 w 2443162"/>
                <a:gd name="connsiteY679" fmla="*/ 1566863 h 2161222"/>
                <a:gd name="connsiteX680" fmla="*/ 200025 w 2443162"/>
                <a:gd name="connsiteY680" fmla="*/ 1562100 h 2161222"/>
                <a:gd name="connsiteX681" fmla="*/ 185738 w 2443162"/>
                <a:gd name="connsiteY681" fmla="*/ 1551623 h 2161222"/>
                <a:gd name="connsiteX682" fmla="*/ 172403 w 2443162"/>
                <a:gd name="connsiteY682" fmla="*/ 1541145 h 2161222"/>
                <a:gd name="connsiteX683" fmla="*/ 159068 w 2443162"/>
                <a:gd name="connsiteY683" fmla="*/ 1529715 h 2161222"/>
                <a:gd name="connsiteX684" fmla="*/ 146685 w 2443162"/>
                <a:gd name="connsiteY684" fmla="*/ 1518285 h 2161222"/>
                <a:gd name="connsiteX685" fmla="*/ 134303 w 2443162"/>
                <a:gd name="connsiteY685" fmla="*/ 1505903 h 2161222"/>
                <a:gd name="connsiteX686" fmla="*/ 122873 w 2443162"/>
                <a:gd name="connsiteY686" fmla="*/ 1494473 h 2161222"/>
                <a:gd name="connsiteX687" fmla="*/ 111443 w 2443162"/>
                <a:gd name="connsiteY687" fmla="*/ 1482090 h 2161222"/>
                <a:gd name="connsiteX688" fmla="*/ 100013 w 2443162"/>
                <a:gd name="connsiteY688" fmla="*/ 1470660 h 2161222"/>
                <a:gd name="connsiteX689" fmla="*/ 79058 w 2443162"/>
                <a:gd name="connsiteY689" fmla="*/ 1447800 h 2161222"/>
                <a:gd name="connsiteX690" fmla="*/ 59055 w 2443162"/>
                <a:gd name="connsiteY690" fmla="*/ 1426845 h 2161222"/>
                <a:gd name="connsiteX691" fmla="*/ 65723 w 2443162"/>
                <a:gd name="connsiteY691" fmla="*/ 1443038 h 2161222"/>
                <a:gd name="connsiteX692" fmla="*/ 75248 w 2443162"/>
                <a:gd name="connsiteY692" fmla="*/ 1473518 h 2161222"/>
                <a:gd name="connsiteX693" fmla="*/ 85725 w 2443162"/>
                <a:gd name="connsiteY693" fmla="*/ 1502093 h 2161222"/>
                <a:gd name="connsiteX694" fmla="*/ 97155 w 2443162"/>
                <a:gd name="connsiteY694" fmla="*/ 1528763 h 2161222"/>
                <a:gd name="connsiteX695" fmla="*/ 109538 w 2443162"/>
                <a:gd name="connsiteY695" fmla="*/ 1553528 h 2161222"/>
                <a:gd name="connsiteX696" fmla="*/ 122873 w 2443162"/>
                <a:gd name="connsiteY696" fmla="*/ 1575435 h 2161222"/>
                <a:gd name="connsiteX697" fmla="*/ 137160 w 2443162"/>
                <a:gd name="connsiteY697" fmla="*/ 1596390 h 2161222"/>
                <a:gd name="connsiteX698" fmla="*/ 152400 w 2443162"/>
                <a:gd name="connsiteY698" fmla="*/ 1615440 h 2161222"/>
                <a:gd name="connsiteX699" fmla="*/ 167640 w 2443162"/>
                <a:gd name="connsiteY699" fmla="*/ 1632585 h 2161222"/>
                <a:gd name="connsiteX700" fmla="*/ 183833 w 2443162"/>
                <a:gd name="connsiteY700" fmla="*/ 1648778 h 2161222"/>
                <a:gd name="connsiteX701" fmla="*/ 200025 w 2443162"/>
                <a:gd name="connsiteY701" fmla="*/ 1663065 h 2161222"/>
                <a:gd name="connsiteX702" fmla="*/ 217170 w 2443162"/>
                <a:gd name="connsiteY702" fmla="*/ 1676400 h 2161222"/>
                <a:gd name="connsiteX703" fmla="*/ 234315 w 2443162"/>
                <a:gd name="connsiteY703" fmla="*/ 1687830 h 2161222"/>
                <a:gd name="connsiteX704" fmla="*/ 251460 w 2443162"/>
                <a:gd name="connsiteY704" fmla="*/ 1698308 h 2161222"/>
                <a:gd name="connsiteX705" fmla="*/ 268605 w 2443162"/>
                <a:gd name="connsiteY705" fmla="*/ 1707833 h 2161222"/>
                <a:gd name="connsiteX706" fmla="*/ 286703 w 2443162"/>
                <a:gd name="connsiteY706" fmla="*/ 1716405 h 2161222"/>
                <a:gd name="connsiteX707" fmla="*/ 304800 w 2443162"/>
                <a:gd name="connsiteY707" fmla="*/ 1724025 h 2161222"/>
                <a:gd name="connsiteX708" fmla="*/ 321945 w 2443162"/>
                <a:gd name="connsiteY708" fmla="*/ 1730693 h 2161222"/>
                <a:gd name="connsiteX709" fmla="*/ 339090 w 2443162"/>
                <a:gd name="connsiteY709" fmla="*/ 1736408 h 2161222"/>
                <a:gd name="connsiteX710" fmla="*/ 356235 w 2443162"/>
                <a:gd name="connsiteY710" fmla="*/ 1742123 h 2161222"/>
                <a:gd name="connsiteX711" fmla="*/ 372428 w 2443162"/>
                <a:gd name="connsiteY711" fmla="*/ 1746885 h 2161222"/>
                <a:gd name="connsiteX712" fmla="*/ 404813 w 2443162"/>
                <a:gd name="connsiteY712" fmla="*/ 1755458 h 2161222"/>
                <a:gd name="connsiteX713" fmla="*/ 435293 w 2443162"/>
                <a:gd name="connsiteY713" fmla="*/ 1763078 h 2161222"/>
                <a:gd name="connsiteX714" fmla="*/ 449580 w 2443162"/>
                <a:gd name="connsiteY714" fmla="*/ 1766888 h 2161222"/>
                <a:gd name="connsiteX715" fmla="*/ 462915 w 2443162"/>
                <a:gd name="connsiteY715" fmla="*/ 1770698 h 2161222"/>
                <a:gd name="connsiteX716" fmla="*/ 475298 w 2443162"/>
                <a:gd name="connsiteY716" fmla="*/ 1774508 h 2161222"/>
                <a:gd name="connsiteX717" fmla="*/ 485775 w 2443162"/>
                <a:gd name="connsiteY717" fmla="*/ 1778318 h 2161222"/>
                <a:gd name="connsiteX718" fmla="*/ 496253 w 2443162"/>
                <a:gd name="connsiteY718" fmla="*/ 1783080 h 2161222"/>
                <a:gd name="connsiteX719" fmla="*/ 504825 w 2443162"/>
                <a:gd name="connsiteY719" fmla="*/ 1787843 h 2161222"/>
                <a:gd name="connsiteX720" fmla="*/ 512445 w 2443162"/>
                <a:gd name="connsiteY720" fmla="*/ 1792605 h 2161222"/>
                <a:gd name="connsiteX721" fmla="*/ 520065 w 2443162"/>
                <a:gd name="connsiteY721" fmla="*/ 1794510 h 2161222"/>
                <a:gd name="connsiteX722" fmla="*/ 520065 w 2443162"/>
                <a:gd name="connsiteY722" fmla="*/ 1794510 h 2161222"/>
                <a:gd name="connsiteX723" fmla="*/ 741045 w 2443162"/>
                <a:gd name="connsiteY723" fmla="*/ 1945958 h 2161222"/>
                <a:gd name="connsiteX724" fmla="*/ 736283 w 2443162"/>
                <a:gd name="connsiteY724" fmla="*/ 1939290 h 2161222"/>
                <a:gd name="connsiteX725" fmla="*/ 731520 w 2443162"/>
                <a:gd name="connsiteY725" fmla="*/ 1931670 h 2161222"/>
                <a:gd name="connsiteX726" fmla="*/ 726758 w 2443162"/>
                <a:gd name="connsiteY726" fmla="*/ 1923098 h 2161222"/>
                <a:gd name="connsiteX727" fmla="*/ 723900 w 2443162"/>
                <a:gd name="connsiteY727" fmla="*/ 1914525 h 2161222"/>
                <a:gd name="connsiteX728" fmla="*/ 715328 w 2443162"/>
                <a:gd name="connsiteY728" fmla="*/ 1894523 h 2161222"/>
                <a:gd name="connsiteX729" fmla="*/ 705803 w 2443162"/>
                <a:gd name="connsiteY729" fmla="*/ 1872615 h 2161222"/>
                <a:gd name="connsiteX730" fmla="*/ 696278 w 2443162"/>
                <a:gd name="connsiteY730" fmla="*/ 1848803 h 2161222"/>
                <a:gd name="connsiteX731" fmla="*/ 686753 w 2443162"/>
                <a:gd name="connsiteY731" fmla="*/ 1824038 h 2161222"/>
                <a:gd name="connsiteX732" fmla="*/ 675323 w 2443162"/>
                <a:gd name="connsiteY732" fmla="*/ 1798320 h 2161222"/>
                <a:gd name="connsiteX733" fmla="*/ 662940 w 2443162"/>
                <a:gd name="connsiteY733" fmla="*/ 1772603 h 2161222"/>
                <a:gd name="connsiteX734" fmla="*/ 656273 w 2443162"/>
                <a:gd name="connsiteY734" fmla="*/ 1759268 h 2161222"/>
                <a:gd name="connsiteX735" fmla="*/ 649605 w 2443162"/>
                <a:gd name="connsiteY735" fmla="*/ 1745933 h 2161222"/>
                <a:gd name="connsiteX736" fmla="*/ 641985 w 2443162"/>
                <a:gd name="connsiteY736" fmla="*/ 1732598 h 2161222"/>
                <a:gd name="connsiteX737" fmla="*/ 634365 w 2443162"/>
                <a:gd name="connsiteY737" fmla="*/ 1719263 h 2161222"/>
                <a:gd name="connsiteX738" fmla="*/ 625793 w 2443162"/>
                <a:gd name="connsiteY738" fmla="*/ 1705928 h 2161222"/>
                <a:gd name="connsiteX739" fmla="*/ 617220 w 2443162"/>
                <a:gd name="connsiteY739" fmla="*/ 1693545 h 2161222"/>
                <a:gd name="connsiteX740" fmla="*/ 607695 w 2443162"/>
                <a:gd name="connsiteY740" fmla="*/ 1680210 h 2161222"/>
                <a:gd name="connsiteX741" fmla="*/ 598170 w 2443162"/>
                <a:gd name="connsiteY741" fmla="*/ 1667828 h 2161222"/>
                <a:gd name="connsiteX742" fmla="*/ 587693 w 2443162"/>
                <a:gd name="connsiteY742" fmla="*/ 1655445 h 2161222"/>
                <a:gd name="connsiteX743" fmla="*/ 577215 w 2443162"/>
                <a:gd name="connsiteY743" fmla="*/ 1644015 h 2161222"/>
                <a:gd name="connsiteX744" fmla="*/ 565785 w 2443162"/>
                <a:gd name="connsiteY744" fmla="*/ 1632585 h 2161222"/>
                <a:gd name="connsiteX745" fmla="*/ 554355 w 2443162"/>
                <a:gd name="connsiteY745" fmla="*/ 1622108 h 2161222"/>
                <a:gd name="connsiteX746" fmla="*/ 541973 w 2443162"/>
                <a:gd name="connsiteY746" fmla="*/ 1611630 h 2161222"/>
                <a:gd name="connsiteX747" fmla="*/ 528638 w 2443162"/>
                <a:gd name="connsiteY747" fmla="*/ 1601153 h 2161222"/>
                <a:gd name="connsiteX748" fmla="*/ 515303 w 2443162"/>
                <a:gd name="connsiteY748" fmla="*/ 1591628 h 2161222"/>
                <a:gd name="connsiteX749" fmla="*/ 501015 w 2443162"/>
                <a:gd name="connsiteY749" fmla="*/ 1583055 h 2161222"/>
                <a:gd name="connsiteX750" fmla="*/ 515303 w 2443162"/>
                <a:gd name="connsiteY750" fmla="*/ 1630680 h 2161222"/>
                <a:gd name="connsiteX751" fmla="*/ 527685 w 2443162"/>
                <a:gd name="connsiteY751" fmla="*/ 1675448 h 2161222"/>
                <a:gd name="connsiteX752" fmla="*/ 533400 w 2443162"/>
                <a:gd name="connsiteY752" fmla="*/ 1696403 h 2161222"/>
                <a:gd name="connsiteX753" fmla="*/ 539115 w 2443162"/>
                <a:gd name="connsiteY753" fmla="*/ 1716405 h 2161222"/>
                <a:gd name="connsiteX754" fmla="*/ 545783 w 2443162"/>
                <a:gd name="connsiteY754" fmla="*/ 1736408 h 2161222"/>
                <a:gd name="connsiteX755" fmla="*/ 552450 w 2443162"/>
                <a:gd name="connsiteY755" fmla="*/ 1755458 h 2161222"/>
                <a:gd name="connsiteX756" fmla="*/ 556260 w 2443162"/>
                <a:gd name="connsiteY756" fmla="*/ 1764983 h 2161222"/>
                <a:gd name="connsiteX757" fmla="*/ 560070 w 2443162"/>
                <a:gd name="connsiteY757" fmla="*/ 1773555 h 2161222"/>
                <a:gd name="connsiteX758" fmla="*/ 564833 w 2443162"/>
                <a:gd name="connsiteY758" fmla="*/ 1782128 h 2161222"/>
                <a:gd name="connsiteX759" fmla="*/ 569595 w 2443162"/>
                <a:gd name="connsiteY759" fmla="*/ 1790700 h 2161222"/>
                <a:gd name="connsiteX760" fmla="*/ 574358 w 2443162"/>
                <a:gd name="connsiteY760" fmla="*/ 1799273 h 2161222"/>
                <a:gd name="connsiteX761" fmla="*/ 579120 w 2443162"/>
                <a:gd name="connsiteY761" fmla="*/ 1807845 h 2161222"/>
                <a:gd name="connsiteX762" fmla="*/ 583883 w 2443162"/>
                <a:gd name="connsiteY762" fmla="*/ 1816418 h 2161222"/>
                <a:gd name="connsiteX763" fmla="*/ 589598 w 2443162"/>
                <a:gd name="connsiteY763" fmla="*/ 1824038 h 2161222"/>
                <a:gd name="connsiteX764" fmla="*/ 595313 w 2443162"/>
                <a:gd name="connsiteY764" fmla="*/ 1832610 h 2161222"/>
                <a:gd name="connsiteX765" fmla="*/ 601980 w 2443162"/>
                <a:gd name="connsiteY765" fmla="*/ 1840230 h 2161222"/>
                <a:gd name="connsiteX766" fmla="*/ 608648 w 2443162"/>
                <a:gd name="connsiteY766" fmla="*/ 1847850 h 2161222"/>
                <a:gd name="connsiteX767" fmla="*/ 615315 w 2443162"/>
                <a:gd name="connsiteY767" fmla="*/ 1855470 h 2161222"/>
                <a:gd name="connsiteX768" fmla="*/ 622935 w 2443162"/>
                <a:gd name="connsiteY768" fmla="*/ 1863090 h 2161222"/>
                <a:gd name="connsiteX769" fmla="*/ 631508 w 2443162"/>
                <a:gd name="connsiteY769" fmla="*/ 1870710 h 2161222"/>
                <a:gd name="connsiteX770" fmla="*/ 640080 w 2443162"/>
                <a:gd name="connsiteY770" fmla="*/ 1878330 h 2161222"/>
                <a:gd name="connsiteX771" fmla="*/ 649605 w 2443162"/>
                <a:gd name="connsiteY771" fmla="*/ 1885950 h 2161222"/>
                <a:gd name="connsiteX772" fmla="*/ 634365 w 2443162"/>
                <a:gd name="connsiteY772" fmla="*/ 1878330 h 2161222"/>
                <a:gd name="connsiteX773" fmla="*/ 614363 w 2443162"/>
                <a:gd name="connsiteY773" fmla="*/ 1869758 h 2161222"/>
                <a:gd name="connsiteX774" fmla="*/ 590550 w 2443162"/>
                <a:gd name="connsiteY774" fmla="*/ 1860233 h 2161222"/>
                <a:gd name="connsiteX775" fmla="*/ 563880 w 2443162"/>
                <a:gd name="connsiteY775" fmla="*/ 1850708 h 2161222"/>
                <a:gd name="connsiteX776" fmla="*/ 549593 w 2443162"/>
                <a:gd name="connsiteY776" fmla="*/ 1845945 h 2161222"/>
                <a:gd name="connsiteX777" fmla="*/ 534353 w 2443162"/>
                <a:gd name="connsiteY777" fmla="*/ 1841183 h 2161222"/>
                <a:gd name="connsiteX778" fmla="*/ 519113 w 2443162"/>
                <a:gd name="connsiteY778" fmla="*/ 1836420 h 2161222"/>
                <a:gd name="connsiteX779" fmla="*/ 503873 w 2443162"/>
                <a:gd name="connsiteY779" fmla="*/ 1832610 h 2161222"/>
                <a:gd name="connsiteX780" fmla="*/ 488633 w 2443162"/>
                <a:gd name="connsiteY780" fmla="*/ 1828800 h 2161222"/>
                <a:gd name="connsiteX781" fmla="*/ 473393 w 2443162"/>
                <a:gd name="connsiteY781" fmla="*/ 1824990 h 2161222"/>
                <a:gd name="connsiteX782" fmla="*/ 458153 w 2443162"/>
                <a:gd name="connsiteY782" fmla="*/ 1822133 h 2161222"/>
                <a:gd name="connsiteX783" fmla="*/ 442913 w 2443162"/>
                <a:gd name="connsiteY783" fmla="*/ 1819275 h 2161222"/>
                <a:gd name="connsiteX784" fmla="*/ 429578 w 2443162"/>
                <a:gd name="connsiteY784" fmla="*/ 1817370 h 2161222"/>
                <a:gd name="connsiteX785" fmla="*/ 417195 w 2443162"/>
                <a:gd name="connsiteY785" fmla="*/ 1815465 h 2161222"/>
                <a:gd name="connsiteX786" fmla="*/ 405765 w 2443162"/>
                <a:gd name="connsiteY786" fmla="*/ 1813560 h 2161222"/>
                <a:gd name="connsiteX787" fmla="*/ 394335 w 2443162"/>
                <a:gd name="connsiteY787" fmla="*/ 1811655 h 2161222"/>
                <a:gd name="connsiteX788" fmla="*/ 383858 w 2443162"/>
                <a:gd name="connsiteY788" fmla="*/ 1809750 h 2161222"/>
                <a:gd name="connsiteX789" fmla="*/ 373380 w 2443162"/>
                <a:gd name="connsiteY789" fmla="*/ 1806893 h 2161222"/>
                <a:gd name="connsiteX790" fmla="*/ 363855 w 2443162"/>
                <a:gd name="connsiteY790" fmla="*/ 1804035 h 2161222"/>
                <a:gd name="connsiteX791" fmla="*/ 354330 w 2443162"/>
                <a:gd name="connsiteY791" fmla="*/ 1801178 h 2161222"/>
                <a:gd name="connsiteX792" fmla="*/ 344805 w 2443162"/>
                <a:gd name="connsiteY792" fmla="*/ 1798320 h 2161222"/>
                <a:gd name="connsiteX793" fmla="*/ 336233 w 2443162"/>
                <a:gd name="connsiteY793" fmla="*/ 1795463 h 2161222"/>
                <a:gd name="connsiteX794" fmla="*/ 328613 w 2443162"/>
                <a:gd name="connsiteY794" fmla="*/ 1792605 h 2161222"/>
                <a:gd name="connsiteX795" fmla="*/ 320993 w 2443162"/>
                <a:gd name="connsiteY795" fmla="*/ 1789748 h 2161222"/>
                <a:gd name="connsiteX796" fmla="*/ 306705 w 2443162"/>
                <a:gd name="connsiteY796" fmla="*/ 1783080 h 2161222"/>
                <a:gd name="connsiteX797" fmla="*/ 293370 w 2443162"/>
                <a:gd name="connsiteY797" fmla="*/ 1776413 h 2161222"/>
                <a:gd name="connsiteX798" fmla="*/ 280988 w 2443162"/>
                <a:gd name="connsiteY798" fmla="*/ 1769745 h 2161222"/>
                <a:gd name="connsiteX799" fmla="*/ 269558 w 2443162"/>
                <a:gd name="connsiteY799" fmla="*/ 1763078 h 2161222"/>
                <a:gd name="connsiteX800" fmla="*/ 259080 w 2443162"/>
                <a:gd name="connsiteY800" fmla="*/ 1755458 h 2161222"/>
                <a:gd name="connsiteX801" fmla="*/ 248603 w 2443162"/>
                <a:gd name="connsiteY801" fmla="*/ 1748790 h 2161222"/>
                <a:gd name="connsiteX802" fmla="*/ 238125 w 2443162"/>
                <a:gd name="connsiteY802" fmla="*/ 1741170 h 2161222"/>
                <a:gd name="connsiteX803" fmla="*/ 227648 w 2443162"/>
                <a:gd name="connsiteY803" fmla="*/ 1734503 h 2161222"/>
                <a:gd name="connsiteX804" fmla="*/ 217170 w 2443162"/>
                <a:gd name="connsiteY804" fmla="*/ 1727835 h 2161222"/>
                <a:gd name="connsiteX805" fmla="*/ 205740 w 2443162"/>
                <a:gd name="connsiteY805" fmla="*/ 1721168 h 2161222"/>
                <a:gd name="connsiteX806" fmla="*/ 221933 w 2443162"/>
                <a:gd name="connsiteY806" fmla="*/ 1749743 h 2161222"/>
                <a:gd name="connsiteX807" fmla="*/ 238125 w 2443162"/>
                <a:gd name="connsiteY807" fmla="*/ 1775460 h 2161222"/>
                <a:gd name="connsiteX808" fmla="*/ 255270 w 2443162"/>
                <a:gd name="connsiteY808" fmla="*/ 1798320 h 2161222"/>
                <a:gd name="connsiteX809" fmla="*/ 273368 w 2443162"/>
                <a:gd name="connsiteY809" fmla="*/ 1819275 h 2161222"/>
                <a:gd name="connsiteX810" fmla="*/ 291465 w 2443162"/>
                <a:gd name="connsiteY810" fmla="*/ 1838325 h 2161222"/>
                <a:gd name="connsiteX811" fmla="*/ 309563 w 2443162"/>
                <a:gd name="connsiteY811" fmla="*/ 1855470 h 2161222"/>
                <a:gd name="connsiteX812" fmla="*/ 328613 w 2443162"/>
                <a:gd name="connsiteY812" fmla="*/ 1870710 h 2161222"/>
                <a:gd name="connsiteX813" fmla="*/ 347663 w 2443162"/>
                <a:gd name="connsiteY813" fmla="*/ 1884045 h 2161222"/>
                <a:gd name="connsiteX814" fmla="*/ 366713 w 2443162"/>
                <a:gd name="connsiteY814" fmla="*/ 1895475 h 2161222"/>
                <a:gd name="connsiteX815" fmla="*/ 386715 w 2443162"/>
                <a:gd name="connsiteY815" fmla="*/ 1905953 h 2161222"/>
                <a:gd name="connsiteX816" fmla="*/ 406718 w 2443162"/>
                <a:gd name="connsiteY816" fmla="*/ 1914525 h 2161222"/>
                <a:gd name="connsiteX817" fmla="*/ 426720 w 2443162"/>
                <a:gd name="connsiteY817" fmla="*/ 1921193 h 2161222"/>
                <a:gd name="connsiteX818" fmla="*/ 446723 w 2443162"/>
                <a:gd name="connsiteY818" fmla="*/ 1926908 h 2161222"/>
                <a:gd name="connsiteX819" fmla="*/ 466725 w 2443162"/>
                <a:gd name="connsiteY819" fmla="*/ 1931670 h 2161222"/>
                <a:gd name="connsiteX820" fmla="*/ 486728 w 2443162"/>
                <a:gd name="connsiteY820" fmla="*/ 1935480 h 2161222"/>
                <a:gd name="connsiteX821" fmla="*/ 506730 w 2443162"/>
                <a:gd name="connsiteY821" fmla="*/ 1938338 h 2161222"/>
                <a:gd name="connsiteX822" fmla="*/ 525780 w 2443162"/>
                <a:gd name="connsiteY822" fmla="*/ 1940243 h 2161222"/>
                <a:gd name="connsiteX823" fmla="*/ 544830 w 2443162"/>
                <a:gd name="connsiteY823" fmla="*/ 1941195 h 2161222"/>
                <a:gd name="connsiteX824" fmla="*/ 562928 w 2443162"/>
                <a:gd name="connsiteY824" fmla="*/ 1941195 h 2161222"/>
                <a:gd name="connsiteX825" fmla="*/ 581025 w 2443162"/>
                <a:gd name="connsiteY825" fmla="*/ 1941195 h 2161222"/>
                <a:gd name="connsiteX826" fmla="*/ 615315 w 2443162"/>
                <a:gd name="connsiteY826" fmla="*/ 1940243 h 2161222"/>
                <a:gd name="connsiteX827" fmla="*/ 647700 w 2443162"/>
                <a:gd name="connsiteY827" fmla="*/ 1939290 h 2161222"/>
                <a:gd name="connsiteX828" fmla="*/ 662940 w 2443162"/>
                <a:gd name="connsiteY828" fmla="*/ 1939290 h 2161222"/>
                <a:gd name="connsiteX829" fmla="*/ 677228 w 2443162"/>
                <a:gd name="connsiteY829" fmla="*/ 1939290 h 2161222"/>
                <a:gd name="connsiteX830" fmla="*/ 690563 w 2443162"/>
                <a:gd name="connsiteY830" fmla="*/ 1939290 h 2161222"/>
                <a:gd name="connsiteX831" fmla="*/ 702945 w 2443162"/>
                <a:gd name="connsiteY831" fmla="*/ 1939290 h 2161222"/>
                <a:gd name="connsiteX832" fmla="*/ 714375 w 2443162"/>
                <a:gd name="connsiteY832" fmla="*/ 1940243 h 2161222"/>
                <a:gd name="connsiteX833" fmla="*/ 724853 w 2443162"/>
                <a:gd name="connsiteY833" fmla="*/ 1942148 h 2161222"/>
                <a:gd name="connsiteX834" fmla="*/ 734378 w 2443162"/>
                <a:gd name="connsiteY834" fmla="*/ 1945005 h 2161222"/>
                <a:gd name="connsiteX835" fmla="*/ 741045 w 2443162"/>
                <a:gd name="connsiteY835" fmla="*/ 1945958 h 2161222"/>
                <a:gd name="connsiteX836" fmla="*/ 741045 w 2443162"/>
                <a:gd name="connsiteY836" fmla="*/ 1945958 h 2161222"/>
                <a:gd name="connsiteX837" fmla="*/ 1972628 w 2443162"/>
                <a:gd name="connsiteY837" fmla="*/ 374333 h 2161222"/>
                <a:gd name="connsiteX838" fmla="*/ 1958340 w 2443162"/>
                <a:gd name="connsiteY838" fmla="*/ 352425 h 2161222"/>
                <a:gd name="connsiteX839" fmla="*/ 1943100 w 2443162"/>
                <a:gd name="connsiteY839" fmla="*/ 328613 h 2161222"/>
                <a:gd name="connsiteX840" fmla="*/ 1926908 w 2443162"/>
                <a:gd name="connsiteY840" fmla="*/ 304800 h 2161222"/>
                <a:gd name="connsiteX841" fmla="*/ 1910715 w 2443162"/>
                <a:gd name="connsiteY841" fmla="*/ 280988 h 2161222"/>
                <a:gd name="connsiteX842" fmla="*/ 1894523 w 2443162"/>
                <a:gd name="connsiteY842" fmla="*/ 259080 h 2161222"/>
                <a:gd name="connsiteX843" fmla="*/ 1879283 w 2443162"/>
                <a:gd name="connsiteY843" fmla="*/ 238125 h 2161222"/>
                <a:gd name="connsiteX844" fmla="*/ 1871663 w 2443162"/>
                <a:gd name="connsiteY844" fmla="*/ 229553 h 2161222"/>
                <a:gd name="connsiteX845" fmla="*/ 1864995 w 2443162"/>
                <a:gd name="connsiteY845" fmla="*/ 220980 h 2161222"/>
                <a:gd name="connsiteX846" fmla="*/ 1858328 w 2443162"/>
                <a:gd name="connsiteY846" fmla="*/ 214313 h 2161222"/>
                <a:gd name="connsiteX847" fmla="*/ 1852613 w 2443162"/>
                <a:gd name="connsiteY847" fmla="*/ 208598 h 2161222"/>
                <a:gd name="connsiteX848" fmla="*/ 1867853 w 2443162"/>
                <a:gd name="connsiteY848" fmla="*/ 212408 h 2161222"/>
                <a:gd name="connsiteX849" fmla="*/ 1883093 w 2443162"/>
                <a:gd name="connsiteY849" fmla="*/ 217170 h 2161222"/>
                <a:gd name="connsiteX850" fmla="*/ 1897380 w 2443162"/>
                <a:gd name="connsiteY850" fmla="*/ 221933 h 2161222"/>
                <a:gd name="connsiteX851" fmla="*/ 1911668 w 2443162"/>
                <a:gd name="connsiteY851" fmla="*/ 226695 h 2161222"/>
                <a:gd name="connsiteX852" fmla="*/ 1925955 w 2443162"/>
                <a:gd name="connsiteY852" fmla="*/ 232410 h 2161222"/>
                <a:gd name="connsiteX853" fmla="*/ 1940243 w 2443162"/>
                <a:gd name="connsiteY853" fmla="*/ 239078 h 2161222"/>
                <a:gd name="connsiteX854" fmla="*/ 1953578 w 2443162"/>
                <a:gd name="connsiteY854" fmla="*/ 245745 h 2161222"/>
                <a:gd name="connsiteX855" fmla="*/ 1966913 w 2443162"/>
                <a:gd name="connsiteY855" fmla="*/ 253365 h 2161222"/>
                <a:gd name="connsiteX856" fmla="*/ 1980248 w 2443162"/>
                <a:gd name="connsiteY856" fmla="*/ 260985 h 2161222"/>
                <a:gd name="connsiteX857" fmla="*/ 1992630 w 2443162"/>
                <a:gd name="connsiteY857" fmla="*/ 269558 h 2161222"/>
                <a:gd name="connsiteX858" fmla="*/ 2005013 w 2443162"/>
                <a:gd name="connsiteY858" fmla="*/ 278130 h 2161222"/>
                <a:gd name="connsiteX859" fmla="*/ 2016443 w 2443162"/>
                <a:gd name="connsiteY859" fmla="*/ 287655 h 2161222"/>
                <a:gd name="connsiteX860" fmla="*/ 2027873 w 2443162"/>
                <a:gd name="connsiteY860" fmla="*/ 298133 h 2161222"/>
                <a:gd name="connsiteX861" fmla="*/ 2038350 w 2443162"/>
                <a:gd name="connsiteY861" fmla="*/ 308610 h 2161222"/>
                <a:gd name="connsiteX862" fmla="*/ 2048828 w 2443162"/>
                <a:gd name="connsiteY862" fmla="*/ 319088 h 2161222"/>
                <a:gd name="connsiteX863" fmla="*/ 2059305 w 2443162"/>
                <a:gd name="connsiteY863" fmla="*/ 329565 h 2161222"/>
                <a:gd name="connsiteX864" fmla="*/ 2069783 w 2443162"/>
                <a:gd name="connsiteY864" fmla="*/ 340995 h 2161222"/>
                <a:gd name="connsiteX865" fmla="*/ 2079308 w 2443162"/>
                <a:gd name="connsiteY865" fmla="*/ 352425 h 2161222"/>
                <a:gd name="connsiteX866" fmla="*/ 2088833 w 2443162"/>
                <a:gd name="connsiteY866" fmla="*/ 363855 h 2161222"/>
                <a:gd name="connsiteX867" fmla="*/ 2097405 w 2443162"/>
                <a:gd name="connsiteY867" fmla="*/ 376238 h 2161222"/>
                <a:gd name="connsiteX868" fmla="*/ 2105978 w 2443162"/>
                <a:gd name="connsiteY868" fmla="*/ 388620 h 2161222"/>
                <a:gd name="connsiteX869" fmla="*/ 2113598 w 2443162"/>
                <a:gd name="connsiteY869" fmla="*/ 401955 h 2161222"/>
                <a:gd name="connsiteX870" fmla="*/ 2121218 w 2443162"/>
                <a:gd name="connsiteY870" fmla="*/ 415290 h 2161222"/>
                <a:gd name="connsiteX871" fmla="*/ 2127885 w 2443162"/>
                <a:gd name="connsiteY871" fmla="*/ 428625 h 2161222"/>
                <a:gd name="connsiteX872" fmla="*/ 2134553 w 2443162"/>
                <a:gd name="connsiteY872" fmla="*/ 441960 h 2161222"/>
                <a:gd name="connsiteX873" fmla="*/ 2141220 w 2443162"/>
                <a:gd name="connsiteY873" fmla="*/ 456248 h 2161222"/>
                <a:gd name="connsiteX874" fmla="*/ 2146935 w 2443162"/>
                <a:gd name="connsiteY874" fmla="*/ 470535 h 2161222"/>
                <a:gd name="connsiteX875" fmla="*/ 2151698 w 2443162"/>
                <a:gd name="connsiteY875" fmla="*/ 484823 h 2161222"/>
                <a:gd name="connsiteX876" fmla="*/ 2156460 w 2443162"/>
                <a:gd name="connsiteY876" fmla="*/ 499110 h 2161222"/>
                <a:gd name="connsiteX877" fmla="*/ 2161223 w 2443162"/>
                <a:gd name="connsiteY877" fmla="*/ 514350 h 2161222"/>
                <a:gd name="connsiteX878" fmla="*/ 2165033 w 2443162"/>
                <a:gd name="connsiteY878" fmla="*/ 529590 h 2161222"/>
                <a:gd name="connsiteX879" fmla="*/ 2168843 w 2443162"/>
                <a:gd name="connsiteY879" fmla="*/ 544830 h 2161222"/>
                <a:gd name="connsiteX880" fmla="*/ 2155508 w 2443162"/>
                <a:gd name="connsiteY880" fmla="*/ 532448 h 2161222"/>
                <a:gd name="connsiteX881" fmla="*/ 2142173 w 2443162"/>
                <a:gd name="connsiteY881" fmla="*/ 521018 h 2161222"/>
                <a:gd name="connsiteX882" fmla="*/ 2127885 w 2443162"/>
                <a:gd name="connsiteY882" fmla="*/ 509588 h 2161222"/>
                <a:gd name="connsiteX883" fmla="*/ 2114550 w 2443162"/>
                <a:gd name="connsiteY883" fmla="*/ 499110 h 2161222"/>
                <a:gd name="connsiteX884" fmla="*/ 2086928 w 2443162"/>
                <a:gd name="connsiteY884" fmla="*/ 478155 h 2161222"/>
                <a:gd name="connsiteX885" fmla="*/ 2060258 w 2443162"/>
                <a:gd name="connsiteY885" fmla="*/ 457200 h 2161222"/>
                <a:gd name="connsiteX886" fmla="*/ 2047875 w 2443162"/>
                <a:gd name="connsiteY886" fmla="*/ 447675 h 2161222"/>
                <a:gd name="connsiteX887" fmla="*/ 2035493 w 2443162"/>
                <a:gd name="connsiteY887" fmla="*/ 437198 h 2161222"/>
                <a:gd name="connsiteX888" fmla="*/ 2024063 w 2443162"/>
                <a:gd name="connsiteY888" fmla="*/ 426720 h 2161222"/>
                <a:gd name="connsiteX889" fmla="*/ 2012633 w 2443162"/>
                <a:gd name="connsiteY889" fmla="*/ 417195 h 2161222"/>
                <a:gd name="connsiteX890" fmla="*/ 2002155 w 2443162"/>
                <a:gd name="connsiteY890" fmla="*/ 406718 h 2161222"/>
                <a:gd name="connsiteX891" fmla="*/ 1992630 w 2443162"/>
                <a:gd name="connsiteY891" fmla="*/ 396240 h 2161222"/>
                <a:gd name="connsiteX892" fmla="*/ 1987868 w 2443162"/>
                <a:gd name="connsiteY892" fmla="*/ 391478 h 2161222"/>
                <a:gd name="connsiteX893" fmla="*/ 1984058 w 2443162"/>
                <a:gd name="connsiteY893" fmla="*/ 386715 h 2161222"/>
                <a:gd name="connsiteX894" fmla="*/ 1980248 w 2443162"/>
                <a:gd name="connsiteY894" fmla="*/ 381000 h 2161222"/>
                <a:gd name="connsiteX895" fmla="*/ 1972628 w 2443162"/>
                <a:gd name="connsiteY895" fmla="*/ 374333 h 2161222"/>
                <a:gd name="connsiteX896" fmla="*/ 1972628 w 2443162"/>
                <a:gd name="connsiteY896" fmla="*/ 374333 h 2161222"/>
                <a:gd name="connsiteX897" fmla="*/ 2059305 w 2443162"/>
                <a:gd name="connsiteY897" fmla="*/ 635318 h 2161222"/>
                <a:gd name="connsiteX898" fmla="*/ 2064068 w 2443162"/>
                <a:gd name="connsiteY898" fmla="*/ 642938 h 2161222"/>
                <a:gd name="connsiteX899" fmla="*/ 2069783 w 2443162"/>
                <a:gd name="connsiteY899" fmla="*/ 650558 h 2161222"/>
                <a:gd name="connsiteX900" fmla="*/ 2076450 w 2443162"/>
                <a:gd name="connsiteY900" fmla="*/ 658178 h 2161222"/>
                <a:gd name="connsiteX901" fmla="*/ 2084070 w 2443162"/>
                <a:gd name="connsiteY901" fmla="*/ 665798 h 2161222"/>
                <a:gd name="connsiteX902" fmla="*/ 2092643 w 2443162"/>
                <a:gd name="connsiteY902" fmla="*/ 674370 h 2161222"/>
                <a:gd name="connsiteX903" fmla="*/ 2102168 w 2443162"/>
                <a:gd name="connsiteY903" fmla="*/ 682943 h 2161222"/>
                <a:gd name="connsiteX904" fmla="*/ 2111693 w 2443162"/>
                <a:gd name="connsiteY904" fmla="*/ 691515 h 2161222"/>
                <a:gd name="connsiteX905" fmla="*/ 2121218 w 2443162"/>
                <a:gd name="connsiteY905" fmla="*/ 700088 h 2161222"/>
                <a:gd name="connsiteX906" fmla="*/ 2142173 w 2443162"/>
                <a:gd name="connsiteY906" fmla="*/ 718185 h 2161222"/>
                <a:gd name="connsiteX907" fmla="*/ 2164080 w 2443162"/>
                <a:gd name="connsiteY907" fmla="*/ 738188 h 2161222"/>
                <a:gd name="connsiteX908" fmla="*/ 2175510 w 2443162"/>
                <a:gd name="connsiteY908" fmla="*/ 748665 h 2161222"/>
                <a:gd name="connsiteX909" fmla="*/ 2186940 w 2443162"/>
                <a:gd name="connsiteY909" fmla="*/ 759143 h 2161222"/>
                <a:gd name="connsiteX910" fmla="*/ 2198370 w 2443162"/>
                <a:gd name="connsiteY910" fmla="*/ 770573 h 2161222"/>
                <a:gd name="connsiteX911" fmla="*/ 2208848 w 2443162"/>
                <a:gd name="connsiteY911" fmla="*/ 782003 h 2161222"/>
                <a:gd name="connsiteX912" fmla="*/ 2214563 w 2443162"/>
                <a:gd name="connsiteY912" fmla="*/ 788670 h 2161222"/>
                <a:gd name="connsiteX913" fmla="*/ 2220278 w 2443162"/>
                <a:gd name="connsiteY913" fmla="*/ 797243 h 2161222"/>
                <a:gd name="connsiteX914" fmla="*/ 2225993 w 2443162"/>
                <a:gd name="connsiteY914" fmla="*/ 806768 h 2161222"/>
                <a:gd name="connsiteX915" fmla="*/ 2231708 w 2443162"/>
                <a:gd name="connsiteY915" fmla="*/ 816293 h 2161222"/>
                <a:gd name="connsiteX916" fmla="*/ 2237423 w 2443162"/>
                <a:gd name="connsiteY916" fmla="*/ 826770 h 2161222"/>
                <a:gd name="connsiteX917" fmla="*/ 2243138 w 2443162"/>
                <a:gd name="connsiteY917" fmla="*/ 837248 h 2161222"/>
                <a:gd name="connsiteX918" fmla="*/ 2248853 w 2443162"/>
                <a:gd name="connsiteY918" fmla="*/ 848678 h 2161222"/>
                <a:gd name="connsiteX919" fmla="*/ 2253615 w 2443162"/>
                <a:gd name="connsiteY919" fmla="*/ 860108 h 2161222"/>
                <a:gd name="connsiteX920" fmla="*/ 2258378 w 2443162"/>
                <a:gd name="connsiteY920" fmla="*/ 872490 h 2161222"/>
                <a:gd name="connsiteX921" fmla="*/ 2263140 w 2443162"/>
                <a:gd name="connsiteY921" fmla="*/ 884873 h 2161222"/>
                <a:gd name="connsiteX922" fmla="*/ 2267903 w 2443162"/>
                <a:gd name="connsiteY922" fmla="*/ 897255 h 2161222"/>
                <a:gd name="connsiteX923" fmla="*/ 2272665 w 2443162"/>
                <a:gd name="connsiteY923" fmla="*/ 909638 h 2161222"/>
                <a:gd name="connsiteX924" fmla="*/ 2276475 w 2443162"/>
                <a:gd name="connsiteY924" fmla="*/ 922020 h 2161222"/>
                <a:gd name="connsiteX925" fmla="*/ 2280285 w 2443162"/>
                <a:gd name="connsiteY925" fmla="*/ 934403 h 2161222"/>
                <a:gd name="connsiteX926" fmla="*/ 2283143 w 2443162"/>
                <a:gd name="connsiteY926" fmla="*/ 945833 h 2161222"/>
                <a:gd name="connsiteX927" fmla="*/ 2286000 w 2443162"/>
                <a:gd name="connsiteY927" fmla="*/ 957263 h 2161222"/>
                <a:gd name="connsiteX928" fmla="*/ 2296478 w 2443162"/>
                <a:gd name="connsiteY928" fmla="*/ 862013 h 2161222"/>
                <a:gd name="connsiteX929" fmla="*/ 2299335 w 2443162"/>
                <a:gd name="connsiteY929" fmla="*/ 842963 h 2161222"/>
                <a:gd name="connsiteX930" fmla="*/ 2302193 w 2443162"/>
                <a:gd name="connsiteY930" fmla="*/ 823913 h 2161222"/>
                <a:gd name="connsiteX931" fmla="*/ 2306003 w 2443162"/>
                <a:gd name="connsiteY931" fmla="*/ 804863 h 2161222"/>
                <a:gd name="connsiteX932" fmla="*/ 2308860 w 2443162"/>
                <a:gd name="connsiteY932" fmla="*/ 784860 h 2161222"/>
                <a:gd name="connsiteX933" fmla="*/ 2311718 w 2443162"/>
                <a:gd name="connsiteY933" fmla="*/ 764858 h 2161222"/>
                <a:gd name="connsiteX934" fmla="*/ 2314575 w 2443162"/>
                <a:gd name="connsiteY934" fmla="*/ 744855 h 2161222"/>
                <a:gd name="connsiteX935" fmla="*/ 2316480 w 2443162"/>
                <a:gd name="connsiteY935" fmla="*/ 724853 h 2161222"/>
                <a:gd name="connsiteX936" fmla="*/ 2318385 w 2443162"/>
                <a:gd name="connsiteY936" fmla="*/ 704850 h 2161222"/>
                <a:gd name="connsiteX937" fmla="*/ 2319338 w 2443162"/>
                <a:gd name="connsiteY937" fmla="*/ 684848 h 2161222"/>
                <a:gd name="connsiteX938" fmla="*/ 2320290 w 2443162"/>
                <a:gd name="connsiteY938" fmla="*/ 664845 h 2161222"/>
                <a:gd name="connsiteX939" fmla="*/ 2320290 w 2443162"/>
                <a:gd name="connsiteY939" fmla="*/ 644843 h 2161222"/>
                <a:gd name="connsiteX940" fmla="*/ 2319338 w 2443162"/>
                <a:gd name="connsiteY940" fmla="*/ 624840 h 2161222"/>
                <a:gd name="connsiteX941" fmla="*/ 2318385 w 2443162"/>
                <a:gd name="connsiteY941" fmla="*/ 615315 h 2161222"/>
                <a:gd name="connsiteX942" fmla="*/ 2317433 w 2443162"/>
                <a:gd name="connsiteY942" fmla="*/ 604838 h 2161222"/>
                <a:gd name="connsiteX943" fmla="*/ 2316480 w 2443162"/>
                <a:gd name="connsiteY943" fmla="*/ 595313 h 2161222"/>
                <a:gd name="connsiteX944" fmla="*/ 2315528 w 2443162"/>
                <a:gd name="connsiteY944" fmla="*/ 585788 h 2161222"/>
                <a:gd name="connsiteX945" fmla="*/ 2313623 w 2443162"/>
                <a:gd name="connsiteY945" fmla="*/ 576263 h 2161222"/>
                <a:gd name="connsiteX946" fmla="*/ 2311718 w 2443162"/>
                <a:gd name="connsiteY946" fmla="*/ 566738 h 2161222"/>
                <a:gd name="connsiteX947" fmla="*/ 2309813 w 2443162"/>
                <a:gd name="connsiteY947" fmla="*/ 557213 h 2161222"/>
                <a:gd name="connsiteX948" fmla="*/ 2306955 w 2443162"/>
                <a:gd name="connsiteY948" fmla="*/ 547688 h 2161222"/>
                <a:gd name="connsiteX949" fmla="*/ 2321243 w 2443162"/>
                <a:gd name="connsiteY949" fmla="*/ 573405 h 2161222"/>
                <a:gd name="connsiteX950" fmla="*/ 2335530 w 2443162"/>
                <a:gd name="connsiteY950" fmla="*/ 599123 h 2161222"/>
                <a:gd name="connsiteX951" fmla="*/ 2342198 w 2443162"/>
                <a:gd name="connsiteY951" fmla="*/ 612458 h 2161222"/>
                <a:gd name="connsiteX952" fmla="*/ 2348865 w 2443162"/>
                <a:gd name="connsiteY952" fmla="*/ 625793 h 2161222"/>
                <a:gd name="connsiteX953" fmla="*/ 2354580 w 2443162"/>
                <a:gd name="connsiteY953" fmla="*/ 639128 h 2161222"/>
                <a:gd name="connsiteX954" fmla="*/ 2360295 w 2443162"/>
                <a:gd name="connsiteY954" fmla="*/ 652463 h 2161222"/>
                <a:gd name="connsiteX955" fmla="*/ 2365058 w 2443162"/>
                <a:gd name="connsiteY955" fmla="*/ 665798 h 2161222"/>
                <a:gd name="connsiteX956" fmla="*/ 2369820 w 2443162"/>
                <a:gd name="connsiteY956" fmla="*/ 679133 h 2161222"/>
                <a:gd name="connsiteX957" fmla="*/ 2374583 w 2443162"/>
                <a:gd name="connsiteY957" fmla="*/ 693420 h 2161222"/>
                <a:gd name="connsiteX958" fmla="*/ 2378393 w 2443162"/>
                <a:gd name="connsiteY958" fmla="*/ 707708 h 2161222"/>
                <a:gd name="connsiteX959" fmla="*/ 2381250 w 2443162"/>
                <a:gd name="connsiteY959" fmla="*/ 721995 h 2161222"/>
                <a:gd name="connsiteX960" fmla="*/ 2383155 w 2443162"/>
                <a:gd name="connsiteY960" fmla="*/ 737235 h 2161222"/>
                <a:gd name="connsiteX961" fmla="*/ 2384108 w 2443162"/>
                <a:gd name="connsiteY961" fmla="*/ 744855 h 2161222"/>
                <a:gd name="connsiteX962" fmla="*/ 2385060 w 2443162"/>
                <a:gd name="connsiteY962" fmla="*/ 752475 h 2161222"/>
                <a:gd name="connsiteX963" fmla="*/ 2385060 w 2443162"/>
                <a:gd name="connsiteY963" fmla="*/ 760095 h 2161222"/>
                <a:gd name="connsiteX964" fmla="*/ 2385060 w 2443162"/>
                <a:gd name="connsiteY964" fmla="*/ 767715 h 2161222"/>
                <a:gd name="connsiteX965" fmla="*/ 2385060 w 2443162"/>
                <a:gd name="connsiteY965" fmla="*/ 778193 h 2161222"/>
                <a:gd name="connsiteX966" fmla="*/ 2385060 w 2443162"/>
                <a:gd name="connsiteY966" fmla="*/ 788670 h 2161222"/>
                <a:gd name="connsiteX967" fmla="*/ 2384108 w 2443162"/>
                <a:gd name="connsiteY967" fmla="*/ 799148 h 2161222"/>
                <a:gd name="connsiteX968" fmla="*/ 2383155 w 2443162"/>
                <a:gd name="connsiteY968" fmla="*/ 809625 h 2161222"/>
                <a:gd name="connsiteX969" fmla="*/ 2381250 w 2443162"/>
                <a:gd name="connsiteY969" fmla="*/ 820103 h 2161222"/>
                <a:gd name="connsiteX970" fmla="*/ 2379345 w 2443162"/>
                <a:gd name="connsiteY970" fmla="*/ 830580 h 2161222"/>
                <a:gd name="connsiteX971" fmla="*/ 2377440 w 2443162"/>
                <a:gd name="connsiteY971" fmla="*/ 840105 h 2161222"/>
                <a:gd name="connsiteX972" fmla="*/ 2375535 w 2443162"/>
                <a:gd name="connsiteY972" fmla="*/ 849630 h 2161222"/>
                <a:gd name="connsiteX973" fmla="*/ 2372678 w 2443162"/>
                <a:gd name="connsiteY973" fmla="*/ 859155 h 2161222"/>
                <a:gd name="connsiteX974" fmla="*/ 2369820 w 2443162"/>
                <a:gd name="connsiteY974" fmla="*/ 868680 h 2161222"/>
                <a:gd name="connsiteX975" fmla="*/ 2366963 w 2443162"/>
                <a:gd name="connsiteY975" fmla="*/ 878205 h 2161222"/>
                <a:gd name="connsiteX976" fmla="*/ 2364105 w 2443162"/>
                <a:gd name="connsiteY976" fmla="*/ 887730 h 2161222"/>
                <a:gd name="connsiteX977" fmla="*/ 2357438 w 2443162"/>
                <a:gd name="connsiteY977" fmla="*/ 905828 h 2161222"/>
                <a:gd name="connsiteX978" fmla="*/ 2349818 w 2443162"/>
                <a:gd name="connsiteY978" fmla="*/ 922973 h 2161222"/>
                <a:gd name="connsiteX979" fmla="*/ 2333625 w 2443162"/>
                <a:gd name="connsiteY979" fmla="*/ 958215 h 2161222"/>
                <a:gd name="connsiteX980" fmla="*/ 2317433 w 2443162"/>
                <a:gd name="connsiteY980" fmla="*/ 993458 h 2161222"/>
                <a:gd name="connsiteX981" fmla="*/ 2309813 w 2443162"/>
                <a:gd name="connsiteY981" fmla="*/ 1011555 h 2161222"/>
                <a:gd name="connsiteX982" fmla="*/ 2302193 w 2443162"/>
                <a:gd name="connsiteY982" fmla="*/ 1029653 h 2161222"/>
                <a:gd name="connsiteX983" fmla="*/ 2295525 w 2443162"/>
                <a:gd name="connsiteY983" fmla="*/ 1047750 h 2161222"/>
                <a:gd name="connsiteX984" fmla="*/ 2288858 w 2443162"/>
                <a:gd name="connsiteY984" fmla="*/ 1066800 h 2161222"/>
                <a:gd name="connsiteX985" fmla="*/ 2287905 w 2443162"/>
                <a:gd name="connsiteY985" fmla="*/ 1061085 h 2161222"/>
                <a:gd name="connsiteX986" fmla="*/ 2286953 w 2443162"/>
                <a:gd name="connsiteY986" fmla="*/ 1054418 h 2161222"/>
                <a:gd name="connsiteX987" fmla="*/ 2285048 w 2443162"/>
                <a:gd name="connsiteY987" fmla="*/ 1047750 h 2161222"/>
                <a:gd name="connsiteX988" fmla="*/ 2283143 w 2443162"/>
                <a:gd name="connsiteY988" fmla="*/ 1041083 h 2161222"/>
                <a:gd name="connsiteX989" fmla="*/ 2280285 w 2443162"/>
                <a:gd name="connsiteY989" fmla="*/ 1034415 h 2161222"/>
                <a:gd name="connsiteX990" fmla="*/ 2277428 w 2443162"/>
                <a:gd name="connsiteY990" fmla="*/ 1026795 h 2161222"/>
                <a:gd name="connsiteX991" fmla="*/ 2274570 w 2443162"/>
                <a:gd name="connsiteY991" fmla="*/ 1019175 h 2161222"/>
                <a:gd name="connsiteX992" fmla="*/ 2270760 w 2443162"/>
                <a:gd name="connsiteY992" fmla="*/ 1011555 h 2161222"/>
                <a:gd name="connsiteX993" fmla="*/ 2263140 w 2443162"/>
                <a:gd name="connsiteY993" fmla="*/ 996315 h 2161222"/>
                <a:gd name="connsiteX994" fmla="*/ 2254568 w 2443162"/>
                <a:gd name="connsiteY994" fmla="*/ 980123 h 2161222"/>
                <a:gd name="connsiteX995" fmla="*/ 2245043 w 2443162"/>
                <a:gd name="connsiteY995" fmla="*/ 963930 h 2161222"/>
                <a:gd name="connsiteX996" fmla="*/ 2235518 w 2443162"/>
                <a:gd name="connsiteY996" fmla="*/ 947738 h 2161222"/>
                <a:gd name="connsiteX997" fmla="*/ 2225993 w 2443162"/>
                <a:gd name="connsiteY997" fmla="*/ 932498 h 2161222"/>
                <a:gd name="connsiteX998" fmla="*/ 2215515 w 2443162"/>
                <a:gd name="connsiteY998" fmla="*/ 917258 h 2161222"/>
                <a:gd name="connsiteX999" fmla="*/ 2205038 w 2443162"/>
                <a:gd name="connsiteY999" fmla="*/ 902018 h 2161222"/>
                <a:gd name="connsiteX1000" fmla="*/ 2194560 w 2443162"/>
                <a:gd name="connsiteY1000" fmla="*/ 888683 h 2161222"/>
                <a:gd name="connsiteX1001" fmla="*/ 2185035 w 2443162"/>
                <a:gd name="connsiteY1001" fmla="*/ 875348 h 2161222"/>
                <a:gd name="connsiteX1002" fmla="*/ 2176463 w 2443162"/>
                <a:gd name="connsiteY1002" fmla="*/ 863918 h 2161222"/>
                <a:gd name="connsiteX1003" fmla="*/ 2167890 w 2443162"/>
                <a:gd name="connsiteY1003" fmla="*/ 853440 h 2161222"/>
                <a:gd name="connsiteX1004" fmla="*/ 2160270 w 2443162"/>
                <a:gd name="connsiteY1004" fmla="*/ 844868 h 2161222"/>
                <a:gd name="connsiteX1005" fmla="*/ 2148840 w 2443162"/>
                <a:gd name="connsiteY1005" fmla="*/ 829628 h 2161222"/>
                <a:gd name="connsiteX1006" fmla="*/ 2138363 w 2443162"/>
                <a:gd name="connsiteY1006" fmla="*/ 816293 h 2161222"/>
                <a:gd name="connsiteX1007" fmla="*/ 2129790 w 2443162"/>
                <a:gd name="connsiteY1007" fmla="*/ 803910 h 2161222"/>
                <a:gd name="connsiteX1008" fmla="*/ 2122170 w 2443162"/>
                <a:gd name="connsiteY1008" fmla="*/ 792480 h 2161222"/>
                <a:gd name="connsiteX1009" fmla="*/ 2115503 w 2443162"/>
                <a:gd name="connsiteY1009" fmla="*/ 782003 h 2161222"/>
                <a:gd name="connsiteX1010" fmla="*/ 2109788 w 2443162"/>
                <a:gd name="connsiteY1010" fmla="*/ 771525 h 2161222"/>
                <a:gd name="connsiteX1011" fmla="*/ 2105025 w 2443162"/>
                <a:gd name="connsiteY1011" fmla="*/ 761048 h 2161222"/>
                <a:gd name="connsiteX1012" fmla="*/ 2100263 w 2443162"/>
                <a:gd name="connsiteY1012" fmla="*/ 750570 h 2161222"/>
                <a:gd name="connsiteX1013" fmla="*/ 2095500 w 2443162"/>
                <a:gd name="connsiteY1013" fmla="*/ 740093 h 2161222"/>
                <a:gd name="connsiteX1014" fmla="*/ 2091690 w 2443162"/>
                <a:gd name="connsiteY1014" fmla="*/ 729615 h 2161222"/>
                <a:gd name="connsiteX1015" fmla="*/ 2086928 w 2443162"/>
                <a:gd name="connsiteY1015" fmla="*/ 718185 h 2161222"/>
                <a:gd name="connsiteX1016" fmla="*/ 2082165 w 2443162"/>
                <a:gd name="connsiteY1016" fmla="*/ 705803 h 2161222"/>
                <a:gd name="connsiteX1017" fmla="*/ 2072640 w 2443162"/>
                <a:gd name="connsiteY1017" fmla="*/ 677228 h 2161222"/>
                <a:gd name="connsiteX1018" fmla="*/ 2059305 w 2443162"/>
                <a:gd name="connsiteY1018" fmla="*/ 635318 h 2161222"/>
                <a:gd name="connsiteX1019" fmla="*/ 2059305 w 2443162"/>
                <a:gd name="connsiteY1019" fmla="*/ 635318 h 2161222"/>
                <a:gd name="connsiteX1020" fmla="*/ 2132648 w 2443162"/>
                <a:gd name="connsiteY1020" fmla="*/ 882968 h 2161222"/>
                <a:gd name="connsiteX1021" fmla="*/ 2147888 w 2443162"/>
                <a:gd name="connsiteY1021" fmla="*/ 902970 h 2161222"/>
                <a:gd name="connsiteX1022" fmla="*/ 2162175 w 2443162"/>
                <a:gd name="connsiteY1022" fmla="*/ 922020 h 2161222"/>
                <a:gd name="connsiteX1023" fmla="*/ 2176463 w 2443162"/>
                <a:gd name="connsiteY1023" fmla="*/ 941070 h 2161222"/>
                <a:gd name="connsiteX1024" fmla="*/ 2189798 w 2443162"/>
                <a:gd name="connsiteY1024" fmla="*/ 960120 h 2161222"/>
                <a:gd name="connsiteX1025" fmla="*/ 2202180 w 2443162"/>
                <a:gd name="connsiteY1025" fmla="*/ 978218 h 2161222"/>
                <a:gd name="connsiteX1026" fmla="*/ 2212658 w 2443162"/>
                <a:gd name="connsiteY1026" fmla="*/ 997268 h 2161222"/>
                <a:gd name="connsiteX1027" fmla="*/ 2217420 w 2443162"/>
                <a:gd name="connsiteY1027" fmla="*/ 1006793 h 2161222"/>
                <a:gd name="connsiteX1028" fmla="*/ 2222183 w 2443162"/>
                <a:gd name="connsiteY1028" fmla="*/ 1016318 h 2161222"/>
                <a:gd name="connsiteX1029" fmla="*/ 2226945 w 2443162"/>
                <a:gd name="connsiteY1029" fmla="*/ 1025843 h 2161222"/>
                <a:gd name="connsiteX1030" fmla="*/ 2231708 w 2443162"/>
                <a:gd name="connsiteY1030" fmla="*/ 1035368 h 2161222"/>
                <a:gd name="connsiteX1031" fmla="*/ 2235518 w 2443162"/>
                <a:gd name="connsiteY1031" fmla="*/ 1044893 h 2161222"/>
                <a:gd name="connsiteX1032" fmla="*/ 2239328 w 2443162"/>
                <a:gd name="connsiteY1032" fmla="*/ 1054418 h 2161222"/>
                <a:gd name="connsiteX1033" fmla="*/ 2243138 w 2443162"/>
                <a:gd name="connsiteY1033" fmla="*/ 1063943 h 2161222"/>
                <a:gd name="connsiteX1034" fmla="*/ 2245995 w 2443162"/>
                <a:gd name="connsiteY1034" fmla="*/ 1074420 h 2161222"/>
                <a:gd name="connsiteX1035" fmla="*/ 2248853 w 2443162"/>
                <a:gd name="connsiteY1035" fmla="*/ 1084898 h 2161222"/>
                <a:gd name="connsiteX1036" fmla="*/ 2251710 w 2443162"/>
                <a:gd name="connsiteY1036" fmla="*/ 1095375 h 2161222"/>
                <a:gd name="connsiteX1037" fmla="*/ 2254568 w 2443162"/>
                <a:gd name="connsiteY1037" fmla="*/ 1105853 h 2161222"/>
                <a:gd name="connsiteX1038" fmla="*/ 2256473 w 2443162"/>
                <a:gd name="connsiteY1038" fmla="*/ 1117283 h 2161222"/>
                <a:gd name="connsiteX1039" fmla="*/ 2258378 w 2443162"/>
                <a:gd name="connsiteY1039" fmla="*/ 1128713 h 2161222"/>
                <a:gd name="connsiteX1040" fmla="*/ 2259330 w 2443162"/>
                <a:gd name="connsiteY1040" fmla="*/ 1140143 h 2161222"/>
                <a:gd name="connsiteX1041" fmla="*/ 2260283 w 2443162"/>
                <a:gd name="connsiteY1041" fmla="*/ 1152525 h 2161222"/>
                <a:gd name="connsiteX1042" fmla="*/ 2261235 w 2443162"/>
                <a:gd name="connsiteY1042" fmla="*/ 1164908 h 2161222"/>
                <a:gd name="connsiteX1043" fmla="*/ 2261235 w 2443162"/>
                <a:gd name="connsiteY1043" fmla="*/ 1178243 h 2161222"/>
                <a:gd name="connsiteX1044" fmla="*/ 2261235 w 2443162"/>
                <a:gd name="connsiteY1044" fmla="*/ 1191578 h 2161222"/>
                <a:gd name="connsiteX1045" fmla="*/ 2261235 w 2443162"/>
                <a:gd name="connsiteY1045" fmla="*/ 1205865 h 2161222"/>
                <a:gd name="connsiteX1046" fmla="*/ 2261235 w 2443162"/>
                <a:gd name="connsiteY1046" fmla="*/ 1220153 h 2161222"/>
                <a:gd name="connsiteX1047" fmla="*/ 2264093 w 2443162"/>
                <a:gd name="connsiteY1047" fmla="*/ 1207770 h 2161222"/>
                <a:gd name="connsiteX1048" fmla="*/ 2266950 w 2443162"/>
                <a:gd name="connsiteY1048" fmla="*/ 1195388 h 2161222"/>
                <a:gd name="connsiteX1049" fmla="*/ 2270760 w 2443162"/>
                <a:gd name="connsiteY1049" fmla="*/ 1183005 h 2161222"/>
                <a:gd name="connsiteX1050" fmla="*/ 2274570 w 2443162"/>
                <a:gd name="connsiteY1050" fmla="*/ 1170623 h 2161222"/>
                <a:gd name="connsiteX1051" fmla="*/ 2279333 w 2443162"/>
                <a:gd name="connsiteY1051" fmla="*/ 1158240 h 2161222"/>
                <a:gd name="connsiteX1052" fmla="*/ 2284095 w 2443162"/>
                <a:gd name="connsiteY1052" fmla="*/ 1145858 h 2161222"/>
                <a:gd name="connsiteX1053" fmla="*/ 2288858 w 2443162"/>
                <a:gd name="connsiteY1053" fmla="*/ 1133475 h 2161222"/>
                <a:gd name="connsiteX1054" fmla="*/ 2294573 w 2443162"/>
                <a:gd name="connsiteY1054" fmla="*/ 1121093 h 2161222"/>
                <a:gd name="connsiteX1055" fmla="*/ 2306003 w 2443162"/>
                <a:gd name="connsiteY1055" fmla="*/ 1096328 h 2161222"/>
                <a:gd name="connsiteX1056" fmla="*/ 2319338 w 2443162"/>
                <a:gd name="connsiteY1056" fmla="*/ 1072515 h 2161222"/>
                <a:gd name="connsiteX1057" fmla="*/ 2331720 w 2443162"/>
                <a:gd name="connsiteY1057" fmla="*/ 1047750 h 2161222"/>
                <a:gd name="connsiteX1058" fmla="*/ 2345055 w 2443162"/>
                <a:gd name="connsiteY1058" fmla="*/ 1023938 h 2161222"/>
                <a:gd name="connsiteX1059" fmla="*/ 2357438 w 2443162"/>
                <a:gd name="connsiteY1059" fmla="*/ 1000125 h 2161222"/>
                <a:gd name="connsiteX1060" fmla="*/ 2369820 w 2443162"/>
                <a:gd name="connsiteY1060" fmla="*/ 976313 h 2161222"/>
                <a:gd name="connsiteX1061" fmla="*/ 2375535 w 2443162"/>
                <a:gd name="connsiteY1061" fmla="*/ 964883 h 2161222"/>
                <a:gd name="connsiteX1062" fmla="*/ 2381250 w 2443162"/>
                <a:gd name="connsiteY1062" fmla="*/ 953453 h 2161222"/>
                <a:gd name="connsiteX1063" fmla="*/ 2386013 w 2443162"/>
                <a:gd name="connsiteY1063" fmla="*/ 942023 h 2161222"/>
                <a:gd name="connsiteX1064" fmla="*/ 2390775 w 2443162"/>
                <a:gd name="connsiteY1064" fmla="*/ 930593 h 2161222"/>
                <a:gd name="connsiteX1065" fmla="*/ 2395538 w 2443162"/>
                <a:gd name="connsiteY1065" fmla="*/ 919163 h 2161222"/>
                <a:gd name="connsiteX1066" fmla="*/ 2399348 w 2443162"/>
                <a:gd name="connsiteY1066" fmla="*/ 907733 h 2161222"/>
                <a:gd name="connsiteX1067" fmla="*/ 2403158 w 2443162"/>
                <a:gd name="connsiteY1067" fmla="*/ 896303 h 2161222"/>
                <a:gd name="connsiteX1068" fmla="*/ 2406015 w 2443162"/>
                <a:gd name="connsiteY1068" fmla="*/ 884873 h 2161222"/>
                <a:gd name="connsiteX1069" fmla="*/ 2408873 w 2443162"/>
                <a:gd name="connsiteY1069" fmla="*/ 874395 h 2161222"/>
                <a:gd name="connsiteX1070" fmla="*/ 2410778 w 2443162"/>
                <a:gd name="connsiteY1070" fmla="*/ 863918 h 2161222"/>
                <a:gd name="connsiteX1071" fmla="*/ 2411730 w 2443162"/>
                <a:gd name="connsiteY1071" fmla="*/ 853440 h 2161222"/>
                <a:gd name="connsiteX1072" fmla="*/ 2412683 w 2443162"/>
                <a:gd name="connsiteY1072" fmla="*/ 842963 h 2161222"/>
                <a:gd name="connsiteX1073" fmla="*/ 2417445 w 2443162"/>
                <a:gd name="connsiteY1073" fmla="*/ 866775 h 2161222"/>
                <a:gd name="connsiteX1074" fmla="*/ 2421255 w 2443162"/>
                <a:gd name="connsiteY1074" fmla="*/ 889635 h 2161222"/>
                <a:gd name="connsiteX1075" fmla="*/ 2424113 w 2443162"/>
                <a:gd name="connsiteY1075" fmla="*/ 911543 h 2161222"/>
                <a:gd name="connsiteX1076" fmla="*/ 2426018 w 2443162"/>
                <a:gd name="connsiteY1076" fmla="*/ 931545 h 2161222"/>
                <a:gd name="connsiteX1077" fmla="*/ 2426970 w 2443162"/>
                <a:gd name="connsiteY1077" fmla="*/ 950595 h 2161222"/>
                <a:gd name="connsiteX1078" fmla="*/ 2426970 w 2443162"/>
                <a:gd name="connsiteY1078" fmla="*/ 969645 h 2161222"/>
                <a:gd name="connsiteX1079" fmla="*/ 2426970 w 2443162"/>
                <a:gd name="connsiteY1079" fmla="*/ 987743 h 2161222"/>
                <a:gd name="connsiteX1080" fmla="*/ 2426018 w 2443162"/>
                <a:gd name="connsiteY1080" fmla="*/ 1004888 h 2161222"/>
                <a:gd name="connsiteX1081" fmla="*/ 2424113 w 2443162"/>
                <a:gd name="connsiteY1081" fmla="*/ 1021080 h 2161222"/>
                <a:gd name="connsiteX1082" fmla="*/ 2421255 w 2443162"/>
                <a:gd name="connsiteY1082" fmla="*/ 1036320 h 2161222"/>
                <a:gd name="connsiteX1083" fmla="*/ 2418398 w 2443162"/>
                <a:gd name="connsiteY1083" fmla="*/ 1050608 h 2161222"/>
                <a:gd name="connsiteX1084" fmla="*/ 2413635 w 2443162"/>
                <a:gd name="connsiteY1084" fmla="*/ 1064895 h 2161222"/>
                <a:gd name="connsiteX1085" fmla="*/ 2408873 w 2443162"/>
                <a:gd name="connsiteY1085" fmla="*/ 1079183 h 2161222"/>
                <a:gd name="connsiteX1086" fmla="*/ 2404110 w 2443162"/>
                <a:gd name="connsiteY1086" fmla="*/ 1092518 h 2161222"/>
                <a:gd name="connsiteX1087" fmla="*/ 2398395 w 2443162"/>
                <a:gd name="connsiteY1087" fmla="*/ 1105853 h 2161222"/>
                <a:gd name="connsiteX1088" fmla="*/ 2392680 w 2443162"/>
                <a:gd name="connsiteY1088" fmla="*/ 1118235 h 2161222"/>
                <a:gd name="connsiteX1089" fmla="*/ 2386013 w 2443162"/>
                <a:gd name="connsiteY1089" fmla="*/ 1130618 h 2161222"/>
                <a:gd name="connsiteX1090" fmla="*/ 2378393 w 2443162"/>
                <a:gd name="connsiteY1090" fmla="*/ 1143000 h 2161222"/>
                <a:gd name="connsiteX1091" fmla="*/ 2369820 w 2443162"/>
                <a:gd name="connsiteY1091" fmla="*/ 1155383 h 2161222"/>
                <a:gd name="connsiteX1092" fmla="*/ 2361248 w 2443162"/>
                <a:gd name="connsiteY1092" fmla="*/ 1166813 h 2161222"/>
                <a:gd name="connsiteX1093" fmla="*/ 2352675 w 2443162"/>
                <a:gd name="connsiteY1093" fmla="*/ 1179195 h 2161222"/>
                <a:gd name="connsiteX1094" fmla="*/ 2343150 w 2443162"/>
                <a:gd name="connsiteY1094" fmla="*/ 1190625 h 2161222"/>
                <a:gd name="connsiteX1095" fmla="*/ 2333625 w 2443162"/>
                <a:gd name="connsiteY1095" fmla="*/ 1203008 h 2161222"/>
                <a:gd name="connsiteX1096" fmla="*/ 2323148 w 2443162"/>
                <a:gd name="connsiteY1096" fmla="*/ 1215390 h 2161222"/>
                <a:gd name="connsiteX1097" fmla="*/ 2302193 w 2443162"/>
                <a:gd name="connsiteY1097" fmla="*/ 1240155 h 2161222"/>
                <a:gd name="connsiteX1098" fmla="*/ 2280285 w 2443162"/>
                <a:gd name="connsiteY1098" fmla="*/ 1266825 h 2161222"/>
                <a:gd name="connsiteX1099" fmla="*/ 2268855 w 2443162"/>
                <a:gd name="connsiteY1099" fmla="*/ 1281113 h 2161222"/>
                <a:gd name="connsiteX1100" fmla="*/ 2257425 w 2443162"/>
                <a:gd name="connsiteY1100" fmla="*/ 1295400 h 2161222"/>
                <a:gd name="connsiteX1101" fmla="*/ 2245995 w 2443162"/>
                <a:gd name="connsiteY1101" fmla="*/ 1310640 h 2161222"/>
                <a:gd name="connsiteX1102" fmla="*/ 2233613 w 2443162"/>
                <a:gd name="connsiteY1102" fmla="*/ 1326833 h 2161222"/>
                <a:gd name="connsiteX1103" fmla="*/ 2234565 w 2443162"/>
                <a:gd name="connsiteY1103" fmla="*/ 1315403 h 2161222"/>
                <a:gd name="connsiteX1104" fmla="*/ 2234565 w 2443162"/>
                <a:gd name="connsiteY1104" fmla="*/ 1303973 h 2161222"/>
                <a:gd name="connsiteX1105" fmla="*/ 2234565 w 2443162"/>
                <a:gd name="connsiteY1105" fmla="*/ 1292543 h 2161222"/>
                <a:gd name="connsiteX1106" fmla="*/ 2233613 w 2443162"/>
                <a:gd name="connsiteY1106" fmla="*/ 1281113 h 2161222"/>
                <a:gd name="connsiteX1107" fmla="*/ 2231708 w 2443162"/>
                <a:gd name="connsiteY1107" fmla="*/ 1268730 h 2161222"/>
                <a:gd name="connsiteX1108" fmla="*/ 2228850 w 2443162"/>
                <a:gd name="connsiteY1108" fmla="*/ 1256348 h 2161222"/>
                <a:gd name="connsiteX1109" fmla="*/ 2225993 w 2443162"/>
                <a:gd name="connsiteY1109" fmla="*/ 1243965 h 2161222"/>
                <a:gd name="connsiteX1110" fmla="*/ 2222183 w 2443162"/>
                <a:gd name="connsiteY1110" fmla="*/ 1231583 h 2161222"/>
                <a:gd name="connsiteX1111" fmla="*/ 2218373 w 2443162"/>
                <a:gd name="connsiteY1111" fmla="*/ 1219200 h 2161222"/>
                <a:gd name="connsiteX1112" fmla="*/ 2213610 w 2443162"/>
                <a:gd name="connsiteY1112" fmla="*/ 1205865 h 2161222"/>
                <a:gd name="connsiteX1113" fmla="*/ 2208848 w 2443162"/>
                <a:gd name="connsiteY1113" fmla="*/ 1192530 h 2161222"/>
                <a:gd name="connsiteX1114" fmla="*/ 2204085 w 2443162"/>
                <a:gd name="connsiteY1114" fmla="*/ 1179195 h 2161222"/>
                <a:gd name="connsiteX1115" fmla="*/ 2193608 w 2443162"/>
                <a:gd name="connsiteY1115" fmla="*/ 1152525 h 2161222"/>
                <a:gd name="connsiteX1116" fmla="*/ 2182178 w 2443162"/>
                <a:gd name="connsiteY1116" fmla="*/ 1124903 h 2161222"/>
                <a:gd name="connsiteX1117" fmla="*/ 2171700 w 2443162"/>
                <a:gd name="connsiteY1117" fmla="*/ 1097280 h 2161222"/>
                <a:gd name="connsiteX1118" fmla="*/ 2161223 w 2443162"/>
                <a:gd name="connsiteY1118" fmla="*/ 1068705 h 2161222"/>
                <a:gd name="connsiteX1119" fmla="*/ 2156460 w 2443162"/>
                <a:gd name="connsiteY1119" fmla="*/ 1054418 h 2161222"/>
                <a:gd name="connsiteX1120" fmla="*/ 2151698 w 2443162"/>
                <a:gd name="connsiteY1120" fmla="*/ 1040130 h 2161222"/>
                <a:gd name="connsiteX1121" fmla="*/ 2146935 w 2443162"/>
                <a:gd name="connsiteY1121" fmla="*/ 1024890 h 2161222"/>
                <a:gd name="connsiteX1122" fmla="*/ 2142173 w 2443162"/>
                <a:gd name="connsiteY1122" fmla="*/ 1009650 h 2161222"/>
                <a:gd name="connsiteX1123" fmla="*/ 2138363 w 2443162"/>
                <a:gd name="connsiteY1123" fmla="*/ 994410 h 2161222"/>
                <a:gd name="connsiteX1124" fmla="*/ 2135505 w 2443162"/>
                <a:gd name="connsiteY1124" fmla="*/ 979170 h 2161222"/>
                <a:gd name="connsiteX1125" fmla="*/ 2132648 w 2443162"/>
                <a:gd name="connsiteY1125" fmla="*/ 962978 h 2161222"/>
                <a:gd name="connsiteX1126" fmla="*/ 2130743 w 2443162"/>
                <a:gd name="connsiteY1126" fmla="*/ 947738 h 2161222"/>
                <a:gd name="connsiteX1127" fmla="*/ 2128838 w 2443162"/>
                <a:gd name="connsiteY1127" fmla="*/ 931545 h 2161222"/>
                <a:gd name="connsiteX1128" fmla="*/ 2128838 w 2443162"/>
                <a:gd name="connsiteY1128" fmla="*/ 915353 h 2161222"/>
                <a:gd name="connsiteX1129" fmla="*/ 2128838 w 2443162"/>
                <a:gd name="connsiteY1129" fmla="*/ 899160 h 2161222"/>
                <a:gd name="connsiteX1130" fmla="*/ 2132648 w 2443162"/>
                <a:gd name="connsiteY1130" fmla="*/ 882968 h 2161222"/>
                <a:gd name="connsiteX1131" fmla="*/ 2132648 w 2443162"/>
                <a:gd name="connsiteY1131" fmla="*/ 882968 h 2161222"/>
                <a:gd name="connsiteX1132" fmla="*/ 2111693 w 2443162"/>
                <a:gd name="connsiteY1132" fmla="*/ 1592580 h 2161222"/>
                <a:gd name="connsiteX1133" fmla="*/ 2115503 w 2443162"/>
                <a:gd name="connsiteY1133" fmla="*/ 1580198 h 2161222"/>
                <a:gd name="connsiteX1134" fmla="*/ 2118360 w 2443162"/>
                <a:gd name="connsiteY1134" fmla="*/ 1567815 h 2161222"/>
                <a:gd name="connsiteX1135" fmla="*/ 2121218 w 2443162"/>
                <a:gd name="connsiteY1135" fmla="*/ 1554480 h 2161222"/>
                <a:gd name="connsiteX1136" fmla="*/ 2123123 w 2443162"/>
                <a:gd name="connsiteY1136" fmla="*/ 1541145 h 2161222"/>
                <a:gd name="connsiteX1137" fmla="*/ 2124075 w 2443162"/>
                <a:gd name="connsiteY1137" fmla="*/ 1527810 h 2161222"/>
                <a:gd name="connsiteX1138" fmla="*/ 2125028 w 2443162"/>
                <a:gd name="connsiteY1138" fmla="*/ 1513523 h 2161222"/>
                <a:gd name="connsiteX1139" fmla="*/ 2125028 w 2443162"/>
                <a:gd name="connsiteY1139" fmla="*/ 1499235 h 2161222"/>
                <a:gd name="connsiteX1140" fmla="*/ 2125028 w 2443162"/>
                <a:gd name="connsiteY1140" fmla="*/ 1483995 h 2161222"/>
                <a:gd name="connsiteX1141" fmla="*/ 2125028 w 2443162"/>
                <a:gd name="connsiteY1141" fmla="*/ 1468755 h 2161222"/>
                <a:gd name="connsiteX1142" fmla="*/ 2124075 w 2443162"/>
                <a:gd name="connsiteY1142" fmla="*/ 1453515 h 2161222"/>
                <a:gd name="connsiteX1143" fmla="*/ 2123123 w 2443162"/>
                <a:gd name="connsiteY1143" fmla="*/ 1438275 h 2161222"/>
                <a:gd name="connsiteX1144" fmla="*/ 2122170 w 2443162"/>
                <a:gd name="connsiteY1144" fmla="*/ 1423035 h 2161222"/>
                <a:gd name="connsiteX1145" fmla="*/ 2119313 w 2443162"/>
                <a:gd name="connsiteY1145" fmla="*/ 1391603 h 2161222"/>
                <a:gd name="connsiteX1146" fmla="*/ 2116455 w 2443162"/>
                <a:gd name="connsiteY1146" fmla="*/ 1360170 h 2161222"/>
                <a:gd name="connsiteX1147" fmla="*/ 2114550 w 2443162"/>
                <a:gd name="connsiteY1147" fmla="*/ 1328738 h 2161222"/>
                <a:gd name="connsiteX1148" fmla="*/ 2112645 w 2443162"/>
                <a:gd name="connsiteY1148" fmla="*/ 1297305 h 2161222"/>
                <a:gd name="connsiteX1149" fmla="*/ 2111693 w 2443162"/>
                <a:gd name="connsiteY1149" fmla="*/ 1281113 h 2161222"/>
                <a:gd name="connsiteX1150" fmla="*/ 2111693 w 2443162"/>
                <a:gd name="connsiteY1150" fmla="*/ 1265873 h 2161222"/>
                <a:gd name="connsiteX1151" fmla="*/ 2112645 w 2443162"/>
                <a:gd name="connsiteY1151" fmla="*/ 1249680 h 2161222"/>
                <a:gd name="connsiteX1152" fmla="*/ 2112645 w 2443162"/>
                <a:gd name="connsiteY1152" fmla="*/ 1233488 h 2161222"/>
                <a:gd name="connsiteX1153" fmla="*/ 2113598 w 2443162"/>
                <a:gd name="connsiteY1153" fmla="*/ 1217295 h 2161222"/>
                <a:gd name="connsiteX1154" fmla="*/ 2115503 w 2443162"/>
                <a:gd name="connsiteY1154" fmla="*/ 1202055 h 2161222"/>
                <a:gd name="connsiteX1155" fmla="*/ 2117408 w 2443162"/>
                <a:gd name="connsiteY1155" fmla="*/ 1185863 h 2161222"/>
                <a:gd name="connsiteX1156" fmla="*/ 2120265 w 2443162"/>
                <a:gd name="connsiteY1156" fmla="*/ 1170623 h 2161222"/>
                <a:gd name="connsiteX1157" fmla="*/ 2124075 w 2443162"/>
                <a:gd name="connsiteY1157" fmla="*/ 1155383 h 2161222"/>
                <a:gd name="connsiteX1158" fmla="*/ 2128838 w 2443162"/>
                <a:gd name="connsiteY1158" fmla="*/ 1140143 h 2161222"/>
                <a:gd name="connsiteX1159" fmla="*/ 2134553 w 2443162"/>
                <a:gd name="connsiteY1159" fmla="*/ 1124903 h 2161222"/>
                <a:gd name="connsiteX1160" fmla="*/ 2140268 w 2443162"/>
                <a:gd name="connsiteY1160" fmla="*/ 1109663 h 2161222"/>
                <a:gd name="connsiteX1161" fmla="*/ 2146935 w 2443162"/>
                <a:gd name="connsiteY1161" fmla="*/ 1132523 h 2161222"/>
                <a:gd name="connsiteX1162" fmla="*/ 2153603 w 2443162"/>
                <a:gd name="connsiteY1162" fmla="*/ 1154430 h 2161222"/>
                <a:gd name="connsiteX1163" fmla="*/ 2160270 w 2443162"/>
                <a:gd name="connsiteY1163" fmla="*/ 1176338 h 2161222"/>
                <a:gd name="connsiteX1164" fmla="*/ 2165985 w 2443162"/>
                <a:gd name="connsiteY1164" fmla="*/ 1197293 h 2161222"/>
                <a:gd name="connsiteX1165" fmla="*/ 2171700 w 2443162"/>
                <a:gd name="connsiteY1165" fmla="*/ 1219200 h 2161222"/>
                <a:gd name="connsiteX1166" fmla="*/ 2177415 w 2443162"/>
                <a:gd name="connsiteY1166" fmla="*/ 1240155 h 2161222"/>
                <a:gd name="connsiteX1167" fmla="*/ 2182178 w 2443162"/>
                <a:gd name="connsiteY1167" fmla="*/ 1262063 h 2161222"/>
                <a:gd name="connsiteX1168" fmla="*/ 2185988 w 2443162"/>
                <a:gd name="connsiteY1168" fmla="*/ 1283970 h 2161222"/>
                <a:gd name="connsiteX1169" fmla="*/ 2187893 w 2443162"/>
                <a:gd name="connsiteY1169" fmla="*/ 1295400 h 2161222"/>
                <a:gd name="connsiteX1170" fmla="*/ 2188845 w 2443162"/>
                <a:gd name="connsiteY1170" fmla="*/ 1306830 h 2161222"/>
                <a:gd name="connsiteX1171" fmla="*/ 2189798 w 2443162"/>
                <a:gd name="connsiteY1171" fmla="*/ 1318260 h 2161222"/>
                <a:gd name="connsiteX1172" fmla="*/ 2189798 w 2443162"/>
                <a:gd name="connsiteY1172" fmla="*/ 1329690 h 2161222"/>
                <a:gd name="connsiteX1173" fmla="*/ 2190750 w 2443162"/>
                <a:gd name="connsiteY1173" fmla="*/ 1341120 h 2161222"/>
                <a:gd name="connsiteX1174" fmla="*/ 2190750 w 2443162"/>
                <a:gd name="connsiteY1174" fmla="*/ 1353503 h 2161222"/>
                <a:gd name="connsiteX1175" fmla="*/ 2190750 w 2443162"/>
                <a:gd name="connsiteY1175" fmla="*/ 1365885 h 2161222"/>
                <a:gd name="connsiteX1176" fmla="*/ 2190750 w 2443162"/>
                <a:gd name="connsiteY1176" fmla="*/ 1378268 h 2161222"/>
                <a:gd name="connsiteX1177" fmla="*/ 2189798 w 2443162"/>
                <a:gd name="connsiteY1177" fmla="*/ 1390650 h 2161222"/>
                <a:gd name="connsiteX1178" fmla="*/ 2188845 w 2443162"/>
                <a:gd name="connsiteY1178" fmla="*/ 1403033 h 2161222"/>
                <a:gd name="connsiteX1179" fmla="*/ 2186940 w 2443162"/>
                <a:gd name="connsiteY1179" fmla="*/ 1416368 h 2161222"/>
                <a:gd name="connsiteX1180" fmla="*/ 2185035 w 2443162"/>
                <a:gd name="connsiteY1180" fmla="*/ 1429703 h 2161222"/>
                <a:gd name="connsiteX1181" fmla="*/ 2182178 w 2443162"/>
                <a:gd name="connsiteY1181" fmla="*/ 1443038 h 2161222"/>
                <a:gd name="connsiteX1182" fmla="*/ 2179320 w 2443162"/>
                <a:gd name="connsiteY1182" fmla="*/ 1457325 h 2161222"/>
                <a:gd name="connsiteX1183" fmla="*/ 2175510 w 2443162"/>
                <a:gd name="connsiteY1183" fmla="*/ 1471613 h 2161222"/>
                <a:gd name="connsiteX1184" fmla="*/ 2171700 w 2443162"/>
                <a:gd name="connsiteY1184" fmla="*/ 1485900 h 2161222"/>
                <a:gd name="connsiteX1185" fmla="*/ 2176463 w 2443162"/>
                <a:gd name="connsiteY1185" fmla="*/ 1478280 h 2161222"/>
                <a:gd name="connsiteX1186" fmla="*/ 2184083 w 2443162"/>
                <a:gd name="connsiteY1186" fmla="*/ 1466850 h 2161222"/>
                <a:gd name="connsiteX1187" fmla="*/ 2193608 w 2443162"/>
                <a:gd name="connsiteY1187" fmla="*/ 1451610 h 2161222"/>
                <a:gd name="connsiteX1188" fmla="*/ 2205038 w 2443162"/>
                <a:gd name="connsiteY1188" fmla="*/ 1434465 h 2161222"/>
                <a:gd name="connsiteX1189" fmla="*/ 2218373 w 2443162"/>
                <a:gd name="connsiteY1189" fmla="*/ 1414463 h 2161222"/>
                <a:gd name="connsiteX1190" fmla="*/ 2233613 w 2443162"/>
                <a:gd name="connsiteY1190" fmla="*/ 1392555 h 2161222"/>
                <a:gd name="connsiteX1191" fmla="*/ 2242185 w 2443162"/>
                <a:gd name="connsiteY1191" fmla="*/ 1382078 h 2161222"/>
                <a:gd name="connsiteX1192" fmla="*/ 2250758 w 2443162"/>
                <a:gd name="connsiteY1192" fmla="*/ 1370648 h 2161222"/>
                <a:gd name="connsiteX1193" fmla="*/ 2260283 w 2443162"/>
                <a:gd name="connsiteY1193" fmla="*/ 1359218 h 2161222"/>
                <a:gd name="connsiteX1194" fmla="*/ 2269808 w 2443162"/>
                <a:gd name="connsiteY1194" fmla="*/ 1347788 h 2161222"/>
                <a:gd name="connsiteX1195" fmla="*/ 2293620 w 2443162"/>
                <a:gd name="connsiteY1195" fmla="*/ 1319213 h 2161222"/>
                <a:gd name="connsiteX1196" fmla="*/ 2318385 w 2443162"/>
                <a:gd name="connsiteY1196" fmla="*/ 1290638 h 2161222"/>
                <a:gd name="connsiteX1197" fmla="*/ 2343150 w 2443162"/>
                <a:gd name="connsiteY1197" fmla="*/ 1262063 h 2161222"/>
                <a:gd name="connsiteX1198" fmla="*/ 2366963 w 2443162"/>
                <a:gd name="connsiteY1198" fmla="*/ 1233488 h 2161222"/>
                <a:gd name="connsiteX1199" fmla="*/ 2378393 w 2443162"/>
                <a:gd name="connsiteY1199" fmla="*/ 1219200 h 2161222"/>
                <a:gd name="connsiteX1200" fmla="*/ 2389823 w 2443162"/>
                <a:gd name="connsiteY1200" fmla="*/ 1204913 h 2161222"/>
                <a:gd name="connsiteX1201" fmla="*/ 2400300 w 2443162"/>
                <a:gd name="connsiteY1201" fmla="*/ 1190625 h 2161222"/>
                <a:gd name="connsiteX1202" fmla="*/ 2410778 w 2443162"/>
                <a:gd name="connsiteY1202" fmla="*/ 1176338 h 2161222"/>
                <a:gd name="connsiteX1203" fmla="*/ 2420303 w 2443162"/>
                <a:gd name="connsiteY1203" fmla="*/ 1163003 h 2161222"/>
                <a:gd name="connsiteX1204" fmla="*/ 2428875 w 2443162"/>
                <a:gd name="connsiteY1204" fmla="*/ 1149668 h 2161222"/>
                <a:gd name="connsiteX1205" fmla="*/ 2436495 w 2443162"/>
                <a:gd name="connsiteY1205" fmla="*/ 1137285 h 2161222"/>
                <a:gd name="connsiteX1206" fmla="*/ 2443163 w 2443162"/>
                <a:gd name="connsiteY1206" fmla="*/ 1124903 h 2161222"/>
                <a:gd name="connsiteX1207" fmla="*/ 2442210 w 2443162"/>
                <a:gd name="connsiteY1207" fmla="*/ 1153478 h 2161222"/>
                <a:gd name="connsiteX1208" fmla="*/ 2439353 w 2443162"/>
                <a:gd name="connsiteY1208" fmla="*/ 1181100 h 2161222"/>
                <a:gd name="connsiteX1209" fmla="*/ 2435543 w 2443162"/>
                <a:gd name="connsiteY1209" fmla="*/ 1207770 h 2161222"/>
                <a:gd name="connsiteX1210" fmla="*/ 2429828 w 2443162"/>
                <a:gd name="connsiteY1210" fmla="*/ 1233488 h 2161222"/>
                <a:gd name="connsiteX1211" fmla="*/ 2423160 w 2443162"/>
                <a:gd name="connsiteY1211" fmla="*/ 1257300 h 2161222"/>
                <a:gd name="connsiteX1212" fmla="*/ 2415540 w 2443162"/>
                <a:gd name="connsiteY1212" fmla="*/ 1280160 h 2161222"/>
                <a:gd name="connsiteX1213" fmla="*/ 2406015 w 2443162"/>
                <a:gd name="connsiteY1213" fmla="*/ 1302068 h 2161222"/>
                <a:gd name="connsiteX1214" fmla="*/ 2395538 w 2443162"/>
                <a:gd name="connsiteY1214" fmla="*/ 1323023 h 2161222"/>
                <a:gd name="connsiteX1215" fmla="*/ 2384108 w 2443162"/>
                <a:gd name="connsiteY1215" fmla="*/ 1343025 h 2161222"/>
                <a:gd name="connsiteX1216" fmla="*/ 2372678 w 2443162"/>
                <a:gd name="connsiteY1216" fmla="*/ 1362075 h 2161222"/>
                <a:gd name="connsiteX1217" fmla="*/ 2359343 w 2443162"/>
                <a:gd name="connsiteY1217" fmla="*/ 1380173 h 2161222"/>
                <a:gd name="connsiteX1218" fmla="*/ 2346008 w 2443162"/>
                <a:gd name="connsiteY1218" fmla="*/ 1396365 h 2161222"/>
                <a:gd name="connsiteX1219" fmla="*/ 2331720 w 2443162"/>
                <a:gd name="connsiteY1219" fmla="*/ 1412558 h 2161222"/>
                <a:gd name="connsiteX1220" fmla="*/ 2317433 w 2443162"/>
                <a:gd name="connsiteY1220" fmla="*/ 1427798 h 2161222"/>
                <a:gd name="connsiteX1221" fmla="*/ 2303145 w 2443162"/>
                <a:gd name="connsiteY1221" fmla="*/ 1442085 h 2161222"/>
                <a:gd name="connsiteX1222" fmla="*/ 2287905 w 2443162"/>
                <a:gd name="connsiteY1222" fmla="*/ 1455420 h 2161222"/>
                <a:gd name="connsiteX1223" fmla="*/ 2272665 w 2443162"/>
                <a:gd name="connsiteY1223" fmla="*/ 1467803 h 2161222"/>
                <a:gd name="connsiteX1224" fmla="*/ 2257425 w 2443162"/>
                <a:gd name="connsiteY1224" fmla="*/ 1480185 h 2161222"/>
                <a:gd name="connsiteX1225" fmla="*/ 2242185 w 2443162"/>
                <a:gd name="connsiteY1225" fmla="*/ 1490663 h 2161222"/>
                <a:gd name="connsiteX1226" fmla="*/ 2227898 w 2443162"/>
                <a:gd name="connsiteY1226" fmla="*/ 1502093 h 2161222"/>
                <a:gd name="connsiteX1227" fmla="*/ 2199323 w 2443162"/>
                <a:gd name="connsiteY1227" fmla="*/ 1521143 h 2161222"/>
                <a:gd name="connsiteX1228" fmla="*/ 2172653 w 2443162"/>
                <a:gd name="connsiteY1228" fmla="*/ 1538288 h 2161222"/>
                <a:gd name="connsiteX1229" fmla="*/ 2161223 w 2443162"/>
                <a:gd name="connsiteY1229" fmla="*/ 1545908 h 2161222"/>
                <a:gd name="connsiteX1230" fmla="*/ 2149793 w 2443162"/>
                <a:gd name="connsiteY1230" fmla="*/ 1553528 h 2161222"/>
                <a:gd name="connsiteX1231" fmla="*/ 2139315 w 2443162"/>
                <a:gd name="connsiteY1231" fmla="*/ 1560195 h 2161222"/>
                <a:gd name="connsiteX1232" fmla="*/ 2129790 w 2443162"/>
                <a:gd name="connsiteY1232" fmla="*/ 1566863 h 2161222"/>
                <a:gd name="connsiteX1233" fmla="*/ 2122170 w 2443162"/>
                <a:gd name="connsiteY1233" fmla="*/ 1573530 h 2161222"/>
                <a:gd name="connsiteX1234" fmla="*/ 2116455 w 2443162"/>
                <a:gd name="connsiteY1234" fmla="*/ 1579245 h 2161222"/>
                <a:gd name="connsiteX1235" fmla="*/ 2111693 w 2443162"/>
                <a:gd name="connsiteY1235" fmla="*/ 1584960 h 2161222"/>
                <a:gd name="connsiteX1236" fmla="*/ 2111693 w 2443162"/>
                <a:gd name="connsiteY1236" fmla="*/ 1592580 h 2161222"/>
                <a:gd name="connsiteX1237" fmla="*/ 2111693 w 2443162"/>
                <a:gd name="connsiteY1237" fmla="*/ 1592580 h 2161222"/>
                <a:gd name="connsiteX1238" fmla="*/ 1925003 w 2443162"/>
                <a:gd name="connsiteY1238" fmla="*/ 1794510 h 2161222"/>
                <a:gd name="connsiteX1239" fmla="*/ 1931670 w 2443162"/>
                <a:gd name="connsiteY1239" fmla="*/ 1784033 h 2161222"/>
                <a:gd name="connsiteX1240" fmla="*/ 1938338 w 2443162"/>
                <a:gd name="connsiteY1240" fmla="*/ 1772603 h 2161222"/>
                <a:gd name="connsiteX1241" fmla="*/ 1944053 w 2443162"/>
                <a:gd name="connsiteY1241" fmla="*/ 1761173 h 2161222"/>
                <a:gd name="connsiteX1242" fmla="*/ 1948815 w 2443162"/>
                <a:gd name="connsiteY1242" fmla="*/ 1748790 h 2161222"/>
                <a:gd name="connsiteX1243" fmla="*/ 1953578 w 2443162"/>
                <a:gd name="connsiteY1243" fmla="*/ 1736408 h 2161222"/>
                <a:gd name="connsiteX1244" fmla="*/ 1958340 w 2443162"/>
                <a:gd name="connsiteY1244" fmla="*/ 1724025 h 2161222"/>
                <a:gd name="connsiteX1245" fmla="*/ 1962150 w 2443162"/>
                <a:gd name="connsiteY1245" fmla="*/ 1710690 h 2161222"/>
                <a:gd name="connsiteX1246" fmla="*/ 1965960 w 2443162"/>
                <a:gd name="connsiteY1246" fmla="*/ 1697355 h 2161222"/>
                <a:gd name="connsiteX1247" fmla="*/ 1969770 w 2443162"/>
                <a:gd name="connsiteY1247" fmla="*/ 1683068 h 2161222"/>
                <a:gd name="connsiteX1248" fmla="*/ 1972628 w 2443162"/>
                <a:gd name="connsiteY1248" fmla="*/ 1668780 h 2161222"/>
                <a:gd name="connsiteX1249" fmla="*/ 1975485 w 2443162"/>
                <a:gd name="connsiteY1249" fmla="*/ 1654493 h 2161222"/>
                <a:gd name="connsiteX1250" fmla="*/ 1978343 w 2443162"/>
                <a:gd name="connsiteY1250" fmla="*/ 1640205 h 2161222"/>
                <a:gd name="connsiteX1251" fmla="*/ 1984058 w 2443162"/>
                <a:gd name="connsiteY1251" fmla="*/ 1611630 h 2161222"/>
                <a:gd name="connsiteX1252" fmla="*/ 1989773 w 2443162"/>
                <a:gd name="connsiteY1252" fmla="*/ 1582103 h 2161222"/>
                <a:gd name="connsiteX1253" fmla="*/ 1995488 w 2443162"/>
                <a:gd name="connsiteY1253" fmla="*/ 1552575 h 2161222"/>
                <a:gd name="connsiteX1254" fmla="*/ 2002155 w 2443162"/>
                <a:gd name="connsiteY1254" fmla="*/ 1523048 h 2161222"/>
                <a:gd name="connsiteX1255" fmla="*/ 2005965 w 2443162"/>
                <a:gd name="connsiteY1255" fmla="*/ 1507808 h 2161222"/>
                <a:gd name="connsiteX1256" fmla="*/ 2009775 w 2443162"/>
                <a:gd name="connsiteY1256" fmla="*/ 1493520 h 2161222"/>
                <a:gd name="connsiteX1257" fmla="*/ 2014538 w 2443162"/>
                <a:gd name="connsiteY1257" fmla="*/ 1479233 h 2161222"/>
                <a:gd name="connsiteX1258" fmla="*/ 2019300 w 2443162"/>
                <a:gd name="connsiteY1258" fmla="*/ 1464945 h 2161222"/>
                <a:gd name="connsiteX1259" fmla="*/ 2025015 w 2443162"/>
                <a:gd name="connsiteY1259" fmla="*/ 1450658 h 2161222"/>
                <a:gd name="connsiteX1260" fmla="*/ 2030730 w 2443162"/>
                <a:gd name="connsiteY1260" fmla="*/ 1436370 h 2161222"/>
                <a:gd name="connsiteX1261" fmla="*/ 2037398 w 2443162"/>
                <a:gd name="connsiteY1261" fmla="*/ 1423035 h 2161222"/>
                <a:gd name="connsiteX1262" fmla="*/ 2044065 w 2443162"/>
                <a:gd name="connsiteY1262" fmla="*/ 1409700 h 2161222"/>
                <a:gd name="connsiteX1263" fmla="*/ 2051685 w 2443162"/>
                <a:gd name="connsiteY1263" fmla="*/ 1396365 h 2161222"/>
                <a:gd name="connsiteX1264" fmla="*/ 2060258 w 2443162"/>
                <a:gd name="connsiteY1264" fmla="*/ 1383983 h 2161222"/>
                <a:gd name="connsiteX1265" fmla="*/ 2069783 w 2443162"/>
                <a:gd name="connsiteY1265" fmla="*/ 1371600 h 2161222"/>
                <a:gd name="connsiteX1266" fmla="*/ 2080260 w 2443162"/>
                <a:gd name="connsiteY1266" fmla="*/ 1360170 h 2161222"/>
                <a:gd name="connsiteX1267" fmla="*/ 2079308 w 2443162"/>
                <a:gd name="connsiteY1267" fmla="*/ 1385888 h 2161222"/>
                <a:gd name="connsiteX1268" fmla="*/ 2078355 w 2443162"/>
                <a:gd name="connsiteY1268" fmla="*/ 1410653 h 2161222"/>
                <a:gd name="connsiteX1269" fmla="*/ 2078355 w 2443162"/>
                <a:gd name="connsiteY1269" fmla="*/ 1435418 h 2161222"/>
                <a:gd name="connsiteX1270" fmla="*/ 2078355 w 2443162"/>
                <a:gd name="connsiteY1270" fmla="*/ 1458278 h 2161222"/>
                <a:gd name="connsiteX1271" fmla="*/ 2079308 w 2443162"/>
                <a:gd name="connsiteY1271" fmla="*/ 1480185 h 2161222"/>
                <a:gd name="connsiteX1272" fmla="*/ 2079308 w 2443162"/>
                <a:gd name="connsiteY1272" fmla="*/ 1502093 h 2161222"/>
                <a:gd name="connsiteX1273" fmla="*/ 2079308 w 2443162"/>
                <a:gd name="connsiteY1273" fmla="*/ 1523048 h 2161222"/>
                <a:gd name="connsiteX1274" fmla="*/ 2079308 w 2443162"/>
                <a:gd name="connsiteY1274" fmla="*/ 1543050 h 2161222"/>
                <a:gd name="connsiteX1275" fmla="*/ 2078355 w 2443162"/>
                <a:gd name="connsiteY1275" fmla="*/ 1553528 h 2161222"/>
                <a:gd name="connsiteX1276" fmla="*/ 2077403 w 2443162"/>
                <a:gd name="connsiteY1276" fmla="*/ 1563053 h 2161222"/>
                <a:gd name="connsiteX1277" fmla="*/ 2076450 w 2443162"/>
                <a:gd name="connsiteY1277" fmla="*/ 1572578 h 2161222"/>
                <a:gd name="connsiteX1278" fmla="*/ 2075498 w 2443162"/>
                <a:gd name="connsiteY1278" fmla="*/ 1582103 h 2161222"/>
                <a:gd name="connsiteX1279" fmla="*/ 2073593 w 2443162"/>
                <a:gd name="connsiteY1279" fmla="*/ 1591628 h 2161222"/>
                <a:gd name="connsiteX1280" fmla="*/ 2071688 w 2443162"/>
                <a:gd name="connsiteY1280" fmla="*/ 1601153 h 2161222"/>
                <a:gd name="connsiteX1281" fmla="*/ 2069783 w 2443162"/>
                <a:gd name="connsiteY1281" fmla="*/ 1610678 h 2161222"/>
                <a:gd name="connsiteX1282" fmla="*/ 2066925 w 2443162"/>
                <a:gd name="connsiteY1282" fmla="*/ 1620203 h 2161222"/>
                <a:gd name="connsiteX1283" fmla="*/ 2064068 w 2443162"/>
                <a:gd name="connsiteY1283" fmla="*/ 1629728 h 2161222"/>
                <a:gd name="connsiteX1284" fmla="*/ 2060258 w 2443162"/>
                <a:gd name="connsiteY1284" fmla="*/ 1639253 h 2161222"/>
                <a:gd name="connsiteX1285" fmla="*/ 2055495 w 2443162"/>
                <a:gd name="connsiteY1285" fmla="*/ 1648778 h 2161222"/>
                <a:gd name="connsiteX1286" fmla="*/ 2050733 w 2443162"/>
                <a:gd name="connsiteY1286" fmla="*/ 1658303 h 2161222"/>
                <a:gd name="connsiteX1287" fmla="*/ 2045018 w 2443162"/>
                <a:gd name="connsiteY1287" fmla="*/ 1666875 h 2161222"/>
                <a:gd name="connsiteX1288" fmla="*/ 2039303 w 2443162"/>
                <a:gd name="connsiteY1288" fmla="*/ 1676400 h 2161222"/>
                <a:gd name="connsiteX1289" fmla="*/ 2033588 w 2443162"/>
                <a:gd name="connsiteY1289" fmla="*/ 1685925 h 2161222"/>
                <a:gd name="connsiteX1290" fmla="*/ 2026920 w 2443162"/>
                <a:gd name="connsiteY1290" fmla="*/ 1694498 h 2161222"/>
                <a:gd name="connsiteX1291" fmla="*/ 2038350 w 2443162"/>
                <a:gd name="connsiteY1291" fmla="*/ 1684020 h 2161222"/>
                <a:gd name="connsiteX1292" fmla="*/ 2052638 w 2443162"/>
                <a:gd name="connsiteY1292" fmla="*/ 1672590 h 2161222"/>
                <a:gd name="connsiteX1293" fmla="*/ 2067878 w 2443162"/>
                <a:gd name="connsiteY1293" fmla="*/ 1660208 h 2161222"/>
                <a:gd name="connsiteX1294" fmla="*/ 2085023 w 2443162"/>
                <a:gd name="connsiteY1294" fmla="*/ 1646873 h 2161222"/>
                <a:gd name="connsiteX1295" fmla="*/ 2094548 w 2443162"/>
                <a:gd name="connsiteY1295" fmla="*/ 1640205 h 2161222"/>
                <a:gd name="connsiteX1296" fmla="*/ 2105025 w 2443162"/>
                <a:gd name="connsiteY1296" fmla="*/ 1633538 h 2161222"/>
                <a:gd name="connsiteX1297" fmla="*/ 2115503 w 2443162"/>
                <a:gd name="connsiteY1297" fmla="*/ 1626870 h 2161222"/>
                <a:gd name="connsiteX1298" fmla="*/ 2126933 w 2443162"/>
                <a:gd name="connsiteY1298" fmla="*/ 1620203 h 2161222"/>
                <a:gd name="connsiteX1299" fmla="*/ 2139315 w 2443162"/>
                <a:gd name="connsiteY1299" fmla="*/ 1613535 h 2161222"/>
                <a:gd name="connsiteX1300" fmla="*/ 2151698 w 2443162"/>
                <a:gd name="connsiteY1300" fmla="*/ 1607820 h 2161222"/>
                <a:gd name="connsiteX1301" fmla="*/ 2165033 w 2443162"/>
                <a:gd name="connsiteY1301" fmla="*/ 1602105 h 2161222"/>
                <a:gd name="connsiteX1302" fmla="*/ 2179320 w 2443162"/>
                <a:gd name="connsiteY1302" fmla="*/ 1596390 h 2161222"/>
                <a:gd name="connsiteX1303" fmla="*/ 2187893 w 2443162"/>
                <a:gd name="connsiteY1303" fmla="*/ 1593533 h 2161222"/>
                <a:gd name="connsiteX1304" fmla="*/ 2195513 w 2443162"/>
                <a:gd name="connsiteY1304" fmla="*/ 1589723 h 2161222"/>
                <a:gd name="connsiteX1305" fmla="*/ 2204085 w 2443162"/>
                <a:gd name="connsiteY1305" fmla="*/ 1585913 h 2161222"/>
                <a:gd name="connsiteX1306" fmla="*/ 2211705 w 2443162"/>
                <a:gd name="connsiteY1306" fmla="*/ 1581150 h 2161222"/>
                <a:gd name="connsiteX1307" fmla="*/ 2219325 w 2443162"/>
                <a:gd name="connsiteY1307" fmla="*/ 1576388 h 2161222"/>
                <a:gd name="connsiteX1308" fmla="*/ 2226945 w 2443162"/>
                <a:gd name="connsiteY1308" fmla="*/ 1571625 h 2161222"/>
                <a:gd name="connsiteX1309" fmla="*/ 2234565 w 2443162"/>
                <a:gd name="connsiteY1309" fmla="*/ 1566863 h 2161222"/>
                <a:gd name="connsiteX1310" fmla="*/ 2242185 w 2443162"/>
                <a:gd name="connsiteY1310" fmla="*/ 1562100 h 2161222"/>
                <a:gd name="connsiteX1311" fmla="*/ 2256473 w 2443162"/>
                <a:gd name="connsiteY1311" fmla="*/ 1551623 h 2161222"/>
                <a:gd name="connsiteX1312" fmla="*/ 2269808 w 2443162"/>
                <a:gd name="connsiteY1312" fmla="*/ 1541145 h 2161222"/>
                <a:gd name="connsiteX1313" fmla="*/ 2283143 w 2443162"/>
                <a:gd name="connsiteY1313" fmla="*/ 1529715 h 2161222"/>
                <a:gd name="connsiteX1314" fmla="*/ 2295525 w 2443162"/>
                <a:gd name="connsiteY1314" fmla="*/ 1518285 h 2161222"/>
                <a:gd name="connsiteX1315" fmla="*/ 2307908 w 2443162"/>
                <a:gd name="connsiteY1315" fmla="*/ 1505903 h 2161222"/>
                <a:gd name="connsiteX1316" fmla="*/ 2319338 w 2443162"/>
                <a:gd name="connsiteY1316" fmla="*/ 1494473 h 2161222"/>
                <a:gd name="connsiteX1317" fmla="*/ 2330768 w 2443162"/>
                <a:gd name="connsiteY1317" fmla="*/ 1482090 h 2161222"/>
                <a:gd name="connsiteX1318" fmla="*/ 2341245 w 2443162"/>
                <a:gd name="connsiteY1318" fmla="*/ 1470660 h 2161222"/>
                <a:gd name="connsiteX1319" fmla="*/ 2362200 w 2443162"/>
                <a:gd name="connsiteY1319" fmla="*/ 1447800 h 2161222"/>
                <a:gd name="connsiteX1320" fmla="*/ 2382203 w 2443162"/>
                <a:gd name="connsiteY1320" fmla="*/ 1426845 h 2161222"/>
                <a:gd name="connsiteX1321" fmla="*/ 2375535 w 2443162"/>
                <a:gd name="connsiteY1321" fmla="*/ 1443038 h 2161222"/>
                <a:gd name="connsiteX1322" fmla="*/ 2366010 w 2443162"/>
                <a:gd name="connsiteY1322" fmla="*/ 1473518 h 2161222"/>
                <a:gd name="connsiteX1323" fmla="*/ 2355533 w 2443162"/>
                <a:gd name="connsiteY1323" fmla="*/ 1502093 h 2161222"/>
                <a:gd name="connsiteX1324" fmla="*/ 2344103 w 2443162"/>
                <a:gd name="connsiteY1324" fmla="*/ 1528763 h 2161222"/>
                <a:gd name="connsiteX1325" fmla="*/ 2331720 w 2443162"/>
                <a:gd name="connsiteY1325" fmla="*/ 1553528 h 2161222"/>
                <a:gd name="connsiteX1326" fmla="*/ 2318385 w 2443162"/>
                <a:gd name="connsiteY1326" fmla="*/ 1575435 h 2161222"/>
                <a:gd name="connsiteX1327" fmla="*/ 2304098 w 2443162"/>
                <a:gd name="connsiteY1327" fmla="*/ 1596390 h 2161222"/>
                <a:gd name="connsiteX1328" fmla="*/ 2288858 w 2443162"/>
                <a:gd name="connsiteY1328" fmla="*/ 1615440 h 2161222"/>
                <a:gd name="connsiteX1329" fmla="*/ 2273618 w 2443162"/>
                <a:gd name="connsiteY1329" fmla="*/ 1632585 h 2161222"/>
                <a:gd name="connsiteX1330" fmla="*/ 2257425 w 2443162"/>
                <a:gd name="connsiteY1330" fmla="*/ 1648778 h 2161222"/>
                <a:gd name="connsiteX1331" fmla="*/ 2241233 w 2443162"/>
                <a:gd name="connsiteY1331" fmla="*/ 1663065 h 2161222"/>
                <a:gd name="connsiteX1332" fmla="*/ 2225040 w 2443162"/>
                <a:gd name="connsiteY1332" fmla="*/ 1676400 h 2161222"/>
                <a:gd name="connsiteX1333" fmla="*/ 2207895 w 2443162"/>
                <a:gd name="connsiteY1333" fmla="*/ 1687830 h 2161222"/>
                <a:gd name="connsiteX1334" fmla="*/ 2190750 w 2443162"/>
                <a:gd name="connsiteY1334" fmla="*/ 1698308 h 2161222"/>
                <a:gd name="connsiteX1335" fmla="*/ 2172653 w 2443162"/>
                <a:gd name="connsiteY1335" fmla="*/ 1707833 h 2161222"/>
                <a:gd name="connsiteX1336" fmla="*/ 2155508 w 2443162"/>
                <a:gd name="connsiteY1336" fmla="*/ 1716405 h 2161222"/>
                <a:gd name="connsiteX1337" fmla="*/ 2137410 w 2443162"/>
                <a:gd name="connsiteY1337" fmla="*/ 1724025 h 2161222"/>
                <a:gd name="connsiteX1338" fmla="*/ 2120265 w 2443162"/>
                <a:gd name="connsiteY1338" fmla="*/ 1730693 h 2161222"/>
                <a:gd name="connsiteX1339" fmla="*/ 2103120 w 2443162"/>
                <a:gd name="connsiteY1339" fmla="*/ 1736408 h 2161222"/>
                <a:gd name="connsiteX1340" fmla="*/ 2085975 w 2443162"/>
                <a:gd name="connsiteY1340" fmla="*/ 1742123 h 2161222"/>
                <a:gd name="connsiteX1341" fmla="*/ 2068830 w 2443162"/>
                <a:gd name="connsiteY1341" fmla="*/ 1746885 h 2161222"/>
                <a:gd name="connsiteX1342" fmla="*/ 2036445 w 2443162"/>
                <a:gd name="connsiteY1342" fmla="*/ 1755458 h 2161222"/>
                <a:gd name="connsiteX1343" fmla="*/ 2005965 w 2443162"/>
                <a:gd name="connsiteY1343" fmla="*/ 1763078 h 2161222"/>
                <a:gd name="connsiteX1344" fmla="*/ 1991678 w 2443162"/>
                <a:gd name="connsiteY1344" fmla="*/ 1766888 h 2161222"/>
                <a:gd name="connsiteX1345" fmla="*/ 1978343 w 2443162"/>
                <a:gd name="connsiteY1345" fmla="*/ 1770698 h 2161222"/>
                <a:gd name="connsiteX1346" fmla="*/ 1965960 w 2443162"/>
                <a:gd name="connsiteY1346" fmla="*/ 1774508 h 2161222"/>
                <a:gd name="connsiteX1347" fmla="*/ 1954530 w 2443162"/>
                <a:gd name="connsiteY1347" fmla="*/ 1778318 h 2161222"/>
                <a:gd name="connsiteX1348" fmla="*/ 1944053 w 2443162"/>
                <a:gd name="connsiteY1348" fmla="*/ 1783080 h 2161222"/>
                <a:gd name="connsiteX1349" fmla="*/ 1934528 w 2443162"/>
                <a:gd name="connsiteY1349" fmla="*/ 1787843 h 2161222"/>
                <a:gd name="connsiteX1350" fmla="*/ 1926908 w 2443162"/>
                <a:gd name="connsiteY1350" fmla="*/ 1792605 h 2161222"/>
                <a:gd name="connsiteX1351" fmla="*/ 1925003 w 2443162"/>
                <a:gd name="connsiteY1351" fmla="*/ 1794510 h 2161222"/>
                <a:gd name="connsiteX1352" fmla="*/ 1925003 w 2443162"/>
                <a:gd name="connsiteY1352" fmla="*/ 1794510 h 2161222"/>
                <a:gd name="connsiteX1353" fmla="*/ 1703070 w 2443162"/>
                <a:gd name="connsiteY1353" fmla="*/ 1945958 h 2161222"/>
                <a:gd name="connsiteX1354" fmla="*/ 1707833 w 2443162"/>
                <a:gd name="connsiteY1354" fmla="*/ 1939290 h 2161222"/>
                <a:gd name="connsiteX1355" fmla="*/ 1712595 w 2443162"/>
                <a:gd name="connsiteY1355" fmla="*/ 1931670 h 2161222"/>
                <a:gd name="connsiteX1356" fmla="*/ 1717358 w 2443162"/>
                <a:gd name="connsiteY1356" fmla="*/ 1923098 h 2161222"/>
                <a:gd name="connsiteX1357" fmla="*/ 1722120 w 2443162"/>
                <a:gd name="connsiteY1357" fmla="*/ 1914525 h 2161222"/>
                <a:gd name="connsiteX1358" fmla="*/ 1730693 w 2443162"/>
                <a:gd name="connsiteY1358" fmla="*/ 1894523 h 2161222"/>
                <a:gd name="connsiteX1359" fmla="*/ 1740218 w 2443162"/>
                <a:gd name="connsiteY1359" fmla="*/ 1872615 h 2161222"/>
                <a:gd name="connsiteX1360" fmla="*/ 1749743 w 2443162"/>
                <a:gd name="connsiteY1360" fmla="*/ 1848803 h 2161222"/>
                <a:gd name="connsiteX1361" fmla="*/ 1760220 w 2443162"/>
                <a:gd name="connsiteY1361" fmla="*/ 1824038 h 2161222"/>
                <a:gd name="connsiteX1362" fmla="*/ 1771650 w 2443162"/>
                <a:gd name="connsiteY1362" fmla="*/ 1798320 h 2161222"/>
                <a:gd name="connsiteX1363" fmla="*/ 1784033 w 2443162"/>
                <a:gd name="connsiteY1363" fmla="*/ 1772603 h 2161222"/>
                <a:gd name="connsiteX1364" fmla="*/ 1790700 w 2443162"/>
                <a:gd name="connsiteY1364" fmla="*/ 1759268 h 2161222"/>
                <a:gd name="connsiteX1365" fmla="*/ 1797368 w 2443162"/>
                <a:gd name="connsiteY1365" fmla="*/ 1745933 h 2161222"/>
                <a:gd name="connsiteX1366" fmla="*/ 1804988 w 2443162"/>
                <a:gd name="connsiteY1366" fmla="*/ 1732598 h 2161222"/>
                <a:gd name="connsiteX1367" fmla="*/ 1812608 w 2443162"/>
                <a:gd name="connsiteY1367" fmla="*/ 1719263 h 2161222"/>
                <a:gd name="connsiteX1368" fmla="*/ 1820228 w 2443162"/>
                <a:gd name="connsiteY1368" fmla="*/ 1705928 h 2161222"/>
                <a:gd name="connsiteX1369" fmla="*/ 1828800 w 2443162"/>
                <a:gd name="connsiteY1369" fmla="*/ 1693545 h 2161222"/>
                <a:gd name="connsiteX1370" fmla="*/ 1838325 w 2443162"/>
                <a:gd name="connsiteY1370" fmla="*/ 1680210 h 2161222"/>
                <a:gd name="connsiteX1371" fmla="*/ 1847850 w 2443162"/>
                <a:gd name="connsiteY1371" fmla="*/ 1667828 h 2161222"/>
                <a:gd name="connsiteX1372" fmla="*/ 1858328 w 2443162"/>
                <a:gd name="connsiteY1372" fmla="*/ 1655445 h 2161222"/>
                <a:gd name="connsiteX1373" fmla="*/ 1868805 w 2443162"/>
                <a:gd name="connsiteY1373" fmla="*/ 1644015 h 2161222"/>
                <a:gd name="connsiteX1374" fmla="*/ 1879283 w 2443162"/>
                <a:gd name="connsiteY1374" fmla="*/ 1632585 h 2161222"/>
                <a:gd name="connsiteX1375" fmla="*/ 1891665 w 2443162"/>
                <a:gd name="connsiteY1375" fmla="*/ 1622108 h 2161222"/>
                <a:gd name="connsiteX1376" fmla="*/ 1904048 w 2443162"/>
                <a:gd name="connsiteY1376" fmla="*/ 1611630 h 2161222"/>
                <a:gd name="connsiteX1377" fmla="*/ 1917383 w 2443162"/>
                <a:gd name="connsiteY1377" fmla="*/ 1601153 h 2161222"/>
                <a:gd name="connsiteX1378" fmla="*/ 1931670 w 2443162"/>
                <a:gd name="connsiteY1378" fmla="*/ 1591628 h 2161222"/>
                <a:gd name="connsiteX1379" fmla="*/ 1945958 w 2443162"/>
                <a:gd name="connsiteY1379" fmla="*/ 1583055 h 2161222"/>
                <a:gd name="connsiteX1380" fmla="*/ 1931670 w 2443162"/>
                <a:gd name="connsiteY1380" fmla="*/ 1630680 h 2161222"/>
                <a:gd name="connsiteX1381" fmla="*/ 1919288 w 2443162"/>
                <a:gd name="connsiteY1381" fmla="*/ 1675448 h 2161222"/>
                <a:gd name="connsiteX1382" fmla="*/ 1913573 w 2443162"/>
                <a:gd name="connsiteY1382" fmla="*/ 1696403 h 2161222"/>
                <a:gd name="connsiteX1383" fmla="*/ 1907858 w 2443162"/>
                <a:gd name="connsiteY1383" fmla="*/ 1716405 h 2161222"/>
                <a:gd name="connsiteX1384" fmla="*/ 1902143 w 2443162"/>
                <a:gd name="connsiteY1384" fmla="*/ 1736408 h 2161222"/>
                <a:gd name="connsiteX1385" fmla="*/ 1895475 w 2443162"/>
                <a:gd name="connsiteY1385" fmla="*/ 1755458 h 2161222"/>
                <a:gd name="connsiteX1386" fmla="*/ 1891665 w 2443162"/>
                <a:gd name="connsiteY1386" fmla="*/ 1764983 h 2161222"/>
                <a:gd name="connsiteX1387" fmla="*/ 1887855 w 2443162"/>
                <a:gd name="connsiteY1387" fmla="*/ 1773555 h 2161222"/>
                <a:gd name="connsiteX1388" fmla="*/ 1884045 w 2443162"/>
                <a:gd name="connsiteY1388" fmla="*/ 1782128 h 2161222"/>
                <a:gd name="connsiteX1389" fmla="*/ 1879283 w 2443162"/>
                <a:gd name="connsiteY1389" fmla="*/ 1790700 h 2161222"/>
                <a:gd name="connsiteX1390" fmla="*/ 1874520 w 2443162"/>
                <a:gd name="connsiteY1390" fmla="*/ 1799273 h 2161222"/>
                <a:gd name="connsiteX1391" fmla="*/ 1869758 w 2443162"/>
                <a:gd name="connsiteY1391" fmla="*/ 1807845 h 2161222"/>
                <a:gd name="connsiteX1392" fmla="*/ 1864043 w 2443162"/>
                <a:gd name="connsiteY1392" fmla="*/ 1816418 h 2161222"/>
                <a:gd name="connsiteX1393" fmla="*/ 1858328 w 2443162"/>
                <a:gd name="connsiteY1393" fmla="*/ 1824038 h 2161222"/>
                <a:gd name="connsiteX1394" fmla="*/ 1852613 w 2443162"/>
                <a:gd name="connsiteY1394" fmla="*/ 1832610 h 2161222"/>
                <a:gd name="connsiteX1395" fmla="*/ 1846898 w 2443162"/>
                <a:gd name="connsiteY1395" fmla="*/ 1840230 h 2161222"/>
                <a:gd name="connsiteX1396" fmla="*/ 1840230 w 2443162"/>
                <a:gd name="connsiteY1396" fmla="*/ 1847850 h 2161222"/>
                <a:gd name="connsiteX1397" fmla="*/ 1832610 w 2443162"/>
                <a:gd name="connsiteY1397" fmla="*/ 1855470 h 2161222"/>
                <a:gd name="connsiteX1398" fmla="*/ 1824990 w 2443162"/>
                <a:gd name="connsiteY1398" fmla="*/ 1863090 h 2161222"/>
                <a:gd name="connsiteX1399" fmla="*/ 1817370 w 2443162"/>
                <a:gd name="connsiteY1399" fmla="*/ 1870710 h 2161222"/>
                <a:gd name="connsiteX1400" fmla="*/ 1808798 w 2443162"/>
                <a:gd name="connsiteY1400" fmla="*/ 1878330 h 2161222"/>
                <a:gd name="connsiteX1401" fmla="*/ 1800225 w 2443162"/>
                <a:gd name="connsiteY1401" fmla="*/ 1885950 h 2161222"/>
                <a:gd name="connsiteX1402" fmla="*/ 1815465 w 2443162"/>
                <a:gd name="connsiteY1402" fmla="*/ 1878330 h 2161222"/>
                <a:gd name="connsiteX1403" fmla="*/ 1835468 w 2443162"/>
                <a:gd name="connsiteY1403" fmla="*/ 1869758 h 2161222"/>
                <a:gd name="connsiteX1404" fmla="*/ 1859280 w 2443162"/>
                <a:gd name="connsiteY1404" fmla="*/ 1860233 h 2161222"/>
                <a:gd name="connsiteX1405" fmla="*/ 1885950 w 2443162"/>
                <a:gd name="connsiteY1405" fmla="*/ 1850708 h 2161222"/>
                <a:gd name="connsiteX1406" fmla="*/ 1900238 w 2443162"/>
                <a:gd name="connsiteY1406" fmla="*/ 1845945 h 2161222"/>
                <a:gd name="connsiteX1407" fmla="*/ 1914525 w 2443162"/>
                <a:gd name="connsiteY1407" fmla="*/ 1841183 h 2161222"/>
                <a:gd name="connsiteX1408" fmla="*/ 1929765 w 2443162"/>
                <a:gd name="connsiteY1408" fmla="*/ 1836420 h 2161222"/>
                <a:gd name="connsiteX1409" fmla="*/ 1945005 w 2443162"/>
                <a:gd name="connsiteY1409" fmla="*/ 1832610 h 2161222"/>
                <a:gd name="connsiteX1410" fmla="*/ 1960245 w 2443162"/>
                <a:gd name="connsiteY1410" fmla="*/ 1828800 h 2161222"/>
                <a:gd name="connsiteX1411" fmla="*/ 1975485 w 2443162"/>
                <a:gd name="connsiteY1411" fmla="*/ 1824990 h 2161222"/>
                <a:gd name="connsiteX1412" fmla="*/ 1990725 w 2443162"/>
                <a:gd name="connsiteY1412" fmla="*/ 1822133 h 2161222"/>
                <a:gd name="connsiteX1413" fmla="*/ 2005965 w 2443162"/>
                <a:gd name="connsiteY1413" fmla="*/ 1819275 h 2161222"/>
                <a:gd name="connsiteX1414" fmla="*/ 2019300 w 2443162"/>
                <a:gd name="connsiteY1414" fmla="*/ 1817370 h 2161222"/>
                <a:gd name="connsiteX1415" fmla="*/ 2031683 w 2443162"/>
                <a:gd name="connsiteY1415" fmla="*/ 1815465 h 2161222"/>
                <a:gd name="connsiteX1416" fmla="*/ 2043113 w 2443162"/>
                <a:gd name="connsiteY1416" fmla="*/ 1813560 h 2161222"/>
                <a:gd name="connsiteX1417" fmla="*/ 2054543 w 2443162"/>
                <a:gd name="connsiteY1417" fmla="*/ 1811655 h 2161222"/>
                <a:gd name="connsiteX1418" fmla="*/ 2065020 w 2443162"/>
                <a:gd name="connsiteY1418" fmla="*/ 1809750 h 2161222"/>
                <a:gd name="connsiteX1419" fmla="*/ 2075498 w 2443162"/>
                <a:gd name="connsiteY1419" fmla="*/ 1806893 h 2161222"/>
                <a:gd name="connsiteX1420" fmla="*/ 2085023 w 2443162"/>
                <a:gd name="connsiteY1420" fmla="*/ 1804035 h 2161222"/>
                <a:gd name="connsiteX1421" fmla="*/ 2094548 w 2443162"/>
                <a:gd name="connsiteY1421" fmla="*/ 1801178 h 2161222"/>
                <a:gd name="connsiteX1422" fmla="*/ 2103120 w 2443162"/>
                <a:gd name="connsiteY1422" fmla="*/ 1798320 h 2161222"/>
                <a:gd name="connsiteX1423" fmla="*/ 2111693 w 2443162"/>
                <a:gd name="connsiteY1423" fmla="*/ 1795463 h 2161222"/>
                <a:gd name="connsiteX1424" fmla="*/ 2120265 w 2443162"/>
                <a:gd name="connsiteY1424" fmla="*/ 1792605 h 2161222"/>
                <a:gd name="connsiteX1425" fmla="*/ 2127885 w 2443162"/>
                <a:gd name="connsiteY1425" fmla="*/ 1789748 h 2161222"/>
                <a:gd name="connsiteX1426" fmla="*/ 2142173 w 2443162"/>
                <a:gd name="connsiteY1426" fmla="*/ 1783080 h 2161222"/>
                <a:gd name="connsiteX1427" fmla="*/ 2155508 w 2443162"/>
                <a:gd name="connsiteY1427" fmla="*/ 1776413 h 2161222"/>
                <a:gd name="connsiteX1428" fmla="*/ 2167890 w 2443162"/>
                <a:gd name="connsiteY1428" fmla="*/ 1769745 h 2161222"/>
                <a:gd name="connsiteX1429" fmla="*/ 2179320 w 2443162"/>
                <a:gd name="connsiteY1429" fmla="*/ 1763078 h 2161222"/>
                <a:gd name="connsiteX1430" fmla="*/ 2189798 w 2443162"/>
                <a:gd name="connsiteY1430" fmla="*/ 1755458 h 2161222"/>
                <a:gd name="connsiteX1431" fmla="*/ 2200275 w 2443162"/>
                <a:gd name="connsiteY1431" fmla="*/ 1748790 h 2161222"/>
                <a:gd name="connsiteX1432" fmla="*/ 2210753 w 2443162"/>
                <a:gd name="connsiteY1432" fmla="*/ 1741170 h 2161222"/>
                <a:gd name="connsiteX1433" fmla="*/ 2221230 w 2443162"/>
                <a:gd name="connsiteY1433" fmla="*/ 1734503 h 2161222"/>
                <a:gd name="connsiteX1434" fmla="*/ 2232660 w 2443162"/>
                <a:gd name="connsiteY1434" fmla="*/ 1727835 h 2161222"/>
                <a:gd name="connsiteX1435" fmla="*/ 2244090 w 2443162"/>
                <a:gd name="connsiteY1435" fmla="*/ 1721168 h 2161222"/>
                <a:gd name="connsiteX1436" fmla="*/ 2227898 w 2443162"/>
                <a:gd name="connsiteY1436" fmla="*/ 1749743 h 2161222"/>
                <a:gd name="connsiteX1437" fmla="*/ 2211705 w 2443162"/>
                <a:gd name="connsiteY1437" fmla="*/ 1775460 h 2161222"/>
                <a:gd name="connsiteX1438" fmla="*/ 2194560 w 2443162"/>
                <a:gd name="connsiteY1438" fmla="*/ 1798320 h 2161222"/>
                <a:gd name="connsiteX1439" fmla="*/ 2177415 w 2443162"/>
                <a:gd name="connsiteY1439" fmla="*/ 1819275 h 2161222"/>
                <a:gd name="connsiteX1440" fmla="*/ 2159318 w 2443162"/>
                <a:gd name="connsiteY1440" fmla="*/ 1838325 h 2161222"/>
                <a:gd name="connsiteX1441" fmla="*/ 2140268 w 2443162"/>
                <a:gd name="connsiteY1441" fmla="*/ 1855470 h 2161222"/>
                <a:gd name="connsiteX1442" fmla="*/ 2121218 w 2443162"/>
                <a:gd name="connsiteY1442" fmla="*/ 1870710 h 2161222"/>
                <a:gd name="connsiteX1443" fmla="*/ 2102168 w 2443162"/>
                <a:gd name="connsiteY1443" fmla="*/ 1884045 h 2161222"/>
                <a:gd name="connsiteX1444" fmla="*/ 2082165 w 2443162"/>
                <a:gd name="connsiteY1444" fmla="*/ 1895475 h 2161222"/>
                <a:gd name="connsiteX1445" fmla="*/ 2062163 w 2443162"/>
                <a:gd name="connsiteY1445" fmla="*/ 1905953 h 2161222"/>
                <a:gd name="connsiteX1446" fmla="*/ 2042160 w 2443162"/>
                <a:gd name="connsiteY1446" fmla="*/ 1914525 h 2161222"/>
                <a:gd name="connsiteX1447" fmla="*/ 2022158 w 2443162"/>
                <a:gd name="connsiteY1447" fmla="*/ 1921193 h 2161222"/>
                <a:gd name="connsiteX1448" fmla="*/ 2002155 w 2443162"/>
                <a:gd name="connsiteY1448" fmla="*/ 1926908 h 2161222"/>
                <a:gd name="connsiteX1449" fmla="*/ 1982153 w 2443162"/>
                <a:gd name="connsiteY1449" fmla="*/ 1931670 h 2161222"/>
                <a:gd name="connsiteX1450" fmla="*/ 1962150 w 2443162"/>
                <a:gd name="connsiteY1450" fmla="*/ 1935480 h 2161222"/>
                <a:gd name="connsiteX1451" fmla="*/ 1943100 w 2443162"/>
                <a:gd name="connsiteY1451" fmla="*/ 1938338 h 2161222"/>
                <a:gd name="connsiteX1452" fmla="*/ 1924050 w 2443162"/>
                <a:gd name="connsiteY1452" fmla="*/ 1940243 h 2161222"/>
                <a:gd name="connsiteX1453" fmla="*/ 1905000 w 2443162"/>
                <a:gd name="connsiteY1453" fmla="*/ 1941195 h 2161222"/>
                <a:gd name="connsiteX1454" fmla="*/ 1885950 w 2443162"/>
                <a:gd name="connsiteY1454" fmla="*/ 1941195 h 2161222"/>
                <a:gd name="connsiteX1455" fmla="*/ 1867853 w 2443162"/>
                <a:gd name="connsiteY1455" fmla="*/ 1941195 h 2161222"/>
                <a:gd name="connsiteX1456" fmla="*/ 1833563 w 2443162"/>
                <a:gd name="connsiteY1456" fmla="*/ 1940243 h 2161222"/>
                <a:gd name="connsiteX1457" fmla="*/ 1801178 w 2443162"/>
                <a:gd name="connsiteY1457" fmla="*/ 1939290 h 2161222"/>
                <a:gd name="connsiteX1458" fmla="*/ 1785938 w 2443162"/>
                <a:gd name="connsiteY1458" fmla="*/ 1939290 h 2161222"/>
                <a:gd name="connsiteX1459" fmla="*/ 1771650 w 2443162"/>
                <a:gd name="connsiteY1459" fmla="*/ 1939290 h 2161222"/>
                <a:gd name="connsiteX1460" fmla="*/ 1758315 w 2443162"/>
                <a:gd name="connsiteY1460" fmla="*/ 1939290 h 2161222"/>
                <a:gd name="connsiteX1461" fmla="*/ 1745933 w 2443162"/>
                <a:gd name="connsiteY1461" fmla="*/ 1939290 h 2161222"/>
                <a:gd name="connsiteX1462" fmla="*/ 1734503 w 2443162"/>
                <a:gd name="connsiteY1462" fmla="*/ 1940243 h 2161222"/>
                <a:gd name="connsiteX1463" fmla="*/ 1724025 w 2443162"/>
                <a:gd name="connsiteY1463" fmla="*/ 1942148 h 2161222"/>
                <a:gd name="connsiteX1464" fmla="*/ 1714500 w 2443162"/>
                <a:gd name="connsiteY1464" fmla="*/ 1945005 h 2161222"/>
                <a:gd name="connsiteX1465" fmla="*/ 1703070 w 2443162"/>
                <a:gd name="connsiteY1465" fmla="*/ 1945958 h 2161222"/>
                <a:gd name="connsiteX1466" fmla="*/ 1703070 w 2443162"/>
                <a:gd name="connsiteY1466" fmla="*/ 1945958 h 2161222"/>
                <a:gd name="connsiteX1467" fmla="*/ 2267903 w 2443162"/>
                <a:gd name="connsiteY1467" fmla="*/ 813435 h 2161222"/>
                <a:gd name="connsiteX1468" fmla="*/ 2262188 w 2443162"/>
                <a:gd name="connsiteY1468" fmla="*/ 797243 h 2161222"/>
                <a:gd name="connsiteX1469" fmla="*/ 2255520 w 2443162"/>
                <a:gd name="connsiteY1469" fmla="*/ 782003 h 2161222"/>
                <a:gd name="connsiteX1470" fmla="*/ 2247900 w 2443162"/>
                <a:gd name="connsiteY1470" fmla="*/ 766763 h 2161222"/>
                <a:gd name="connsiteX1471" fmla="*/ 2239328 w 2443162"/>
                <a:gd name="connsiteY1471" fmla="*/ 753428 h 2161222"/>
                <a:gd name="connsiteX1472" fmla="*/ 2230755 w 2443162"/>
                <a:gd name="connsiteY1472" fmla="*/ 740093 h 2161222"/>
                <a:gd name="connsiteX1473" fmla="*/ 2220278 w 2443162"/>
                <a:gd name="connsiteY1473" fmla="*/ 727710 h 2161222"/>
                <a:gd name="connsiteX1474" fmla="*/ 2210753 w 2443162"/>
                <a:gd name="connsiteY1474" fmla="*/ 716280 h 2161222"/>
                <a:gd name="connsiteX1475" fmla="*/ 2200275 w 2443162"/>
                <a:gd name="connsiteY1475" fmla="*/ 704850 h 2161222"/>
                <a:gd name="connsiteX1476" fmla="*/ 2188845 w 2443162"/>
                <a:gd name="connsiteY1476" fmla="*/ 694373 h 2161222"/>
                <a:gd name="connsiteX1477" fmla="*/ 2177415 w 2443162"/>
                <a:gd name="connsiteY1477" fmla="*/ 683895 h 2161222"/>
                <a:gd name="connsiteX1478" fmla="*/ 2165985 w 2443162"/>
                <a:gd name="connsiteY1478" fmla="*/ 673418 h 2161222"/>
                <a:gd name="connsiteX1479" fmla="*/ 2153603 w 2443162"/>
                <a:gd name="connsiteY1479" fmla="*/ 663893 h 2161222"/>
                <a:gd name="connsiteX1480" fmla="*/ 2128838 w 2443162"/>
                <a:gd name="connsiteY1480" fmla="*/ 643890 h 2161222"/>
                <a:gd name="connsiteX1481" fmla="*/ 2103120 w 2443162"/>
                <a:gd name="connsiteY1481" fmla="*/ 624840 h 2161222"/>
                <a:gd name="connsiteX1482" fmla="*/ 2090738 w 2443162"/>
                <a:gd name="connsiteY1482" fmla="*/ 615315 h 2161222"/>
                <a:gd name="connsiteX1483" fmla="*/ 2078355 w 2443162"/>
                <a:gd name="connsiteY1483" fmla="*/ 605790 h 2161222"/>
                <a:gd name="connsiteX1484" fmla="*/ 2065973 w 2443162"/>
                <a:gd name="connsiteY1484" fmla="*/ 595313 h 2161222"/>
                <a:gd name="connsiteX1485" fmla="*/ 2053590 w 2443162"/>
                <a:gd name="connsiteY1485" fmla="*/ 584835 h 2161222"/>
                <a:gd name="connsiteX1486" fmla="*/ 2042160 w 2443162"/>
                <a:gd name="connsiteY1486" fmla="*/ 574358 h 2161222"/>
                <a:gd name="connsiteX1487" fmla="*/ 2030730 w 2443162"/>
                <a:gd name="connsiteY1487" fmla="*/ 563880 h 2161222"/>
                <a:gd name="connsiteX1488" fmla="*/ 2020253 w 2443162"/>
                <a:gd name="connsiteY1488" fmla="*/ 553403 h 2161222"/>
                <a:gd name="connsiteX1489" fmla="*/ 2009775 w 2443162"/>
                <a:gd name="connsiteY1489" fmla="*/ 541973 h 2161222"/>
                <a:gd name="connsiteX1490" fmla="*/ 1999298 w 2443162"/>
                <a:gd name="connsiteY1490" fmla="*/ 529590 h 2161222"/>
                <a:gd name="connsiteX1491" fmla="*/ 1989773 w 2443162"/>
                <a:gd name="connsiteY1491" fmla="*/ 516255 h 2161222"/>
                <a:gd name="connsiteX1492" fmla="*/ 1980248 w 2443162"/>
                <a:gd name="connsiteY1492" fmla="*/ 502920 h 2161222"/>
                <a:gd name="connsiteX1493" fmla="*/ 1971675 w 2443162"/>
                <a:gd name="connsiteY1493" fmla="*/ 488633 h 2161222"/>
                <a:gd name="connsiteX1494" fmla="*/ 1964055 w 2443162"/>
                <a:gd name="connsiteY1494" fmla="*/ 473393 h 2161222"/>
                <a:gd name="connsiteX1495" fmla="*/ 1957388 w 2443162"/>
                <a:gd name="connsiteY1495" fmla="*/ 458153 h 2161222"/>
                <a:gd name="connsiteX1496" fmla="*/ 1950720 w 2443162"/>
                <a:gd name="connsiteY1496" fmla="*/ 441008 h 2161222"/>
                <a:gd name="connsiteX1497" fmla="*/ 1945958 w 2443162"/>
                <a:gd name="connsiteY1497" fmla="*/ 422910 h 2161222"/>
                <a:gd name="connsiteX1498" fmla="*/ 1957388 w 2443162"/>
                <a:gd name="connsiteY1498" fmla="*/ 434340 h 2161222"/>
                <a:gd name="connsiteX1499" fmla="*/ 1969770 w 2443162"/>
                <a:gd name="connsiteY1499" fmla="*/ 444818 h 2161222"/>
                <a:gd name="connsiteX1500" fmla="*/ 1982153 w 2443162"/>
                <a:gd name="connsiteY1500" fmla="*/ 455295 h 2161222"/>
                <a:gd name="connsiteX1501" fmla="*/ 1995488 w 2443162"/>
                <a:gd name="connsiteY1501" fmla="*/ 464820 h 2161222"/>
                <a:gd name="connsiteX1502" fmla="*/ 2008823 w 2443162"/>
                <a:gd name="connsiteY1502" fmla="*/ 474345 h 2161222"/>
                <a:gd name="connsiteX1503" fmla="*/ 2022158 w 2443162"/>
                <a:gd name="connsiteY1503" fmla="*/ 483870 h 2161222"/>
                <a:gd name="connsiteX1504" fmla="*/ 2036445 w 2443162"/>
                <a:gd name="connsiteY1504" fmla="*/ 492443 h 2161222"/>
                <a:gd name="connsiteX1505" fmla="*/ 2050733 w 2443162"/>
                <a:gd name="connsiteY1505" fmla="*/ 501968 h 2161222"/>
                <a:gd name="connsiteX1506" fmla="*/ 2079308 w 2443162"/>
                <a:gd name="connsiteY1506" fmla="*/ 520065 h 2161222"/>
                <a:gd name="connsiteX1507" fmla="*/ 2106930 w 2443162"/>
                <a:gd name="connsiteY1507" fmla="*/ 539115 h 2161222"/>
                <a:gd name="connsiteX1508" fmla="*/ 2121218 w 2443162"/>
                <a:gd name="connsiteY1508" fmla="*/ 549593 h 2161222"/>
                <a:gd name="connsiteX1509" fmla="*/ 2134553 w 2443162"/>
                <a:gd name="connsiteY1509" fmla="*/ 560070 h 2161222"/>
                <a:gd name="connsiteX1510" fmla="*/ 2147888 w 2443162"/>
                <a:gd name="connsiteY1510" fmla="*/ 571500 h 2161222"/>
                <a:gd name="connsiteX1511" fmla="*/ 2161223 w 2443162"/>
                <a:gd name="connsiteY1511" fmla="*/ 582930 h 2161222"/>
                <a:gd name="connsiteX1512" fmla="*/ 2172653 w 2443162"/>
                <a:gd name="connsiteY1512" fmla="*/ 595313 h 2161222"/>
                <a:gd name="connsiteX1513" fmla="*/ 2183130 w 2443162"/>
                <a:gd name="connsiteY1513" fmla="*/ 607695 h 2161222"/>
                <a:gd name="connsiteX1514" fmla="*/ 2192655 w 2443162"/>
                <a:gd name="connsiteY1514" fmla="*/ 620078 h 2161222"/>
                <a:gd name="connsiteX1515" fmla="*/ 2201228 w 2443162"/>
                <a:gd name="connsiteY1515" fmla="*/ 632460 h 2161222"/>
                <a:gd name="connsiteX1516" fmla="*/ 2208848 w 2443162"/>
                <a:gd name="connsiteY1516" fmla="*/ 644843 h 2161222"/>
                <a:gd name="connsiteX1517" fmla="*/ 2216468 w 2443162"/>
                <a:gd name="connsiteY1517" fmla="*/ 658178 h 2161222"/>
                <a:gd name="connsiteX1518" fmla="*/ 2223135 w 2443162"/>
                <a:gd name="connsiteY1518" fmla="*/ 671513 h 2161222"/>
                <a:gd name="connsiteX1519" fmla="*/ 2230755 w 2443162"/>
                <a:gd name="connsiteY1519" fmla="*/ 685800 h 2161222"/>
                <a:gd name="connsiteX1520" fmla="*/ 2225040 w 2443162"/>
                <a:gd name="connsiteY1520" fmla="*/ 664845 h 2161222"/>
                <a:gd name="connsiteX1521" fmla="*/ 2220278 w 2443162"/>
                <a:gd name="connsiteY1521" fmla="*/ 643890 h 2161222"/>
                <a:gd name="connsiteX1522" fmla="*/ 2214563 w 2443162"/>
                <a:gd name="connsiteY1522" fmla="*/ 622935 h 2161222"/>
                <a:gd name="connsiteX1523" fmla="*/ 2209800 w 2443162"/>
                <a:gd name="connsiteY1523" fmla="*/ 600075 h 2161222"/>
                <a:gd name="connsiteX1524" fmla="*/ 2205990 w 2443162"/>
                <a:gd name="connsiteY1524" fmla="*/ 579120 h 2161222"/>
                <a:gd name="connsiteX1525" fmla="*/ 2202180 w 2443162"/>
                <a:gd name="connsiteY1525" fmla="*/ 559118 h 2161222"/>
                <a:gd name="connsiteX1526" fmla="*/ 2201228 w 2443162"/>
                <a:gd name="connsiteY1526" fmla="*/ 549593 h 2161222"/>
                <a:gd name="connsiteX1527" fmla="*/ 2200275 w 2443162"/>
                <a:gd name="connsiteY1527" fmla="*/ 540068 h 2161222"/>
                <a:gd name="connsiteX1528" fmla="*/ 2199323 w 2443162"/>
                <a:gd name="connsiteY1528" fmla="*/ 530543 h 2161222"/>
                <a:gd name="connsiteX1529" fmla="*/ 2199323 w 2443162"/>
                <a:gd name="connsiteY1529" fmla="*/ 521018 h 2161222"/>
                <a:gd name="connsiteX1530" fmla="*/ 2196465 w 2443162"/>
                <a:gd name="connsiteY1530" fmla="*/ 495300 h 2161222"/>
                <a:gd name="connsiteX1531" fmla="*/ 2194560 w 2443162"/>
                <a:gd name="connsiteY1531" fmla="*/ 476250 h 2161222"/>
                <a:gd name="connsiteX1532" fmla="*/ 2192655 w 2443162"/>
                <a:gd name="connsiteY1532" fmla="*/ 461010 h 2161222"/>
                <a:gd name="connsiteX1533" fmla="*/ 2189798 w 2443162"/>
                <a:gd name="connsiteY1533" fmla="*/ 448628 h 2161222"/>
                <a:gd name="connsiteX1534" fmla="*/ 2187893 w 2443162"/>
                <a:gd name="connsiteY1534" fmla="*/ 442913 h 2161222"/>
                <a:gd name="connsiteX1535" fmla="*/ 2185988 w 2443162"/>
                <a:gd name="connsiteY1535" fmla="*/ 437198 h 2161222"/>
                <a:gd name="connsiteX1536" fmla="*/ 2184083 w 2443162"/>
                <a:gd name="connsiteY1536" fmla="*/ 430530 h 2161222"/>
                <a:gd name="connsiteX1537" fmla="*/ 2181225 w 2443162"/>
                <a:gd name="connsiteY1537" fmla="*/ 422910 h 2161222"/>
                <a:gd name="connsiteX1538" fmla="*/ 2174558 w 2443162"/>
                <a:gd name="connsiteY1538" fmla="*/ 404813 h 2161222"/>
                <a:gd name="connsiteX1539" fmla="*/ 2164080 w 2443162"/>
                <a:gd name="connsiteY1539" fmla="*/ 381000 h 2161222"/>
                <a:gd name="connsiteX1540" fmla="*/ 2160270 w 2443162"/>
                <a:gd name="connsiteY1540" fmla="*/ 374333 h 2161222"/>
                <a:gd name="connsiteX1541" fmla="*/ 2154555 w 2443162"/>
                <a:gd name="connsiteY1541" fmla="*/ 364808 h 2161222"/>
                <a:gd name="connsiteX1542" fmla="*/ 2148840 w 2443162"/>
                <a:gd name="connsiteY1542" fmla="*/ 355283 h 2161222"/>
                <a:gd name="connsiteX1543" fmla="*/ 2145030 w 2443162"/>
                <a:gd name="connsiteY1543" fmla="*/ 348615 h 2161222"/>
                <a:gd name="connsiteX1544" fmla="*/ 2152650 w 2443162"/>
                <a:gd name="connsiteY1544" fmla="*/ 354330 h 2161222"/>
                <a:gd name="connsiteX1545" fmla="*/ 2160270 w 2443162"/>
                <a:gd name="connsiteY1545" fmla="*/ 360045 h 2161222"/>
                <a:gd name="connsiteX1546" fmla="*/ 2166938 w 2443162"/>
                <a:gd name="connsiteY1546" fmla="*/ 365760 h 2161222"/>
                <a:gd name="connsiteX1547" fmla="*/ 2173605 w 2443162"/>
                <a:gd name="connsiteY1547" fmla="*/ 371475 h 2161222"/>
                <a:gd name="connsiteX1548" fmla="*/ 2180273 w 2443162"/>
                <a:gd name="connsiteY1548" fmla="*/ 377190 h 2161222"/>
                <a:gd name="connsiteX1549" fmla="*/ 2185988 w 2443162"/>
                <a:gd name="connsiteY1549" fmla="*/ 382905 h 2161222"/>
                <a:gd name="connsiteX1550" fmla="*/ 2191703 w 2443162"/>
                <a:gd name="connsiteY1550" fmla="*/ 388620 h 2161222"/>
                <a:gd name="connsiteX1551" fmla="*/ 2197418 w 2443162"/>
                <a:gd name="connsiteY1551" fmla="*/ 394335 h 2161222"/>
                <a:gd name="connsiteX1552" fmla="*/ 2203133 w 2443162"/>
                <a:gd name="connsiteY1552" fmla="*/ 400050 h 2161222"/>
                <a:gd name="connsiteX1553" fmla="*/ 2207895 w 2443162"/>
                <a:gd name="connsiteY1553" fmla="*/ 406718 h 2161222"/>
                <a:gd name="connsiteX1554" fmla="*/ 2213610 w 2443162"/>
                <a:gd name="connsiteY1554" fmla="*/ 412433 h 2161222"/>
                <a:gd name="connsiteX1555" fmla="*/ 2218373 w 2443162"/>
                <a:gd name="connsiteY1555" fmla="*/ 419100 h 2161222"/>
                <a:gd name="connsiteX1556" fmla="*/ 2223135 w 2443162"/>
                <a:gd name="connsiteY1556" fmla="*/ 425768 h 2161222"/>
                <a:gd name="connsiteX1557" fmla="*/ 2227898 w 2443162"/>
                <a:gd name="connsiteY1557" fmla="*/ 432435 h 2161222"/>
                <a:gd name="connsiteX1558" fmla="*/ 2232660 w 2443162"/>
                <a:gd name="connsiteY1558" fmla="*/ 439103 h 2161222"/>
                <a:gd name="connsiteX1559" fmla="*/ 2236470 w 2443162"/>
                <a:gd name="connsiteY1559" fmla="*/ 445770 h 2161222"/>
                <a:gd name="connsiteX1560" fmla="*/ 2244090 w 2443162"/>
                <a:gd name="connsiteY1560" fmla="*/ 460058 h 2161222"/>
                <a:gd name="connsiteX1561" fmla="*/ 2250758 w 2443162"/>
                <a:gd name="connsiteY1561" fmla="*/ 475298 h 2161222"/>
                <a:gd name="connsiteX1562" fmla="*/ 2257425 w 2443162"/>
                <a:gd name="connsiteY1562" fmla="*/ 490538 h 2161222"/>
                <a:gd name="connsiteX1563" fmla="*/ 2263140 w 2443162"/>
                <a:gd name="connsiteY1563" fmla="*/ 506730 h 2161222"/>
                <a:gd name="connsiteX1564" fmla="*/ 2267903 w 2443162"/>
                <a:gd name="connsiteY1564" fmla="*/ 522923 h 2161222"/>
                <a:gd name="connsiteX1565" fmla="*/ 2272665 w 2443162"/>
                <a:gd name="connsiteY1565" fmla="*/ 540068 h 2161222"/>
                <a:gd name="connsiteX1566" fmla="*/ 2276475 w 2443162"/>
                <a:gd name="connsiteY1566" fmla="*/ 557213 h 2161222"/>
                <a:gd name="connsiteX1567" fmla="*/ 2279333 w 2443162"/>
                <a:gd name="connsiteY1567" fmla="*/ 575310 h 2161222"/>
                <a:gd name="connsiteX1568" fmla="*/ 2281238 w 2443162"/>
                <a:gd name="connsiteY1568" fmla="*/ 590550 h 2161222"/>
                <a:gd name="connsiteX1569" fmla="*/ 2282190 w 2443162"/>
                <a:gd name="connsiteY1569" fmla="*/ 605790 h 2161222"/>
                <a:gd name="connsiteX1570" fmla="*/ 2283143 w 2443162"/>
                <a:gd name="connsiteY1570" fmla="*/ 621030 h 2161222"/>
                <a:gd name="connsiteX1571" fmla="*/ 2283143 w 2443162"/>
                <a:gd name="connsiteY1571" fmla="*/ 635318 h 2161222"/>
                <a:gd name="connsiteX1572" fmla="*/ 2284095 w 2443162"/>
                <a:gd name="connsiteY1572" fmla="*/ 650558 h 2161222"/>
                <a:gd name="connsiteX1573" fmla="*/ 2283143 w 2443162"/>
                <a:gd name="connsiteY1573" fmla="*/ 664845 h 2161222"/>
                <a:gd name="connsiteX1574" fmla="*/ 2283143 w 2443162"/>
                <a:gd name="connsiteY1574" fmla="*/ 679133 h 2161222"/>
                <a:gd name="connsiteX1575" fmla="*/ 2282190 w 2443162"/>
                <a:gd name="connsiteY1575" fmla="*/ 693420 h 2161222"/>
                <a:gd name="connsiteX1576" fmla="*/ 2280285 w 2443162"/>
                <a:gd name="connsiteY1576" fmla="*/ 721995 h 2161222"/>
                <a:gd name="connsiteX1577" fmla="*/ 2277428 w 2443162"/>
                <a:gd name="connsiteY1577" fmla="*/ 751523 h 2161222"/>
                <a:gd name="connsiteX1578" fmla="*/ 2273618 w 2443162"/>
                <a:gd name="connsiteY1578" fmla="*/ 782003 h 2161222"/>
                <a:gd name="connsiteX1579" fmla="*/ 2267903 w 2443162"/>
                <a:gd name="connsiteY1579" fmla="*/ 813435 h 2161222"/>
                <a:gd name="connsiteX1580" fmla="*/ 2267903 w 2443162"/>
                <a:gd name="connsiteY1580" fmla="*/ 813435 h 2161222"/>
                <a:gd name="connsiteX1581" fmla="*/ 422910 w 2443162"/>
                <a:gd name="connsiteY1581" fmla="*/ 1971675 h 2161222"/>
                <a:gd name="connsiteX1582" fmla="*/ 438150 w 2443162"/>
                <a:gd name="connsiteY1582" fmla="*/ 1981200 h 2161222"/>
                <a:gd name="connsiteX1583" fmla="*/ 454343 w 2443162"/>
                <a:gd name="connsiteY1583" fmla="*/ 1987868 h 2161222"/>
                <a:gd name="connsiteX1584" fmla="*/ 471488 w 2443162"/>
                <a:gd name="connsiteY1584" fmla="*/ 1992630 h 2161222"/>
                <a:gd name="connsiteX1585" fmla="*/ 489585 w 2443162"/>
                <a:gd name="connsiteY1585" fmla="*/ 1996440 h 2161222"/>
                <a:gd name="connsiteX1586" fmla="*/ 508635 w 2443162"/>
                <a:gd name="connsiteY1586" fmla="*/ 1998345 h 2161222"/>
                <a:gd name="connsiteX1587" fmla="*/ 528638 w 2443162"/>
                <a:gd name="connsiteY1587" fmla="*/ 1998345 h 2161222"/>
                <a:gd name="connsiteX1588" fmla="*/ 549593 w 2443162"/>
                <a:gd name="connsiteY1588" fmla="*/ 1998345 h 2161222"/>
                <a:gd name="connsiteX1589" fmla="*/ 570548 w 2443162"/>
                <a:gd name="connsiteY1589" fmla="*/ 1996440 h 2161222"/>
                <a:gd name="connsiteX1590" fmla="*/ 592455 w 2443162"/>
                <a:gd name="connsiteY1590" fmla="*/ 1993583 h 2161222"/>
                <a:gd name="connsiteX1591" fmla="*/ 615315 w 2443162"/>
                <a:gd name="connsiteY1591" fmla="*/ 1989773 h 2161222"/>
                <a:gd name="connsiteX1592" fmla="*/ 639128 w 2443162"/>
                <a:gd name="connsiteY1592" fmla="*/ 1985010 h 2161222"/>
                <a:gd name="connsiteX1593" fmla="*/ 663893 w 2443162"/>
                <a:gd name="connsiteY1593" fmla="*/ 1980248 h 2161222"/>
                <a:gd name="connsiteX1594" fmla="*/ 714375 w 2443162"/>
                <a:gd name="connsiteY1594" fmla="*/ 1968818 h 2161222"/>
                <a:gd name="connsiteX1595" fmla="*/ 765810 w 2443162"/>
                <a:gd name="connsiteY1595" fmla="*/ 1957388 h 2161222"/>
                <a:gd name="connsiteX1596" fmla="*/ 792480 w 2443162"/>
                <a:gd name="connsiteY1596" fmla="*/ 1951673 h 2161222"/>
                <a:gd name="connsiteX1597" fmla="*/ 820103 w 2443162"/>
                <a:gd name="connsiteY1597" fmla="*/ 1945958 h 2161222"/>
                <a:gd name="connsiteX1598" fmla="*/ 847725 w 2443162"/>
                <a:gd name="connsiteY1598" fmla="*/ 1941195 h 2161222"/>
                <a:gd name="connsiteX1599" fmla="*/ 875348 w 2443162"/>
                <a:gd name="connsiteY1599" fmla="*/ 1935480 h 2161222"/>
                <a:gd name="connsiteX1600" fmla="*/ 903923 w 2443162"/>
                <a:gd name="connsiteY1600" fmla="*/ 1930718 h 2161222"/>
                <a:gd name="connsiteX1601" fmla="*/ 932498 w 2443162"/>
                <a:gd name="connsiteY1601" fmla="*/ 1926908 h 2161222"/>
                <a:gd name="connsiteX1602" fmla="*/ 961073 w 2443162"/>
                <a:gd name="connsiteY1602" fmla="*/ 1924050 h 2161222"/>
                <a:gd name="connsiteX1603" fmla="*/ 989648 w 2443162"/>
                <a:gd name="connsiteY1603" fmla="*/ 1922145 h 2161222"/>
                <a:gd name="connsiteX1604" fmla="*/ 1018223 w 2443162"/>
                <a:gd name="connsiteY1604" fmla="*/ 1921193 h 2161222"/>
                <a:gd name="connsiteX1605" fmla="*/ 1046798 w 2443162"/>
                <a:gd name="connsiteY1605" fmla="*/ 1922145 h 2161222"/>
                <a:gd name="connsiteX1606" fmla="*/ 1076325 w 2443162"/>
                <a:gd name="connsiteY1606" fmla="*/ 1924050 h 2161222"/>
                <a:gd name="connsiteX1607" fmla="*/ 1104900 w 2443162"/>
                <a:gd name="connsiteY1607" fmla="*/ 1927860 h 2161222"/>
                <a:gd name="connsiteX1608" fmla="*/ 1134428 w 2443162"/>
                <a:gd name="connsiteY1608" fmla="*/ 1932623 h 2161222"/>
                <a:gd name="connsiteX1609" fmla="*/ 1163003 w 2443162"/>
                <a:gd name="connsiteY1609" fmla="*/ 1939290 h 2161222"/>
                <a:gd name="connsiteX1610" fmla="*/ 1192530 w 2443162"/>
                <a:gd name="connsiteY1610" fmla="*/ 1948815 h 2161222"/>
                <a:gd name="connsiteX1611" fmla="*/ 1221105 w 2443162"/>
                <a:gd name="connsiteY1611" fmla="*/ 1959293 h 2161222"/>
                <a:gd name="connsiteX1612" fmla="*/ 1258253 w 2443162"/>
                <a:gd name="connsiteY1612" fmla="*/ 1948815 h 2161222"/>
                <a:gd name="connsiteX1613" fmla="*/ 1293495 w 2443162"/>
                <a:gd name="connsiteY1613" fmla="*/ 1940243 h 2161222"/>
                <a:gd name="connsiteX1614" fmla="*/ 1326833 w 2443162"/>
                <a:gd name="connsiteY1614" fmla="*/ 1933575 h 2161222"/>
                <a:gd name="connsiteX1615" fmla="*/ 1359218 w 2443162"/>
                <a:gd name="connsiteY1615" fmla="*/ 1928813 h 2161222"/>
                <a:gd name="connsiteX1616" fmla="*/ 1390650 w 2443162"/>
                <a:gd name="connsiteY1616" fmla="*/ 1925003 h 2161222"/>
                <a:gd name="connsiteX1617" fmla="*/ 1421130 w 2443162"/>
                <a:gd name="connsiteY1617" fmla="*/ 1923098 h 2161222"/>
                <a:gd name="connsiteX1618" fmla="*/ 1449705 w 2443162"/>
                <a:gd name="connsiteY1618" fmla="*/ 1923098 h 2161222"/>
                <a:gd name="connsiteX1619" fmla="*/ 1478280 w 2443162"/>
                <a:gd name="connsiteY1619" fmla="*/ 1924050 h 2161222"/>
                <a:gd name="connsiteX1620" fmla="*/ 1504950 w 2443162"/>
                <a:gd name="connsiteY1620" fmla="*/ 1925955 h 2161222"/>
                <a:gd name="connsiteX1621" fmla="*/ 1530668 w 2443162"/>
                <a:gd name="connsiteY1621" fmla="*/ 1928813 h 2161222"/>
                <a:gd name="connsiteX1622" fmla="*/ 1556385 w 2443162"/>
                <a:gd name="connsiteY1622" fmla="*/ 1932623 h 2161222"/>
                <a:gd name="connsiteX1623" fmla="*/ 1581150 w 2443162"/>
                <a:gd name="connsiteY1623" fmla="*/ 1937385 h 2161222"/>
                <a:gd name="connsiteX1624" fmla="*/ 1604963 w 2443162"/>
                <a:gd name="connsiteY1624" fmla="*/ 1942148 h 2161222"/>
                <a:gd name="connsiteX1625" fmla="*/ 1627823 w 2443162"/>
                <a:gd name="connsiteY1625" fmla="*/ 1946910 h 2161222"/>
                <a:gd name="connsiteX1626" fmla="*/ 1650683 w 2443162"/>
                <a:gd name="connsiteY1626" fmla="*/ 1952625 h 2161222"/>
                <a:gd name="connsiteX1627" fmla="*/ 1673543 w 2443162"/>
                <a:gd name="connsiteY1627" fmla="*/ 1958340 h 2161222"/>
                <a:gd name="connsiteX1628" fmla="*/ 1717358 w 2443162"/>
                <a:gd name="connsiteY1628" fmla="*/ 1969770 h 2161222"/>
                <a:gd name="connsiteX1629" fmla="*/ 1759268 w 2443162"/>
                <a:gd name="connsiteY1629" fmla="*/ 1980248 h 2161222"/>
                <a:gd name="connsiteX1630" fmla="*/ 1780223 w 2443162"/>
                <a:gd name="connsiteY1630" fmla="*/ 1985010 h 2161222"/>
                <a:gd name="connsiteX1631" fmla="*/ 1801178 w 2443162"/>
                <a:gd name="connsiteY1631" fmla="*/ 1989773 h 2161222"/>
                <a:gd name="connsiteX1632" fmla="*/ 1822133 w 2443162"/>
                <a:gd name="connsiteY1632" fmla="*/ 1993583 h 2161222"/>
                <a:gd name="connsiteX1633" fmla="*/ 1843088 w 2443162"/>
                <a:gd name="connsiteY1633" fmla="*/ 1996440 h 2161222"/>
                <a:gd name="connsiteX1634" fmla="*/ 1864043 w 2443162"/>
                <a:gd name="connsiteY1634" fmla="*/ 1998345 h 2161222"/>
                <a:gd name="connsiteX1635" fmla="*/ 1884998 w 2443162"/>
                <a:gd name="connsiteY1635" fmla="*/ 1998345 h 2161222"/>
                <a:gd name="connsiteX1636" fmla="*/ 1906905 w 2443162"/>
                <a:gd name="connsiteY1636" fmla="*/ 1998345 h 2161222"/>
                <a:gd name="connsiteX1637" fmla="*/ 1928813 w 2443162"/>
                <a:gd name="connsiteY1637" fmla="*/ 1996440 h 2161222"/>
                <a:gd name="connsiteX1638" fmla="*/ 1951673 w 2443162"/>
                <a:gd name="connsiteY1638" fmla="*/ 1993583 h 2161222"/>
                <a:gd name="connsiteX1639" fmla="*/ 1974533 w 2443162"/>
                <a:gd name="connsiteY1639" fmla="*/ 1987868 h 2161222"/>
                <a:gd name="connsiteX1640" fmla="*/ 1998345 w 2443162"/>
                <a:gd name="connsiteY1640" fmla="*/ 1981200 h 2161222"/>
                <a:gd name="connsiteX1641" fmla="*/ 2023110 w 2443162"/>
                <a:gd name="connsiteY1641" fmla="*/ 1972628 h 2161222"/>
                <a:gd name="connsiteX1642" fmla="*/ 2001203 w 2443162"/>
                <a:gd name="connsiteY1642" fmla="*/ 1992630 h 2161222"/>
                <a:gd name="connsiteX1643" fmla="*/ 1978343 w 2443162"/>
                <a:gd name="connsiteY1643" fmla="*/ 2009775 h 2161222"/>
                <a:gd name="connsiteX1644" fmla="*/ 1955483 w 2443162"/>
                <a:gd name="connsiteY1644" fmla="*/ 2025015 h 2161222"/>
                <a:gd name="connsiteX1645" fmla="*/ 1931670 w 2443162"/>
                <a:gd name="connsiteY1645" fmla="*/ 2038350 h 2161222"/>
                <a:gd name="connsiteX1646" fmla="*/ 1907858 w 2443162"/>
                <a:gd name="connsiteY1646" fmla="*/ 2048828 h 2161222"/>
                <a:gd name="connsiteX1647" fmla="*/ 1883093 w 2443162"/>
                <a:gd name="connsiteY1647" fmla="*/ 2057400 h 2161222"/>
                <a:gd name="connsiteX1648" fmla="*/ 1857375 w 2443162"/>
                <a:gd name="connsiteY1648" fmla="*/ 2064068 h 2161222"/>
                <a:gd name="connsiteX1649" fmla="*/ 1831658 w 2443162"/>
                <a:gd name="connsiteY1649" fmla="*/ 2069783 h 2161222"/>
                <a:gd name="connsiteX1650" fmla="*/ 1805940 w 2443162"/>
                <a:gd name="connsiteY1650" fmla="*/ 2073593 h 2161222"/>
                <a:gd name="connsiteX1651" fmla="*/ 1779270 w 2443162"/>
                <a:gd name="connsiteY1651" fmla="*/ 2075498 h 2161222"/>
                <a:gd name="connsiteX1652" fmla="*/ 1752600 w 2443162"/>
                <a:gd name="connsiteY1652" fmla="*/ 2076450 h 2161222"/>
                <a:gd name="connsiteX1653" fmla="*/ 1726883 w 2443162"/>
                <a:gd name="connsiteY1653" fmla="*/ 2076450 h 2161222"/>
                <a:gd name="connsiteX1654" fmla="*/ 1701165 w 2443162"/>
                <a:gd name="connsiteY1654" fmla="*/ 2074545 h 2161222"/>
                <a:gd name="connsiteX1655" fmla="*/ 1674495 w 2443162"/>
                <a:gd name="connsiteY1655" fmla="*/ 2071688 h 2161222"/>
                <a:gd name="connsiteX1656" fmla="*/ 1648778 w 2443162"/>
                <a:gd name="connsiteY1656" fmla="*/ 2068830 h 2161222"/>
                <a:gd name="connsiteX1657" fmla="*/ 1623060 w 2443162"/>
                <a:gd name="connsiteY1657" fmla="*/ 2064068 h 2161222"/>
                <a:gd name="connsiteX1658" fmla="*/ 1597343 w 2443162"/>
                <a:gd name="connsiteY1658" fmla="*/ 2059305 h 2161222"/>
                <a:gd name="connsiteX1659" fmla="*/ 1571625 w 2443162"/>
                <a:gd name="connsiteY1659" fmla="*/ 2053590 h 2161222"/>
                <a:gd name="connsiteX1660" fmla="*/ 1546860 w 2443162"/>
                <a:gd name="connsiteY1660" fmla="*/ 2047875 h 2161222"/>
                <a:gd name="connsiteX1661" fmla="*/ 1522095 w 2443162"/>
                <a:gd name="connsiteY1661" fmla="*/ 2042160 h 2161222"/>
                <a:gd name="connsiteX1662" fmla="*/ 1474470 w 2443162"/>
                <a:gd name="connsiteY1662" fmla="*/ 2029778 h 2161222"/>
                <a:gd name="connsiteX1663" fmla="*/ 1428750 w 2443162"/>
                <a:gd name="connsiteY1663" fmla="*/ 2018348 h 2161222"/>
                <a:gd name="connsiteX1664" fmla="*/ 1406843 w 2443162"/>
                <a:gd name="connsiteY1664" fmla="*/ 2012633 h 2161222"/>
                <a:gd name="connsiteX1665" fmla="*/ 1385888 w 2443162"/>
                <a:gd name="connsiteY1665" fmla="*/ 2006918 h 2161222"/>
                <a:gd name="connsiteX1666" fmla="*/ 1365885 w 2443162"/>
                <a:gd name="connsiteY1666" fmla="*/ 2002155 h 2161222"/>
                <a:gd name="connsiteX1667" fmla="*/ 1346835 w 2443162"/>
                <a:gd name="connsiteY1667" fmla="*/ 1997393 h 2161222"/>
                <a:gd name="connsiteX1668" fmla="*/ 1328738 w 2443162"/>
                <a:gd name="connsiteY1668" fmla="*/ 1994535 h 2161222"/>
                <a:gd name="connsiteX1669" fmla="*/ 1311593 w 2443162"/>
                <a:gd name="connsiteY1669" fmla="*/ 1991678 h 2161222"/>
                <a:gd name="connsiteX1670" fmla="*/ 1295400 w 2443162"/>
                <a:gd name="connsiteY1670" fmla="*/ 1990725 h 2161222"/>
                <a:gd name="connsiteX1671" fmla="*/ 1280160 w 2443162"/>
                <a:gd name="connsiteY1671" fmla="*/ 1990725 h 2161222"/>
                <a:gd name="connsiteX1672" fmla="*/ 1298258 w 2443162"/>
                <a:gd name="connsiteY1672" fmla="*/ 2000250 h 2161222"/>
                <a:gd name="connsiteX1673" fmla="*/ 1315403 w 2443162"/>
                <a:gd name="connsiteY1673" fmla="*/ 2009775 h 2161222"/>
                <a:gd name="connsiteX1674" fmla="*/ 1330643 w 2443162"/>
                <a:gd name="connsiteY1674" fmla="*/ 2019300 h 2161222"/>
                <a:gd name="connsiteX1675" fmla="*/ 1345883 w 2443162"/>
                <a:gd name="connsiteY1675" fmla="*/ 2028825 h 2161222"/>
                <a:gd name="connsiteX1676" fmla="*/ 1361123 w 2443162"/>
                <a:gd name="connsiteY1676" fmla="*/ 2039303 h 2161222"/>
                <a:gd name="connsiteX1677" fmla="*/ 1375410 w 2443162"/>
                <a:gd name="connsiteY1677" fmla="*/ 2048828 h 2161222"/>
                <a:gd name="connsiteX1678" fmla="*/ 1388745 w 2443162"/>
                <a:gd name="connsiteY1678" fmla="*/ 2059305 h 2161222"/>
                <a:gd name="connsiteX1679" fmla="*/ 1402080 w 2443162"/>
                <a:gd name="connsiteY1679" fmla="*/ 2069783 h 2161222"/>
                <a:gd name="connsiteX1680" fmla="*/ 1414463 w 2443162"/>
                <a:gd name="connsiteY1680" fmla="*/ 2080260 h 2161222"/>
                <a:gd name="connsiteX1681" fmla="*/ 1425893 w 2443162"/>
                <a:gd name="connsiteY1681" fmla="*/ 2090738 h 2161222"/>
                <a:gd name="connsiteX1682" fmla="*/ 1437323 w 2443162"/>
                <a:gd name="connsiteY1682" fmla="*/ 2101215 h 2161222"/>
                <a:gd name="connsiteX1683" fmla="*/ 1447800 w 2443162"/>
                <a:gd name="connsiteY1683" fmla="*/ 2111693 h 2161222"/>
                <a:gd name="connsiteX1684" fmla="*/ 1458278 w 2443162"/>
                <a:gd name="connsiteY1684" fmla="*/ 2122170 h 2161222"/>
                <a:gd name="connsiteX1685" fmla="*/ 1468755 w 2443162"/>
                <a:gd name="connsiteY1685" fmla="*/ 2132648 h 2161222"/>
                <a:gd name="connsiteX1686" fmla="*/ 1478280 w 2443162"/>
                <a:gd name="connsiteY1686" fmla="*/ 2143125 h 2161222"/>
                <a:gd name="connsiteX1687" fmla="*/ 1487805 w 2443162"/>
                <a:gd name="connsiteY1687" fmla="*/ 2153603 h 2161222"/>
                <a:gd name="connsiteX1688" fmla="*/ 1472565 w 2443162"/>
                <a:gd name="connsiteY1688" fmla="*/ 2155508 h 2161222"/>
                <a:gd name="connsiteX1689" fmla="*/ 1458278 w 2443162"/>
                <a:gd name="connsiteY1689" fmla="*/ 2157413 h 2161222"/>
                <a:gd name="connsiteX1690" fmla="*/ 1443990 w 2443162"/>
                <a:gd name="connsiteY1690" fmla="*/ 2159318 h 2161222"/>
                <a:gd name="connsiteX1691" fmla="*/ 1428750 w 2443162"/>
                <a:gd name="connsiteY1691" fmla="*/ 2161223 h 2161222"/>
                <a:gd name="connsiteX1692" fmla="*/ 1421130 w 2443162"/>
                <a:gd name="connsiteY1692" fmla="*/ 2149793 h 2161222"/>
                <a:gd name="connsiteX1693" fmla="*/ 1413510 w 2443162"/>
                <a:gd name="connsiteY1693" fmla="*/ 2138363 h 2161222"/>
                <a:gd name="connsiteX1694" fmla="*/ 1403985 w 2443162"/>
                <a:gd name="connsiteY1694" fmla="*/ 2127885 h 2161222"/>
                <a:gd name="connsiteX1695" fmla="*/ 1394460 w 2443162"/>
                <a:gd name="connsiteY1695" fmla="*/ 2117408 h 2161222"/>
                <a:gd name="connsiteX1696" fmla="*/ 1383983 w 2443162"/>
                <a:gd name="connsiteY1696" fmla="*/ 2106930 h 2161222"/>
                <a:gd name="connsiteX1697" fmla="*/ 1372553 w 2443162"/>
                <a:gd name="connsiteY1697" fmla="*/ 2096453 h 2161222"/>
                <a:gd name="connsiteX1698" fmla="*/ 1360170 w 2443162"/>
                <a:gd name="connsiteY1698" fmla="*/ 2085975 h 2161222"/>
                <a:gd name="connsiteX1699" fmla="*/ 1346835 w 2443162"/>
                <a:gd name="connsiteY1699" fmla="*/ 2075498 h 2161222"/>
                <a:gd name="connsiteX1700" fmla="*/ 1333500 w 2443162"/>
                <a:gd name="connsiteY1700" fmla="*/ 2065020 h 2161222"/>
                <a:gd name="connsiteX1701" fmla="*/ 1319213 w 2443162"/>
                <a:gd name="connsiteY1701" fmla="*/ 2054543 h 2161222"/>
                <a:gd name="connsiteX1702" fmla="*/ 1303973 w 2443162"/>
                <a:gd name="connsiteY1702" fmla="*/ 2044065 h 2161222"/>
                <a:gd name="connsiteX1703" fmla="*/ 1288733 w 2443162"/>
                <a:gd name="connsiteY1703" fmla="*/ 2034540 h 2161222"/>
                <a:gd name="connsiteX1704" fmla="*/ 1272540 w 2443162"/>
                <a:gd name="connsiteY1704" fmla="*/ 2025015 h 2161222"/>
                <a:gd name="connsiteX1705" fmla="*/ 1255395 w 2443162"/>
                <a:gd name="connsiteY1705" fmla="*/ 2015490 h 2161222"/>
                <a:gd name="connsiteX1706" fmla="*/ 1237298 w 2443162"/>
                <a:gd name="connsiteY1706" fmla="*/ 2005965 h 2161222"/>
                <a:gd name="connsiteX1707" fmla="*/ 1218248 w 2443162"/>
                <a:gd name="connsiteY1707" fmla="*/ 1996440 h 2161222"/>
                <a:gd name="connsiteX1708" fmla="*/ 1202055 w 2443162"/>
                <a:gd name="connsiteY1708" fmla="*/ 2002155 h 2161222"/>
                <a:gd name="connsiteX1709" fmla="*/ 1186815 w 2443162"/>
                <a:gd name="connsiteY1709" fmla="*/ 2007870 h 2161222"/>
                <a:gd name="connsiteX1710" fmla="*/ 1171575 w 2443162"/>
                <a:gd name="connsiteY1710" fmla="*/ 2014538 h 2161222"/>
                <a:gd name="connsiteX1711" fmla="*/ 1156335 w 2443162"/>
                <a:gd name="connsiteY1711" fmla="*/ 2021205 h 2161222"/>
                <a:gd name="connsiteX1712" fmla="*/ 1141095 w 2443162"/>
                <a:gd name="connsiteY1712" fmla="*/ 2028825 h 2161222"/>
                <a:gd name="connsiteX1713" fmla="*/ 1126808 w 2443162"/>
                <a:gd name="connsiteY1713" fmla="*/ 2037398 h 2161222"/>
                <a:gd name="connsiteX1714" fmla="*/ 1112520 w 2443162"/>
                <a:gd name="connsiteY1714" fmla="*/ 2045970 h 2161222"/>
                <a:gd name="connsiteX1715" fmla="*/ 1098233 w 2443162"/>
                <a:gd name="connsiteY1715" fmla="*/ 2056448 h 2161222"/>
                <a:gd name="connsiteX1716" fmla="*/ 1084898 w 2443162"/>
                <a:gd name="connsiteY1716" fmla="*/ 2066925 h 2161222"/>
                <a:gd name="connsiteX1717" fmla="*/ 1071563 w 2443162"/>
                <a:gd name="connsiteY1717" fmla="*/ 2078355 h 2161222"/>
                <a:gd name="connsiteX1718" fmla="*/ 1059180 w 2443162"/>
                <a:gd name="connsiteY1718" fmla="*/ 2089785 h 2161222"/>
                <a:gd name="connsiteX1719" fmla="*/ 1046798 w 2443162"/>
                <a:gd name="connsiteY1719" fmla="*/ 2102168 h 2161222"/>
                <a:gd name="connsiteX1720" fmla="*/ 1035368 w 2443162"/>
                <a:gd name="connsiteY1720" fmla="*/ 2115503 h 2161222"/>
                <a:gd name="connsiteX1721" fmla="*/ 1023938 w 2443162"/>
                <a:gd name="connsiteY1721" fmla="*/ 2129790 h 2161222"/>
                <a:gd name="connsiteX1722" fmla="*/ 1012508 w 2443162"/>
                <a:gd name="connsiteY1722" fmla="*/ 2145030 h 2161222"/>
                <a:gd name="connsiteX1723" fmla="*/ 1002030 w 2443162"/>
                <a:gd name="connsiteY1723" fmla="*/ 2160270 h 2161222"/>
                <a:gd name="connsiteX1724" fmla="*/ 987743 w 2443162"/>
                <a:gd name="connsiteY1724" fmla="*/ 2158365 h 2161222"/>
                <a:gd name="connsiteX1725" fmla="*/ 972503 w 2443162"/>
                <a:gd name="connsiteY1725" fmla="*/ 2156460 h 2161222"/>
                <a:gd name="connsiteX1726" fmla="*/ 958215 w 2443162"/>
                <a:gd name="connsiteY1726" fmla="*/ 2154555 h 2161222"/>
                <a:gd name="connsiteX1727" fmla="*/ 943928 w 2443162"/>
                <a:gd name="connsiteY1727" fmla="*/ 2152650 h 2161222"/>
                <a:gd name="connsiteX1728" fmla="*/ 954405 w 2443162"/>
                <a:gd name="connsiteY1728" fmla="*/ 2142173 h 2161222"/>
                <a:gd name="connsiteX1729" fmla="*/ 964883 w 2443162"/>
                <a:gd name="connsiteY1729" fmla="*/ 2131695 h 2161222"/>
                <a:gd name="connsiteX1730" fmla="*/ 975360 w 2443162"/>
                <a:gd name="connsiteY1730" fmla="*/ 2121218 h 2161222"/>
                <a:gd name="connsiteX1731" fmla="*/ 985838 w 2443162"/>
                <a:gd name="connsiteY1731" fmla="*/ 2110740 h 2161222"/>
                <a:gd name="connsiteX1732" fmla="*/ 997268 w 2443162"/>
                <a:gd name="connsiteY1732" fmla="*/ 2100263 h 2161222"/>
                <a:gd name="connsiteX1733" fmla="*/ 1008698 w 2443162"/>
                <a:gd name="connsiteY1733" fmla="*/ 2089785 h 2161222"/>
                <a:gd name="connsiteX1734" fmla="*/ 1021080 w 2443162"/>
                <a:gd name="connsiteY1734" fmla="*/ 2079308 h 2161222"/>
                <a:gd name="connsiteX1735" fmla="*/ 1033463 w 2443162"/>
                <a:gd name="connsiteY1735" fmla="*/ 2068830 h 2161222"/>
                <a:gd name="connsiteX1736" fmla="*/ 1045845 w 2443162"/>
                <a:gd name="connsiteY1736" fmla="*/ 2058353 h 2161222"/>
                <a:gd name="connsiteX1737" fmla="*/ 1059180 w 2443162"/>
                <a:gd name="connsiteY1737" fmla="*/ 2047875 h 2161222"/>
                <a:gd name="connsiteX1738" fmla="*/ 1073468 w 2443162"/>
                <a:gd name="connsiteY1738" fmla="*/ 2037398 h 2161222"/>
                <a:gd name="connsiteX1739" fmla="*/ 1087755 w 2443162"/>
                <a:gd name="connsiteY1739" fmla="*/ 2027873 h 2161222"/>
                <a:gd name="connsiteX1740" fmla="*/ 1102995 w 2443162"/>
                <a:gd name="connsiteY1740" fmla="*/ 2018348 h 2161222"/>
                <a:gd name="connsiteX1741" fmla="*/ 1119188 w 2443162"/>
                <a:gd name="connsiteY1741" fmla="*/ 2008823 h 2161222"/>
                <a:gd name="connsiteX1742" fmla="*/ 1135380 w 2443162"/>
                <a:gd name="connsiteY1742" fmla="*/ 2000250 h 2161222"/>
                <a:gd name="connsiteX1743" fmla="*/ 1152525 w 2443162"/>
                <a:gd name="connsiteY1743" fmla="*/ 1990725 h 2161222"/>
                <a:gd name="connsiteX1744" fmla="*/ 1141095 w 2443162"/>
                <a:gd name="connsiteY1744" fmla="*/ 1989773 h 2161222"/>
                <a:gd name="connsiteX1745" fmla="*/ 1127760 w 2443162"/>
                <a:gd name="connsiteY1745" fmla="*/ 1989773 h 2161222"/>
                <a:gd name="connsiteX1746" fmla="*/ 1113473 w 2443162"/>
                <a:gd name="connsiteY1746" fmla="*/ 1991678 h 2161222"/>
                <a:gd name="connsiteX1747" fmla="*/ 1098233 w 2443162"/>
                <a:gd name="connsiteY1747" fmla="*/ 1993583 h 2161222"/>
                <a:gd name="connsiteX1748" fmla="*/ 1081088 w 2443162"/>
                <a:gd name="connsiteY1748" fmla="*/ 1997393 h 2161222"/>
                <a:gd name="connsiteX1749" fmla="*/ 1062990 w 2443162"/>
                <a:gd name="connsiteY1749" fmla="*/ 2002155 h 2161222"/>
                <a:gd name="connsiteX1750" fmla="*/ 1043940 w 2443162"/>
                <a:gd name="connsiteY1750" fmla="*/ 2006918 h 2161222"/>
                <a:gd name="connsiteX1751" fmla="*/ 1022985 w 2443162"/>
                <a:gd name="connsiteY1751" fmla="*/ 2011680 h 2161222"/>
                <a:gd name="connsiteX1752" fmla="*/ 979170 w 2443162"/>
                <a:gd name="connsiteY1752" fmla="*/ 2023110 h 2161222"/>
                <a:gd name="connsiteX1753" fmla="*/ 932498 w 2443162"/>
                <a:gd name="connsiteY1753" fmla="*/ 2035493 h 2161222"/>
                <a:gd name="connsiteX1754" fmla="*/ 907733 w 2443162"/>
                <a:gd name="connsiteY1754" fmla="*/ 2041208 h 2161222"/>
                <a:gd name="connsiteX1755" fmla="*/ 882968 w 2443162"/>
                <a:gd name="connsiteY1755" fmla="*/ 2046923 h 2161222"/>
                <a:gd name="connsiteX1756" fmla="*/ 857250 w 2443162"/>
                <a:gd name="connsiteY1756" fmla="*/ 2052638 h 2161222"/>
                <a:gd name="connsiteX1757" fmla="*/ 831533 w 2443162"/>
                <a:gd name="connsiteY1757" fmla="*/ 2057400 h 2161222"/>
                <a:gd name="connsiteX1758" fmla="*/ 805815 w 2443162"/>
                <a:gd name="connsiteY1758" fmla="*/ 2062163 h 2161222"/>
                <a:gd name="connsiteX1759" fmla="*/ 779145 w 2443162"/>
                <a:gd name="connsiteY1759" fmla="*/ 2065973 h 2161222"/>
                <a:gd name="connsiteX1760" fmla="*/ 752475 w 2443162"/>
                <a:gd name="connsiteY1760" fmla="*/ 2068830 h 2161222"/>
                <a:gd name="connsiteX1761" fmla="*/ 725805 w 2443162"/>
                <a:gd name="connsiteY1761" fmla="*/ 2070735 h 2161222"/>
                <a:gd name="connsiteX1762" fmla="*/ 699135 w 2443162"/>
                <a:gd name="connsiteY1762" fmla="*/ 2071688 h 2161222"/>
                <a:gd name="connsiteX1763" fmla="*/ 672465 w 2443162"/>
                <a:gd name="connsiteY1763" fmla="*/ 2071688 h 2161222"/>
                <a:gd name="connsiteX1764" fmla="*/ 645795 w 2443162"/>
                <a:gd name="connsiteY1764" fmla="*/ 2069783 h 2161222"/>
                <a:gd name="connsiteX1765" fmla="*/ 619125 w 2443162"/>
                <a:gd name="connsiteY1765" fmla="*/ 2065973 h 2161222"/>
                <a:gd name="connsiteX1766" fmla="*/ 593408 w 2443162"/>
                <a:gd name="connsiteY1766" fmla="*/ 2061210 h 2161222"/>
                <a:gd name="connsiteX1767" fmla="*/ 567690 w 2443162"/>
                <a:gd name="connsiteY1767" fmla="*/ 2054543 h 2161222"/>
                <a:gd name="connsiteX1768" fmla="*/ 541973 w 2443162"/>
                <a:gd name="connsiteY1768" fmla="*/ 2045970 h 2161222"/>
                <a:gd name="connsiteX1769" fmla="*/ 516255 w 2443162"/>
                <a:gd name="connsiteY1769" fmla="*/ 2035493 h 2161222"/>
                <a:gd name="connsiteX1770" fmla="*/ 491490 w 2443162"/>
                <a:gd name="connsiteY1770" fmla="*/ 2023110 h 2161222"/>
                <a:gd name="connsiteX1771" fmla="*/ 467678 w 2443162"/>
                <a:gd name="connsiteY1771" fmla="*/ 2007870 h 2161222"/>
                <a:gd name="connsiteX1772" fmla="*/ 443865 w 2443162"/>
                <a:gd name="connsiteY1772" fmla="*/ 1990725 h 2161222"/>
                <a:gd name="connsiteX1773" fmla="*/ 422910 w 2443162"/>
                <a:gd name="connsiteY1773" fmla="*/ 1971675 h 2161222"/>
                <a:gd name="connsiteX1774" fmla="*/ 422910 w 2443162"/>
                <a:gd name="connsiteY1774" fmla="*/ 1971675 h 2161222"/>
                <a:gd name="connsiteX1775" fmla="*/ 1270635 w 2443162"/>
                <a:gd name="connsiteY1775" fmla="*/ 1442085 h 2161222"/>
                <a:gd name="connsiteX1776" fmla="*/ 1270635 w 2443162"/>
                <a:gd name="connsiteY1776" fmla="*/ 1456373 h 2161222"/>
                <a:gd name="connsiteX1777" fmla="*/ 1272540 w 2443162"/>
                <a:gd name="connsiteY1777" fmla="*/ 1469708 h 2161222"/>
                <a:gd name="connsiteX1778" fmla="*/ 1272540 w 2443162"/>
                <a:gd name="connsiteY1778" fmla="*/ 1483043 h 2161222"/>
                <a:gd name="connsiteX1779" fmla="*/ 1272540 w 2443162"/>
                <a:gd name="connsiteY1779" fmla="*/ 1496378 h 2161222"/>
                <a:gd name="connsiteX1780" fmla="*/ 1285875 w 2443162"/>
                <a:gd name="connsiteY1780" fmla="*/ 1504950 h 2161222"/>
                <a:gd name="connsiteX1781" fmla="*/ 1300163 w 2443162"/>
                <a:gd name="connsiteY1781" fmla="*/ 1513523 h 2161222"/>
                <a:gd name="connsiteX1782" fmla="*/ 1306830 w 2443162"/>
                <a:gd name="connsiteY1782" fmla="*/ 1518285 h 2161222"/>
                <a:gd name="connsiteX1783" fmla="*/ 1313498 w 2443162"/>
                <a:gd name="connsiteY1783" fmla="*/ 1523048 h 2161222"/>
                <a:gd name="connsiteX1784" fmla="*/ 1320165 w 2443162"/>
                <a:gd name="connsiteY1784" fmla="*/ 1528763 h 2161222"/>
                <a:gd name="connsiteX1785" fmla="*/ 1326833 w 2443162"/>
                <a:gd name="connsiteY1785" fmla="*/ 1534478 h 2161222"/>
                <a:gd name="connsiteX1786" fmla="*/ 1333500 w 2443162"/>
                <a:gd name="connsiteY1786" fmla="*/ 1541145 h 2161222"/>
                <a:gd name="connsiteX1787" fmla="*/ 1340168 w 2443162"/>
                <a:gd name="connsiteY1787" fmla="*/ 1548765 h 2161222"/>
                <a:gd name="connsiteX1788" fmla="*/ 1345883 w 2443162"/>
                <a:gd name="connsiteY1788" fmla="*/ 1556385 h 2161222"/>
                <a:gd name="connsiteX1789" fmla="*/ 1351598 w 2443162"/>
                <a:gd name="connsiteY1789" fmla="*/ 1564958 h 2161222"/>
                <a:gd name="connsiteX1790" fmla="*/ 1357313 w 2443162"/>
                <a:gd name="connsiteY1790" fmla="*/ 1574483 h 2161222"/>
                <a:gd name="connsiteX1791" fmla="*/ 1362075 w 2443162"/>
                <a:gd name="connsiteY1791" fmla="*/ 1584008 h 2161222"/>
                <a:gd name="connsiteX1792" fmla="*/ 1366838 w 2443162"/>
                <a:gd name="connsiteY1792" fmla="*/ 1594485 h 2161222"/>
                <a:gd name="connsiteX1793" fmla="*/ 1370648 w 2443162"/>
                <a:gd name="connsiteY1793" fmla="*/ 1605915 h 2161222"/>
                <a:gd name="connsiteX1794" fmla="*/ 1370648 w 2443162"/>
                <a:gd name="connsiteY1794" fmla="*/ 1597343 h 2161222"/>
                <a:gd name="connsiteX1795" fmla="*/ 1370648 w 2443162"/>
                <a:gd name="connsiteY1795" fmla="*/ 1589723 h 2161222"/>
                <a:gd name="connsiteX1796" fmla="*/ 1370648 w 2443162"/>
                <a:gd name="connsiteY1796" fmla="*/ 1583055 h 2161222"/>
                <a:gd name="connsiteX1797" fmla="*/ 1370648 w 2443162"/>
                <a:gd name="connsiteY1797" fmla="*/ 1575435 h 2161222"/>
                <a:gd name="connsiteX1798" fmla="*/ 1369695 w 2443162"/>
                <a:gd name="connsiteY1798" fmla="*/ 1568768 h 2161222"/>
                <a:gd name="connsiteX1799" fmla="*/ 1368743 w 2443162"/>
                <a:gd name="connsiteY1799" fmla="*/ 1562100 h 2161222"/>
                <a:gd name="connsiteX1800" fmla="*/ 1367790 w 2443162"/>
                <a:gd name="connsiteY1800" fmla="*/ 1555433 h 2161222"/>
                <a:gd name="connsiteX1801" fmla="*/ 1366838 w 2443162"/>
                <a:gd name="connsiteY1801" fmla="*/ 1548765 h 2161222"/>
                <a:gd name="connsiteX1802" fmla="*/ 1364933 w 2443162"/>
                <a:gd name="connsiteY1802" fmla="*/ 1542098 h 2161222"/>
                <a:gd name="connsiteX1803" fmla="*/ 1363028 w 2443162"/>
                <a:gd name="connsiteY1803" fmla="*/ 1536383 h 2161222"/>
                <a:gd name="connsiteX1804" fmla="*/ 1361123 w 2443162"/>
                <a:gd name="connsiteY1804" fmla="*/ 1530668 h 2161222"/>
                <a:gd name="connsiteX1805" fmla="*/ 1358265 w 2443162"/>
                <a:gd name="connsiteY1805" fmla="*/ 1524953 h 2161222"/>
                <a:gd name="connsiteX1806" fmla="*/ 1355408 w 2443162"/>
                <a:gd name="connsiteY1806" fmla="*/ 1519238 h 2161222"/>
                <a:gd name="connsiteX1807" fmla="*/ 1352550 w 2443162"/>
                <a:gd name="connsiteY1807" fmla="*/ 1513523 h 2161222"/>
                <a:gd name="connsiteX1808" fmla="*/ 1349693 w 2443162"/>
                <a:gd name="connsiteY1808" fmla="*/ 1507808 h 2161222"/>
                <a:gd name="connsiteX1809" fmla="*/ 1346835 w 2443162"/>
                <a:gd name="connsiteY1809" fmla="*/ 1502093 h 2161222"/>
                <a:gd name="connsiteX1810" fmla="*/ 1343025 w 2443162"/>
                <a:gd name="connsiteY1810" fmla="*/ 1497330 h 2161222"/>
                <a:gd name="connsiteX1811" fmla="*/ 1339215 w 2443162"/>
                <a:gd name="connsiteY1811" fmla="*/ 1492568 h 2161222"/>
                <a:gd name="connsiteX1812" fmla="*/ 1335405 w 2443162"/>
                <a:gd name="connsiteY1812" fmla="*/ 1487805 h 2161222"/>
                <a:gd name="connsiteX1813" fmla="*/ 1331595 w 2443162"/>
                <a:gd name="connsiteY1813" fmla="*/ 1483043 h 2161222"/>
                <a:gd name="connsiteX1814" fmla="*/ 1326833 w 2443162"/>
                <a:gd name="connsiteY1814" fmla="*/ 1478280 h 2161222"/>
                <a:gd name="connsiteX1815" fmla="*/ 1323975 w 2443162"/>
                <a:gd name="connsiteY1815" fmla="*/ 1476375 h 2161222"/>
                <a:gd name="connsiteX1816" fmla="*/ 1319213 w 2443162"/>
                <a:gd name="connsiteY1816" fmla="*/ 1471613 h 2161222"/>
                <a:gd name="connsiteX1817" fmla="*/ 1314450 w 2443162"/>
                <a:gd name="connsiteY1817" fmla="*/ 1467803 h 2161222"/>
                <a:gd name="connsiteX1818" fmla="*/ 1303973 w 2443162"/>
                <a:gd name="connsiteY1818" fmla="*/ 1460183 h 2161222"/>
                <a:gd name="connsiteX1819" fmla="*/ 1292543 w 2443162"/>
                <a:gd name="connsiteY1819" fmla="*/ 1453515 h 2161222"/>
                <a:gd name="connsiteX1820" fmla="*/ 1281113 w 2443162"/>
                <a:gd name="connsiteY1820" fmla="*/ 1447800 h 2161222"/>
                <a:gd name="connsiteX1821" fmla="*/ 1270635 w 2443162"/>
                <a:gd name="connsiteY1821" fmla="*/ 1442085 h 2161222"/>
                <a:gd name="connsiteX1822" fmla="*/ 1270635 w 2443162"/>
                <a:gd name="connsiteY1822" fmla="*/ 1442085 h 2161222"/>
                <a:gd name="connsiteX1823" fmla="*/ 1282065 w 2443162"/>
                <a:gd name="connsiteY1823" fmla="*/ 1024890 h 2161222"/>
                <a:gd name="connsiteX1824" fmla="*/ 1282065 w 2443162"/>
                <a:gd name="connsiteY1824" fmla="*/ 1036320 h 2161222"/>
                <a:gd name="connsiteX1825" fmla="*/ 1282065 w 2443162"/>
                <a:gd name="connsiteY1825" fmla="*/ 1048703 h 2161222"/>
                <a:gd name="connsiteX1826" fmla="*/ 1282065 w 2443162"/>
                <a:gd name="connsiteY1826" fmla="*/ 1060133 h 2161222"/>
                <a:gd name="connsiteX1827" fmla="*/ 1281113 w 2443162"/>
                <a:gd name="connsiteY1827" fmla="*/ 1071563 h 2161222"/>
                <a:gd name="connsiteX1828" fmla="*/ 1282065 w 2443162"/>
                <a:gd name="connsiteY1828" fmla="*/ 1082993 h 2161222"/>
                <a:gd name="connsiteX1829" fmla="*/ 1282065 w 2443162"/>
                <a:gd name="connsiteY1829" fmla="*/ 1094423 h 2161222"/>
                <a:gd name="connsiteX1830" fmla="*/ 1281113 w 2443162"/>
                <a:gd name="connsiteY1830" fmla="*/ 1105853 h 2161222"/>
                <a:gd name="connsiteX1831" fmla="*/ 1281113 w 2443162"/>
                <a:gd name="connsiteY1831" fmla="*/ 1117283 h 2161222"/>
                <a:gd name="connsiteX1832" fmla="*/ 1292543 w 2443162"/>
                <a:gd name="connsiteY1832" fmla="*/ 1121093 h 2161222"/>
                <a:gd name="connsiteX1833" fmla="*/ 1303020 w 2443162"/>
                <a:gd name="connsiteY1833" fmla="*/ 1125855 h 2161222"/>
                <a:gd name="connsiteX1834" fmla="*/ 1307783 w 2443162"/>
                <a:gd name="connsiteY1834" fmla="*/ 1128713 h 2161222"/>
                <a:gd name="connsiteX1835" fmla="*/ 1312545 w 2443162"/>
                <a:gd name="connsiteY1835" fmla="*/ 1131570 h 2161222"/>
                <a:gd name="connsiteX1836" fmla="*/ 1317308 w 2443162"/>
                <a:gd name="connsiteY1836" fmla="*/ 1134428 h 2161222"/>
                <a:gd name="connsiteX1837" fmla="*/ 1321118 w 2443162"/>
                <a:gd name="connsiteY1837" fmla="*/ 1138238 h 2161222"/>
                <a:gd name="connsiteX1838" fmla="*/ 1324928 w 2443162"/>
                <a:gd name="connsiteY1838" fmla="*/ 1142048 h 2161222"/>
                <a:gd name="connsiteX1839" fmla="*/ 1327785 w 2443162"/>
                <a:gd name="connsiteY1839" fmla="*/ 1145858 h 2161222"/>
                <a:gd name="connsiteX1840" fmla="*/ 1330643 w 2443162"/>
                <a:gd name="connsiteY1840" fmla="*/ 1150620 h 2161222"/>
                <a:gd name="connsiteX1841" fmla="*/ 1332548 w 2443162"/>
                <a:gd name="connsiteY1841" fmla="*/ 1155383 h 2161222"/>
                <a:gd name="connsiteX1842" fmla="*/ 1333500 w 2443162"/>
                <a:gd name="connsiteY1842" fmla="*/ 1160145 h 2161222"/>
                <a:gd name="connsiteX1843" fmla="*/ 1334453 w 2443162"/>
                <a:gd name="connsiteY1843" fmla="*/ 1165860 h 2161222"/>
                <a:gd name="connsiteX1844" fmla="*/ 1334453 w 2443162"/>
                <a:gd name="connsiteY1844" fmla="*/ 1172528 h 2161222"/>
                <a:gd name="connsiteX1845" fmla="*/ 1334453 w 2443162"/>
                <a:gd name="connsiteY1845" fmla="*/ 1179195 h 2161222"/>
                <a:gd name="connsiteX1846" fmla="*/ 1333500 w 2443162"/>
                <a:gd name="connsiteY1846" fmla="*/ 1186815 h 2161222"/>
                <a:gd name="connsiteX1847" fmla="*/ 1331595 w 2443162"/>
                <a:gd name="connsiteY1847" fmla="*/ 1193483 h 2161222"/>
                <a:gd name="connsiteX1848" fmla="*/ 1327785 w 2443162"/>
                <a:gd name="connsiteY1848" fmla="*/ 1199198 h 2161222"/>
                <a:gd name="connsiteX1849" fmla="*/ 1323023 w 2443162"/>
                <a:gd name="connsiteY1849" fmla="*/ 1204913 h 2161222"/>
                <a:gd name="connsiteX1850" fmla="*/ 1317308 w 2443162"/>
                <a:gd name="connsiteY1850" fmla="*/ 1210628 h 2161222"/>
                <a:gd name="connsiteX1851" fmla="*/ 1310640 w 2443162"/>
                <a:gd name="connsiteY1851" fmla="*/ 1215390 h 2161222"/>
                <a:gd name="connsiteX1852" fmla="*/ 1303020 w 2443162"/>
                <a:gd name="connsiteY1852" fmla="*/ 1220153 h 2161222"/>
                <a:gd name="connsiteX1853" fmla="*/ 1294448 w 2443162"/>
                <a:gd name="connsiteY1853" fmla="*/ 1223963 h 2161222"/>
                <a:gd name="connsiteX1854" fmla="*/ 1284923 w 2443162"/>
                <a:gd name="connsiteY1854" fmla="*/ 1227773 h 2161222"/>
                <a:gd name="connsiteX1855" fmla="*/ 1275398 w 2443162"/>
                <a:gd name="connsiteY1855" fmla="*/ 1231583 h 2161222"/>
                <a:gd name="connsiteX1856" fmla="*/ 1265873 w 2443162"/>
                <a:gd name="connsiteY1856" fmla="*/ 1235393 h 2161222"/>
                <a:gd name="connsiteX1857" fmla="*/ 1255395 w 2443162"/>
                <a:gd name="connsiteY1857" fmla="*/ 1239203 h 2161222"/>
                <a:gd name="connsiteX1858" fmla="*/ 1233488 w 2443162"/>
                <a:gd name="connsiteY1858" fmla="*/ 1245870 h 2161222"/>
                <a:gd name="connsiteX1859" fmla="*/ 1210628 w 2443162"/>
                <a:gd name="connsiteY1859" fmla="*/ 1252538 h 2161222"/>
                <a:gd name="connsiteX1860" fmla="*/ 1199198 w 2443162"/>
                <a:gd name="connsiteY1860" fmla="*/ 1256348 h 2161222"/>
                <a:gd name="connsiteX1861" fmla="*/ 1187768 w 2443162"/>
                <a:gd name="connsiteY1861" fmla="*/ 1260158 h 2161222"/>
                <a:gd name="connsiteX1862" fmla="*/ 1177290 w 2443162"/>
                <a:gd name="connsiteY1862" fmla="*/ 1263968 h 2161222"/>
                <a:gd name="connsiteX1863" fmla="*/ 1166813 w 2443162"/>
                <a:gd name="connsiteY1863" fmla="*/ 1268730 h 2161222"/>
                <a:gd name="connsiteX1864" fmla="*/ 1156335 w 2443162"/>
                <a:gd name="connsiteY1864" fmla="*/ 1273493 h 2161222"/>
                <a:gd name="connsiteX1865" fmla="*/ 1146810 w 2443162"/>
                <a:gd name="connsiteY1865" fmla="*/ 1278255 h 2161222"/>
                <a:gd name="connsiteX1866" fmla="*/ 1137285 w 2443162"/>
                <a:gd name="connsiteY1866" fmla="*/ 1283970 h 2161222"/>
                <a:gd name="connsiteX1867" fmla="*/ 1128713 w 2443162"/>
                <a:gd name="connsiteY1867" fmla="*/ 1290638 h 2161222"/>
                <a:gd name="connsiteX1868" fmla="*/ 1121093 w 2443162"/>
                <a:gd name="connsiteY1868" fmla="*/ 1297305 h 2161222"/>
                <a:gd name="connsiteX1869" fmla="*/ 1114425 w 2443162"/>
                <a:gd name="connsiteY1869" fmla="*/ 1304925 h 2161222"/>
                <a:gd name="connsiteX1870" fmla="*/ 1108710 w 2443162"/>
                <a:gd name="connsiteY1870" fmla="*/ 1313498 h 2161222"/>
                <a:gd name="connsiteX1871" fmla="*/ 1103948 w 2443162"/>
                <a:gd name="connsiteY1871" fmla="*/ 1322070 h 2161222"/>
                <a:gd name="connsiteX1872" fmla="*/ 1100138 w 2443162"/>
                <a:gd name="connsiteY1872" fmla="*/ 1332548 h 2161222"/>
                <a:gd name="connsiteX1873" fmla="*/ 1097280 w 2443162"/>
                <a:gd name="connsiteY1873" fmla="*/ 1343025 h 2161222"/>
                <a:gd name="connsiteX1874" fmla="*/ 1096328 w 2443162"/>
                <a:gd name="connsiteY1874" fmla="*/ 1354455 h 2161222"/>
                <a:gd name="connsiteX1875" fmla="*/ 1096328 w 2443162"/>
                <a:gd name="connsiteY1875" fmla="*/ 1365885 h 2161222"/>
                <a:gd name="connsiteX1876" fmla="*/ 1097280 w 2443162"/>
                <a:gd name="connsiteY1876" fmla="*/ 1370648 h 2161222"/>
                <a:gd name="connsiteX1877" fmla="*/ 1097280 w 2443162"/>
                <a:gd name="connsiteY1877" fmla="*/ 1374458 h 2161222"/>
                <a:gd name="connsiteX1878" fmla="*/ 1098233 w 2443162"/>
                <a:gd name="connsiteY1878" fmla="*/ 1378268 h 2161222"/>
                <a:gd name="connsiteX1879" fmla="*/ 1099185 w 2443162"/>
                <a:gd name="connsiteY1879" fmla="*/ 1382078 h 2161222"/>
                <a:gd name="connsiteX1880" fmla="*/ 1100138 w 2443162"/>
                <a:gd name="connsiteY1880" fmla="*/ 1385888 h 2161222"/>
                <a:gd name="connsiteX1881" fmla="*/ 1101090 w 2443162"/>
                <a:gd name="connsiteY1881" fmla="*/ 1389698 h 2161222"/>
                <a:gd name="connsiteX1882" fmla="*/ 1102043 w 2443162"/>
                <a:gd name="connsiteY1882" fmla="*/ 1393508 h 2161222"/>
                <a:gd name="connsiteX1883" fmla="*/ 1103948 w 2443162"/>
                <a:gd name="connsiteY1883" fmla="*/ 1396365 h 2161222"/>
                <a:gd name="connsiteX1884" fmla="*/ 1107758 w 2443162"/>
                <a:gd name="connsiteY1884" fmla="*/ 1402080 h 2161222"/>
                <a:gd name="connsiteX1885" fmla="*/ 1112520 w 2443162"/>
                <a:gd name="connsiteY1885" fmla="*/ 1407795 h 2161222"/>
                <a:gd name="connsiteX1886" fmla="*/ 1117283 w 2443162"/>
                <a:gd name="connsiteY1886" fmla="*/ 1412558 h 2161222"/>
                <a:gd name="connsiteX1887" fmla="*/ 1122998 w 2443162"/>
                <a:gd name="connsiteY1887" fmla="*/ 1418273 h 2161222"/>
                <a:gd name="connsiteX1888" fmla="*/ 1134428 w 2443162"/>
                <a:gd name="connsiteY1888" fmla="*/ 1427798 h 2161222"/>
                <a:gd name="connsiteX1889" fmla="*/ 1145858 w 2443162"/>
                <a:gd name="connsiteY1889" fmla="*/ 1436370 h 2161222"/>
                <a:gd name="connsiteX1890" fmla="*/ 1157288 w 2443162"/>
                <a:gd name="connsiteY1890" fmla="*/ 1443990 h 2161222"/>
                <a:gd name="connsiteX1891" fmla="*/ 1167765 w 2443162"/>
                <a:gd name="connsiteY1891" fmla="*/ 1451610 h 2161222"/>
                <a:gd name="connsiteX1892" fmla="*/ 1166813 w 2443162"/>
                <a:gd name="connsiteY1892" fmla="*/ 1441133 h 2161222"/>
                <a:gd name="connsiteX1893" fmla="*/ 1166813 w 2443162"/>
                <a:gd name="connsiteY1893" fmla="*/ 1430655 h 2161222"/>
                <a:gd name="connsiteX1894" fmla="*/ 1165860 w 2443162"/>
                <a:gd name="connsiteY1894" fmla="*/ 1420178 h 2161222"/>
                <a:gd name="connsiteX1895" fmla="*/ 1165860 w 2443162"/>
                <a:gd name="connsiteY1895" fmla="*/ 1409700 h 2161222"/>
                <a:gd name="connsiteX1896" fmla="*/ 1165860 w 2443162"/>
                <a:gd name="connsiteY1896" fmla="*/ 1399223 h 2161222"/>
                <a:gd name="connsiteX1897" fmla="*/ 1165860 w 2443162"/>
                <a:gd name="connsiteY1897" fmla="*/ 1388745 h 2161222"/>
                <a:gd name="connsiteX1898" fmla="*/ 1164908 w 2443162"/>
                <a:gd name="connsiteY1898" fmla="*/ 1378268 h 2161222"/>
                <a:gd name="connsiteX1899" fmla="*/ 1164908 w 2443162"/>
                <a:gd name="connsiteY1899" fmla="*/ 1367790 h 2161222"/>
                <a:gd name="connsiteX1900" fmla="*/ 1164908 w 2443162"/>
                <a:gd name="connsiteY1900" fmla="*/ 1364933 h 2161222"/>
                <a:gd name="connsiteX1901" fmla="*/ 1165860 w 2443162"/>
                <a:gd name="connsiteY1901" fmla="*/ 1362075 h 2161222"/>
                <a:gd name="connsiteX1902" fmla="*/ 1166813 w 2443162"/>
                <a:gd name="connsiteY1902" fmla="*/ 1359218 h 2161222"/>
                <a:gd name="connsiteX1903" fmla="*/ 1167765 w 2443162"/>
                <a:gd name="connsiteY1903" fmla="*/ 1356360 h 2161222"/>
                <a:gd name="connsiteX1904" fmla="*/ 1169670 w 2443162"/>
                <a:gd name="connsiteY1904" fmla="*/ 1354455 h 2161222"/>
                <a:gd name="connsiteX1905" fmla="*/ 1171575 w 2443162"/>
                <a:gd name="connsiteY1905" fmla="*/ 1351598 h 2161222"/>
                <a:gd name="connsiteX1906" fmla="*/ 1173480 w 2443162"/>
                <a:gd name="connsiteY1906" fmla="*/ 1349693 h 2161222"/>
                <a:gd name="connsiteX1907" fmla="*/ 1175385 w 2443162"/>
                <a:gd name="connsiteY1907" fmla="*/ 1347788 h 2161222"/>
                <a:gd name="connsiteX1908" fmla="*/ 1181100 w 2443162"/>
                <a:gd name="connsiteY1908" fmla="*/ 1343025 h 2161222"/>
                <a:gd name="connsiteX1909" fmla="*/ 1187768 w 2443162"/>
                <a:gd name="connsiteY1909" fmla="*/ 1339215 h 2161222"/>
                <a:gd name="connsiteX1910" fmla="*/ 1194435 w 2443162"/>
                <a:gd name="connsiteY1910" fmla="*/ 1335405 h 2161222"/>
                <a:gd name="connsiteX1911" fmla="*/ 1203008 w 2443162"/>
                <a:gd name="connsiteY1911" fmla="*/ 1331595 h 2161222"/>
                <a:gd name="connsiteX1912" fmla="*/ 1211580 w 2443162"/>
                <a:gd name="connsiteY1912" fmla="*/ 1327785 h 2161222"/>
                <a:gd name="connsiteX1913" fmla="*/ 1221105 w 2443162"/>
                <a:gd name="connsiteY1913" fmla="*/ 1323975 h 2161222"/>
                <a:gd name="connsiteX1914" fmla="*/ 1230630 w 2443162"/>
                <a:gd name="connsiteY1914" fmla="*/ 1320165 h 2161222"/>
                <a:gd name="connsiteX1915" fmla="*/ 1241108 w 2443162"/>
                <a:gd name="connsiteY1915" fmla="*/ 1316355 h 2161222"/>
                <a:gd name="connsiteX1916" fmla="*/ 1262063 w 2443162"/>
                <a:gd name="connsiteY1916" fmla="*/ 1309688 h 2161222"/>
                <a:gd name="connsiteX1917" fmla="*/ 1283018 w 2443162"/>
                <a:gd name="connsiteY1917" fmla="*/ 1303020 h 2161222"/>
                <a:gd name="connsiteX1918" fmla="*/ 1298258 w 2443162"/>
                <a:gd name="connsiteY1918" fmla="*/ 1298258 h 2161222"/>
                <a:gd name="connsiteX1919" fmla="*/ 1313498 w 2443162"/>
                <a:gd name="connsiteY1919" fmla="*/ 1293495 h 2161222"/>
                <a:gd name="connsiteX1920" fmla="*/ 1328738 w 2443162"/>
                <a:gd name="connsiteY1920" fmla="*/ 1288733 h 2161222"/>
                <a:gd name="connsiteX1921" fmla="*/ 1343025 w 2443162"/>
                <a:gd name="connsiteY1921" fmla="*/ 1283018 h 2161222"/>
                <a:gd name="connsiteX1922" fmla="*/ 1349693 w 2443162"/>
                <a:gd name="connsiteY1922" fmla="*/ 1280160 h 2161222"/>
                <a:gd name="connsiteX1923" fmla="*/ 1356360 w 2443162"/>
                <a:gd name="connsiteY1923" fmla="*/ 1277303 h 2161222"/>
                <a:gd name="connsiteX1924" fmla="*/ 1363028 w 2443162"/>
                <a:gd name="connsiteY1924" fmla="*/ 1273493 h 2161222"/>
                <a:gd name="connsiteX1925" fmla="*/ 1368743 w 2443162"/>
                <a:gd name="connsiteY1925" fmla="*/ 1269683 h 2161222"/>
                <a:gd name="connsiteX1926" fmla="*/ 1374458 w 2443162"/>
                <a:gd name="connsiteY1926" fmla="*/ 1265873 h 2161222"/>
                <a:gd name="connsiteX1927" fmla="*/ 1380173 w 2443162"/>
                <a:gd name="connsiteY1927" fmla="*/ 1262063 h 2161222"/>
                <a:gd name="connsiteX1928" fmla="*/ 1385888 w 2443162"/>
                <a:gd name="connsiteY1928" fmla="*/ 1258253 h 2161222"/>
                <a:gd name="connsiteX1929" fmla="*/ 1390650 w 2443162"/>
                <a:gd name="connsiteY1929" fmla="*/ 1253490 h 2161222"/>
                <a:gd name="connsiteX1930" fmla="*/ 1395413 w 2443162"/>
                <a:gd name="connsiteY1930" fmla="*/ 1248728 h 2161222"/>
                <a:gd name="connsiteX1931" fmla="*/ 1400175 w 2443162"/>
                <a:gd name="connsiteY1931" fmla="*/ 1243965 h 2161222"/>
                <a:gd name="connsiteX1932" fmla="*/ 1404938 w 2443162"/>
                <a:gd name="connsiteY1932" fmla="*/ 1239203 h 2161222"/>
                <a:gd name="connsiteX1933" fmla="*/ 1408748 w 2443162"/>
                <a:gd name="connsiteY1933" fmla="*/ 1234440 h 2161222"/>
                <a:gd name="connsiteX1934" fmla="*/ 1412558 w 2443162"/>
                <a:gd name="connsiteY1934" fmla="*/ 1228725 h 2161222"/>
                <a:gd name="connsiteX1935" fmla="*/ 1416368 w 2443162"/>
                <a:gd name="connsiteY1935" fmla="*/ 1223010 h 2161222"/>
                <a:gd name="connsiteX1936" fmla="*/ 1419225 w 2443162"/>
                <a:gd name="connsiteY1936" fmla="*/ 1217295 h 2161222"/>
                <a:gd name="connsiteX1937" fmla="*/ 1422083 w 2443162"/>
                <a:gd name="connsiteY1937" fmla="*/ 1211580 h 2161222"/>
                <a:gd name="connsiteX1938" fmla="*/ 1423988 w 2443162"/>
                <a:gd name="connsiteY1938" fmla="*/ 1204913 h 2161222"/>
                <a:gd name="connsiteX1939" fmla="*/ 1425893 w 2443162"/>
                <a:gd name="connsiteY1939" fmla="*/ 1198245 h 2161222"/>
                <a:gd name="connsiteX1940" fmla="*/ 1426845 w 2443162"/>
                <a:gd name="connsiteY1940" fmla="*/ 1191578 h 2161222"/>
                <a:gd name="connsiteX1941" fmla="*/ 1427798 w 2443162"/>
                <a:gd name="connsiteY1941" fmla="*/ 1183958 h 2161222"/>
                <a:gd name="connsiteX1942" fmla="*/ 1428750 w 2443162"/>
                <a:gd name="connsiteY1942" fmla="*/ 1177290 h 2161222"/>
                <a:gd name="connsiteX1943" fmla="*/ 1428750 w 2443162"/>
                <a:gd name="connsiteY1943" fmla="*/ 1169670 h 2161222"/>
                <a:gd name="connsiteX1944" fmla="*/ 1428750 w 2443162"/>
                <a:gd name="connsiteY1944" fmla="*/ 1162050 h 2161222"/>
                <a:gd name="connsiteX1945" fmla="*/ 1427798 w 2443162"/>
                <a:gd name="connsiteY1945" fmla="*/ 1153478 h 2161222"/>
                <a:gd name="connsiteX1946" fmla="*/ 1427798 w 2443162"/>
                <a:gd name="connsiteY1946" fmla="*/ 1147763 h 2161222"/>
                <a:gd name="connsiteX1947" fmla="*/ 1426845 w 2443162"/>
                <a:gd name="connsiteY1947" fmla="*/ 1142048 h 2161222"/>
                <a:gd name="connsiteX1948" fmla="*/ 1425893 w 2443162"/>
                <a:gd name="connsiteY1948" fmla="*/ 1136333 h 2161222"/>
                <a:gd name="connsiteX1949" fmla="*/ 1424940 w 2443162"/>
                <a:gd name="connsiteY1949" fmla="*/ 1130618 h 2161222"/>
                <a:gd name="connsiteX1950" fmla="*/ 1423035 w 2443162"/>
                <a:gd name="connsiteY1950" fmla="*/ 1124903 h 2161222"/>
                <a:gd name="connsiteX1951" fmla="*/ 1421130 w 2443162"/>
                <a:gd name="connsiteY1951" fmla="*/ 1119188 h 2161222"/>
                <a:gd name="connsiteX1952" fmla="*/ 1419225 w 2443162"/>
                <a:gd name="connsiteY1952" fmla="*/ 1113473 h 2161222"/>
                <a:gd name="connsiteX1953" fmla="*/ 1416368 w 2443162"/>
                <a:gd name="connsiteY1953" fmla="*/ 1108710 h 2161222"/>
                <a:gd name="connsiteX1954" fmla="*/ 1413510 w 2443162"/>
                <a:gd name="connsiteY1954" fmla="*/ 1103948 h 2161222"/>
                <a:gd name="connsiteX1955" fmla="*/ 1409700 w 2443162"/>
                <a:gd name="connsiteY1955" fmla="*/ 1099185 h 2161222"/>
                <a:gd name="connsiteX1956" fmla="*/ 1405890 w 2443162"/>
                <a:gd name="connsiteY1956" fmla="*/ 1094423 h 2161222"/>
                <a:gd name="connsiteX1957" fmla="*/ 1402080 w 2443162"/>
                <a:gd name="connsiteY1957" fmla="*/ 1089660 h 2161222"/>
                <a:gd name="connsiteX1958" fmla="*/ 1398270 w 2443162"/>
                <a:gd name="connsiteY1958" fmla="*/ 1084898 h 2161222"/>
                <a:gd name="connsiteX1959" fmla="*/ 1393508 w 2443162"/>
                <a:gd name="connsiteY1959" fmla="*/ 1080135 h 2161222"/>
                <a:gd name="connsiteX1960" fmla="*/ 1388745 w 2443162"/>
                <a:gd name="connsiteY1960" fmla="*/ 1076325 h 2161222"/>
                <a:gd name="connsiteX1961" fmla="*/ 1383983 w 2443162"/>
                <a:gd name="connsiteY1961" fmla="*/ 1072515 h 2161222"/>
                <a:gd name="connsiteX1962" fmla="*/ 1373505 w 2443162"/>
                <a:gd name="connsiteY1962" fmla="*/ 1064895 h 2161222"/>
                <a:gd name="connsiteX1963" fmla="*/ 1363028 w 2443162"/>
                <a:gd name="connsiteY1963" fmla="*/ 1058228 h 2161222"/>
                <a:gd name="connsiteX1964" fmla="*/ 1351598 w 2443162"/>
                <a:gd name="connsiteY1964" fmla="*/ 1051560 h 2161222"/>
                <a:gd name="connsiteX1965" fmla="*/ 1339215 w 2443162"/>
                <a:gd name="connsiteY1965" fmla="*/ 1044893 h 2161222"/>
                <a:gd name="connsiteX1966" fmla="*/ 1325880 w 2443162"/>
                <a:gd name="connsiteY1966" fmla="*/ 1039178 h 2161222"/>
                <a:gd name="connsiteX1967" fmla="*/ 1312545 w 2443162"/>
                <a:gd name="connsiteY1967" fmla="*/ 1033463 h 2161222"/>
                <a:gd name="connsiteX1968" fmla="*/ 1298258 w 2443162"/>
                <a:gd name="connsiteY1968" fmla="*/ 1027748 h 2161222"/>
                <a:gd name="connsiteX1969" fmla="*/ 1282065 w 2443162"/>
                <a:gd name="connsiteY1969" fmla="*/ 1024890 h 2161222"/>
                <a:gd name="connsiteX1970" fmla="*/ 1282065 w 2443162"/>
                <a:gd name="connsiteY1970" fmla="*/ 1024890 h 2161222"/>
                <a:gd name="connsiteX1971" fmla="*/ 1297305 w 2443162"/>
                <a:gd name="connsiteY1971" fmla="*/ 300038 h 2161222"/>
                <a:gd name="connsiteX1972" fmla="*/ 1295400 w 2443162"/>
                <a:gd name="connsiteY1972" fmla="*/ 344805 h 2161222"/>
                <a:gd name="connsiteX1973" fmla="*/ 1294448 w 2443162"/>
                <a:gd name="connsiteY1973" fmla="*/ 343853 h 2161222"/>
                <a:gd name="connsiteX1974" fmla="*/ 1294448 w 2443162"/>
                <a:gd name="connsiteY1974" fmla="*/ 353378 h 2161222"/>
                <a:gd name="connsiteX1975" fmla="*/ 1292543 w 2443162"/>
                <a:gd name="connsiteY1975" fmla="*/ 395288 h 2161222"/>
                <a:gd name="connsiteX1976" fmla="*/ 1311593 w 2443162"/>
                <a:gd name="connsiteY1976" fmla="*/ 399098 h 2161222"/>
                <a:gd name="connsiteX1977" fmla="*/ 1329690 w 2443162"/>
                <a:gd name="connsiteY1977" fmla="*/ 403860 h 2161222"/>
                <a:gd name="connsiteX1978" fmla="*/ 1338263 w 2443162"/>
                <a:gd name="connsiteY1978" fmla="*/ 406718 h 2161222"/>
                <a:gd name="connsiteX1979" fmla="*/ 1345883 w 2443162"/>
                <a:gd name="connsiteY1979" fmla="*/ 409575 h 2161222"/>
                <a:gd name="connsiteX1980" fmla="*/ 1353503 w 2443162"/>
                <a:gd name="connsiteY1980" fmla="*/ 412433 h 2161222"/>
                <a:gd name="connsiteX1981" fmla="*/ 1361123 w 2443162"/>
                <a:gd name="connsiteY1981" fmla="*/ 415290 h 2161222"/>
                <a:gd name="connsiteX1982" fmla="*/ 1368743 w 2443162"/>
                <a:gd name="connsiteY1982" fmla="*/ 418148 h 2161222"/>
                <a:gd name="connsiteX1983" fmla="*/ 1375410 w 2443162"/>
                <a:gd name="connsiteY1983" fmla="*/ 421005 h 2161222"/>
                <a:gd name="connsiteX1984" fmla="*/ 1382078 w 2443162"/>
                <a:gd name="connsiteY1984" fmla="*/ 423863 h 2161222"/>
                <a:gd name="connsiteX1985" fmla="*/ 1388745 w 2443162"/>
                <a:gd name="connsiteY1985" fmla="*/ 427673 h 2161222"/>
                <a:gd name="connsiteX1986" fmla="*/ 1394460 w 2443162"/>
                <a:gd name="connsiteY1986" fmla="*/ 431483 h 2161222"/>
                <a:gd name="connsiteX1987" fmla="*/ 1400175 w 2443162"/>
                <a:gd name="connsiteY1987" fmla="*/ 435293 h 2161222"/>
                <a:gd name="connsiteX1988" fmla="*/ 1405890 w 2443162"/>
                <a:gd name="connsiteY1988" fmla="*/ 439103 h 2161222"/>
                <a:gd name="connsiteX1989" fmla="*/ 1410653 w 2443162"/>
                <a:gd name="connsiteY1989" fmla="*/ 442913 h 2161222"/>
                <a:gd name="connsiteX1990" fmla="*/ 1415415 w 2443162"/>
                <a:gd name="connsiteY1990" fmla="*/ 447675 h 2161222"/>
                <a:gd name="connsiteX1991" fmla="*/ 1420178 w 2443162"/>
                <a:gd name="connsiteY1991" fmla="*/ 451485 h 2161222"/>
                <a:gd name="connsiteX1992" fmla="*/ 1423988 w 2443162"/>
                <a:gd name="connsiteY1992" fmla="*/ 456248 h 2161222"/>
                <a:gd name="connsiteX1993" fmla="*/ 1427798 w 2443162"/>
                <a:gd name="connsiteY1993" fmla="*/ 461010 h 2161222"/>
                <a:gd name="connsiteX1994" fmla="*/ 1431608 w 2443162"/>
                <a:gd name="connsiteY1994" fmla="*/ 465773 h 2161222"/>
                <a:gd name="connsiteX1995" fmla="*/ 1434465 w 2443162"/>
                <a:gd name="connsiteY1995" fmla="*/ 470535 h 2161222"/>
                <a:gd name="connsiteX1996" fmla="*/ 1437323 w 2443162"/>
                <a:gd name="connsiteY1996" fmla="*/ 475298 h 2161222"/>
                <a:gd name="connsiteX1997" fmla="*/ 1440180 w 2443162"/>
                <a:gd name="connsiteY1997" fmla="*/ 481013 h 2161222"/>
                <a:gd name="connsiteX1998" fmla="*/ 1442085 w 2443162"/>
                <a:gd name="connsiteY1998" fmla="*/ 485775 h 2161222"/>
                <a:gd name="connsiteX1999" fmla="*/ 1443990 w 2443162"/>
                <a:gd name="connsiteY1999" fmla="*/ 491490 h 2161222"/>
                <a:gd name="connsiteX2000" fmla="*/ 1444943 w 2443162"/>
                <a:gd name="connsiteY2000" fmla="*/ 497205 h 2161222"/>
                <a:gd name="connsiteX2001" fmla="*/ 1445895 w 2443162"/>
                <a:gd name="connsiteY2001" fmla="*/ 502920 h 2161222"/>
                <a:gd name="connsiteX2002" fmla="*/ 1446848 w 2443162"/>
                <a:gd name="connsiteY2002" fmla="*/ 508635 h 2161222"/>
                <a:gd name="connsiteX2003" fmla="*/ 1446848 w 2443162"/>
                <a:gd name="connsiteY2003" fmla="*/ 514350 h 2161222"/>
                <a:gd name="connsiteX2004" fmla="*/ 1446848 w 2443162"/>
                <a:gd name="connsiteY2004" fmla="*/ 520065 h 2161222"/>
                <a:gd name="connsiteX2005" fmla="*/ 1446848 w 2443162"/>
                <a:gd name="connsiteY2005" fmla="*/ 526733 h 2161222"/>
                <a:gd name="connsiteX2006" fmla="*/ 1446848 w 2443162"/>
                <a:gd name="connsiteY2006" fmla="*/ 534353 h 2161222"/>
                <a:gd name="connsiteX2007" fmla="*/ 1445895 w 2443162"/>
                <a:gd name="connsiteY2007" fmla="*/ 541020 h 2161222"/>
                <a:gd name="connsiteX2008" fmla="*/ 1444943 w 2443162"/>
                <a:gd name="connsiteY2008" fmla="*/ 548640 h 2161222"/>
                <a:gd name="connsiteX2009" fmla="*/ 1443990 w 2443162"/>
                <a:gd name="connsiteY2009" fmla="*/ 555308 h 2161222"/>
                <a:gd name="connsiteX2010" fmla="*/ 1426845 w 2443162"/>
                <a:gd name="connsiteY2010" fmla="*/ 547688 h 2161222"/>
                <a:gd name="connsiteX2011" fmla="*/ 1408748 w 2443162"/>
                <a:gd name="connsiteY2011" fmla="*/ 541020 h 2161222"/>
                <a:gd name="connsiteX2012" fmla="*/ 1390650 w 2443162"/>
                <a:gd name="connsiteY2012" fmla="*/ 534353 h 2161222"/>
                <a:gd name="connsiteX2013" fmla="*/ 1372553 w 2443162"/>
                <a:gd name="connsiteY2013" fmla="*/ 528638 h 2161222"/>
                <a:gd name="connsiteX2014" fmla="*/ 1353503 w 2443162"/>
                <a:gd name="connsiteY2014" fmla="*/ 523875 h 2161222"/>
                <a:gd name="connsiteX2015" fmla="*/ 1334453 w 2443162"/>
                <a:gd name="connsiteY2015" fmla="*/ 519113 h 2161222"/>
                <a:gd name="connsiteX2016" fmla="*/ 1315403 w 2443162"/>
                <a:gd name="connsiteY2016" fmla="*/ 515303 h 2161222"/>
                <a:gd name="connsiteX2017" fmla="*/ 1296353 w 2443162"/>
                <a:gd name="connsiteY2017" fmla="*/ 512445 h 2161222"/>
                <a:gd name="connsiteX2018" fmla="*/ 1296353 w 2443162"/>
                <a:gd name="connsiteY2018" fmla="*/ 541020 h 2161222"/>
                <a:gd name="connsiteX2019" fmla="*/ 1314450 w 2443162"/>
                <a:gd name="connsiteY2019" fmla="*/ 543878 h 2161222"/>
                <a:gd name="connsiteX2020" fmla="*/ 1331595 w 2443162"/>
                <a:gd name="connsiteY2020" fmla="*/ 547688 h 2161222"/>
                <a:gd name="connsiteX2021" fmla="*/ 1348740 w 2443162"/>
                <a:gd name="connsiteY2021" fmla="*/ 552450 h 2161222"/>
                <a:gd name="connsiteX2022" fmla="*/ 1365885 w 2443162"/>
                <a:gd name="connsiteY2022" fmla="*/ 557213 h 2161222"/>
                <a:gd name="connsiteX2023" fmla="*/ 1383030 w 2443162"/>
                <a:gd name="connsiteY2023" fmla="*/ 562928 h 2161222"/>
                <a:gd name="connsiteX2024" fmla="*/ 1399223 w 2443162"/>
                <a:gd name="connsiteY2024" fmla="*/ 568643 h 2161222"/>
                <a:gd name="connsiteX2025" fmla="*/ 1416368 w 2443162"/>
                <a:gd name="connsiteY2025" fmla="*/ 575310 h 2161222"/>
                <a:gd name="connsiteX2026" fmla="*/ 1432560 w 2443162"/>
                <a:gd name="connsiteY2026" fmla="*/ 581978 h 2161222"/>
                <a:gd name="connsiteX2027" fmla="*/ 1429703 w 2443162"/>
                <a:gd name="connsiteY2027" fmla="*/ 586740 h 2161222"/>
                <a:gd name="connsiteX2028" fmla="*/ 1425893 w 2443162"/>
                <a:gd name="connsiteY2028" fmla="*/ 591503 h 2161222"/>
                <a:gd name="connsiteX2029" fmla="*/ 1422083 w 2443162"/>
                <a:gd name="connsiteY2029" fmla="*/ 596265 h 2161222"/>
                <a:gd name="connsiteX2030" fmla="*/ 1418273 w 2443162"/>
                <a:gd name="connsiteY2030" fmla="*/ 601028 h 2161222"/>
                <a:gd name="connsiteX2031" fmla="*/ 1414463 w 2443162"/>
                <a:gd name="connsiteY2031" fmla="*/ 604838 h 2161222"/>
                <a:gd name="connsiteX2032" fmla="*/ 1409700 w 2443162"/>
                <a:gd name="connsiteY2032" fmla="*/ 608648 h 2161222"/>
                <a:gd name="connsiteX2033" fmla="*/ 1404938 w 2443162"/>
                <a:gd name="connsiteY2033" fmla="*/ 612458 h 2161222"/>
                <a:gd name="connsiteX2034" fmla="*/ 1400175 w 2443162"/>
                <a:gd name="connsiteY2034" fmla="*/ 616268 h 2161222"/>
                <a:gd name="connsiteX2035" fmla="*/ 1395413 w 2443162"/>
                <a:gd name="connsiteY2035" fmla="*/ 620078 h 2161222"/>
                <a:gd name="connsiteX2036" fmla="*/ 1389698 w 2443162"/>
                <a:gd name="connsiteY2036" fmla="*/ 623888 h 2161222"/>
                <a:gd name="connsiteX2037" fmla="*/ 1384935 w 2443162"/>
                <a:gd name="connsiteY2037" fmla="*/ 627698 h 2161222"/>
                <a:gd name="connsiteX2038" fmla="*/ 1379220 w 2443162"/>
                <a:gd name="connsiteY2038" fmla="*/ 630555 h 2161222"/>
                <a:gd name="connsiteX2039" fmla="*/ 1366838 w 2443162"/>
                <a:gd name="connsiteY2039" fmla="*/ 637223 h 2161222"/>
                <a:gd name="connsiteX2040" fmla="*/ 1353503 w 2443162"/>
                <a:gd name="connsiteY2040" fmla="*/ 642938 h 2161222"/>
                <a:gd name="connsiteX2041" fmla="*/ 1340168 w 2443162"/>
                <a:gd name="connsiteY2041" fmla="*/ 648653 h 2161222"/>
                <a:gd name="connsiteX2042" fmla="*/ 1324928 w 2443162"/>
                <a:gd name="connsiteY2042" fmla="*/ 654368 h 2161222"/>
                <a:gd name="connsiteX2043" fmla="*/ 1309688 w 2443162"/>
                <a:gd name="connsiteY2043" fmla="*/ 659130 h 2161222"/>
                <a:gd name="connsiteX2044" fmla="*/ 1293495 w 2443162"/>
                <a:gd name="connsiteY2044" fmla="*/ 663893 h 2161222"/>
                <a:gd name="connsiteX2045" fmla="*/ 1277303 w 2443162"/>
                <a:gd name="connsiteY2045" fmla="*/ 668655 h 2161222"/>
                <a:gd name="connsiteX2046" fmla="*/ 1260158 w 2443162"/>
                <a:gd name="connsiteY2046" fmla="*/ 673418 h 2161222"/>
                <a:gd name="connsiteX2047" fmla="*/ 1242060 w 2443162"/>
                <a:gd name="connsiteY2047" fmla="*/ 677228 h 2161222"/>
                <a:gd name="connsiteX2048" fmla="*/ 1223010 w 2443162"/>
                <a:gd name="connsiteY2048" fmla="*/ 681990 h 2161222"/>
                <a:gd name="connsiteX2049" fmla="*/ 1202055 w 2443162"/>
                <a:gd name="connsiteY2049" fmla="*/ 686753 h 2161222"/>
                <a:gd name="connsiteX2050" fmla="*/ 1180148 w 2443162"/>
                <a:gd name="connsiteY2050" fmla="*/ 691515 h 2161222"/>
                <a:gd name="connsiteX2051" fmla="*/ 1169670 w 2443162"/>
                <a:gd name="connsiteY2051" fmla="*/ 694373 h 2161222"/>
                <a:gd name="connsiteX2052" fmla="*/ 1159193 w 2443162"/>
                <a:gd name="connsiteY2052" fmla="*/ 697230 h 2161222"/>
                <a:gd name="connsiteX2053" fmla="*/ 1147763 w 2443162"/>
                <a:gd name="connsiteY2053" fmla="*/ 701040 h 2161222"/>
                <a:gd name="connsiteX2054" fmla="*/ 1136333 w 2443162"/>
                <a:gd name="connsiteY2054" fmla="*/ 704850 h 2161222"/>
                <a:gd name="connsiteX2055" fmla="*/ 1125855 w 2443162"/>
                <a:gd name="connsiteY2055" fmla="*/ 708660 h 2161222"/>
                <a:gd name="connsiteX2056" fmla="*/ 1115378 w 2443162"/>
                <a:gd name="connsiteY2056" fmla="*/ 713423 h 2161222"/>
                <a:gd name="connsiteX2057" fmla="*/ 1104900 w 2443162"/>
                <a:gd name="connsiteY2057" fmla="*/ 718185 h 2161222"/>
                <a:gd name="connsiteX2058" fmla="*/ 1094423 w 2443162"/>
                <a:gd name="connsiteY2058" fmla="*/ 722948 h 2161222"/>
                <a:gd name="connsiteX2059" fmla="*/ 1083945 w 2443162"/>
                <a:gd name="connsiteY2059" fmla="*/ 727710 h 2161222"/>
                <a:gd name="connsiteX2060" fmla="*/ 1073468 w 2443162"/>
                <a:gd name="connsiteY2060" fmla="*/ 733425 h 2161222"/>
                <a:gd name="connsiteX2061" fmla="*/ 1062990 w 2443162"/>
                <a:gd name="connsiteY2061" fmla="*/ 739140 h 2161222"/>
                <a:gd name="connsiteX2062" fmla="*/ 1053465 w 2443162"/>
                <a:gd name="connsiteY2062" fmla="*/ 744855 h 2161222"/>
                <a:gd name="connsiteX2063" fmla="*/ 1043940 w 2443162"/>
                <a:gd name="connsiteY2063" fmla="*/ 751523 h 2161222"/>
                <a:gd name="connsiteX2064" fmla="*/ 1035368 w 2443162"/>
                <a:gd name="connsiteY2064" fmla="*/ 758190 h 2161222"/>
                <a:gd name="connsiteX2065" fmla="*/ 1026795 w 2443162"/>
                <a:gd name="connsiteY2065" fmla="*/ 765810 h 2161222"/>
                <a:gd name="connsiteX2066" fmla="*/ 1019175 w 2443162"/>
                <a:gd name="connsiteY2066" fmla="*/ 773430 h 2161222"/>
                <a:gd name="connsiteX2067" fmla="*/ 1011555 w 2443162"/>
                <a:gd name="connsiteY2067" fmla="*/ 782003 h 2161222"/>
                <a:gd name="connsiteX2068" fmla="*/ 1004888 w 2443162"/>
                <a:gd name="connsiteY2068" fmla="*/ 790575 h 2161222"/>
                <a:gd name="connsiteX2069" fmla="*/ 998220 w 2443162"/>
                <a:gd name="connsiteY2069" fmla="*/ 800100 h 2161222"/>
                <a:gd name="connsiteX2070" fmla="*/ 992505 w 2443162"/>
                <a:gd name="connsiteY2070" fmla="*/ 809625 h 2161222"/>
                <a:gd name="connsiteX2071" fmla="*/ 987743 w 2443162"/>
                <a:gd name="connsiteY2071" fmla="*/ 820103 h 2161222"/>
                <a:gd name="connsiteX2072" fmla="*/ 982980 w 2443162"/>
                <a:gd name="connsiteY2072" fmla="*/ 830580 h 2161222"/>
                <a:gd name="connsiteX2073" fmla="*/ 979170 w 2443162"/>
                <a:gd name="connsiteY2073" fmla="*/ 841058 h 2161222"/>
                <a:gd name="connsiteX2074" fmla="*/ 976313 w 2443162"/>
                <a:gd name="connsiteY2074" fmla="*/ 852488 h 2161222"/>
                <a:gd name="connsiteX2075" fmla="*/ 974408 w 2443162"/>
                <a:gd name="connsiteY2075" fmla="*/ 863918 h 2161222"/>
                <a:gd name="connsiteX2076" fmla="*/ 972503 w 2443162"/>
                <a:gd name="connsiteY2076" fmla="*/ 876300 h 2161222"/>
                <a:gd name="connsiteX2077" fmla="*/ 972503 w 2443162"/>
                <a:gd name="connsiteY2077" fmla="*/ 889635 h 2161222"/>
                <a:gd name="connsiteX2078" fmla="*/ 972503 w 2443162"/>
                <a:gd name="connsiteY2078" fmla="*/ 902970 h 2161222"/>
                <a:gd name="connsiteX2079" fmla="*/ 973455 w 2443162"/>
                <a:gd name="connsiteY2079" fmla="*/ 914400 h 2161222"/>
                <a:gd name="connsiteX2080" fmla="*/ 975360 w 2443162"/>
                <a:gd name="connsiteY2080" fmla="*/ 924878 h 2161222"/>
                <a:gd name="connsiteX2081" fmla="*/ 977265 w 2443162"/>
                <a:gd name="connsiteY2081" fmla="*/ 935355 h 2161222"/>
                <a:gd name="connsiteX2082" fmla="*/ 980123 w 2443162"/>
                <a:gd name="connsiteY2082" fmla="*/ 945833 h 2161222"/>
                <a:gd name="connsiteX2083" fmla="*/ 983933 w 2443162"/>
                <a:gd name="connsiteY2083" fmla="*/ 955358 h 2161222"/>
                <a:gd name="connsiteX2084" fmla="*/ 987743 w 2443162"/>
                <a:gd name="connsiteY2084" fmla="*/ 964883 h 2161222"/>
                <a:gd name="connsiteX2085" fmla="*/ 992505 w 2443162"/>
                <a:gd name="connsiteY2085" fmla="*/ 973455 h 2161222"/>
                <a:gd name="connsiteX2086" fmla="*/ 997268 w 2443162"/>
                <a:gd name="connsiteY2086" fmla="*/ 982028 h 2161222"/>
                <a:gd name="connsiteX2087" fmla="*/ 1002030 w 2443162"/>
                <a:gd name="connsiteY2087" fmla="*/ 989648 h 2161222"/>
                <a:gd name="connsiteX2088" fmla="*/ 1007745 w 2443162"/>
                <a:gd name="connsiteY2088" fmla="*/ 997268 h 2161222"/>
                <a:gd name="connsiteX2089" fmla="*/ 1013460 w 2443162"/>
                <a:gd name="connsiteY2089" fmla="*/ 1004888 h 2161222"/>
                <a:gd name="connsiteX2090" fmla="*/ 1019175 w 2443162"/>
                <a:gd name="connsiteY2090" fmla="*/ 1011555 h 2161222"/>
                <a:gd name="connsiteX2091" fmla="*/ 1025843 w 2443162"/>
                <a:gd name="connsiteY2091" fmla="*/ 1018223 h 2161222"/>
                <a:gd name="connsiteX2092" fmla="*/ 1032510 w 2443162"/>
                <a:gd name="connsiteY2092" fmla="*/ 1023938 h 2161222"/>
                <a:gd name="connsiteX2093" fmla="*/ 1039178 w 2443162"/>
                <a:gd name="connsiteY2093" fmla="*/ 1029653 h 2161222"/>
                <a:gd name="connsiteX2094" fmla="*/ 1045845 w 2443162"/>
                <a:gd name="connsiteY2094" fmla="*/ 1035368 h 2161222"/>
                <a:gd name="connsiteX2095" fmla="*/ 1053465 w 2443162"/>
                <a:gd name="connsiteY2095" fmla="*/ 1041083 h 2161222"/>
                <a:gd name="connsiteX2096" fmla="*/ 1061085 w 2443162"/>
                <a:gd name="connsiteY2096" fmla="*/ 1045845 h 2161222"/>
                <a:gd name="connsiteX2097" fmla="*/ 1068705 w 2443162"/>
                <a:gd name="connsiteY2097" fmla="*/ 1050608 h 2161222"/>
                <a:gd name="connsiteX2098" fmla="*/ 1076325 w 2443162"/>
                <a:gd name="connsiteY2098" fmla="*/ 1055370 h 2161222"/>
                <a:gd name="connsiteX2099" fmla="*/ 1083945 w 2443162"/>
                <a:gd name="connsiteY2099" fmla="*/ 1059180 h 2161222"/>
                <a:gd name="connsiteX2100" fmla="*/ 1091565 w 2443162"/>
                <a:gd name="connsiteY2100" fmla="*/ 1062990 h 2161222"/>
                <a:gd name="connsiteX2101" fmla="*/ 1099185 w 2443162"/>
                <a:gd name="connsiteY2101" fmla="*/ 1066800 h 2161222"/>
                <a:gd name="connsiteX2102" fmla="*/ 1106805 w 2443162"/>
                <a:gd name="connsiteY2102" fmla="*/ 1069658 h 2161222"/>
                <a:gd name="connsiteX2103" fmla="*/ 1122045 w 2443162"/>
                <a:gd name="connsiteY2103" fmla="*/ 1075373 h 2161222"/>
                <a:gd name="connsiteX2104" fmla="*/ 1136333 w 2443162"/>
                <a:gd name="connsiteY2104" fmla="*/ 1080135 h 2161222"/>
                <a:gd name="connsiteX2105" fmla="*/ 1149668 w 2443162"/>
                <a:gd name="connsiteY2105" fmla="*/ 1083945 h 2161222"/>
                <a:gd name="connsiteX2106" fmla="*/ 1162050 w 2443162"/>
                <a:gd name="connsiteY2106" fmla="*/ 1087755 h 2161222"/>
                <a:gd name="connsiteX2107" fmla="*/ 1161098 w 2443162"/>
                <a:gd name="connsiteY2107" fmla="*/ 1075373 h 2161222"/>
                <a:gd name="connsiteX2108" fmla="*/ 1161098 w 2443162"/>
                <a:gd name="connsiteY2108" fmla="*/ 1062990 h 2161222"/>
                <a:gd name="connsiteX2109" fmla="*/ 1161098 w 2443162"/>
                <a:gd name="connsiteY2109" fmla="*/ 1050608 h 2161222"/>
                <a:gd name="connsiteX2110" fmla="*/ 1161098 w 2443162"/>
                <a:gd name="connsiteY2110" fmla="*/ 1038225 h 2161222"/>
                <a:gd name="connsiteX2111" fmla="*/ 1160145 w 2443162"/>
                <a:gd name="connsiteY2111" fmla="*/ 1025843 h 2161222"/>
                <a:gd name="connsiteX2112" fmla="*/ 1160145 w 2443162"/>
                <a:gd name="connsiteY2112" fmla="*/ 1011555 h 2161222"/>
                <a:gd name="connsiteX2113" fmla="*/ 1160145 w 2443162"/>
                <a:gd name="connsiteY2113" fmla="*/ 999173 h 2161222"/>
                <a:gd name="connsiteX2114" fmla="*/ 1159193 w 2443162"/>
                <a:gd name="connsiteY2114" fmla="*/ 986790 h 2161222"/>
                <a:gd name="connsiteX2115" fmla="*/ 1152525 w 2443162"/>
                <a:gd name="connsiteY2115" fmla="*/ 982980 h 2161222"/>
                <a:gd name="connsiteX2116" fmla="*/ 1145858 w 2443162"/>
                <a:gd name="connsiteY2116" fmla="*/ 979170 h 2161222"/>
                <a:gd name="connsiteX2117" fmla="*/ 1139190 w 2443162"/>
                <a:gd name="connsiteY2117" fmla="*/ 975360 h 2161222"/>
                <a:gd name="connsiteX2118" fmla="*/ 1132523 w 2443162"/>
                <a:gd name="connsiteY2118" fmla="*/ 971550 h 2161222"/>
                <a:gd name="connsiteX2119" fmla="*/ 1126808 w 2443162"/>
                <a:gd name="connsiteY2119" fmla="*/ 966788 h 2161222"/>
                <a:gd name="connsiteX2120" fmla="*/ 1121093 w 2443162"/>
                <a:gd name="connsiteY2120" fmla="*/ 962025 h 2161222"/>
                <a:gd name="connsiteX2121" fmla="*/ 1115378 w 2443162"/>
                <a:gd name="connsiteY2121" fmla="*/ 957263 h 2161222"/>
                <a:gd name="connsiteX2122" fmla="*/ 1110615 w 2443162"/>
                <a:gd name="connsiteY2122" fmla="*/ 951548 h 2161222"/>
                <a:gd name="connsiteX2123" fmla="*/ 1105853 w 2443162"/>
                <a:gd name="connsiteY2123" fmla="*/ 945833 h 2161222"/>
                <a:gd name="connsiteX2124" fmla="*/ 1102043 w 2443162"/>
                <a:gd name="connsiteY2124" fmla="*/ 939165 h 2161222"/>
                <a:gd name="connsiteX2125" fmla="*/ 1098233 w 2443162"/>
                <a:gd name="connsiteY2125" fmla="*/ 932498 h 2161222"/>
                <a:gd name="connsiteX2126" fmla="*/ 1095375 w 2443162"/>
                <a:gd name="connsiteY2126" fmla="*/ 924878 h 2161222"/>
                <a:gd name="connsiteX2127" fmla="*/ 1094423 w 2443162"/>
                <a:gd name="connsiteY2127" fmla="*/ 921068 h 2161222"/>
                <a:gd name="connsiteX2128" fmla="*/ 1093470 w 2443162"/>
                <a:gd name="connsiteY2128" fmla="*/ 917258 h 2161222"/>
                <a:gd name="connsiteX2129" fmla="*/ 1092518 w 2443162"/>
                <a:gd name="connsiteY2129" fmla="*/ 912495 h 2161222"/>
                <a:gd name="connsiteX2130" fmla="*/ 1091565 w 2443162"/>
                <a:gd name="connsiteY2130" fmla="*/ 907733 h 2161222"/>
                <a:gd name="connsiteX2131" fmla="*/ 1091565 w 2443162"/>
                <a:gd name="connsiteY2131" fmla="*/ 902970 h 2161222"/>
                <a:gd name="connsiteX2132" fmla="*/ 1091565 w 2443162"/>
                <a:gd name="connsiteY2132" fmla="*/ 898208 h 2161222"/>
                <a:gd name="connsiteX2133" fmla="*/ 1091565 w 2443162"/>
                <a:gd name="connsiteY2133" fmla="*/ 893445 h 2161222"/>
                <a:gd name="connsiteX2134" fmla="*/ 1091565 w 2443162"/>
                <a:gd name="connsiteY2134" fmla="*/ 888683 h 2161222"/>
                <a:gd name="connsiteX2135" fmla="*/ 1092518 w 2443162"/>
                <a:gd name="connsiteY2135" fmla="*/ 881063 h 2161222"/>
                <a:gd name="connsiteX2136" fmla="*/ 1093470 w 2443162"/>
                <a:gd name="connsiteY2136" fmla="*/ 874395 h 2161222"/>
                <a:gd name="connsiteX2137" fmla="*/ 1096328 w 2443162"/>
                <a:gd name="connsiteY2137" fmla="*/ 867728 h 2161222"/>
                <a:gd name="connsiteX2138" fmla="*/ 1099185 w 2443162"/>
                <a:gd name="connsiteY2138" fmla="*/ 862013 h 2161222"/>
                <a:gd name="connsiteX2139" fmla="*/ 1102995 w 2443162"/>
                <a:gd name="connsiteY2139" fmla="*/ 856298 h 2161222"/>
                <a:gd name="connsiteX2140" fmla="*/ 1106805 w 2443162"/>
                <a:gd name="connsiteY2140" fmla="*/ 850583 h 2161222"/>
                <a:gd name="connsiteX2141" fmla="*/ 1111568 w 2443162"/>
                <a:gd name="connsiteY2141" fmla="*/ 845820 h 2161222"/>
                <a:gd name="connsiteX2142" fmla="*/ 1117283 w 2443162"/>
                <a:gd name="connsiteY2142" fmla="*/ 841058 h 2161222"/>
                <a:gd name="connsiteX2143" fmla="*/ 1122998 w 2443162"/>
                <a:gd name="connsiteY2143" fmla="*/ 836295 h 2161222"/>
                <a:gd name="connsiteX2144" fmla="*/ 1129665 w 2443162"/>
                <a:gd name="connsiteY2144" fmla="*/ 831533 h 2161222"/>
                <a:gd name="connsiteX2145" fmla="*/ 1136333 w 2443162"/>
                <a:gd name="connsiteY2145" fmla="*/ 826770 h 2161222"/>
                <a:gd name="connsiteX2146" fmla="*/ 1143953 w 2443162"/>
                <a:gd name="connsiteY2146" fmla="*/ 822960 h 2161222"/>
                <a:gd name="connsiteX2147" fmla="*/ 1152525 w 2443162"/>
                <a:gd name="connsiteY2147" fmla="*/ 818198 h 2161222"/>
                <a:gd name="connsiteX2148" fmla="*/ 1161098 w 2443162"/>
                <a:gd name="connsiteY2148" fmla="*/ 814388 h 2161222"/>
                <a:gd name="connsiteX2149" fmla="*/ 1170623 w 2443162"/>
                <a:gd name="connsiteY2149" fmla="*/ 810578 h 2161222"/>
                <a:gd name="connsiteX2150" fmla="*/ 1180148 w 2443162"/>
                <a:gd name="connsiteY2150" fmla="*/ 806768 h 2161222"/>
                <a:gd name="connsiteX2151" fmla="*/ 1200150 w 2443162"/>
                <a:gd name="connsiteY2151" fmla="*/ 800100 h 2161222"/>
                <a:gd name="connsiteX2152" fmla="*/ 1220153 w 2443162"/>
                <a:gd name="connsiteY2152" fmla="*/ 794385 h 2161222"/>
                <a:gd name="connsiteX2153" fmla="*/ 1242060 w 2443162"/>
                <a:gd name="connsiteY2153" fmla="*/ 788670 h 2161222"/>
                <a:gd name="connsiteX2154" fmla="*/ 1263968 w 2443162"/>
                <a:gd name="connsiteY2154" fmla="*/ 782955 h 2161222"/>
                <a:gd name="connsiteX2155" fmla="*/ 1308735 w 2443162"/>
                <a:gd name="connsiteY2155" fmla="*/ 771525 h 2161222"/>
                <a:gd name="connsiteX2156" fmla="*/ 1353503 w 2443162"/>
                <a:gd name="connsiteY2156" fmla="*/ 759143 h 2161222"/>
                <a:gd name="connsiteX2157" fmla="*/ 1370648 w 2443162"/>
                <a:gd name="connsiteY2157" fmla="*/ 753428 h 2161222"/>
                <a:gd name="connsiteX2158" fmla="*/ 1386840 w 2443162"/>
                <a:gd name="connsiteY2158" fmla="*/ 747713 h 2161222"/>
                <a:gd name="connsiteX2159" fmla="*/ 1402080 w 2443162"/>
                <a:gd name="connsiteY2159" fmla="*/ 741998 h 2161222"/>
                <a:gd name="connsiteX2160" fmla="*/ 1416368 w 2443162"/>
                <a:gd name="connsiteY2160" fmla="*/ 736283 h 2161222"/>
                <a:gd name="connsiteX2161" fmla="*/ 1430655 w 2443162"/>
                <a:gd name="connsiteY2161" fmla="*/ 730568 h 2161222"/>
                <a:gd name="connsiteX2162" fmla="*/ 1443038 w 2443162"/>
                <a:gd name="connsiteY2162" fmla="*/ 724853 h 2161222"/>
                <a:gd name="connsiteX2163" fmla="*/ 1455420 w 2443162"/>
                <a:gd name="connsiteY2163" fmla="*/ 718185 h 2161222"/>
                <a:gd name="connsiteX2164" fmla="*/ 1465898 w 2443162"/>
                <a:gd name="connsiteY2164" fmla="*/ 712470 h 2161222"/>
                <a:gd name="connsiteX2165" fmla="*/ 1476375 w 2443162"/>
                <a:gd name="connsiteY2165" fmla="*/ 705803 h 2161222"/>
                <a:gd name="connsiteX2166" fmla="*/ 1485900 w 2443162"/>
                <a:gd name="connsiteY2166" fmla="*/ 699135 h 2161222"/>
                <a:gd name="connsiteX2167" fmla="*/ 1494473 w 2443162"/>
                <a:gd name="connsiteY2167" fmla="*/ 692468 h 2161222"/>
                <a:gd name="connsiteX2168" fmla="*/ 1503045 w 2443162"/>
                <a:gd name="connsiteY2168" fmla="*/ 685800 h 2161222"/>
                <a:gd name="connsiteX2169" fmla="*/ 1510665 w 2443162"/>
                <a:gd name="connsiteY2169" fmla="*/ 679133 h 2161222"/>
                <a:gd name="connsiteX2170" fmla="*/ 1517333 w 2443162"/>
                <a:gd name="connsiteY2170" fmla="*/ 671513 h 2161222"/>
                <a:gd name="connsiteX2171" fmla="*/ 1523048 w 2443162"/>
                <a:gd name="connsiteY2171" fmla="*/ 663893 h 2161222"/>
                <a:gd name="connsiteX2172" fmla="*/ 1528763 w 2443162"/>
                <a:gd name="connsiteY2172" fmla="*/ 656273 h 2161222"/>
                <a:gd name="connsiteX2173" fmla="*/ 1533525 w 2443162"/>
                <a:gd name="connsiteY2173" fmla="*/ 661035 h 2161222"/>
                <a:gd name="connsiteX2174" fmla="*/ 1539240 w 2443162"/>
                <a:gd name="connsiteY2174" fmla="*/ 665798 h 2161222"/>
                <a:gd name="connsiteX2175" fmla="*/ 1544003 w 2443162"/>
                <a:gd name="connsiteY2175" fmla="*/ 670560 h 2161222"/>
                <a:gd name="connsiteX2176" fmla="*/ 1548765 w 2443162"/>
                <a:gd name="connsiteY2176" fmla="*/ 675323 h 2161222"/>
                <a:gd name="connsiteX2177" fmla="*/ 1547813 w 2443162"/>
                <a:gd name="connsiteY2177" fmla="*/ 676275 h 2161222"/>
                <a:gd name="connsiteX2178" fmla="*/ 1548765 w 2443162"/>
                <a:gd name="connsiteY2178" fmla="*/ 676275 h 2161222"/>
                <a:gd name="connsiteX2179" fmla="*/ 1549718 w 2443162"/>
                <a:gd name="connsiteY2179" fmla="*/ 676275 h 2161222"/>
                <a:gd name="connsiteX2180" fmla="*/ 1554480 w 2443162"/>
                <a:gd name="connsiteY2180" fmla="*/ 681038 h 2161222"/>
                <a:gd name="connsiteX2181" fmla="*/ 1457325 w 2443162"/>
                <a:gd name="connsiteY2181" fmla="*/ 769620 h 2161222"/>
                <a:gd name="connsiteX2182" fmla="*/ 1450658 w 2443162"/>
                <a:gd name="connsiteY2182" fmla="*/ 763905 h 2161222"/>
                <a:gd name="connsiteX2183" fmla="*/ 1443990 w 2443162"/>
                <a:gd name="connsiteY2183" fmla="*/ 758190 h 2161222"/>
                <a:gd name="connsiteX2184" fmla="*/ 1437323 w 2443162"/>
                <a:gd name="connsiteY2184" fmla="*/ 752475 h 2161222"/>
                <a:gd name="connsiteX2185" fmla="*/ 1430655 w 2443162"/>
                <a:gd name="connsiteY2185" fmla="*/ 747713 h 2161222"/>
                <a:gd name="connsiteX2186" fmla="*/ 1400175 w 2443162"/>
                <a:gd name="connsiteY2186" fmla="*/ 757238 h 2161222"/>
                <a:gd name="connsiteX2187" fmla="*/ 1410653 w 2443162"/>
                <a:gd name="connsiteY2187" fmla="*/ 763905 h 2161222"/>
                <a:gd name="connsiteX2188" fmla="*/ 1420178 w 2443162"/>
                <a:gd name="connsiteY2188" fmla="*/ 771525 h 2161222"/>
                <a:gd name="connsiteX2189" fmla="*/ 1429703 w 2443162"/>
                <a:gd name="connsiteY2189" fmla="*/ 779145 h 2161222"/>
                <a:gd name="connsiteX2190" fmla="*/ 1439228 w 2443162"/>
                <a:gd name="connsiteY2190" fmla="*/ 787718 h 2161222"/>
                <a:gd name="connsiteX2191" fmla="*/ 1401128 w 2443162"/>
                <a:gd name="connsiteY2191" fmla="*/ 826770 h 2161222"/>
                <a:gd name="connsiteX2192" fmla="*/ 1399223 w 2443162"/>
                <a:gd name="connsiteY2192" fmla="*/ 824865 h 2161222"/>
                <a:gd name="connsiteX2193" fmla="*/ 1357313 w 2443162"/>
                <a:gd name="connsiteY2193" fmla="*/ 831533 h 2161222"/>
                <a:gd name="connsiteX2194" fmla="*/ 1349693 w 2443162"/>
                <a:gd name="connsiteY2194" fmla="*/ 842010 h 2161222"/>
                <a:gd name="connsiteX2195" fmla="*/ 1340168 w 2443162"/>
                <a:gd name="connsiteY2195" fmla="*/ 842010 h 2161222"/>
                <a:gd name="connsiteX2196" fmla="*/ 1362075 w 2443162"/>
                <a:gd name="connsiteY2196" fmla="*/ 819150 h 2161222"/>
                <a:gd name="connsiteX2197" fmla="*/ 1355408 w 2443162"/>
                <a:gd name="connsiteY2197" fmla="*/ 816293 h 2161222"/>
                <a:gd name="connsiteX2198" fmla="*/ 1332548 w 2443162"/>
                <a:gd name="connsiteY2198" fmla="*/ 845820 h 2161222"/>
                <a:gd name="connsiteX2199" fmla="*/ 1337310 w 2443162"/>
                <a:gd name="connsiteY2199" fmla="*/ 845820 h 2161222"/>
                <a:gd name="connsiteX2200" fmla="*/ 1337310 w 2443162"/>
                <a:gd name="connsiteY2200" fmla="*/ 856298 h 2161222"/>
                <a:gd name="connsiteX2201" fmla="*/ 1343978 w 2443162"/>
                <a:gd name="connsiteY2201" fmla="*/ 860108 h 2161222"/>
                <a:gd name="connsiteX2202" fmla="*/ 1347788 w 2443162"/>
                <a:gd name="connsiteY2202" fmla="*/ 870585 h 2161222"/>
                <a:gd name="connsiteX2203" fmla="*/ 1335405 w 2443162"/>
                <a:gd name="connsiteY2203" fmla="*/ 870585 h 2161222"/>
                <a:gd name="connsiteX2204" fmla="*/ 1321118 w 2443162"/>
                <a:gd name="connsiteY2204" fmla="*/ 870585 h 2161222"/>
                <a:gd name="connsiteX2205" fmla="*/ 1285875 w 2443162"/>
                <a:gd name="connsiteY2205" fmla="*/ 853440 h 2161222"/>
                <a:gd name="connsiteX2206" fmla="*/ 1282065 w 2443162"/>
                <a:gd name="connsiteY2206" fmla="*/ 998220 h 2161222"/>
                <a:gd name="connsiteX2207" fmla="*/ 1313498 w 2443162"/>
                <a:gd name="connsiteY2207" fmla="*/ 1008698 h 2161222"/>
                <a:gd name="connsiteX2208" fmla="*/ 1344930 w 2443162"/>
                <a:gd name="connsiteY2208" fmla="*/ 1022985 h 2161222"/>
                <a:gd name="connsiteX2209" fmla="*/ 1373505 w 2443162"/>
                <a:gd name="connsiteY2209" fmla="*/ 1037273 h 2161222"/>
                <a:gd name="connsiteX2210" fmla="*/ 1398270 w 2443162"/>
                <a:gd name="connsiteY2210" fmla="*/ 1058228 h 2161222"/>
                <a:gd name="connsiteX2211" fmla="*/ 1423035 w 2443162"/>
                <a:gd name="connsiteY2211" fmla="*/ 1079183 h 2161222"/>
                <a:gd name="connsiteX2212" fmla="*/ 1440180 w 2443162"/>
                <a:gd name="connsiteY2212" fmla="*/ 1106805 h 2161222"/>
                <a:gd name="connsiteX2213" fmla="*/ 1450658 w 2443162"/>
                <a:gd name="connsiteY2213" fmla="*/ 1138238 h 2161222"/>
                <a:gd name="connsiteX2214" fmla="*/ 1454468 w 2443162"/>
                <a:gd name="connsiteY2214" fmla="*/ 1156335 h 2161222"/>
                <a:gd name="connsiteX2215" fmla="*/ 1454468 w 2443162"/>
                <a:gd name="connsiteY2215" fmla="*/ 1173480 h 2161222"/>
                <a:gd name="connsiteX2216" fmla="*/ 1450658 w 2443162"/>
                <a:gd name="connsiteY2216" fmla="*/ 1208723 h 2161222"/>
                <a:gd name="connsiteX2217" fmla="*/ 1440180 w 2443162"/>
                <a:gd name="connsiteY2217" fmla="*/ 1237298 h 2161222"/>
                <a:gd name="connsiteX2218" fmla="*/ 1419225 w 2443162"/>
                <a:gd name="connsiteY2218" fmla="*/ 1265873 h 2161222"/>
                <a:gd name="connsiteX2219" fmla="*/ 1394460 w 2443162"/>
                <a:gd name="connsiteY2219" fmla="*/ 1286828 h 2161222"/>
                <a:gd name="connsiteX2220" fmla="*/ 1390650 w 2443162"/>
                <a:gd name="connsiteY2220" fmla="*/ 1290638 h 2161222"/>
                <a:gd name="connsiteX2221" fmla="*/ 1378268 w 2443162"/>
                <a:gd name="connsiteY2221" fmla="*/ 1298258 h 2161222"/>
                <a:gd name="connsiteX2222" fmla="*/ 1369695 w 2443162"/>
                <a:gd name="connsiteY2222" fmla="*/ 1303020 h 2161222"/>
                <a:gd name="connsiteX2223" fmla="*/ 1361123 w 2443162"/>
                <a:gd name="connsiteY2223" fmla="*/ 1307783 h 2161222"/>
                <a:gd name="connsiteX2224" fmla="*/ 1352550 w 2443162"/>
                <a:gd name="connsiteY2224" fmla="*/ 1311593 h 2161222"/>
                <a:gd name="connsiteX2225" fmla="*/ 1343025 w 2443162"/>
                <a:gd name="connsiteY2225" fmla="*/ 1315403 h 2161222"/>
                <a:gd name="connsiteX2226" fmla="*/ 1334453 w 2443162"/>
                <a:gd name="connsiteY2226" fmla="*/ 1319213 h 2161222"/>
                <a:gd name="connsiteX2227" fmla="*/ 1286828 w 2443162"/>
                <a:gd name="connsiteY2227" fmla="*/ 1333500 h 2161222"/>
                <a:gd name="connsiteX2228" fmla="*/ 1282065 w 2443162"/>
                <a:gd name="connsiteY2228" fmla="*/ 1334453 h 2161222"/>
                <a:gd name="connsiteX2229" fmla="*/ 1276350 w 2443162"/>
                <a:gd name="connsiteY2229" fmla="*/ 1335405 h 2161222"/>
                <a:gd name="connsiteX2230" fmla="*/ 1276350 w 2443162"/>
                <a:gd name="connsiteY2230" fmla="*/ 1337310 h 2161222"/>
                <a:gd name="connsiteX2231" fmla="*/ 1274445 w 2443162"/>
                <a:gd name="connsiteY2231" fmla="*/ 1337310 h 2161222"/>
                <a:gd name="connsiteX2232" fmla="*/ 1270635 w 2443162"/>
                <a:gd name="connsiteY2232" fmla="*/ 1414463 h 2161222"/>
                <a:gd name="connsiteX2233" fmla="*/ 1295400 w 2443162"/>
                <a:gd name="connsiteY2233" fmla="*/ 1424940 h 2161222"/>
                <a:gd name="connsiteX2234" fmla="*/ 1320165 w 2443162"/>
                <a:gd name="connsiteY2234" fmla="*/ 1439228 h 2161222"/>
                <a:gd name="connsiteX2235" fmla="*/ 1341120 w 2443162"/>
                <a:gd name="connsiteY2235" fmla="*/ 1457325 h 2161222"/>
                <a:gd name="connsiteX2236" fmla="*/ 1362075 w 2443162"/>
                <a:gd name="connsiteY2236" fmla="*/ 1478280 h 2161222"/>
                <a:gd name="connsiteX2237" fmla="*/ 1367790 w 2443162"/>
                <a:gd name="connsiteY2237" fmla="*/ 1487805 h 2161222"/>
                <a:gd name="connsiteX2238" fmla="*/ 1379220 w 2443162"/>
                <a:gd name="connsiteY2238" fmla="*/ 1509713 h 2161222"/>
                <a:gd name="connsiteX2239" fmla="*/ 1389698 w 2443162"/>
                <a:gd name="connsiteY2239" fmla="*/ 1534478 h 2161222"/>
                <a:gd name="connsiteX2240" fmla="*/ 1396365 w 2443162"/>
                <a:gd name="connsiteY2240" fmla="*/ 1569720 h 2161222"/>
                <a:gd name="connsiteX2241" fmla="*/ 1396365 w 2443162"/>
                <a:gd name="connsiteY2241" fmla="*/ 1612583 h 2161222"/>
                <a:gd name="connsiteX2242" fmla="*/ 1396365 w 2443162"/>
                <a:gd name="connsiteY2242" fmla="*/ 1633538 h 2161222"/>
                <a:gd name="connsiteX2243" fmla="*/ 1389698 w 2443162"/>
                <a:gd name="connsiteY2243" fmla="*/ 1644015 h 2161222"/>
                <a:gd name="connsiteX2244" fmla="*/ 1382078 w 2443162"/>
                <a:gd name="connsiteY2244" fmla="*/ 1650683 h 2161222"/>
                <a:gd name="connsiteX2245" fmla="*/ 1382078 w 2443162"/>
                <a:gd name="connsiteY2245" fmla="*/ 1650683 h 2161222"/>
                <a:gd name="connsiteX2246" fmla="*/ 1383030 w 2443162"/>
                <a:gd name="connsiteY2246" fmla="*/ 1651635 h 2161222"/>
                <a:gd name="connsiteX2247" fmla="*/ 1367790 w 2443162"/>
                <a:gd name="connsiteY2247" fmla="*/ 1655445 h 2161222"/>
                <a:gd name="connsiteX2248" fmla="*/ 1353503 w 2443162"/>
                <a:gd name="connsiteY2248" fmla="*/ 1659255 h 2161222"/>
                <a:gd name="connsiteX2249" fmla="*/ 1338263 w 2443162"/>
                <a:gd name="connsiteY2249" fmla="*/ 1662113 h 2161222"/>
                <a:gd name="connsiteX2250" fmla="*/ 1323023 w 2443162"/>
                <a:gd name="connsiteY2250" fmla="*/ 1664970 h 2161222"/>
                <a:gd name="connsiteX2251" fmla="*/ 1307783 w 2443162"/>
                <a:gd name="connsiteY2251" fmla="*/ 1666875 h 2161222"/>
                <a:gd name="connsiteX2252" fmla="*/ 1292543 w 2443162"/>
                <a:gd name="connsiteY2252" fmla="*/ 1668780 h 2161222"/>
                <a:gd name="connsiteX2253" fmla="*/ 1277303 w 2443162"/>
                <a:gd name="connsiteY2253" fmla="*/ 1669733 h 2161222"/>
                <a:gd name="connsiteX2254" fmla="*/ 1262063 w 2443162"/>
                <a:gd name="connsiteY2254" fmla="*/ 1670685 h 2161222"/>
                <a:gd name="connsiteX2255" fmla="*/ 1261110 w 2443162"/>
                <a:gd name="connsiteY2255" fmla="*/ 1700213 h 2161222"/>
                <a:gd name="connsiteX2256" fmla="*/ 1276350 w 2443162"/>
                <a:gd name="connsiteY2256" fmla="*/ 1699260 h 2161222"/>
                <a:gd name="connsiteX2257" fmla="*/ 1291590 w 2443162"/>
                <a:gd name="connsiteY2257" fmla="*/ 1697355 h 2161222"/>
                <a:gd name="connsiteX2258" fmla="*/ 1306830 w 2443162"/>
                <a:gd name="connsiteY2258" fmla="*/ 1695450 h 2161222"/>
                <a:gd name="connsiteX2259" fmla="*/ 1322070 w 2443162"/>
                <a:gd name="connsiteY2259" fmla="*/ 1693545 h 2161222"/>
                <a:gd name="connsiteX2260" fmla="*/ 1337310 w 2443162"/>
                <a:gd name="connsiteY2260" fmla="*/ 1691640 h 2161222"/>
                <a:gd name="connsiteX2261" fmla="*/ 1352550 w 2443162"/>
                <a:gd name="connsiteY2261" fmla="*/ 1688783 h 2161222"/>
                <a:gd name="connsiteX2262" fmla="*/ 1367790 w 2443162"/>
                <a:gd name="connsiteY2262" fmla="*/ 1685925 h 2161222"/>
                <a:gd name="connsiteX2263" fmla="*/ 1383030 w 2443162"/>
                <a:gd name="connsiteY2263" fmla="*/ 1682115 h 2161222"/>
                <a:gd name="connsiteX2264" fmla="*/ 1397318 w 2443162"/>
                <a:gd name="connsiteY2264" fmla="*/ 1678305 h 2161222"/>
                <a:gd name="connsiteX2265" fmla="*/ 1412558 w 2443162"/>
                <a:gd name="connsiteY2265" fmla="*/ 1674495 h 2161222"/>
                <a:gd name="connsiteX2266" fmla="*/ 1426845 w 2443162"/>
                <a:gd name="connsiteY2266" fmla="*/ 1669733 h 2161222"/>
                <a:gd name="connsiteX2267" fmla="*/ 1441133 w 2443162"/>
                <a:gd name="connsiteY2267" fmla="*/ 1664970 h 2161222"/>
                <a:gd name="connsiteX2268" fmla="*/ 1455420 w 2443162"/>
                <a:gd name="connsiteY2268" fmla="*/ 1659255 h 2161222"/>
                <a:gd name="connsiteX2269" fmla="*/ 1469708 w 2443162"/>
                <a:gd name="connsiteY2269" fmla="*/ 1654493 h 2161222"/>
                <a:gd name="connsiteX2270" fmla="*/ 1483995 w 2443162"/>
                <a:gd name="connsiteY2270" fmla="*/ 1648778 h 2161222"/>
                <a:gd name="connsiteX2271" fmla="*/ 1497330 w 2443162"/>
                <a:gd name="connsiteY2271" fmla="*/ 1643063 h 2161222"/>
                <a:gd name="connsiteX2272" fmla="*/ 1510665 w 2443162"/>
                <a:gd name="connsiteY2272" fmla="*/ 1637348 h 2161222"/>
                <a:gd name="connsiteX2273" fmla="*/ 1524000 w 2443162"/>
                <a:gd name="connsiteY2273" fmla="*/ 1630680 h 2161222"/>
                <a:gd name="connsiteX2274" fmla="*/ 1537335 w 2443162"/>
                <a:gd name="connsiteY2274" fmla="*/ 1624013 h 2161222"/>
                <a:gd name="connsiteX2275" fmla="*/ 1550670 w 2443162"/>
                <a:gd name="connsiteY2275" fmla="*/ 1616393 h 2161222"/>
                <a:gd name="connsiteX2276" fmla="*/ 1564005 w 2443162"/>
                <a:gd name="connsiteY2276" fmla="*/ 1609725 h 2161222"/>
                <a:gd name="connsiteX2277" fmla="*/ 1576388 w 2443162"/>
                <a:gd name="connsiteY2277" fmla="*/ 1602105 h 2161222"/>
                <a:gd name="connsiteX2278" fmla="*/ 1588770 w 2443162"/>
                <a:gd name="connsiteY2278" fmla="*/ 1594485 h 2161222"/>
                <a:gd name="connsiteX2279" fmla="*/ 1601153 w 2443162"/>
                <a:gd name="connsiteY2279" fmla="*/ 1585913 h 2161222"/>
                <a:gd name="connsiteX2280" fmla="*/ 1612583 w 2443162"/>
                <a:gd name="connsiteY2280" fmla="*/ 1577340 h 2161222"/>
                <a:gd name="connsiteX2281" fmla="*/ 1624965 w 2443162"/>
                <a:gd name="connsiteY2281" fmla="*/ 1568768 h 2161222"/>
                <a:gd name="connsiteX2282" fmla="*/ 1636395 w 2443162"/>
                <a:gd name="connsiteY2282" fmla="*/ 1560195 h 2161222"/>
                <a:gd name="connsiteX2283" fmla="*/ 1647825 w 2443162"/>
                <a:gd name="connsiteY2283" fmla="*/ 1550670 h 2161222"/>
                <a:gd name="connsiteX2284" fmla="*/ 1659255 w 2443162"/>
                <a:gd name="connsiteY2284" fmla="*/ 1541145 h 2161222"/>
                <a:gd name="connsiteX2285" fmla="*/ 1670685 w 2443162"/>
                <a:gd name="connsiteY2285" fmla="*/ 1531620 h 2161222"/>
                <a:gd name="connsiteX2286" fmla="*/ 1681163 w 2443162"/>
                <a:gd name="connsiteY2286" fmla="*/ 1522095 h 2161222"/>
                <a:gd name="connsiteX2287" fmla="*/ 1691640 w 2443162"/>
                <a:gd name="connsiteY2287" fmla="*/ 1511618 h 2161222"/>
                <a:gd name="connsiteX2288" fmla="*/ 1788795 w 2443162"/>
                <a:gd name="connsiteY2288" fmla="*/ 1608773 h 2161222"/>
                <a:gd name="connsiteX2289" fmla="*/ 1774508 w 2443162"/>
                <a:gd name="connsiteY2289" fmla="*/ 1622108 h 2161222"/>
                <a:gd name="connsiteX2290" fmla="*/ 1760220 w 2443162"/>
                <a:gd name="connsiteY2290" fmla="*/ 1635443 h 2161222"/>
                <a:gd name="connsiteX2291" fmla="*/ 1745933 w 2443162"/>
                <a:gd name="connsiteY2291" fmla="*/ 1647825 h 2161222"/>
                <a:gd name="connsiteX2292" fmla="*/ 1730693 w 2443162"/>
                <a:gd name="connsiteY2292" fmla="*/ 1660208 h 2161222"/>
                <a:gd name="connsiteX2293" fmla="*/ 1715453 w 2443162"/>
                <a:gd name="connsiteY2293" fmla="*/ 1671638 h 2161222"/>
                <a:gd name="connsiteX2294" fmla="*/ 1700213 w 2443162"/>
                <a:gd name="connsiteY2294" fmla="*/ 1683068 h 2161222"/>
                <a:gd name="connsiteX2295" fmla="*/ 1684973 w 2443162"/>
                <a:gd name="connsiteY2295" fmla="*/ 1694498 h 2161222"/>
                <a:gd name="connsiteX2296" fmla="*/ 1669733 w 2443162"/>
                <a:gd name="connsiteY2296" fmla="*/ 1704975 h 2161222"/>
                <a:gd name="connsiteX2297" fmla="*/ 1653540 w 2443162"/>
                <a:gd name="connsiteY2297" fmla="*/ 1715453 h 2161222"/>
                <a:gd name="connsiteX2298" fmla="*/ 1637348 w 2443162"/>
                <a:gd name="connsiteY2298" fmla="*/ 1724978 h 2161222"/>
                <a:gd name="connsiteX2299" fmla="*/ 1621155 w 2443162"/>
                <a:gd name="connsiteY2299" fmla="*/ 1734503 h 2161222"/>
                <a:gd name="connsiteX2300" fmla="*/ 1604010 w 2443162"/>
                <a:gd name="connsiteY2300" fmla="*/ 1744028 h 2161222"/>
                <a:gd name="connsiteX2301" fmla="*/ 1586865 w 2443162"/>
                <a:gd name="connsiteY2301" fmla="*/ 1752600 h 2161222"/>
                <a:gd name="connsiteX2302" fmla="*/ 1569720 w 2443162"/>
                <a:gd name="connsiteY2302" fmla="*/ 1761173 h 2161222"/>
                <a:gd name="connsiteX2303" fmla="*/ 1552575 w 2443162"/>
                <a:gd name="connsiteY2303" fmla="*/ 1769745 h 2161222"/>
                <a:gd name="connsiteX2304" fmla="*/ 1534478 w 2443162"/>
                <a:gd name="connsiteY2304" fmla="*/ 1777365 h 2161222"/>
                <a:gd name="connsiteX2305" fmla="*/ 1516380 w 2443162"/>
                <a:gd name="connsiteY2305" fmla="*/ 1784985 h 2161222"/>
                <a:gd name="connsiteX2306" fmla="*/ 1498283 w 2443162"/>
                <a:gd name="connsiteY2306" fmla="*/ 1791653 h 2161222"/>
                <a:gd name="connsiteX2307" fmla="*/ 1479233 w 2443162"/>
                <a:gd name="connsiteY2307" fmla="*/ 1798320 h 2161222"/>
                <a:gd name="connsiteX2308" fmla="*/ 1460183 w 2443162"/>
                <a:gd name="connsiteY2308" fmla="*/ 1804035 h 2161222"/>
                <a:gd name="connsiteX2309" fmla="*/ 1441133 w 2443162"/>
                <a:gd name="connsiteY2309" fmla="*/ 1808798 h 2161222"/>
                <a:gd name="connsiteX2310" fmla="*/ 1422083 w 2443162"/>
                <a:gd name="connsiteY2310" fmla="*/ 1813560 h 2161222"/>
                <a:gd name="connsiteX2311" fmla="*/ 1403033 w 2443162"/>
                <a:gd name="connsiteY2311" fmla="*/ 1818323 h 2161222"/>
                <a:gd name="connsiteX2312" fmla="*/ 1383030 w 2443162"/>
                <a:gd name="connsiteY2312" fmla="*/ 1822133 h 2161222"/>
                <a:gd name="connsiteX2313" fmla="*/ 1363028 w 2443162"/>
                <a:gd name="connsiteY2313" fmla="*/ 1825943 h 2161222"/>
                <a:gd name="connsiteX2314" fmla="*/ 1343025 w 2443162"/>
                <a:gd name="connsiteY2314" fmla="*/ 1828800 h 2161222"/>
                <a:gd name="connsiteX2315" fmla="*/ 1323023 w 2443162"/>
                <a:gd name="connsiteY2315" fmla="*/ 1831658 h 2161222"/>
                <a:gd name="connsiteX2316" fmla="*/ 1303020 w 2443162"/>
                <a:gd name="connsiteY2316" fmla="*/ 1833563 h 2161222"/>
                <a:gd name="connsiteX2317" fmla="*/ 1283018 w 2443162"/>
                <a:gd name="connsiteY2317" fmla="*/ 1835468 h 2161222"/>
                <a:gd name="connsiteX2318" fmla="*/ 1262063 w 2443162"/>
                <a:gd name="connsiteY2318" fmla="*/ 1836420 h 2161222"/>
                <a:gd name="connsiteX2319" fmla="*/ 1242060 w 2443162"/>
                <a:gd name="connsiteY2319" fmla="*/ 1837373 h 2161222"/>
                <a:gd name="connsiteX2320" fmla="*/ 1221105 w 2443162"/>
                <a:gd name="connsiteY2320" fmla="*/ 1837373 h 2161222"/>
                <a:gd name="connsiteX2321" fmla="*/ 1201103 w 2443162"/>
                <a:gd name="connsiteY2321" fmla="*/ 1837373 h 2161222"/>
                <a:gd name="connsiteX2322" fmla="*/ 1181100 w 2443162"/>
                <a:gd name="connsiteY2322" fmla="*/ 1836420 h 2161222"/>
                <a:gd name="connsiteX2323" fmla="*/ 1161098 w 2443162"/>
                <a:gd name="connsiteY2323" fmla="*/ 1835468 h 2161222"/>
                <a:gd name="connsiteX2324" fmla="*/ 1141095 w 2443162"/>
                <a:gd name="connsiteY2324" fmla="*/ 1833563 h 2161222"/>
                <a:gd name="connsiteX2325" fmla="*/ 1121093 w 2443162"/>
                <a:gd name="connsiteY2325" fmla="*/ 1831658 h 2161222"/>
                <a:gd name="connsiteX2326" fmla="*/ 1101090 w 2443162"/>
                <a:gd name="connsiteY2326" fmla="*/ 1828800 h 2161222"/>
                <a:gd name="connsiteX2327" fmla="*/ 1081088 w 2443162"/>
                <a:gd name="connsiteY2327" fmla="*/ 1825943 h 2161222"/>
                <a:gd name="connsiteX2328" fmla="*/ 1062038 w 2443162"/>
                <a:gd name="connsiteY2328" fmla="*/ 1822133 h 2161222"/>
                <a:gd name="connsiteX2329" fmla="*/ 1042035 w 2443162"/>
                <a:gd name="connsiteY2329" fmla="*/ 1817370 h 2161222"/>
                <a:gd name="connsiteX2330" fmla="*/ 1022985 w 2443162"/>
                <a:gd name="connsiteY2330" fmla="*/ 1812608 h 2161222"/>
                <a:gd name="connsiteX2331" fmla="*/ 1003935 w 2443162"/>
                <a:gd name="connsiteY2331" fmla="*/ 1807845 h 2161222"/>
                <a:gd name="connsiteX2332" fmla="*/ 984885 w 2443162"/>
                <a:gd name="connsiteY2332" fmla="*/ 1802130 h 2161222"/>
                <a:gd name="connsiteX2333" fmla="*/ 966788 w 2443162"/>
                <a:gd name="connsiteY2333" fmla="*/ 1796415 h 2161222"/>
                <a:gd name="connsiteX2334" fmla="*/ 947738 w 2443162"/>
                <a:gd name="connsiteY2334" fmla="*/ 1789748 h 2161222"/>
                <a:gd name="connsiteX2335" fmla="*/ 929640 w 2443162"/>
                <a:gd name="connsiteY2335" fmla="*/ 1783080 h 2161222"/>
                <a:gd name="connsiteX2336" fmla="*/ 911543 w 2443162"/>
                <a:gd name="connsiteY2336" fmla="*/ 1775460 h 2161222"/>
                <a:gd name="connsiteX2337" fmla="*/ 893445 w 2443162"/>
                <a:gd name="connsiteY2337" fmla="*/ 1767840 h 2161222"/>
                <a:gd name="connsiteX2338" fmla="*/ 876300 w 2443162"/>
                <a:gd name="connsiteY2338" fmla="*/ 1760220 h 2161222"/>
                <a:gd name="connsiteX2339" fmla="*/ 859155 w 2443162"/>
                <a:gd name="connsiteY2339" fmla="*/ 1751648 h 2161222"/>
                <a:gd name="connsiteX2340" fmla="*/ 842010 w 2443162"/>
                <a:gd name="connsiteY2340" fmla="*/ 1743075 h 2161222"/>
                <a:gd name="connsiteX2341" fmla="*/ 824865 w 2443162"/>
                <a:gd name="connsiteY2341" fmla="*/ 1733550 h 2161222"/>
                <a:gd name="connsiteX2342" fmla="*/ 808673 w 2443162"/>
                <a:gd name="connsiteY2342" fmla="*/ 1724025 h 2161222"/>
                <a:gd name="connsiteX2343" fmla="*/ 792480 w 2443162"/>
                <a:gd name="connsiteY2343" fmla="*/ 1714500 h 2161222"/>
                <a:gd name="connsiteX2344" fmla="*/ 776288 w 2443162"/>
                <a:gd name="connsiteY2344" fmla="*/ 1704023 h 2161222"/>
                <a:gd name="connsiteX2345" fmla="*/ 760095 w 2443162"/>
                <a:gd name="connsiteY2345" fmla="*/ 1693545 h 2161222"/>
                <a:gd name="connsiteX2346" fmla="*/ 744855 w 2443162"/>
                <a:gd name="connsiteY2346" fmla="*/ 1683068 h 2161222"/>
                <a:gd name="connsiteX2347" fmla="*/ 729615 w 2443162"/>
                <a:gd name="connsiteY2347" fmla="*/ 1671638 h 2161222"/>
                <a:gd name="connsiteX2348" fmla="*/ 714375 w 2443162"/>
                <a:gd name="connsiteY2348" fmla="*/ 1660208 h 2161222"/>
                <a:gd name="connsiteX2349" fmla="*/ 699135 w 2443162"/>
                <a:gd name="connsiteY2349" fmla="*/ 1647825 h 2161222"/>
                <a:gd name="connsiteX2350" fmla="*/ 683895 w 2443162"/>
                <a:gd name="connsiteY2350" fmla="*/ 1635443 h 2161222"/>
                <a:gd name="connsiteX2351" fmla="*/ 669608 w 2443162"/>
                <a:gd name="connsiteY2351" fmla="*/ 1622108 h 2161222"/>
                <a:gd name="connsiteX2352" fmla="*/ 655320 w 2443162"/>
                <a:gd name="connsiteY2352" fmla="*/ 1608773 h 2161222"/>
                <a:gd name="connsiteX2353" fmla="*/ 753428 w 2443162"/>
                <a:gd name="connsiteY2353" fmla="*/ 1514475 h 2161222"/>
                <a:gd name="connsiteX2354" fmla="*/ 763905 w 2443162"/>
                <a:gd name="connsiteY2354" fmla="*/ 1524000 h 2161222"/>
                <a:gd name="connsiteX2355" fmla="*/ 774383 w 2443162"/>
                <a:gd name="connsiteY2355" fmla="*/ 1533525 h 2161222"/>
                <a:gd name="connsiteX2356" fmla="*/ 784860 w 2443162"/>
                <a:gd name="connsiteY2356" fmla="*/ 1543050 h 2161222"/>
                <a:gd name="connsiteX2357" fmla="*/ 795338 w 2443162"/>
                <a:gd name="connsiteY2357" fmla="*/ 1551623 h 2161222"/>
                <a:gd name="connsiteX2358" fmla="*/ 805815 w 2443162"/>
                <a:gd name="connsiteY2358" fmla="*/ 1560195 h 2161222"/>
                <a:gd name="connsiteX2359" fmla="*/ 817245 w 2443162"/>
                <a:gd name="connsiteY2359" fmla="*/ 1568768 h 2161222"/>
                <a:gd name="connsiteX2360" fmla="*/ 827723 w 2443162"/>
                <a:gd name="connsiteY2360" fmla="*/ 1577340 h 2161222"/>
                <a:gd name="connsiteX2361" fmla="*/ 839153 w 2443162"/>
                <a:gd name="connsiteY2361" fmla="*/ 1584960 h 2161222"/>
                <a:gd name="connsiteX2362" fmla="*/ 850583 w 2443162"/>
                <a:gd name="connsiteY2362" fmla="*/ 1592580 h 2161222"/>
                <a:gd name="connsiteX2363" fmla="*/ 862965 w 2443162"/>
                <a:gd name="connsiteY2363" fmla="*/ 1600200 h 2161222"/>
                <a:gd name="connsiteX2364" fmla="*/ 874395 w 2443162"/>
                <a:gd name="connsiteY2364" fmla="*/ 1607820 h 2161222"/>
                <a:gd name="connsiteX2365" fmla="*/ 886778 w 2443162"/>
                <a:gd name="connsiteY2365" fmla="*/ 1614488 h 2161222"/>
                <a:gd name="connsiteX2366" fmla="*/ 899160 w 2443162"/>
                <a:gd name="connsiteY2366" fmla="*/ 1621155 h 2161222"/>
                <a:gd name="connsiteX2367" fmla="*/ 911543 w 2443162"/>
                <a:gd name="connsiteY2367" fmla="*/ 1627823 h 2161222"/>
                <a:gd name="connsiteX2368" fmla="*/ 923925 w 2443162"/>
                <a:gd name="connsiteY2368" fmla="*/ 1633538 h 2161222"/>
                <a:gd name="connsiteX2369" fmla="*/ 936308 w 2443162"/>
                <a:gd name="connsiteY2369" fmla="*/ 1639253 h 2161222"/>
                <a:gd name="connsiteX2370" fmla="*/ 949643 w 2443162"/>
                <a:gd name="connsiteY2370" fmla="*/ 1644968 h 2161222"/>
                <a:gd name="connsiteX2371" fmla="*/ 962978 w 2443162"/>
                <a:gd name="connsiteY2371" fmla="*/ 1650683 h 2161222"/>
                <a:gd name="connsiteX2372" fmla="*/ 976313 w 2443162"/>
                <a:gd name="connsiteY2372" fmla="*/ 1656398 h 2161222"/>
                <a:gd name="connsiteX2373" fmla="*/ 989648 w 2443162"/>
                <a:gd name="connsiteY2373" fmla="*/ 1661160 h 2161222"/>
                <a:gd name="connsiteX2374" fmla="*/ 1002983 w 2443162"/>
                <a:gd name="connsiteY2374" fmla="*/ 1665923 h 2161222"/>
                <a:gd name="connsiteX2375" fmla="*/ 1016318 w 2443162"/>
                <a:gd name="connsiteY2375" fmla="*/ 1670685 h 2161222"/>
                <a:gd name="connsiteX2376" fmla="*/ 1029653 w 2443162"/>
                <a:gd name="connsiteY2376" fmla="*/ 1675448 h 2161222"/>
                <a:gd name="connsiteX2377" fmla="*/ 1043940 w 2443162"/>
                <a:gd name="connsiteY2377" fmla="*/ 1679258 h 2161222"/>
                <a:gd name="connsiteX2378" fmla="*/ 1058228 w 2443162"/>
                <a:gd name="connsiteY2378" fmla="*/ 1683068 h 2161222"/>
                <a:gd name="connsiteX2379" fmla="*/ 1072515 w 2443162"/>
                <a:gd name="connsiteY2379" fmla="*/ 1685925 h 2161222"/>
                <a:gd name="connsiteX2380" fmla="*/ 1086803 w 2443162"/>
                <a:gd name="connsiteY2380" fmla="*/ 1688783 h 2161222"/>
                <a:gd name="connsiteX2381" fmla="*/ 1101090 w 2443162"/>
                <a:gd name="connsiteY2381" fmla="*/ 1691640 h 2161222"/>
                <a:gd name="connsiteX2382" fmla="*/ 1115378 w 2443162"/>
                <a:gd name="connsiteY2382" fmla="*/ 1694498 h 2161222"/>
                <a:gd name="connsiteX2383" fmla="*/ 1129665 w 2443162"/>
                <a:gd name="connsiteY2383" fmla="*/ 1696403 h 2161222"/>
                <a:gd name="connsiteX2384" fmla="*/ 1143953 w 2443162"/>
                <a:gd name="connsiteY2384" fmla="*/ 1698308 h 2161222"/>
                <a:gd name="connsiteX2385" fmla="*/ 1159193 w 2443162"/>
                <a:gd name="connsiteY2385" fmla="*/ 1700213 h 2161222"/>
                <a:gd name="connsiteX2386" fmla="*/ 1159193 w 2443162"/>
                <a:gd name="connsiteY2386" fmla="*/ 1670685 h 2161222"/>
                <a:gd name="connsiteX2387" fmla="*/ 1145858 w 2443162"/>
                <a:gd name="connsiteY2387" fmla="*/ 1669733 h 2161222"/>
                <a:gd name="connsiteX2388" fmla="*/ 1131570 w 2443162"/>
                <a:gd name="connsiteY2388" fmla="*/ 1667828 h 2161222"/>
                <a:gd name="connsiteX2389" fmla="*/ 1118235 w 2443162"/>
                <a:gd name="connsiteY2389" fmla="*/ 1665923 h 2161222"/>
                <a:gd name="connsiteX2390" fmla="*/ 1103948 w 2443162"/>
                <a:gd name="connsiteY2390" fmla="*/ 1663065 h 2161222"/>
                <a:gd name="connsiteX2391" fmla="*/ 1090613 w 2443162"/>
                <a:gd name="connsiteY2391" fmla="*/ 1660208 h 2161222"/>
                <a:gd name="connsiteX2392" fmla="*/ 1077278 w 2443162"/>
                <a:gd name="connsiteY2392" fmla="*/ 1657350 h 2161222"/>
                <a:gd name="connsiteX2393" fmla="*/ 1063943 w 2443162"/>
                <a:gd name="connsiteY2393" fmla="*/ 1654493 h 2161222"/>
                <a:gd name="connsiteX2394" fmla="*/ 1050608 w 2443162"/>
                <a:gd name="connsiteY2394" fmla="*/ 1650683 h 2161222"/>
                <a:gd name="connsiteX2395" fmla="*/ 1037273 w 2443162"/>
                <a:gd name="connsiteY2395" fmla="*/ 1646873 h 2161222"/>
                <a:gd name="connsiteX2396" fmla="*/ 1023938 w 2443162"/>
                <a:gd name="connsiteY2396" fmla="*/ 1643063 h 2161222"/>
                <a:gd name="connsiteX2397" fmla="*/ 1011555 w 2443162"/>
                <a:gd name="connsiteY2397" fmla="*/ 1638300 h 2161222"/>
                <a:gd name="connsiteX2398" fmla="*/ 999173 w 2443162"/>
                <a:gd name="connsiteY2398" fmla="*/ 1633538 h 2161222"/>
                <a:gd name="connsiteX2399" fmla="*/ 986790 w 2443162"/>
                <a:gd name="connsiteY2399" fmla="*/ 1628775 h 2161222"/>
                <a:gd name="connsiteX2400" fmla="*/ 974408 w 2443162"/>
                <a:gd name="connsiteY2400" fmla="*/ 1624013 h 2161222"/>
                <a:gd name="connsiteX2401" fmla="*/ 962025 w 2443162"/>
                <a:gd name="connsiteY2401" fmla="*/ 1618298 h 2161222"/>
                <a:gd name="connsiteX2402" fmla="*/ 949643 w 2443162"/>
                <a:gd name="connsiteY2402" fmla="*/ 1612583 h 2161222"/>
                <a:gd name="connsiteX2403" fmla="*/ 937260 w 2443162"/>
                <a:gd name="connsiteY2403" fmla="*/ 1606868 h 2161222"/>
                <a:gd name="connsiteX2404" fmla="*/ 925830 w 2443162"/>
                <a:gd name="connsiteY2404" fmla="*/ 1601153 h 2161222"/>
                <a:gd name="connsiteX2405" fmla="*/ 914400 w 2443162"/>
                <a:gd name="connsiteY2405" fmla="*/ 1595438 h 2161222"/>
                <a:gd name="connsiteX2406" fmla="*/ 902970 w 2443162"/>
                <a:gd name="connsiteY2406" fmla="*/ 1588770 h 2161222"/>
                <a:gd name="connsiteX2407" fmla="*/ 891540 w 2443162"/>
                <a:gd name="connsiteY2407" fmla="*/ 1582103 h 2161222"/>
                <a:gd name="connsiteX2408" fmla="*/ 880110 w 2443162"/>
                <a:gd name="connsiteY2408" fmla="*/ 1575435 h 2161222"/>
                <a:gd name="connsiteX2409" fmla="*/ 868680 w 2443162"/>
                <a:gd name="connsiteY2409" fmla="*/ 1568768 h 2161222"/>
                <a:gd name="connsiteX2410" fmla="*/ 858203 w 2443162"/>
                <a:gd name="connsiteY2410" fmla="*/ 1561148 h 2161222"/>
                <a:gd name="connsiteX2411" fmla="*/ 847725 w 2443162"/>
                <a:gd name="connsiteY2411" fmla="*/ 1553528 h 2161222"/>
                <a:gd name="connsiteX2412" fmla="*/ 837248 w 2443162"/>
                <a:gd name="connsiteY2412" fmla="*/ 1545908 h 2161222"/>
                <a:gd name="connsiteX2413" fmla="*/ 826770 w 2443162"/>
                <a:gd name="connsiteY2413" fmla="*/ 1537335 h 2161222"/>
                <a:gd name="connsiteX2414" fmla="*/ 816293 w 2443162"/>
                <a:gd name="connsiteY2414" fmla="*/ 1528763 h 2161222"/>
                <a:gd name="connsiteX2415" fmla="*/ 805815 w 2443162"/>
                <a:gd name="connsiteY2415" fmla="*/ 1520190 h 2161222"/>
                <a:gd name="connsiteX2416" fmla="*/ 795338 w 2443162"/>
                <a:gd name="connsiteY2416" fmla="*/ 1511618 h 2161222"/>
                <a:gd name="connsiteX2417" fmla="*/ 785813 w 2443162"/>
                <a:gd name="connsiteY2417" fmla="*/ 1503045 h 2161222"/>
                <a:gd name="connsiteX2418" fmla="*/ 776288 w 2443162"/>
                <a:gd name="connsiteY2418" fmla="*/ 1494473 h 2161222"/>
                <a:gd name="connsiteX2419" fmla="*/ 801053 w 2443162"/>
                <a:gd name="connsiteY2419" fmla="*/ 1469708 h 2161222"/>
                <a:gd name="connsiteX2420" fmla="*/ 802958 w 2443162"/>
                <a:gd name="connsiteY2420" fmla="*/ 1470660 h 2161222"/>
                <a:gd name="connsiteX2421" fmla="*/ 839153 w 2443162"/>
                <a:gd name="connsiteY2421" fmla="*/ 1473518 h 2161222"/>
                <a:gd name="connsiteX2422" fmla="*/ 857250 w 2443162"/>
                <a:gd name="connsiteY2422" fmla="*/ 1452563 h 2161222"/>
                <a:gd name="connsiteX2423" fmla="*/ 906780 w 2443162"/>
                <a:gd name="connsiteY2423" fmla="*/ 1456373 h 2161222"/>
                <a:gd name="connsiteX2424" fmla="*/ 914400 w 2443162"/>
                <a:gd name="connsiteY2424" fmla="*/ 1438275 h 2161222"/>
                <a:gd name="connsiteX2425" fmla="*/ 914400 w 2443162"/>
                <a:gd name="connsiteY2425" fmla="*/ 1431608 h 2161222"/>
                <a:gd name="connsiteX2426" fmla="*/ 916305 w 2443162"/>
                <a:gd name="connsiteY2426" fmla="*/ 1432560 h 2161222"/>
                <a:gd name="connsiteX2427" fmla="*/ 916305 w 2443162"/>
                <a:gd name="connsiteY2427" fmla="*/ 1431608 h 2161222"/>
                <a:gd name="connsiteX2428" fmla="*/ 916305 w 2443162"/>
                <a:gd name="connsiteY2428" fmla="*/ 1431608 h 2161222"/>
                <a:gd name="connsiteX2429" fmla="*/ 929640 w 2443162"/>
                <a:gd name="connsiteY2429" fmla="*/ 1441133 h 2161222"/>
                <a:gd name="connsiteX2430" fmla="*/ 942975 w 2443162"/>
                <a:gd name="connsiteY2430" fmla="*/ 1450658 h 2161222"/>
                <a:gd name="connsiteX2431" fmla="*/ 957263 w 2443162"/>
                <a:gd name="connsiteY2431" fmla="*/ 1459230 h 2161222"/>
                <a:gd name="connsiteX2432" fmla="*/ 971550 w 2443162"/>
                <a:gd name="connsiteY2432" fmla="*/ 1467803 h 2161222"/>
                <a:gd name="connsiteX2433" fmla="*/ 986790 w 2443162"/>
                <a:gd name="connsiteY2433" fmla="*/ 1475423 h 2161222"/>
                <a:gd name="connsiteX2434" fmla="*/ 1002030 w 2443162"/>
                <a:gd name="connsiteY2434" fmla="*/ 1483043 h 2161222"/>
                <a:gd name="connsiteX2435" fmla="*/ 1017270 w 2443162"/>
                <a:gd name="connsiteY2435" fmla="*/ 1489710 h 2161222"/>
                <a:gd name="connsiteX2436" fmla="*/ 1032510 w 2443162"/>
                <a:gd name="connsiteY2436" fmla="*/ 1496378 h 2161222"/>
                <a:gd name="connsiteX2437" fmla="*/ 1047750 w 2443162"/>
                <a:gd name="connsiteY2437" fmla="*/ 1502093 h 2161222"/>
                <a:gd name="connsiteX2438" fmla="*/ 1062990 w 2443162"/>
                <a:gd name="connsiteY2438" fmla="*/ 1507808 h 2161222"/>
                <a:gd name="connsiteX2439" fmla="*/ 1079183 w 2443162"/>
                <a:gd name="connsiteY2439" fmla="*/ 1512570 h 2161222"/>
                <a:gd name="connsiteX2440" fmla="*/ 1095375 w 2443162"/>
                <a:gd name="connsiteY2440" fmla="*/ 1517333 h 2161222"/>
                <a:gd name="connsiteX2441" fmla="*/ 1111568 w 2443162"/>
                <a:gd name="connsiteY2441" fmla="*/ 1522095 h 2161222"/>
                <a:gd name="connsiteX2442" fmla="*/ 1128713 w 2443162"/>
                <a:gd name="connsiteY2442" fmla="*/ 1525905 h 2161222"/>
                <a:gd name="connsiteX2443" fmla="*/ 1145858 w 2443162"/>
                <a:gd name="connsiteY2443" fmla="*/ 1528763 h 2161222"/>
                <a:gd name="connsiteX2444" fmla="*/ 1163003 w 2443162"/>
                <a:gd name="connsiteY2444" fmla="*/ 1531620 h 2161222"/>
                <a:gd name="connsiteX2445" fmla="*/ 1163003 w 2443162"/>
                <a:gd name="connsiteY2445" fmla="*/ 1501140 h 2161222"/>
                <a:gd name="connsiteX2446" fmla="*/ 1143953 w 2443162"/>
                <a:gd name="connsiteY2446" fmla="*/ 1498283 h 2161222"/>
                <a:gd name="connsiteX2447" fmla="*/ 1124903 w 2443162"/>
                <a:gd name="connsiteY2447" fmla="*/ 1494473 h 2161222"/>
                <a:gd name="connsiteX2448" fmla="*/ 1105853 w 2443162"/>
                <a:gd name="connsiteY2448" fmla="*/ 1489710 h 2161222"/>
                <a:gd name="connsiteX2449" fmla="*/ 1087755 w 2443162"/>
                <a:gd name="connsiteY2449" fmla="*/ 1484948 h 2161222"/>
                <a:gd name="connsiteX2450" fmla="*/ 1069658 w 2443162"/>
                <a:gd name="connsiteY2450" fmla="*/ 1479233 h 2161222"/>
                <a:gd name="connsiteX2451" fmla="*/ 1051560 w 2443162"/>
                <a:gd name="connsiteY2451" fmla="*/ 1472565 h 2161222"/>
                <a:gd name="connsiteX2452" fmla="*/ 1034415 w 2443162"/>
                <a:gd name="connsiteY2452" fmla="*/ 1465898 h 2161222"/>
                <a:gd name="connsiteX2453" fmla="*/ 1017270 w 2443162"/>
                <a:gd name="connsiteY2453" fmla="*/ 1458278 h 2161222"/>
                <a:gd name="connsiteX2454" fmla="*/ 1001078 w 2443162"/>
                <a:gd name="connsiteY2454" fmla="*/ 1449705 h 2161222"/>
                <a:gd name="connsiteX2455" fmla="*/ 984885 w 2443162"/>
                <a:gd name="connsiteY2455" fmla="*/ 1441133 h 2161222"/>
                <a:gd name="connsiteX2456" fmla="*/ 969645 w 2443162"/>
                <a:gd name="connsiteY2456" fmla="*/ 1431608 h 2161222"/>
                <a:gd name="connsiteX2457" fmla="*/ 954405 w 2443162"/>
                <a:gd name="connsiteY2457" fmla="*/ 1421130 h 2161222"/>
                <a:gd name="connsiteX2458" fmla="*/ 939165 w 2443162"/>
                <a:gd name="connsiteY2458" fmla="*/ 1410653 h 2161222"/>
                <a:gd name="connsiteX2459" fmla="*/ 924878 w 2443162"/>
                <a:gd name="connsiteY2459" fmla="*/ 1399223 h 2161222"/>
                <a:gd name="connsiteX2460" fmla="*/ 910590 w 2443162"/>
                <a:gd name="connsiteY2460" fmla="*/ 1387793 h 2161222"/>
                <a:gd name="connsiteX2461" fmla="*/ 897255 w 2443162"/>
                <a:gd name="connsiteY2461" fmla="*/ 1375410 h 2161222"/>
                <a:gd name="connsiteX2462" fmla="*/ 995363 w 2443162"/>
                <a:gd name="connsiteY2462" fmla="*/ 1277303 h 2161222"/>
                <a:gd name="connsiteX2463" fmla="*/ 1003935 w 2443162"/>
                <a:gd name="connsiteY2463" fmla="*/ 1284923 h 2161222"/>
                <a:gd name="connsiteX2464" fmla="*/ 1012508 w 2443162"/>
                <a:gd name="connsiteY2464" fmla="*/ 1292543 h 2161222"/>
                <a:gd name="connsiteX2465" fmla="*/ 1022033 w 2443162"/>
                <a:gd name="connsiteY2465" fmla="*/ 1299210 h 2161222"/>
                <a:gd name="connsiteX2466" fmla="*/ 1031558 w 2443162"/>
                <a:gd name="connsiteY2466" fmla="*/ 1305878 h 2161222"/>
                <a:gd name="connsiteX2467" fmla="*/ 1041083 w 2443162"/>
                <a:gd name="connsiteY2467" fmla="*/ 1312545 h 2161222"/>
                <a:gd name="connsiteX2468" fmla="*/ 1051560 w 2443162"/>
                <a:gd name="connsiteY2468" fmla="*/ 1318260 h 2161222"/>
                <a:gd name="connsiteX2469" fmla="*/ 1062038 w 2443162"/>
                <a:gd name="connsiteY2469" fmla="*/ 1323975 h 2161222"/>
                <a:gd name="connsiteX2470" fmla="*/ 1072515 w 2443162"/>
                <a:gd name="connsiteY2470" fmla="*/ 1329690 h 2161222"/>
                <a:gd name="connsiteX2471" fmla="*/ 1072515 w 2443162"/>
                <a:gd name="connsiteY2471" fmla="*/ 1327785 h 2161222"/>
                <a:gd name="connsiteX2472" fmla="*/ 1076325 w 2443162"/>
                <a:gd name="connsiteY2472" fmla="*/ 1313498 h 2161222"/>
                <a:gd name="connsiteX2473" fmla="*/ 1081088 w 2443162"/>
                <a:gd name="connsiteY2473" fmla="*/ 1303973 h 2161222"/>
                <a:gd name="connsiteX2474" fmla="*/ 1071563 w 2443162"/>
                <a:gd name="connsiteY2474" fmla="*/ 1299210 h 2161222"/>
                <a:gd name="connsiteX2475" fmla="*/ 1062038 w 2443162"/>
                <a:gd name="connsiteY2475" fmla="*/ 1294448 h 2161222"/>
                <a:gd name="connsiteX2476" fmla="*/ 1053465 w 2443162"/>
                <a:gd name="connsiteY2476" fmla="*/ 1289685 h 2161222"/>
                <a:gd name="connsiteX2477" fmla="*/ 1044893 w 2443162"/>
                <a:gd name="connsiteY2477" fmla="*/ 1283970 h 2161222"/>
                <a:gd name="connsiteX2478" fmla="*/ 1036320 w 2443162"/>
                <a:gd name="connsiteY2478" fmla="*/ 1278255 h 2161222"/>
                <a:gd name="connsiteX2479" fmla="*/ 1027748 w 2443162"/>
                <a:gd name="connsiteY2479" fmla="*/ 1271588 h 2161222"/>
                <a:gd name="connsiteX2480" fmla="*/ 1019175 w 2443162"/>
                <a:gd name="connsiteY2480" fmla="*/ 1264920 h 2161222"/>
                <a:gd name="connsiteX2481" fmla="*/ 1011555 w 2443162"/>
                <a:gd name="connsiteY2481" fmla="*/ 1258253 h 2161222"/>
                <a:gd name="connsiteX2482" fmla="*/ 1110615 w 2443162"/>
                <a:gd name="connsiteY2482" fmla="*/ 1159193 h 2161222"/>
                <a:gd name="connsiteX2483" fmla="*/ 1116330 w 2443162"/>
                <a:gd name="connsiteY2483" fmla="*/ 1163955 h 2161222"/>
                <a:gd name="connsiteX2484" fmla="*/ 1122045 w 2443162"/>
                <a:gd name="connsiteY2484" fmla="*/ 1168718 h 2161222"/>
                <a:gd name="connsiteX2485" fmla="*/ 1128713 w 2443162"/>
                <a:gd name="connsiteY2485" fmla="*/ 1172528 h 2161222"/>
                <a:gd name="connsiteX2486" fmla="*/ 1134428 w 2443162"/>
                <a:gd name="connsiteY2486" fmla="*/ 1176338 h 2161222"/>
                <a:gd name="connsiteX2487" fmla="*/ 1141095 w 2443162"/>
                <a:gd name="connsiteY2487" fmla="*/ 1180148 h 2161222"/>
                <a:gd name="connsiteX2488" fmla="*/ 1147763 w 2443162"/>
                <a:gd name="connsiteY2488" fmla="*/ 1183958 h 2161222"/>
                <a:gd name="connsiteX2489" fmla="*/ 1154430 w 2443162"/>
                <a:gd name="connsiteY2489" fmla="*/ 1186815 h 2161222"/>
                <a:gd name="connsiteX2490" fmla="*/ 1161098 w 2443162"/>
                <a:gd name="connsiteY2490" fmla="*/ 1189673 h 2161222"/>
                <a:gd name="connsiteX2491" fmla="*/ 1161098 w 2443162"/>
                <a:gd name="connsiteY2491" fmla="*/ 1161098 h 2161222"/>
                <a:gd name="connsiteX2492" fmla="*/ 1152525 w 2443162"/>
                <a:gd name="connsiteY2492" fmla="*/ 1157288 h 2161222"/>
                <a:gd name="connsiteX2493" fmla="*/ 1143953 w 2443162"/>
                <a:gd name="connsiteY2493" fmla="*/ 1152525 h 2161222"/>
                <a:gd name="connsiteX2494" fmla="*/ 1135380 w 2443162"/>
                <a:gd name="connsiteY2494" fmla="*/ 1147763 h 2161222"/>
                <a:gd name="connsiteX2495" fmla="*/ 1127760 w 2443162"/>
                <a:gd name="connsiteY2495" fmla="*/ 1142048 h 2161222"/>
                <a:gd name="connsiteX2496" fmla="*/ 1157288 w 2443162"/>
                <a:gd name="connsiteY2496" fmla="*/ 1112520 h 2161222"/>
                <a:gd name="connsiteX2497" fmla="*/ 1126808 w 2443162"/>
                <a:gd name="connsiteY2497" fmla="*/ 1102043 h 2161222"/>
                <a:gd name="connsiteX2498" fmla="*/ 1106805 w 2443162"/>
                <a:gd name="connsiteY2498" fmla="*/ 1122045 h 2161222"/>
                <a:gd name="connsiteX2499" fmla="*/ 1101090 w 2443162"/>
                <a:gd name="connsiteY2499" fmla="*/ 1114425 h 2161222"/>
                <a:gd name="connsiteX2500" fmla="*/ 1095375 w 2443162"/>
                <a:gd name="connsiteY2500" fmla="*/ 1105853 h 2161222"/>
                <a:gd name="connsiteX2501" fmla="*/ 1089660 w 2443162"/>
                <a:gd name="connsiteY2501" fmla="*/ 1097280 h 2161222"/>
                <a:gd name="connsiteX2502" fmla="*/ 1084898 w 2443162"/>
                <a:gd name="connsiteY2502" fmla="*/ 1087755 h 2161222"/>
                <a:gd name="connsiteX2503" fmla="*/ 1064895 w 2443162"/>
                <a:gd name="connsiteY2503" fmla="*/ 1081088 h 2161222"/>
                <a:gd name="connsiteX2504" fmla="*/ 1061085 w 2443162"/>
                <a:gd name="connsiteY2504" fmla="*/ 1079183 h 2161222"/>
                <a:gd name="connsiteX2505" fmla="*/ 1059180 w 2443162"/>
                <a:gd name="connsiteY2505" fmla="*/ 1078230 h 2161222"/>
                <a:gd name="connsiteX2506" fmla="*/ 1034415 w 2443162"/>
                <a:gd name="connsiteY2506" fmla="*/ 1063943 h 2161222"/>
                <a:gd name="connsiteX2507" fmla="*/ 1013460 w 2443162"/>
                <a:gd name="connsiteY2507" fmla="*/ 1049655 h 2161222"/>
                <a:gd name="connsiteX2508" fmla="*/ 995363 w 2443162"/>
                <a:gd name="connsiteY2508" fmla="*/ 1031558 h 2161222"/>
                <a:gd name="connsiteX2509" fmla="*/ 978218 w 2443162"/>
                <a:gd name="connsiteY2509" fmla="*/ 1014413 h 2161222"/>
                <a:gd name="connsiteX2510" fmla="*/ 967740 w 2443162"/>
                <a:gd name="connsiteY2510" fmla="*/ 993458 h 2161222"/>
                <a:gd name="connsiteX2511" fmla="*/ 957263 w 2443162"/>
                <a:gd name="connsiteY2511" fmla="*/ 972503 h 2161222"/>
                <a:gd name="connsiteX2512" fmla="*/ 950595 w 2443162"/>
                <a:gd name="connsiteY2512" fmla="*/ 947738 h 2161222"/>
                <a:gd name="connsiteX2513" fmla="*/ 942975 w 2443162"/>
                <a:gd name="connsiteY2513" fmla="*/ 922973 h 2161222"/>
                <a:gd name="connsiteX2514" fmla="*/ 942975 w 2443162"/>
                <a:gd name="connsiteY2514" fmla="*/ 894398 h 2161222"/>
                <a:gd name="connsiteX2515" fmla="*/ 945833 w 2443162"/>
                <a:gd name="connsiteY2515" fmla="*/ 862013 h 2161222"/>
                <a:gd name="connsiteX2516" fmla="*/ 951548 w 2443162"/>
                <a:gd name="connsiteY2516" fmla="*/ 832485 h 2161222"/>
                <a:gd name="connsiteX2517" fmla="*/ 953453 w 2443162"/>
                <a:gd name="connsiteY2517" fmla="*/ 824865 h 2161222"/>
                <a:gd name="connsiteX2518" fmla="*/ 969645 w 2443162"/>
                <a:gd name="connsiteY2518" fmla="*/ 788670 h 2161222"/>
                <a:gd name="connsiteX2519" fmla="*/ 975360 w 2443162"/>
                <a:gd name="connsiteY2519" fmla="*/ 778193 h 2161222"/>
                <a:gd name="connsiteX2520" fmla="*/ 973455 w 2443162"/>
                <a:gd name="connsiteY2520" fmla="*/ 780098 h 2161222"/>
                <a:gd name="connsiteX2521" fmla="*/ 975360 w 2443162"/>
                <a:gd name="connsiteY2521" fmla="*/ 775335 h 2161222"/>
                <a:gd name="connsiteX2522" fmla="*/ 986790 w 2443162"/>
                <a:gd name="connsiteY2522" fmla="*/ 761048 h 2161222"/>
                <a:gd name="connsiteX2523" fmla="*/ 891540 w 2443162"/>
                <a:gd name="connsiteY2523" fmla="*/ 665798 h 2161222"/>
                <a:gd name="connsiteX2524" fmla="*/ 904875 w 2443162"/>
                <a:gd name="connsiteY2524" fmla="*/ 653415 h 2161222"/>
                <a:gd name="connsiteX2525" fmla="*/ 919163 w 2443162"/>
                <a:gd name="connsiteY2525" fmla="*/ 641985 h 2161222"/>
                <a:gd name="connsiteX2526" fmla="*/ 933450 w 2443162"/>
                <a:gd name="connsiteY2526" fmla="*/ 631508 h 2161222"/>
                <a:gd name="connsiteX2527" fmla="*/ 948690 w 2443162"/>
                <a:gd name="connsiteY2527" fmla="*/ 621030 h 2161222"/>
                <a:gd name="connsiteX2528" fmla="*/ 963930 w 2443162"/>
                <a:gd name="connsiteY2528" fmla="*/ 610553 h 2161222"/>
                <a:gd name="connsiteX2529" fmla="*/ 979170 w 2443162"/>
                <a:gd name="connsiteY2529" fmla="*/ 601028 h 2161222"/>
                <a:gd name="connsiteX2530" fmla="*/ 994410 w 2443162"/>
                <a:gd name="connsiteY2530" fmla="*/ 592455 h 2161222"/>
                <a:gd name="connsiteX2531" fmla="*/ 1009650 w 2443162"/>
                <a:gd name="connsiteY2531" fmla="*/ 583883 h 2161222"/>
                <a:gd name="connsiteX2532" fmla="*/ 1025843 w 2443162"/>
                <a:gd name="connsiteY2532" fmla="*/ 576263 h 2161222"/>
                <a:gd name="connsiteX2533" fmla="*/ 1042035 w 2443162"/>
                <a:gd name="connsiteY2533" fmla="*/ 569595 h 2161222"/>
                <a:gd name="connsiteX2534" fmla="*/ 1059180 w 2443162"/>
                <a:gd name="connsiteY2534" fmla="*/ 562928 h 2161222"/>
                <a:gd name="connsiteX2535" fmla="*/ 1076325 w 2443162"/>
                <a:gd name="connsiteY2535" fmla="*/ 557213 h 2161222"/>
                <a:gd name="connsiteX2536" fmla="*/ 1093470 w 2443162"/>
                <a:gd name="connsiteY2536" fmla="*/ 551498 h 2161222"/>
                <a:gd name="connsiteX2537" fmla="*/ 1111568 w 2443162"/>
                <a:gd name="connsiteY2537" fmla="*/ 546735 h 2161222"/>
                <a:gd name="connsiteX2538" fmla="*/ 1129665 w 2443162"/>
                <a:gd name="connsiteY2538" fmla="*/ 542925 h 2161222"/>
                <a:gd name="connsiteX2539" fmla="*/ 1148715 w 2443162"/>
                <a:gd name="connsiteY2539" fmla="*/ 539115 h 2161222"/>
                <a:gd name="connsiteX2540" fmla="*/ 1148715 w 2443162"/>
                <a:gd name="connsiteY2540" fmla="*/ 509588 h 2161222"/>
                <a:gd name="connsiteX2541" fmla="*/ 1128713 w 2443162"/>
                <a:gd name="connsiteY2541" fmla="*/ 513398 h 2161222"/>
                <a:gd name="connsiteX2542" fmla="*/ 1108710 w 2443162"/>
                <a:gd name="connsiteY2542" fmla="*/ 517208 h 2161222"/>
                <a:gd name="connsiteX2543" fmla="*/ 1089660 w 2443162"/>
                <a:gd name="connsiteY2543" fmla="*/ 521970 h 2161222"/>
                <a:gd name="connsiteX2544" fmla="*/ 1070610 w 2443162"/>
                <a:gd name="connsiteY2544" fmla="*/ 527685 h 2161222"/>
                <a:gd name="connsiteX2545" fmla="*/ 1051560 w 2443162"/>
                <a:gd name="connsiteY2545" fmla="*/ 533400 h 2161222"/>
                <a:gd name="connsiteX2546" fmla="*/ 1033463 w 2443162"/>
                <a:gd name="connsiteY2546" fmla="*/ 540068 h 2161222"/>
                <a:gd name="connsiteX2547" fmla="*/ 1015365 w 2443162"/>
                <a:gd name="connsiteY2547" fmla="*/ 547688 h 2161222"/>
                <a:gd name="connsiteX2548" fmla="*/ 997268 w 2443162"/>
                <a:gd name="connsiteY2548" fmla="*/ 555308 h 2161222"/>
                <a:gd name="connsiteX2549" fmla="*/ 980123 w 2443162"/>
                <a:gd name="connsiteY2549" fmla="*/ 564833 h 2161222"/>
                <a:gd name="connsiteX2550" fmla="*/ 962978 w 2443162"/>
                <a:gd name="connsiteY2550" fmla="*/ 574358 h 2161222"/>
                <a:gd name="connsiteX2551" fmla="*/ 946785 w 2443162"/>
                <a:gd name="connsiteY2551" fmla="*/ 584835 h 2161222"/>
                <a:gd name="connsiteX2552" fmla="*/ 930593 w 2443162"/>
                <a:gd name="connsiteY2552" fmla="*/ 595313 h 2161222"/>
                <a:gd name="connsiteX2553" fmla="*/ 915353 w 2443162"/>
                <a:gd name="connsiteY2553" fmla="*/ 606743 h 2161222"/>
                <a:gd name="connsiteX2554" fmla="*/ 900113 w 2443162"/>
                <a:gd name="connsiteY2554" fmla="*/ 618173 h 2161222"/>
                <a:gd name="connsiteX2555" fmla="*/ 884873 w 2443162"/>
                <a:gd name="connsiteY2555" fmla="*/ 630555 h 2161222"/>
                <a:gd name="connsiteX2556" fmla="*/ 870585 w 2443162"/>
                <a:gd name="connsiteY2556" fmla="*/ 643890 h 2161222"/>
                <a:gd name="connsiteX2557" fmla="*/ 857250 w 2443162"/>
                <a:gd name="connsiteY2557" fmla="*/ 631508 h 2161222"/>
                <a:gd name="connsiteX2558" fmla="*/ 842963 w 2443162"/>
                <a:gd name="connsiteY2558" fmla="*/ 658178 h 2161222"/>
                <a:gd name="connsiteX2559" fmla="*/ 850583 w 2443162"/>
                <a:gd name="connsiteY2559" fmla="*/ 666750 h 2161222"/>
                <a:gd name="connsiteX2560" fmla="*/ 842963 w 2443162"/>
                <a:gd name="connsiteY2560" fmla="*/ 675323 h 2161222"/>
                <a:gd name="connsiteX2561" fmla="*/ 835343 w 2443162"/>
                <a:gd name="connsiteY2561" fmla="*/ 683895 h 2161222"/>
                <a:gd name="connsiteX2562" fmla="*/ 827723 w 2443162"/>
                <a:gd name="connsiteY2562" fmla="*/ 692468 h 2161222"/>
                <a:gd name="connsiteX2563" fmla="*/ 820103 w 2443162"/>
                <a:gd name="connsiteY2563" fmla="*/ 701040 h 2161222"/>
                <a:gd name="connsiteX2564" fmla="*/ 813435 w 2443162"/>
                <a:gd name="connsiteY2564" fmla="*/ 710565 h 2161222"/>
                <a:gd name="connsiteX2565" fmla="*/ 806768 w 2443162"/>
                <a:gd name="connsiteY2565" fmla="*/ 720090 h 2161222"/>
                <a:gd name="connsiteX2566" fmla="*/ 800100 w 2443162"/>
                <a:gd name="connsiteY2566" fmla="*/ 729615 h 2161222"/>
                <a:gd name="connsiteX2567" fmla="*/ 793433 w 2443162"/>
                <a:gd name="connsiteY2567" fmla="*/ 739140 h 2161222"/>
                <a:gd name="connsiteX2568" fmla="*/ 786765 w 2443162"/>
                <a:gd name="connsiteY2568" fmla="*/ 748665 h 2161222"/>
                <a:gd name="connsiteX2569" fmla="*/ 781050 w 2443162"/>
                <a:gd name="connsiteY2569" fmla="*/ 758190 h 2161222"/>
                <a:gd name="connsiteX2570" fmla="*/ 775335 w 2443162"/>
                <a:gd name="connsiteY2570" fmla="*/ 768668 h 2161222"/>
                <a:gd name="connsiteX2571" fmla="*/ 769620 w 2443162"/>
                <a:gd name="connsiteY2571" fmla="*/ 779145 h 2161222"/>
                <a:gd name="connsiteX2572" fmla="*/ 764858 w 2443162"/>
                <a:gd name="connsiteY2572" fmla="*/ 789623 h 2161222"/>
                <a:gd name="connsiteX2573" fmla="*/ 760095 w 2443162"/>
                <a:gd name="connsiteY2573" fmla="*/ 799148 h 2161222"/>
                <a:gd name="connsiteX2574" fmla="*/ 754380 w 2443162"/>
                <a:gd name="connsiteY2574" fmla="*/ 809625 h 2161222"/>
                <a:gd name="connsiteX2575" fmla="*/ 749618 w 2443162"/>
                <a:gd name="connsiteY2575" fmla="*/ 820103 h 2161222"/>
                <a:gd name="connsiteX2576" fmla="*/ 744855 w 2443162"/>
                <a:gd name="connsiteY2576" fmla="*/ 830580 h 2161222"/>
                <a:gd name="connsiteX2577" fmla="*/ 740093 w 2443162"/>
                <a:gd name="connsiteY2577" fmla="*/ 841058 h 2161222"/>
                <a:gd name="connsiteX2578" fmla="*/ 736283 w 2443162"/>
                <a:gd name="connsiteY2578" fmla="*/ 852488 h 2161222"/>
                <a:gd name="connsiteX2579" fmla="*/ 733425 w 2443162"/>
                <a:gd name="connsiteY2579" fmla="*/ 863918 h 2161222"/>
                <a:gd name="connsiteX2580" fmla="*/ 729615 w 2443162"/>
                <a:gd name="connsiteY2580" fmla="*/ 875348 h 2161222"/>
                <a:gd name="connsiteX2581" fmla="*/ 726758 w 2443162"/>
                <a:gd name="connsiteY2581" fmla="*/ 886778 h 2161222"/>
                <a:gd name="connsiteX2582" fmla="*/ 723900 w 2443162"/>
                <a:gd name="connsiteY2582" fmla="*/ 899160 h 2161222"/>
                <a:gd name="connsiteX2583" fmla="*/ 721043 w 2443162"/>
                <a:gd name="connsiteY2583" fmla="*/ 910590 h 2161222"/>
                <a:gd name="connsiteX2584" fmla="*/ 718185 w 2443162"/>
                <a:gd name="connsiteY2584" fmla="*/ 922020 h 2161222"/>
                <a:gd name="connsiteX2585" fmla="*/ 716280 w 2443162"/>
                <a:gd name="connsiteY2585" fmla="*/ 933450 h 2161222"/>
                <a:gd name="connsiteX2586" fmla="*/ 714375 w 2443162"/>
                <a:gd name="connsiteY2586" fmla="*/ 945833 h 2161222"/>
                <a:gd name="connsiteX2587" fmla="*/ 712470 w 2443162"/>
                <a:gd name="connsiteY2587" fmla="*/ 958215 h 2161222"/>
                <a:gd name="connsiteX2588" fmla="*/ 711518 w 2443162"/>
                <a:gd name="connsiteY2588" fmla="*/ 969645 h 2161222"/>
                <a:gd name="connsiteX2589" fmla="*/ 710565 w 2443162"/>
                <a:gd name="connsiteY2589" fmla="*/ 982028 h 2161222"/>
                <a:gd name="connsiteX2590" fmla="*/ 709613 w 2443162"/>
                <a:gd name="connsiteY2590" fmla="*/ 994410 h 2161222"/>
                <a:gd name="connsiteX2591" fmla="*/ 709613 w 2443162"/>
                <a:gd name="connsiteY2591" fmla="*/ 1006793 h 2161222"/>
                <a:gd name="connsiteX2592" fmla="*/ 570548 w 2443162"/>
                <a:gd name="connsiteY2592" fmla="*/ 1006793 h 2161222"/>
                <a:gd name="connsiteX2593" fmla="*/ 570548 w 2443162"/>
                <a:gd name="connsiteY2593" fmla="*/ 990600 h 2161222"/>
                <a:gd name="connsiteX2594" fmla="*/ 571500 w 2443162"/>
                <a:gd name="connsiteY2594" fmla="*/ 975360 h 2161222"/>
                <a:gd name="connsiteX2595" fmla="*/ 572453 w 2443162"/>
                <a:gd name="connsiteY2595" fmla="*/ 960120 h 2161222"/>
                <a:gd name="connsiteX2596" fmla="*/ 574358 w 2443162"/>
                <a:gd name="connsiteY2596" fmla="*/ 944880 h 2161222"/>
                <a:gd name="connsiteX2597" fmla="*/ 576263 w 2443162"/>
                <a:gd name="connsiteY2597" fmla="*/ 929640 h 2161222"/>
                <a:gd name="connsiteX2598" fmla="*/ 579120 w 2443162"/>
                <a:gd name="connsiteY2598" fmla="*/ 914400 h 2161222"/>
                <a:gd name="connsiteX2599" fmla="*/ 581978 w 2443162"/>
                <a:gd name="connsiteY2599" fmla="*/ 899160 h 2161222"/>
                <a:gd name="connsiteX2600" fmla="*/ 584835 w 2443162"/>
                <a:gd name="connsiteY2600" fmla="*/ 883920 h 2161222"/>
                <a:gd name="connsiteX2601" fmla="*/ 588645 w 2443162"/>
                <a:gd name="connsiteY2601" fmla="*/ 868680 h 2161222"/>
                <a:gd name="connsiteX2602" fmla="*/ 592455 w 2443162"/>
                <a:gd name="connsiteY2602" fmla="*/ 853440 h 2161222"/>
                <a:gd name="connsiteX2603" fmla="*/ 596265 w 2443162"/>
                <a:gd name="connsiteY2603" fmla="*/ 838200 h 2161222"/>
                <a:gd name="connsiteX2604" fmla="*/ 601028 w 2443162"/>
                <a:gd name="connsiteY2604" fmla="*/ 823913 h 2161222"/>
                <a:gd name="connsiteX2605" fmla="*/ 605790 w 2443162"/>
                <a:gd name="connsiteY2605" fmla="*/ 809625 h 2161222"/>
                <a:gd name="connsiteX2606" fmla="*/ 611505 w 2443162"/>
                <a:gd name="connsiteY2606" fmla="*/ 795338 h 2161222"/>
                <a:gd name="connsiteX2607" fmla="*/ 616268 w 2443162"/>
                <a:gd name="connsiteY2607" fmla="*/ 781050 h 2161222"/>
                <a:gd name="connsiteX2608" fmla="*/ 621983 w 2443162"/>
                <a:gd name="connsiteY2608" fmla="*/ 766763 h 2161222"/>
                <a:gd name="connsiteX2609" fmla="*/ 627698 w 2443162"/>
                <a:gd name="connsiteY2609" fmla="*/ 752475 h 2161222"/>
                <a:gd name="connsiteX2610" fmla="*/ 633413 w 2443162"/>
                <a:gd name="connsiteY2610" fmla="*/ 739140 h 2161222"/>
                <a:gd name="connsiteX2611" fmla="*/ 640080 w 2443162"/>
                <a:gd name="connsiteY2611" fmla="*/ 725805 h 2161222"/>
                <a:gd name="connsiteX2612" fmla="*/ 646748 w 2443162"/>
                <a:gd name="connsiteY2612" fmla="*/ 712470 h 2161222"/>
                <a:gd name="connsiteX2613" fmla="*/ 653415 w 2443162"/>
                <a:gd name="connsiteY2613" fmla="*/ 699135 h 2161222"/>
                <a:gd name="connsiteX2614" fmla="*/ 661035 w 2443162"/>
                <a:gd name="connsiteY2614" fmla="*/ 685800 h 2161222"/>
                <a:gd name="connsiteX2615" fmla="*/ 668655 w 2443162"/>
                <a:gd name="connsiteY2615" fmla="*/ 673418 h 2161222"/>
                <a:gd name="connsiteX2616" fmla="*/ 677228 w 2443162"/>
                <a:gd name="connsiteY2616" fmla="*/ 661035 h 2161222"/>
                <a:gd name="connsiteX2617" fmla="*/ 685800 w 2443162"/>
                <a:gd name="connsiteY2617" fmla="*/ 648653 h 2161222"/>
                <a:gd name="connsiteX2618" fmla="*/ 694373 w 2443162"/>
                <a:gd name="connsiteY2618" fmla="*/ 636270 h 2161222"/>
                <a:gd name="connsiteX2619" fmla="*/ 702945 w 2443162"/>
                <a:gd name="connsiteY2619" fmla="*/ 624840 h 2161222"/>
                <a:gd name="connsiteX2620" fmla="*/ 712470 w 2443162"/>
                <a:gd name="connsiteY2620" fmla="*/ 613410 h 2161222"/>
                <a:gd name="connsiteX2621" fmla="*/ 721995 w 2443162"/>
                <a:gd name="connsiteY2621" fmla="*/ 601980 h 2161222"/>
                <a:gd name="connsiteX2622" fmla="*/ 731520 w 2443162"/>
                <a:gd name="connsiteY2622" fmla="*/ 590550 h 2161222"/>
                <a:gd name="connsiteX2623" fmla="*/ 741045 w 2443162"/>
                <a:gd name="connsiteY2623" fmla="*/ 580073 h 2161222"/>
                <a:gd name="connsiteX2624" fmla="*/ 751523 w 2443162"/>
                <a:gd name="connsiteY2624" fmla="*/ 569595 h 2161222"/>
                <a:gd name="connsiteX2625" fmla="*/ 795338 w 2443162"/>
                <a:gd name="connsiteY2625" fmla="*/ 614363 h 2161222"/>
                <a:gd name="connsiteX2626" fmla="*/ 826770 w 2443162"/>
                <a:gd name="connsiteY2626" fmla="*/ 603885 h 2161222"/>
                <a:gd name="connsiteX2627" fmla="*/ 772478 w 2443162"/>
                <a:gd name="connsiteY2627" fmla="*/ 548640 h 2161222"/>
                <a:gd name="connsiteX2628" fmla="*/ 783908 w 2443162"/>
                <a:gd name="connsiteY2628" fmla="*/ 538163 h 2161222"/>
                <a:gd name="connsiteX2629" fmla="*/ 795338 w 2443162"/>
                <a:gd name="connsiteY2629" fmla="*/ 527685 h 2161222"/>
                <a:gd name="connsiteX2630" fmla="*/ 807720 w 2443162"/>
                <a:gd name="connsiteY2630" fmla="*/ 517208 h 2161222"/>
                <a:gd name="connsiteX2631" fmla="*/ 820103 w 2443162"/>
                <a:gd name="connsiteY2631" fmla="*/ 506730 h 2161222"/>
                <a:gd name="connsiteX2632" fmla="*/ 832485 w 2443162"/>
                <a:gd name="connsiteY2632" fmla="*/ 497205 h 2161222"/>
                <a:gd name="connsiteX2633" fmla="*/ 844868 w 2443162"/>
                <a:gd name="connsiteY2633" fmla="*/ 487680 h 2161222"/>
                <a:gd name="connsiteX2634" fmla="*/ 858203 w 2443162"/>
                <a:gd name="connsiteY2634" fmla="*/ 478155 h 2161222"/>
                <a:gd name="connsiteX2635" fmla="*/ 871538 w 2443162"/>
                <a:gd name="connsiteY2635" fmla="*/ 469583 h 2161222"/>
                <a:gd name="connsiteX2636" fmla="*/ 894398 w 2443162"/>
                <a:gd name="connsiteY2636" fmla="*/ 421958 h 2161222"/>
                <a:gd name="connsiteX2637" fmla="*/ 876300 w 2443162"/>
                <a:gd name="connsiteY2637" fmla="*/ 434340 h 2161222"/>
                <a:gd name="connsiteX2638" fmla="*/ 857250 w 2443162"/>
                <a:gd name="connsiteY2638" fmla="*/ 445770 h 2161222"/>
                <a:gd name="connsiteX2639" fmla="*/ 838200 w 2443162"/>
                <a:gd name="connsiteY2639" fmla="*/ 458153 h 2161222"/>
                <a:gd name="connsiteX2640" fmla="*/ 820103 w 2443162"/>
                <a:gd name="connsiteY2640" fmla="*/ 470535 h 2161222"/>
                <a:gd name="connsiteX2641" fmla="*/ 802958 w 2443162"/>
                <a:gd name="connsiteY2641" fmla="*/ 483870 h 2161222"/>
                <a:gd name="connsiteX2642" fmla="*/ 785813 w 2443162"/>
                <a:gd name="connsiteY2642" fmla="*/ 498158 h 2161222"/>
                <a:gd name="connsiteX2643" fmla="*/ 769620 w 2443162"/>
                <a:gd name="connsiteY2643" fmla="*/ 512445 h 2161222"/>
                <a:gd name="connsiteX2644" fmla="*/ 752475 w 2443162"/>
                <a:gd name="connsiteY2644" fmla="*/ 527685 h 2161222"/>
                <a:gd name="connsiteX2645" fmla="*/ 656273 w 2443162"/>
                <a:gd name="connsiteY2645" fmla="*/ 430530 h 2161222"/>
                <a:gd name="connsiteX2646" fmla="*/ 667703 w 2443162"/>
                <a:gd name="connsiteY2646" fmla="*/ 419100 h 2161222"/>
                <a:gd name="connsiteX2647" fmla="*/ 680085 w 2443162"/>
                <a:gd name="connsiteY2647" fmla="*/ 408623 h 2161222"/>
                <a:gd name="connsiteX2648" fmla="*/ 692468 w 2443162"/>
                <a:gd name="connsiteY2648" fmla="*/ 398145 h 2161222"/>
                <a:gd name="connsiteX2649" fmla="*/ 704850 w 2443162"/>
                <a:gd name="connsiteY2649" fmla="*/ 387668 h 2161222"/>
                <a:gd name="connsiteX2650" fmla="*/ 718185 w 2443162"/>
                <a:gd name="connsiteY2650" fmla="*/ 377190 h 2161222"/>
                <a:gd name="connsiteX2651" fmla="*/ 731520 w 2443162"/>
                <a:gd name="connsiteY2651" fmla="*/ 366713 h 2161222"/>
                <a:gd name="connsiteX2652" fmla="*/ 744855 w 2443162"/>
                <a:gd name="connsiteY2652" fmla="*/ 356235 h 2161222"/>
                <a:gd name="connsiteX2653" fmla="*/ 758190 w 2443162"/>
                <a:gd name="connsiteY2653" fmla="*/ 346710 h 2161222"/>
                <a:gd name="connsiteX2654" fmla="*/ 771525 w 2443162"/>
                <a:gd name="connsiteY2654" fmla="*/ 337185 h 2161222"/>
                <a:gd name="connsiteX2655" fmla="*/ 785813 w 2443162"/>
                <a:gd name="connsiteY2655" fmla="*/ 328613 h 2161222"/>
                <a:gd name="connsiteX2656" fmla="*/ 800100 w 2443162"/>
                <a:gd name="connsiteY2656" fmla="*/ 320040 h 2161222"/>
                <a:gd name="connsiteX2657" fmla="*/ 814388 w 2443162"/>
                <a:gd name="connsiteY2657" fmla="*/ 311468 h 2161222"/>
                <a:gd name="connsiteX2658" fmla="*/ 829628 w 2443162"/>
                <a:gd name="connsiteY2658" fmla="*/ 302895 h 2161222"/>
                <a:gd name="connsiteX2659" fmla="*/ 843915 w 2443162"/>
                <a:gd name="connsiteY2659" fmla="*/ 295275 h 2161222"/>
                <a:gd name="connsiteX2660" fmla="*/ 859155 w 2443162"/>
                <a:gd name="connsiteY2660" fmla="*/ 287655 h 2161222"/>
                <a:gd name="connsiteX2661" fmla="*/ 874395 w 2443162"/>
                <a:gd name="connsiteY2661" fmla="*/ 280035 h 2161222"/>
                <a:gd name="connsiteX2662" fmla="*/ 889635 w 2443162"/>
                <a:gd name="connsiteY2662" fmla="*/ 273368 h 2161222"/>
                <a:gd name="connsiteX2663" fmla="*/ 904875 w 2443162"/>
                <a:gd name="connsiteY2663" fmla="*/ 266700 h 2161222"/>
                <a:gd name="connsiteX2664" fmla="*/ 920115 w 2443162"/>
                <a:gd name="connsiteY2664" fmla="*/ 260033 h 2161222"/>
                <a:gd name="connsiteX2665" fmla="*/ 935355 w 2443162"/>
                <a:gd name="connsiteY2665" fmla="*/ 254318 h 2161222"/>
                <a:gd name="connsiteX2666" fmla="*/ 950595 w 2443162"/>
                <a:gd name="connsiteY2666" fmla="*/ 248603 h 2161222"/>
                <a:gd name="connsiteX2667" fmla="*/ 966788 w 2443162"/>
                <a:gd name="connsiteY2667" fmla="*/ 243840 h 2161222"/>
                <a:gd name="connsiteX2668" fmla="*/ 982980 w 2443162"/>
                <a:gd name="connsiteY2668" fmla="*/ 239078 h 2161222"/>
                <a:gd name="connsiteX2669" fmla="*/ 999173 w 2443162"/>
                <a:gd name="connsiteY2669" fmla="*/ 234315 h 2161222"/>
                <a:gd name="connsiteX2670" fmla="*/ 1015365 w 2443162"/>
                <a:gd name="connsiteY2670" fmla="*/ 229553 h 2161222"/>
                <a:gd name="connsiteX2671" fmla="*/ 1031558 w 2443162"/>
                <a:gd name="connsiteY2671" fmla="*/ 224790 h 2161222"/>
                <a:gd name="connsiteX2672" fmla="*/ 1047750 w 2443162"/>
                <a:gd name="connsiteY2672" fmla="*/ 220980 h 2161222"/>
                <a:gd name="connsiteX2673" fmla="*/ 1064895 w 2443162"/>
                <a:gd name="connsiteY2673" fmla="*/ 217170 h 2161222"/>
                <a:gd name="connsiteX2674" fmla="*/ 1081088 w 2443162"/>
                <a:gd name="connsiteY2674" fmla="*/ 214313 h 2161222"/>
                <a:gd name="connsiteX2675" fmla="*/ 1098233 w 2443162"/>
                <a:gd name="connsiteY2675" fmla="*/ 211455 h 2161222"/>
                <a:gd name="connsiteX2676" fmla="*/ 1115378 w 2443162"/>
                <a:gd name="connsiteY2676" fmla="*/ 209550 h 2161222"/>
                <a:gd name="connsiteX2677" fmla="*/ 1132523 w 2443162"/>
                <a:gd name="connsiteY2677" fmla="*/ 207645 h 2161222"/>
                <a:gd name="connsiteX2678" fmla="*/ 1132523 w 2443162"/>
                <a:gd name="connsiteY2678" fmla="*/ 178118 h 2161222"/>
                <a:gd name="connsiteX2679" fmla="*/ 1092518 w 2443162"/>
                <a:gd name="connsiteY2679" fmla="*/ 182880 h 2161222"/>
                <a:gd name="connsiteX2680" fmla="*/ 1053465 w 2443162"/>
                <a:gd name="connsiteY2680" fmla="*/ 189548 h 2161222"/>
                <a:gd name="connsiteX2681" fmla="*/ 1014413 w 2443162"/>
                <a:gd name="connsiteY2681" fmla="*/ 198120 h 2161222"/>
                <a:gd name="connsiteX2682" fmla="*/ 977265 w 2443162"/>
                <a:gd name="connsiteY2682" fmla="*/ 208598 h 2161222"/>
                <a:gd name="connsiteX2683" fmla="*/ 940118 w 2443162"/>
                <a:gd name="connsiteY2683" fmla="*/ 220028 h 2161222"/>
                <a:gd name="connsiteX2684" fmla="*/ 903923 w 2443162"/>
                <a:gd name="connsiteY2684" fmla="*/ 234315 h 2161222"/>
                <a:gd name="connsiteX2685" fmla="*/ 868680 w 2443162"/>
                <a:gd name="connsiteY2685" fmla="*/ 249555 h 2161222"/>
                <a:gd name="connsiteX2686" fmla="*/ 835343 w 2443162"/>
                <a:gd name="connsiteY2686" fmla="*/ 266700 h 2161222"/>
                <a:gd name="connsiteX2687" fmla="*/ 802005 w 2443162"/>
                <a:gd name="connsiteY2687" fmla="*/ 284798 h 2161222"/>
                <a:gd name="connsiteX2688" fmla="*/ 769620 w 2443162"/>
                <a:gd name="connsiteY2688" fmla="*/ 304800 h 2161222"/>
                <a:gd name="connsiteX2689" fmla="*/ 738188 w 2443162"/>
                <a:gd name="connsiteY2689" fmla="*/ 325755 h 2161222"/>
                <a:gd name="connsiteX2690" fmla="*/ 707708 w 2443162"/>
                <a:gd name="connsiteY2690" fmla="*/ 348615 h 2161222"/>
                <a:gd name="connsiteX2691" fmla="*/ 678180 w 2443162"/>
                <a:gd name="connsiteY2691" fmla="*/ 372428 h 2161222"/>
                <a:gd name="connsiteX2692" fmla="*/ 649605 w 2443162"/>
                <a:gd name="connsiteY2692" fmla="*/ 398145 h 2161222"/>
                <a:gd name="connsiteX2693" fmla="*/ 622935 w 2443162"/>
                <a:gd name="connsiteY2693" fmla="*/ 423863 h 2161222"/>
                <a:gd name="connsiteX2694" fmla="*/ 596265 w 2443162"/>
                <a:gd name="connsiteY2694" fmla="*/ 451485 h 2161222"/>
                <a:gd name="connsiteX2695" fmla="*/ 571500 w 2443162"/>
                <a:gd name="connsiteY2695" fmla="*/ 480060 h 2161222"/>
                <a:gd name="connsiteX2696" fmla="*/ 547688 w 2443162"/>
                <a:gd name="connsiteY2696" fmla="*/ 509588 h 2161222"/>
                <a:gd name="connsiteX2697" fmla="*/ 523875 w 2443162"/>
                <a:gd name="connsiteY2697" fmla="*/ 541020 h 2161222"/>
                <a:gd name="connsiteX2698" fmla="*/ 502920 w 2443162"/>
                <a:gd name="connsiteY2698" fmla="*/ 573405 h 2161222"/>
                <a:gd name="connsiteX2699" fmla="*/ 482918 w 2443162"/>
                <a:gd name="connsiteY2699" fmla="*/ 605790 h 2161222"/>
                <a:gd name="connsiteX2700" fmla="*/ 464820 w 2443162"/>
                <a:gd name="connsiteY2700" fmla="*/ 640080 h 2161222"/>
                <a:gd name="connsiteX2701" fmla="*/ 448628 w 2443162"/>
                <a:gd name="connsiteY2701" fmla="*/ 675323 h 2161222"/>
                <a:gd name="connsiteX2702" fmla="*/ 433388 w 2443162"/>
                <a:gd name="connsiteY2702" fmla="*/ 711518 h 2161222"/>
                <a:gd name="connsiteX2703" fmla="*/ 420053 w 2443162"/>
                <a:gd name="connsiteY2703" fmla="*/ 747713 h 2161222"/>
                <a:gd name="connsiteX2704" fmla="*/ 408623 w 2443162"/>
                <a:gd name="connsiteY2704" fmla="*/ 784860 h 2161222"/>
                <a:gd name="connsiteX2705" fmla="*/ 398145 w 2443162"/>
                <a:gd name="connsiteY2705" fmla="*/ 822960 h 2161222"/>
                <a:gd name="connsiteX2706" fmla="*/ 389573 w 2443162"/>
                <a:gd name="connsiteY2706" fmla="*/ 862013 h 2161222"/>
                <a:gd name="connsiteX2707" fmla="*/ 382905 w 2443162"/>
                <a:gd name="connsiteY2707" fmla="*/ 901065 h 2161222"/>
                <a:gd name="connsiteX2708" fmla="*/ 378143 w 2443162"/>
                <a:gd name="connsiteY2708" fmla="*/ 941070 h 2161222"/>
                <a:gd name="connsiteX2709" fmla="*/ 375285 w 2443162"/>
                <a:gd name="connsiteY2709" fmla="*/ 982028 h 2161222"/>
                <a:gd name="connsiteX2710" fmla="*/ 374333 w 2443162"/>
                <a:gd name="connsiteY2710" fmla="*/ 1022985 h 2161222"/>
                <a:gd name="connsiteX2711" fmla="*/ 375285 w 2443162"/>
                <a:gd name="connsiteY2711" fmla="*/ 1066800 h 2161222"/>
                <a:gd name="connsiteX2712" fmla="*/ 378143 w 2443162"/>
                <a:gd name="connsiteY2712" fmla="*/ 1109663 h 2161222"/>
                <a:gd name="connsiteX2713" fmla="*/ 383858 w 2443162"/>
                <a:gd name="connsiteY2713" fmla="*/ 1152525 h 2161222"/>
                <a:gd name="connsiteX2714" fmla="*/ 391478 w 2443162"/>
                <a:gd name="connsiteY2714" fmla="*/ 1193483 h 2161222"/>
                <a:gd name="connsiteX2715" fmla="*/ 401003 w 2443162"/>
                <a:gd name="connsiteY2715" fmla="*/ 1234440 h 2161222"/>
                <a:gd name="connsiteX2716" fmla="*/ 412433 w 2443162"/>
                <a:gd name="connsiteY2716" fmla="*/ 1275398 h 2161222"/>
                <a:gd name="connsiteX2717" fmla="*/ 425768 w 2443162"/>
                <a:gd name="connsiteY2717" fmla="*/ 1314450 h 2161222"/>
                <a:gd name="connsiteX2718" fmla="*/ 441008 w 2443162"/>
                <a:gd name="connsiteY2718" fmla="*/ 1352550 h 2161222"/>
                <a:gd name="connsiteX2719" fmla="*/ 458153 w 2443162"/>
                <a:gd name="connsiteY2719" fmla="*/ 1389698 h 2161222"/>
                <a:gd name="connsiteX2720" fmla="*/ 477203 w 2443162"/>
                <a:gd name="connsiteY2720" fmla="*/ 1425893 h 2161222"/>
                <a:gd name="connsiteX2721" fmla="*/ 498158 w 2443162"/>
                <a:gd name="connsiteY2721" fmla="*/ 1461135 h 2161222"/>
                <a:gd name="connsiteX2722" fmla="*/ 520065 w 2443162"/>
                <a:gd name="connsiteY2722" fmla="*/ 1495425 h 2161222"/>
                <a:gd name="connsiteX2723" fmla="*/ 543878 w 2443162"/>
                <a:gd name="connsiteY2723" fmla="*/ 1528763 h 2161222"/>
                <a:gd name="connsiteX2724" fmla="*/ 568643 w 2443162"/>
                <a:gd name="connsiteY2724" fmla="*/ 1560195 h 2161222"/>
                <a:gd name="connsiteX2725" fmla="*/ 595313 w 2443162"/>
                <a:gd name="connsiteY2725" fmla="*/ 1590675 h 2161222"/>
                <a:gd name="connsiteX2726" fmla="*/ 623888 w 2443162"/>
                <a:gd name="connsiteY2726" fmla="*/ 1620203 h 2161222"/>
                <a:gd name="connsiteX2727" fmla="*/ 653415 w 2443162"/>
                <a:gd name="connsiteY2727" fmla="*/ 1647825 h 2161222"/>
                <a:gd name="connsiteX2728" fmla="*/ 684848 w 2443162"/>
                <a:gd name="connsiteY2728" fmla="*/ 1674495 h 2161222"/>
                <a:gd name="connsiteX2729" fmla="*/ 716280 w 2443162"/>
                <a:gd name="connsiteY2729" fmla="*/ 1700213 h 2161222"/>
                <a:gd name="connsiteX2730" fmla="*/ 749618 w 2443162"/>
                <a:gd name="connsiteY2730" fmla="*/ 1724025 h 2161222"/>
                <a:gd name="connsiteX2731" fmla="*/ 783908 w 2443162"/>
                <a:gd name="connsiteY2731" fmla="*/ 1745933 h 2161222"/>
                <a:gd name="connsiteX2732" fmla="*/ 819150 w 2443162"/>
                <a:gd name="connsiteY2732" fmla="*/ 1766888 h 2161222"/>
                <a:gd name="connsiteX2733" fmla="*/ 855345 w 2443162"/>
                <a:gd name="connsiteY2733" fmla="*/ 1785938 h 2161222"/>
                <a:gd name="connsiteX2734" fmla="*/ 892493 w 2443162"/>
                <a:gd name="connsiteY2734" fmla="*/ 1803083 h 2161222"/>
                <a:gd name="connsiteX2735" fmla="*/ 930593 w 2443162"/>
                <a:gd name="connsiteY2735" fmla="*/ 1818323 h 2161222"/>
                <a:gd name="connsiteX2736" fmla="*/ 969645 w 2443162"/>
                <a:gd name="connsiteY2736" fmla="*/ 1831658 h 2161222"/>
                <a:gd name="connsiteX2737" fmla="*/ 1009650 w 2443162"/>
                <a:gd name="connsiteY2737" fmla="*/ 1843088 h 2161222"/>
                <a:gd name="connsiteX2738" fmla="*/ 1050608 w 2443162"/>
                <a:gd name="connsiteY2738" fmla="*/ 1852613 h 2161222"/>
                <a:gd name="connsiteX2739" fmla="*/ 1091565 w 2443162"/>
                <a:gd name="connsiteY2739" fmla="*/ 1860233 h 2161222"/>
                <a:gd name="connsiteX2740" fmla="*/ 1134428 w 2443162"/>
                <a:gd name="connsiteY2740" fmla="*/ 1864995 h 2161222"/>
                <a:gd name="connsiteX2741" fmla="*/ 1177290 w 2443162"/>
                <a:gd name="connsiteY2741" fmla="*/ 1868805 h 2161222"/>
                <a:gd name="connsiteX2742" fmla="*/ 1221105 w 2443162"/>
                <a:gd name="connsiteY2742" fmla="*/ 1869758 h 2161222"/>
                <a:gd name="connsiteX2743" fmla="*/ 1264920 w 2443162"/>
                <a:gd name="connsiteY2743" fmla="*/ 1868805 h 2161222"/>
                <a:gd name="connsiteX2744" fmla="*/ 1307783 w 2443162"/>
                <a:gd name="connsiteY2744" fmla="*/ 1864995 h 2161222"/>
                <a:gd name="connsiteX2745" fmla="*/ 1349693 w 2443162"/>
                <a:gd name="connsiteY2745" fmla="*/ 1860233 h 2161222"/>
                <a:gd name="connsiteX2746" fmla="*/ 1391603 w 2443162"/>
                <a:gd name="connsiteY2746" fmla="*/ 1852613 h 2161222"/>
                <a:gd name="connsiteX2747" fmla="*/ 1432560 w 2443162"/>
                <a:gd name="connsiteY2747" fmla="*/ 1843088 h 2161222"/>
                <a:gd name="connsiteX2748" fmla="*/ 1472565 w 2443162"/>
                <a:gd name="connsiteY2748" fmla="*/ 1831658 h 2161222"/>
                <a:gd name="connsiteX2749" fmla="*/ 1512570 w 2443162"/>
                <a:gd name="connsiteY2749" fmla="*/ 1818323 h 2161222"/>
                <a:gd name="connsiteX2750" fmla="*/ 1550670 w 2443162"/>
                <a:gd name="connsiteY2750" fmla="*/ 1803083 h 2161222"/>
                <a:gd name="connsiteX2751" fmla="*/ 1587818 w 2443162"/>
                <a:gd name="connsiteY2751" fmla="*/ 1785938 h 2161222"/>
                <a:gd name="connsiteX2752" fmla="*/ 1624965 w 2443162"/>
                <a:gd name="connsiteY2752" fmla="*/ 1766888 h 2161222"/>
                <a:gd name="connsiteX2753" fmla="*/ 1660208 w 2443162"/>
                <a:gd name="connsiteY2753" fmla="*/ 1745933 h 2161222"/>
                <a:gd name="connsiteX2754" fmla="*/ 1694498 w 2443162"/>
                <a:gd name="connsiteY2754" fmla="*/ 1724025 h 2161222"/>
                <a:gd name="connsiteX2755" fmla="*/ 1727835 w 2443162"/>
                <a:gd name="connsiteY2755" fmla="*/ 1700213 h 2161222"/>
                <a:gd name="connsiteX2756" fmla="*/ 1760220 w 2443162"/>
                <a:gd name="connsiteY2756" fmla="*/ 1674495 h 2161222"/>
                <a:gd name="connsiteX2757" fmla="*/ 1790700 w 2443162"/>
                <a:gd name="connsiteY2757" fmla="*/ 1647825 h 2161222"/>
                <a:gd name="connsiteX2758" fmla="*/ 1820228 w 2443162"/>
                <a:gd name="connsiteY2758" fmla="*/ 1620203 h 2161222"/>
                <a:gd name="connsiteX2759" fmla="*/ 1847850 w 2443162"/>
                <a:gd name="connsiteY2759" fmla="*/ 1590675 h 2161222"/>
                <a:gd name="connsiteX2760" fmla="*/ 1874520 w 2443162"/>
                <a:gd name="connsiteY2760" fmla="*/ 1560195 h 2161222"/>
                <a:gd name="connsiteX2761" fmla="*/ 1900238 w 2443162"/>
                <a:gd name="connsiteY2761" fmla="*/ 1528763 h 2161222"/>
                <a:gd name="connsiteX2762" fmla="*/ 1924050 w 2443162"/>
                <a:gd name="connsiteY2762" fmla="*/ 1495425 h 2161222"/>
                <a:gd name="connsiteX2763" fmla="*/ 1945958 w 2443162"/>
                <a:gd name="connsiteY2763" fmla="*/ 1461135 h 2161222"/>
                <a:gd name="connsiteX2764" fmla="*/ 1965960 w 2443162"/>
                <a:gd name="connsiteY2764" fmla="*/ 1425893 h 2161222"/>
                <a:gd name="connsiteX2765" fmla="*/ 1985010 w 2443162"/>
                <a:gd name="connsiteY2765" fmla="*/ 1389698 h 2161222"/>
                <a:gd name="connsiteX2766" fmla="*/ 2002155 w 2443162"/>
                <a:gd name="connsiteY2766" fmla="*/ 1352550 h 2161222"/>
                <a:gd name="connsiteX2767" fmla="*/ 2017395 w 2443162"/>
                <a:gd name="connsiteY2767" fmla="*/ 1314450 h 2161222"/>
                <a:gd name="connsiteX2768" fmla="*/ 2030730 w 2443162"/>
                <a:gd name="connsiteY2768" fmla="*/ 1275398 h 2161222"/>
                <a:gd name="connsiteX2769" fmla="*/ 2042160 w 2443162"/>
                <a:gd name="connsiteY2769" fmla="*/ 1234440 h 2161222"/>
                <a:gd name="connsiteX2770" fmla="*/ 2051685 w 2443162"/>
                <a:gd name="connsiteY2770" fmla="*/ 1193483 h 2161222"/>
                <a:gd name="connsiteX2771" fmla="*/ 2059305 w 2443162"/>
                <a:gd name="connsiteY2771" fmla="*/ 1152525 h 2161222"/>
                <a:gd name="connsiteX2772" fmla="*/ 2065020 w 2443162"/>
                <a:gd name="connsiteY2772" fmla="*/ 1109663 h 2161222"/>
                <a:gd name="connsiteX2773" fmla="*/ 2068830 w 2443162"/>
                <a:gd name="connsiteY2773" fmla="*/ 1066800 h 2161222"/>
                <a:gd name="connsiteX2774" fmla="*/ 2069783 w 2443162"/>
                <a:gd name="connsiteY2774" fmla="*/ 1022985 h 2161222"/>
                <a:gd name="connsiteX2775" fmla="*/ 2068830 w 2443162"/>
                <a:gd name="connsiteY2775" fmla="*/ 982028 h 2161222"/>
                <a:gd name="connsiteX2776" fmla="*/ 2065973 w 2443162"/>
                <a:gd name="connsiteY2776" fmla="*/ 942023 h 2161222"/>
                <a:gd name="connsiteX2777" fmla="*/ 2061210 w 2443162"/>
                <a:gd name="connsiteY2777" fmla="*/ 902018 h 2161222"/>
                <a:gd name="connsiteX2778" fmla="*/ 2054543 w 2443162"/>
                <a:gd name="connsiteY2778" fmla="*/ 862965 h 2161222"/>
                <a:gd name="connsiteX2779" fmla="*/ 2045970 w 2443162"/>
                <a:gd name="connsiteY2779" fmla="*/ 823913 h 2161222"/>
                <a:gd name="connsiteX2780" fmla="*/ 2035493 w 2443162"/>
                <a:gd name="connsiteY2780" fmla="*/ 785813 h 2161222"/>
                <a:gd name="connsiteX2781" fmla="*/ 2024063 w 2443162"/>
                <a:gd name="connsiteY2781" fmla="*/ 748665 h 2161222"/>
                <a:gd name="connsiteX2782" fmla="*/ 2010728 w 2443162"/>
                <a:gd name="connsiteY2782" fmla="*/ 712470 h 2161222"/>
                <a:gd name="connsiteX2783" fmla="*/ 1995488 w 2443162"/>
                <a:gd name="connsiteY2783" fmla="*/ 676275 h 2161222"/>
                <a:gd name="connsiteX2784" fmla="*/ 1979295 w 2443162"/>
                <a:gd name="connsiteY2784" fmla="*/ 641033 h 2161222"/>
                <a:gd name="connsiteX2785" fmla="*/ 1961198 w 2443162"/>
                <a:gd name="connsiteY2785" fmla="*/ 606743 h 2161222"/>
                <a:gd name="connsiteX2786" fmla="*/ 1941195 w 2443162"/>
                <a:gd name="connsiteY2786" fmla="*/ 573405 h 2161222"/>
                <a:gd name="connsiteX2787" fmla="*/ 1920240 w 2443162"/>
                <a:gd name="connsiteY2787" fmla="*/ 541973 h 2161222"/>
                <a:gd name="connsiteX2788" fmla="*/ 1898333 w 2443162"/>
                <a:gd name="connsiteY2788" fmla="*/ 511493 h 2161222"/>
                <a:gd name="connsiteX2789" fmla="*/ 1874520 w 2443162"/>
                <a:gd name="connsiteY2789" fmla="*/ 481013 h 2161222"/>
                <a:gd name="connsiteX2790" fmla="*/ 1848803 w 2443162"/>
                <a:gd name="connsiteY2790" fmla="*/ 452438 h 2161222"/>
                <a:gd name="connsiteX2791" fmla="*/ 1823085 w 2443162"/>
                <a:gd name="connsiteY2791" fmla="*/ 424815 h 2161222"/>
                <a:gd name="connsiteX2792" fmla="*/ 1795463 w 2443162"/>
                <a:gd name="connsiteY2792" fmla="*/ 399098 h 2161222"/>
                <a:gd name="connsiteX2793" fmla="*/ 1766888 w 2443162"/>
                <a:gd name="connsiteY2793" fmla="*/ 373380 h 2161222"/>
                <a:gd name="connsiteX2794" fmla="*/ 1736408 w 2443162"/>
                <a:gd name="connsiteY2794" fmla="*/ 349568 h 2161222"/>
                <a:gd name="connsiteX2795" fmla="*/ 1704975 w 2443162"/>
                <a:gd name="connsiteY2795" fmla="*/ 323850 h 2161222"/>
                <a:gd name="connsiteX2796" fmla="*/ 1672590 w 2443162"/>
                <a:gd name="connsiteY2796" fmla="*/ 302895 h 2161222"/>
                <a:gd name="connsiteX2797" fmla="*/ 1640205 w 2443162"/>
                <a:gd name="connsiteY2797" fmla="*/ 282893 h 2161222"/>
                <a:gd name="connsiteX2798" fmla="*/ 1605915 w 2443162"/>
                <a:gd name="connsiteY2798" fmla="*/ 264795 h 2161222"/>
                <a:gd name="connsiteX2799" fmla="*/ 1570673 w 2443162"/>
                <a:gd name="connsiteY2799" fmla="*/ 247650 h 2161222"/>
                <a:gd name="connsiteX2800" fmla="*/ 1534478 w 2443162"/>
                <a:gd name="connsiteY2800" fmla="*/ 232410 h 2161222"/>
                <a:gd name="connsiteX2801" fmla="*/ 1498283 w 2443162"/>
                <a:gd name="connsiteY2801" fmla="*/ 219075 h 2161222"/>
                <a:gd name="connsiteX2802" fmla="*/ 1461135 w 2443162"/>
                <a:gd name="connsiteY2802" fmla="*/ 206693 h 2161222"/>
                <a:gd name="connsiteX2803" fmla="*/ 1423035 w 2443162"/>
                <a:gd name="connsiteY2803" fmla="*/ 196215 h 2161222"/>
                <a:gd name="connsiteX2804" fmla="*/ 1384935 w 2443162"/>
                <a:gd name="connsiteY2804" fmla="*/ 187643 h 2161222"/>
                <a:gd name="connsiteX2805" fmla="*/ 1344930 w 2443162"/>
                <a:gd name="connsiteY2805" fmla="*/ 180975 h 2161222"/>
                <a:gd name="connsiteX2806" fmla="*/ 1304925 w 2443162"/>
                <a:gd name="connsiteY2806" fmla="*/ 176213 h 2161222"/>
                <a:gd name="connsiteX2807" fmla="*/ 1304925 w 2443162"/>
                <a:gd name="connsiteY2807" fmla="*/ 205740 h 2161222"/>
                <a:gd name="connsiteX2808" fmla="*/ 1322070 w 2443162"/>
                <a:gd name="connsiteY2808" fmla="*/ 207645 h 2161222"/>
                <a:gd name="connsiteX2809" fmla="*/ 1339215 w 2443162"/>
                <a:gd name="connsiteY2809" fmla="*/ 210503 h 2161222"/>
                <a:gd name="connsiteX2810" fmla="*/ 1356360 w 2443162"/>
                <a:gd name="connsiteY2810" fmla="*/ 213360 h 2161222"/>
                <a:gd name="connsiteX2811" fmla="*/ 1373505 w 2443162"/>
                <a:gd name="connsiteY2811" fmla="*/ 216218 h 2161222"/>
                <a:gd name="connsiteX2812" fmla="*/ 1390650 w 2443162"/>
                <a:gd name="connsiteY2812" fmla="*/ 220028 h 2161222"/>
                <a:gd name="connsiteX2813" fmla="*/ 1407795 w 2443162"/>
                <a:gd name="connsiteY2813" fmla="*/ 223838 h 2161222"/>
                <a:gd name="connsiteX2814" fmla="*/ 1424940 w 2443162"/>
                <a:gd name="connsiteY2814" fmla="*/ 227648 h 2161222"/>
                <a:gd name="connsiteX2815" fmla="*/ 1441133 w 2443162"/>
                <a:gd name="connsiteY2815" fmla="*/ 232410 h 2161222"/>
                <a:gd name="connsiteX2816" fmla="*/ 1457325 w 2443162"/>
                <a:gd name="connsiteY2816" fmla="*/ 237173 h 2161222"/>
                <a:gd name="connsiteX2817" fmla="*/ 1473518 w 2443162"/>
                <a:gd name="connsiteY2817" fmla="*/ 242888 h 2161222"/>
                <a:gd name="connsiteX2818" fmla="*/ 1489710 w 2443162"/>
                <a:gd name="connsiteY2818" fmla="*/ 248603 h 2161222"/>
                <a:gd name="connsiteX2819" fmla="*/ 1505903 w 2443162"/>
                <a:gd name="connsiteY2819" fmla="*/ 254318 h 2161222"/>
                <a:gd name="connsiteX2820" fmla="*/ 1522095 w 2443162"/>
                <a:gd name="connsiteY2820" fmla="*/ 260033 h 2161222"/>
                <a:gd name="connsiteX2821" fmla="*/ 1537335 w 2443162"/>
                <a:gd name="connsiteY2821" fmla="*/ 266700 h 2161222"/>
                <a:gd name="connsiteX2822" fmla="*/ 1552575 w 2443162"/>
                <a:gd name="connsiteY2822" fmla="*/ 273368 h 2161222"/>
                <a:gd name="connsiteX2823" fmla="*/ 1567815 w 2443162"/>
                <a:gd name="connsiteY2823" fmla="*/ 280035 h 2161222"/>
                <a:gd name="connsiteX2824" fmla="*/ 1583055 w 2443162"/>
                <a:gd name="connsiteY2824" fmla="*/ 287655 h 2161222"/>
                <a:gd name="connsiteX2825" fmla="*/ 1598295 w 2443162"/>
                <a:gd name="connsiteY2825" fmla="*/ 295275 h 2161222"/>
                <a:gd name="connsiteX2826" fmla="*/ 1613535 w 2443162"/>
                <a:gd name="connsiteY2826" fmla="*/ 302895 h 2161222"/>
                <a:gd name="connsiteX2827" fmla="*/ 1628775 w 2443162"/>
                <a:gd name="connsiteY2827" fmla="*/ 311468 h 2161222"/>
                <a:gd name="connsiteX2828" fmla="*/ 1643063 w 2443162"/>
                <a:gd name="connsiteY2828" fmla="*/ 320040 h 2161222"/>
                <a:gd name="connsiteX2829" fmla="*/ 1657350 w 2443162"/>
                <a:gd name="connsiteY2829" fmla="*/ 329565 h 2161222"/>
                <a:gd name="connsiteX2830" fmla="*/ 1671638 w 2443162"/>
                <a:gd name="connsiteY2830" fmla="*/ 339090 h 2161222"/>
                <a:gd name="connsiteX2831" fmla="*/ 1685925 w 2443162"/>
                <a:gd name="connsiteY2831" fmla="*/ 348615 h 2161222"/>
                <a:gd name="connsiteX2832" fmla="*/ 1700213 w 2443162"/>
                <a:gd name="connsiteY2832" fmla="*/ 358140 h 2161222"/>
                <a:gd name="connsiteX2833" fmla="*/ 1713548 w 2443162"/>
                <a:gd name="connsiteY2833" fmla="*/ 368618 h 2161222"/>
                <a:gd name="connsiteX2834" fmla="*/ 1726883 w 2443162"/>
                <a:gd name="connsiteY2834" fmla="*/ 379095 h 2161222"/>
                <a:gd name="connsiteX2835" fmla="*/ 1740218 w 2443162"/>
                <a:gd name="connsiteY2835" fmla="*/ 389573 h 2161222"/>
                <a:gd name="connsiteX2836" fmla="*/ 1752600 w 2443162"/>
                <a:gd name="connsiteY2836" fmla="*/ 400050 h 2161222"/>
                <a:gd name="connsiteX2837" fmla="*/ 1764983 w 2443162"/>
                <a:gd name="connsiteY2837" fmla="*/ 410528 h 2161222"/>
                <a:gd name="connsiteX2838" fmla="*/ 1777365 w 2443162"/>
                <a:gd name="connsiteY2838" fmla="*/ 421958 h 2161222"/>
                <a:gd name="connsiteX2839" fmla="*/ 1789748 w 2443162"/>
                <a:gd name="connsiteY2839" fmla="*/ 433388 h 2161222"/>
                <a:gd name="connsiteX2840" fmla="*/ 1696403 w 2443162"/>
                <a:gd name="connsiteY2840" fmla="*/ 525780 h 2161222"/>
                <a:gd name="connsiteX2841" fmla="*/ 1699260 w 2443162"/>
                <a:gd name="connsiteY2841" fmla="*/ 511493 h 2161222"/>
                <a:gd name="connsiteX2842" fmla="*/ 1688783 w 2443162"/>
                <a:gd name="connsiteY2842" fmla="*/ 507683 h 2161222"/>
                <a:gd name="connsiteX2843" fmla="*/ 1671638 w 2443162"/>
                <a:gd name="connsiteY2843" fmla="*/ 503873 h 2161222"/>
                <a:gd name="connsiteX2844" fmla="*/ 1675448 w 2443162"/>
                <a:gd name="connsiteY2844" fmla="*/ 493395 h 2161222"/>
                <a:gd name="connsiteX2845" fmla="*/ 1664970 w 2443162"/>
                <a:gd name="connsiteY2845" fmla="*/ 454343 h 2161222"/>
                <a:gd name="connsiteX2846" fmla="*/ 1640205 w 2443162"/>
                <a:gd name="connsiteY2846" fmla="*/ 429578 h 2161222"/>
                <a:gd name="connsiteX2847" fmla="*/ 1569720 w 2443162"/>
                <a:gd name="connsiteY2847" fmla="*/ 390525 h 2161222"/>
                <a:gd name="connsiteX2848" fmla="*/ 1563053 w 2443162"/>
                <a:gd name="connsiteY2848" fmla="*/ 398145 h 2161222"/>
                <a:gd name="connsiteX2849" fmla="*/ 1548765 w 2443162"/>
                <a:gd name="connsiteY2849" fmla="*/ 401955 h 2161222"/>
                <a:gd name="connsiteX2850" fmla="*/ 1566863 w 2443162"/>
                <a:gd name="connsiteY2850" fmla="*/ 430530 h 2161222"/>
                <a:gd name="connsiteX2851" fmla="*/ 1567815 w 2443162"/>
                <a:gd name="connsiteY2851" fmla="*/ 433388 h 2161222"/>
                <a:gd name="connsiteX2852" fmla="*/ 1556385 w 2443162"/>
                <a:gd name="connsiteY2852" fmla="*/ 426720 h 2161222"/>
                <a:gd name="connsiteX2853" fmla="*/ 1544955 w 2443162"/>
                <a:gd name="connsiteY2853" fmla="*/ 421005 h 2161222"/>
                <a:gd name="connsiteX2854" fmla="*/ 1533525 w 2443162"/>
                <a:gd name="connsiteY2854" fmla="*/ 414338 h 2161222"/>
                <a:gd name="connsiteX2855" fmla="*/ 1522095 w 2443162"/>
                <a:gd name="connsiteY2855" fmla="*/ 408623 h 2161222"/>
                <a:gd name="connsiteX2856" fmla="*/ 1516380 w 2443162"/>
                <a:gd name="connsiteY2856" fmla="*/ 402908 h 2161222"/>
                <a:gd name="connsiteX2857" fmla="*/ 1511618 w 2443162"/>
                <a:gd name="connsiteY2857" fmla="*/ 397193 h 2161222"/>
                <a:gd name="connsiteX2858" fmla="*/ 1505903 w 2443162"/>
                <a:gd name="connsiteY2858" fmla="*/ 391478 h 2161222"/>
                <a:gd name="connsiteX2859" fmla="*/ 1501140 w 2443162"/>
                <a:gd name="connsiteY2859" fmla="*/ 385763 h 2161222"/>
                <a:gd name="connsiteX2860" fmla="*/ 1495425 w 2443162"/>
                <a:gd name="connsiteY2860" fmla="*/ 380048 h 2161222"/>
                <a:gd name="connsiteX2861" fmla="*/ 1489710 w 2443162"/>
                <a:gd name="connsiteY2861" fmla="*/ 375285 h 2161222"/>
                <a:gd name="connsiteX2862" fmla="*/ 1483043 w 2443162"/>
                <a:gd name="connsiteY2862" fmla="*/ 369570 h 2161222"/>
                <a:gd name="connsiteX2863" fmla="*/ 1477328 w 2443162"/>
                <a:gd name="connsiteY2863" fmla="*/ 364808 h 2161222"/>
                <a:gd name="connsiteX2864" fmla="*/ 1463993 w 2443162"/>
                <a:gd name="connsiteY2864" fmla="*/ 355283 h 2161222"/>
                <a:gd name="connsiteX2865" fmla="*/ 1449705 w 2443162"/>
                <a:gd name="connsiteY2865" fmla="*/ 346710 h 2161222"/>
                <a:gd name="connsiteX2866" fmla="*/ 1435418 w 2443162"/>
                <a:gd name="connsiteY2866" fmla="*/ 338138 h 2161222"/>
                <a:gd name="connsiteX2867" fmla="*/ 1420178 w 2443162"/>
                <a:gd name="connsiteY2867" fmla="*/ 331470 h 2161222"/>
                <a:gd name="connsiteX2868" fmla="*/ 1404938 w 2443162"/>
                <a:gd name="connsiteY2868" fmla="*/ 324803 h 2161222"/>
                <a:gd name="connsiteX2869" fmla="*/ 1389698 w 2443162"/>
                <a:gd name="connsiteY2869" fmla="*/ 319088 h 2161222"/>
                <a:gd name="connsiteX2870" fmla="*/ 1374458 w 2443162"/>
                <a:gd name="connsiteY2870" fmla="*/ 313373 h 2161222"/>
                <a:gd name="connsiteX2871" fmla="*/ 1359218 w 2443162"/>
                <a:gd name="connsiteY2871" fmla="*/ 308610 h 2161222"/>
                <a:gd name="connsiteX2872" fmla="*/ 1343978 w 2443162"/>
                <a:gd name="connsiteY2872" fmla="*/ 304800 h 2161222"/>
                <a:gd name="connsiteX2873" fmla="*/ 1327785 w 2443162"/>
                <a:gd name="connsiteY2873" fmla="*/ 301943 h 2161222"/>
                <a:gd name="connsiteX2874" fmla="*/ 1312545 w 2443162"/>
                <a:gd name="connsiteY2874" fmla="*/ 300038 h 2161222"/>
                <a:gd name="connsiteX2875" fmla="*/ 1297305 w 2443162"/>
                <a:gd name="connsiteY2875" fmla="*/ 300038 h 2161222"/>
                <a:gd name="connsiteX2876" fmla="*/ 1297305 w 2443162"/>
                <a:gd name="connsiteY2876" fmla="*/ 300038 h 2161222"/>
                <a:gd name="connsiteX2877" fmla="*/ 1543050 w 2443162"/>
                <a:gd name="connsiteY2877" fmla="*/ 619125 h 2161222"/>
                <a:gd name="connsiteX2878" fmla="*/ 1546860 w 2443162"/>
                <a:gd name="connsiteY2878" fmla="*/ 608648 h 2161222"/>
                <a:gd name="connsiteX2879" fmla="*/ 1549718 w 2443162"/>
                <a:gd name="connsiteY2879" fmla="*/ 598170 h 2161222"/>
                <a:gd name="connsiteX2880" fmla="*/ 1552575 w 2443162"/>
                <a:gd name="connsiteY2880" fmla="*/ 587693 h 2161222"/>
                <a:gd name="connsiteX2881" fmla="*/ 1554480 w 2443162"/>
                <a:gd name="connsiteY2881" fmla="*/ 576263 h 2161222"/>
                <a:gd name="connsiteX2882" fmla="*/ 1556385 w 2443162"/>
                <a:gd name="connsiteY2882" fmla="*/ 564833 h 2161222"/>
                <a:gd name="connsiteX2883" fmla="*/ 1557338 w 2443162"/>
                <a:gd name="connsiteY2883" fmla="*/ 552450 h 2161222"/>
                <a:gd name="connsiteX2884" fmla="*/ 1558290 w 2443162"/>
                <a:gd name="connsiteY2884" fmla="*/ 540068 h 2161222"/>
                <a:gd name="connsiteX2885" fmla="*/ 1559243 w 2443162"/>
                <a:gd name="connsiteY2885" fmla="*/ 526733 h 2161222"/>
                <a:gd name="connsiteX2886" fmla="*/ 1559243 w 2443162"/>
                <a:gd name="connsiteY2886" fmla="*/ 517208 h 2161222"/>
                <a:gd name="connsiteX2887" fmla="*/ 1559243 w 2443162"/>
                <a:gd name="connsiteY2887" fmla="*/ 508635 h 2161222"/>
                <a:gd name="connsiteX2888" fmla="*/ 1558290 w 2443162"/>
                <a:gd name="connsiteY2888" fmla="*/ 500063 h 2161222"/>
                <a:gd name="connsiteX2889" fmla="*/ 1557338 w 2443162"/>
                <a:gd name="connsiteY2889" fmla="*/ 491490 h 2161222"/>
                <a:gd name="connsiteX2890" fmla="*/ 1555433 w 2443162"/>
                <a:gd name="connsiteY2890" fmla="*/ 482918 h 2161222"/>
                <a:gd name="connsiteX2891" fmla="*/ 1553528 w 2443162"/>
                <a:gd name="connsiteY2891" fmla="*/ 474345 h 2161222"/>
                <a:gd name="connsiteX2892" fmla="*/ 1550670 w 2443162"/>
                <a:gd name="connsiteY2892" fmla="*/ 465773 h 2161222"/>
                <a:gd name="connsiteX2893" fmla="*/ 1547813 w 2443162"/>
                <a:gd name="connsiteY2893" fmla="*/ 458153 h 2161222"/>
                <a:gd name="connsiteX2894" fmla="*/ 1555433 w 2443162"/>
                <a:gd name="connsiteY2894" fmla="*/ 462915 h 2161222"/>
                <a:gd name="connsiteX2895" fmla="*/ 1564005 w 2443162"/>
                <a:gd name="connsiteY2895" fmla="*/ 467678 h 2161222"/>
                <a:gd name="connsiteX2896" fmla="*/ 1571625 w 2443162"/>
                <a:gd name="connsiteY2896" fmla="*/ 472440 h 2161222"/>
                <a:gd name="connsiteX2897" fmla="*/ 1579245 w 2443162"/>
                <a:gd name="connsiteY2897" fmla="*/ 477203 h 2161222"/>
                <a:gd name="connsiteX2898" fmla="*/ 1583055 w 2443162"/>
                <a:gd name="connsiteY2898" fmla="*/ 495300 h 2161222"/>
                <a:gd name="connsiteX2899" fmla="*/ 1586865 w 2443162"/>
                <a:gd name="connsiteY2899" fmla="*/ 526733 h 2161222"/>
                <a:gd name="connsiteX2900" fmla="*/ 1586865 w 2443162"/>
                <a:gd name="connsiteY2900" fmla="*/ 544830 h 2161222"/>
                <a:gd name="connsiteX2901" fmla="*/ 1623060 w 2443162"/>
                <a:gd name="connsiteY2901" fmla="*/ 590550 h 2161222"/>
                <a:gd name="connsiteX2902" fmla="*/ 1604963 w 2443162"/>
                <a:gd name="connsiteY2902" fmla="*/ 594360 h 2161222"/>
                <a:gd name="connsiteX2903" fmla="*/ 1616393 w 2443162"/>
                <a:gd name="connsiteY2903" fmla="*/ 608648 h 2161222"/>
                <a:gd name="connsiteX2904" fmla="*/ 1584960 w 2443162"/>
                <a:gd name="connsiteY2904" fmla="*/ 639128 h 2161222"/>
                <a:gd name="connsiteX2905" fmla="*/ 1573530 w 2443162"/>
                <a:gd name="connsiteY2905" fmla="*/ 618173 h 2161222"/>
                <a:gd name="connsiteX2906" fmla="*/ 1564958 w 2443162"/>
                <a:gd name="connsiteY2906" fmla="*/ 638175 h 2161222"/>
                <a:gd name="connsiteX2907" fmla="*/ 1559243 w 2443162"/>
                <a:gd name="connsiteY2907" fmla="*/ 633413 h 2161222"/>
                <a:gd name="connsiteX2908" fmla="*/ 1553528 w 2443162"/>
                <a:gd name="connsiteY2908" fmla="*/ 628650 h 2161222"/>
                <a:gd name="connsiteX2909" fmla="*/ 1547813 w 2443162"/>
                <a:gd name="connsiteY2909" fmla="*/ 623888 h 2161222"/>
                <a:gd name="connsiteX2910" fmla="*/ 1543050 w 2443162"/>
                <a:gd name="connsiteY2910" fmla="*/ 619125 h 2161222"/>
                <a:gd name="connsiteX2911" fmla="*/ 1543050 w 2443162"/>
                <a:gd name="connsiteY2911" fmla="*/ 619125 h 2161222"/>
                <a:gd name="connsiteX2912" fmla="*/ 1140143 w 2443162"/>
                <a:gd name="connsiteY2912" fmla="*/ 318135 h 2161222"/>
                <a:gd name="connsiteX2913" fmla="*/ 1129665 w 2443162"/>
                <a:gd name="connsiteY2913" fmla="*/ 322898 h 2161222"/>
                <a:gd name="connsiteX2914" fmla="*/ 1119188 w 2443162"/>
                <a:gd name="connsiteY2914" fmla="*/ 327660 h 2161222"/>
                <a:gd name="connsiteX2915" fmla="*/ 1108710 w 2443162"/>
                <a:gd name="connsiteY2915" fmla="*/ 332423 h 2161222"/>
                <a:gd name="connsiteX2916" fmla="*/ 1098233 w 2443162"/>
                <a:gd name="connsiteY2916" fmla="*/ 337185 h 2161222"/>
                <a:gd name="connsiteX2917" fmla="*/ 1087755 w 2443162"/>
                <a:gd name="connsiteY2917" fmla="*/ 341948 h 2161222"/>
                <a:gd name="connsiteX2918" fmla="*/ 1077278 w 2443162"/>
                <a:gd name="connsiteY2918" fmla="*/ 346710 h 2161222"/>
                <a:gd name="connsiteX2919" fmla="*/ 1066800 w 2443162"/>
                <a:gd name="connsiteY2919" fmla="*/ 351473 h 2161222"/>
                <a:gd name="connsiteX2920" fmla="*/ 1056323 w 2443162"/>
                <a:gd name="connsiteY2920" fmla="*/ 356235 h 2161222"/>
                <a:gd name="connsiteX2921" fmla="*/ 1046798 w 2443162"/>
                <a:gd name="connsiteY2921" fmla="*/ 358140 h 2161222"/>
                <a:gd name="connsiteX2922" fmla="*/ 1038225 w 2443162"/>
                <a:gd name="connsiteY2922" fmla="*/ 360045 h 2161222"/>
                <a:gd name="connsiteX2923" fmla="*/ 1029653 w 2443162"/>
                <a:gd name="connsiteY2923" fmla="*/ 361950 h 2161222"/>
                <a:gd name="connsiteX2924" fmla="*/ 1021080 w 2443162"/>
                <a:gd name="connsiteY2924" fmla="*/ 364808 h 2161222"/>
                <a:gd name="connsiteX2925" fmla="*/ 1012508 w 2443162"/>
                <a:gd name="connsiteY2925" fmla="*/ 367665 h 2161222"/>
                <a:gd name="connsiteX2926" fmla="*/ 1004888 w 2443162"/>
                <a:gd name="connsiteY2926" fmla="*/ 370523 h 2161222"/>
                <a:gd name="connsiteX2927" fmla="*/ 997268 w 2443162"/>
                <a:gd name="connsiteY2927" fmla="*/ 374333 h 2161222"/>
                <a:gd name="connsiteX2928" fmla="*/ 989648 w 2443162"/>
                <a:gd name="connsiteY2928" fmla="*/ 378143 h 2161222"/>
                <a:gd name="connsiteX2929" fmla="*/ 982028 w 2443162"/>
                <a:gd name="connsiteY2929" fmla="*/ 382905 h 2161222"/>
                <a:gd name="connsiteX2930" fmla="*/ 974408 w 2443162"/>
                <a:gd name="connsiteY2930" fmla="*/ 387668 h 2161222"/>
                <a:gd name="connsiteX2931" fmla="*/ 967740 w 2443162"/>
                <a:gd name="connsiteY2931" fmla="*/ 392430 h 2161222"/>
                <a:gd name="connsiteX2932" fmla="*/ 961073 w 2443162"/>
                <a:gd name="connsiteY2932" fmla="*/ 397193 h 2161222"/>
                <a:gd name="connsiteX2933" fmla="*/ 954405 w 2443162"/>
                <a:gd name="connsiteY2933" fmla="*/ 402908 h 2161222"/>
                <a:gd name="connsiteX2934" fmla="*/ 947738 w 2443162"/>
                <a:gd name="connsiteY2934" fmla="*/ 408623 h 2161222"/>
                <a:gd name="connsiteX2935" fmla="*/ 942023 w 2443162"/>
                <a:gd name="connsiteY2935" fmla="*/ 414338 h 2161222"/>
                <a:gd name="connsiteX2936" fmla="*/ 936308 w 2443162"/>
                <a:gd name="connsiteY2936" fmla="*/ 420053 h 2161222"/>
                <a:gd name="connsiteX2937" fmla="*/ 930593 w 2443162"/>
                <a:gd name="connsiteY2937" fmla="*/ 426720 h 2161222"/>
                <a:gd name="connsiteX2938" fmla="*/ 923925 w 2443162"/>
                <a:gd name="connsiteY2938" fmla="*/ 428625 h 2161222"/>
                <a:gd name="connsiteX2939" fmla="*/ 919163 w 2443162"/>
                <a:gd name="connsiteY2939" fmla="*/ 436245 h 2161222"/>
                <a:gd name="connsiteX2940" fmla="*/ 914400 w 2443162"/>
                <a:gd name="connsiteY2940" fmla="*/ 443865 h 2161222"/>
                <a:gd name="connsiteX2941" fmla="*/ 909638 w 2443162"/>
                <a:gd name="connsiteY2941" fmla="*/ 451485 h 2161222"/>
                <a:gd name="connsiteX2942" fmla="*/ 904875 w 2443162"/>
                <a:gd name="connsiteY2942" fmla="*/ 460058 h 2161222"/>
                <a:gd name="connsiteX2943" fmla="*/ 900113 w 2443162"/>
                <a:gd name="connsiteY2943" fmla="*/ 468630 h 2161222"/>
                <a:gd name="connsiteX2944" fmla="*/ 895350 w 2443162"/>
                <a:gd name="connsiteY2944" fmla="*/ 476250 h 2161222"/>
                <a:gd name="connsiteX2945" fmla="*/ 891540 w 2443162"/>
                <a:gd name="connsiteY2945" fmla="*/ 485775 h 2161222"/>
                <a:gd name="connsiteX2946" fmla="*/ 887730 w 2443162"/>
                <a:gd name="connsiteY2946" fmla="*/ 495300 h 2161222"/>
                <a:gd name="connsiteX2947" fmla="*/ 883920 w 2443162"/>
                <a:gd name="connsiteY2947" fmla="*/ 504825 h 2161222"/>
                <a:gd name="connsiteX2948" fmla="*/ 880110 w 2443162"/>
                <a:gd name="connsiteY2948" fmla="*/ 515303 h 2161222"/>
                <a:gd name="connsiteX2949" fmla="*/ 877253 w 2443162"/>
                <a:gd name="connsiteY2949" fmla="*/ 525780 h 2161222"/>
                <a:gd name="connsiteX2950" fmla="*/ 874395 w 2443162"/>
                <a:gd name="connsiteY2950" fmla="*/ 536258 h 2161222"/>
                <a:gd name="connsiteX2951" fmla="*/ 871538 w 2443162"/>
                <a:gd name="connsiteY2951" fmla="*/ 546735 h 2161222"/>
                <a:gd name="connsiteX2952" fmla="*/ 868680 w 2443162"/>
                <a:gd name="connsiteY2952" fmla="*/ 558165 h 2161222"/>
                <a:gd name="connsiteX2953" fmla="*/ 868680 w 2443162"/>
                <a:gd name="connsiteY2953" fmla="*/ 558165 h 2161222"/>
                <a:gd name="connsiteX2954" fmla="*/ 868680 w 2443162"/>
                <a:gd name="connsiteY2954" fmla="*/ 558165 h 2161222"/>
                <a:gd name="connsiteX2955" fmla="*/ 868680 w 2443162"/>
                <a:gd name="connsiteY2955" fmla="*/ 560070 h 2161222"/>
                <a:gd name="connsiteX2956" fmla="*/ 868680 w 2443162"/>
                <a:gd name="connsiteY2956" fmla="*/ 562928 h 2161222"/>
                <a:gd name="connsiteX2957" fmla="*/ 866775 w 2443162"/>
                <a:gd name="connsiteY2957" fmla="*/ 562928 h 2161222"/>
                <a:gd name="connsiteX2958" fmla="*/ 865823 w 2443162"/>
                <a:gd name="connsiteY2958" fmla="*/ 571500 h 2161222"/>
                <a:gd name="connsiteX2959" fmla="*/ 863918 w 2443162"/>
                <a:gd name="connsiteY2959" fmla="*/ 578168 h 2161222"/>
                <a:gd name="connsiteX2960" fmla="*/ 861060 w 2443162"/>
                <a:gd name="connsiteY2960" fmla="*/ 584835 h 2161222"/>
                <a:gd name="connsiteX2961" fmla="*/ 857250 w 2443162"/>
                <a:gd name="connsiteY2961" fmla="*/ 589598 h 2161222"/>
                <a:gd name="connsiteX2962" fmla="*/ 853440 w 2443162"/>
                <a:gd name="connsiteY2962" fmla="*/ 595313 h 2161222"/>
                <a:gd name="connsiteX2963" fmla="*/ 849630 w 2443162"/>
                <a:gd name="connsiteY2963" fmla="*/ 600075 h 2161222"/>
                <a:gd name="connsiteX2964" fmla="*/ 844868 w 2443162"/>
                <a:gd name="connsiteY2964" fmla="*/ 603885 h 2161222"/>
                <a:gd name="connsiteX2965" fmla="*/ 840105 w 2443162"/>
                <a:gd name="connsiteY2965" fmla="*/ 607695 h 2161222"/>
                <a:gd name="connsiteX2966" fmla="*/ 834390 w 2443162"/>
                <a:gd name="connsiteY2966" fmla="*/ 610553 h 2161222"/>
                <a:gd name="connsiteX2967" fmla="*/ 828675 w 2443162"/>
                <a:gd name="connsiteY2967" fmla="*/ 613410 h 2161222"/>
                <a:gd name="connsiteX2968" fmla="*/ 822960 w 2443162"/>
                <a:gd name="connsiteY2968" fmla="*/ 615315 h 2161222"/>
                <a:gd name="connsiteX2969" fmla="*/ 819150 w 2443162"/>
                <a:gd name="connsiteY2969" fmla="*/ 617220 h 2161222"/>
                <a:gd name="connsiteX2970" fmla="*/ 812483 w 2443162"/>
                <a:gd name="connsiteY2970" fmla="*/ 619125 h 2161222"/>
                <a:gd name="connsiteX2971" fmla="*/ 805815 w 2443162"/>
                <a:gd name="connsiteY2971" fmla="*/ 620078 h 2161222"/>
                <a:gd name="connsiteX2972" fmla="*/ 799148 w 2443162"/>
                <a:gd name="connsiteY2972" fmla="*/ 620078 h 2161222"/>
                <a:gd name="connsiteX2973" fmla="*/ 792480 w 2443162"/>
                <a:gd name="connsiteY2973" fmla="*/ 620078 h 2161222"/>
                <a:gd name="connsiteX2974" fmla="*/ 796290 w 2443162"/>
                <a:gd name="connsiteY2974" fmla="*/ 621030 h 2161222"/>
                <a:gd name="connsiteX2975" fmla="*/ 801053 w 2443162"/>
                <a:gd name="connsiteY2975" fmla="*/ 621983 h 2161222"/>
                <a:gd name="connsiteX2976" fmla="*/ 806768 w 2443162"/>
                <a:gd name="connsiteY2976" fmla="*/ 621983 h 2161222"/>
                <a:gd name="connsiteX2977" fmla="*/ 812483 w 2443162"/>
                <a:gd name="connsiteY2977" fmla="*/ 621983 h 2161222"/>
                <a:gd name="connsiteX2978" fmla="*/ 818198 w 2443162"/>
                <a:gd name="connsiteY2978" fmla="*/ 621983 h 2161222"/>
                <a:gd name="connsiteX2979" fmla="*/ 824865 w 2443162"/>
                <a:gd name="connsiteY2979" fmla="*/ 621030 h 2161222"/>
                <a:gd name="connsiteX2980" fmla="*/ 832485 w 2443162"/>
                <a:gd name="connsiteY2980" fmla="*/ 619125 h 2161222"/>
                <a:gd name="connsiteX2981" fmla="*/ 841058 w 2443162"/>
                <a:gd name="connsiteY2981" fmla="*/ 616268 h 2161222"/>
                <a:gd name="connsiteX2982" fmla="*/ 837248 w 2443162"/>
                <a:gd name="connsiteY2982" fmla="*/ 625793 h 2161222"/>
                <a:gd name="connsiteX2983" fmla="*/ 834390 w 2443162"/>
                <a:gd name="connsiteY2983" fmla="*/ 635318 h 2161222"/>
                <a:gd name="connsiteX2984" fmla="*/ 833438 w 2443162"/>
                <a:gd name="connsiteY2984" fmla="*/ 638175 h 2161222"/>
                <a:gd name="connsiteX2985" fmla="*/ 832485 w 2443162"/>
                <a:gd name="connsiteY2985" fmla="*/ 642938 h 2161222"/>
                <a:gd name="connsiteX2986" fmla="*/ 831533 w 2443162"/>
                <a:gd name="connsiteY2986" fmla="*/ 647700 h 2161222"/>
                <a:gd name="connsiteX2987" fmla="*/ 831533 w 2443162"/>
                <a:gd name="connsiteY2987" fmla="*/ 652463 h 2161222"/>
                <a:gd name="connsiteX2988" fmla="*/ 834390 w 2443162"/>
                <a:gd name="connsiteY2988" fmla="*/ 645795 h 2161222"/>
                <a:gd name="connsiteX2989" fmla="*/ 837248 w 2443162"/>
                <a:gd name="connsiteY2989" fmla="*/ 639128 h 2161222"/>
                <a:gd name="connsiteX2990" fmla="*/ 840105 w 2443162"/>
                <a:gd name="connsiteY2990" fmla="*/ 632460 h 2161222"/>
                <a:gd name="connsiteX2991" fmla="*/ 843915 w 2443162"/>
                <a:gd name="connsiteY2991" fmla="*/ 626745 h 2161222"/>
                <a:gd name="connsiteX2992" fmla="*/ 846773 w 2443162"/>
                <a:gd name="connsiteY2992" fmla="*/ 621030 h 2161222"/>
                <a:gd name="connsiteX2993" fmla="*/ 850583 w 2443162"/>
                <a:gd name="connsiteY2993" fmla="*/ 615315 h 2161222"/>
                <a:gd name="connsiteX2994" fmla="*/ 854393 w 2443162"/>
                <a:gd name="connsiteY2994" fmla="*/ 609600 h 2161222"/>
                <a:gd name="connsiteX2995" fmla="*/ 858203 w 2443162"/>
                <a:gd name="connsiteY2995" fmla="*/ 604838 h 2161222"/>
                <a:gd name="connsiteX2996" fmla="*/ 862013 w 2443162"/>
                <a:gd name="connsiteY2996" fmla="*/ 600075 h 2161222"/>
                <a:gd name="connsiteX2997" fmla="*/ 865823 w 2443162"/>
                <a:gd name="connsiteY2997" fmla="*/ 595313 h 2161222"/>
                <a:gd name="connsiteX2998" fmla="*/ 869633 w 2443162"/>
                <a:gd name="connsiteY2998" fmla="*/ 591503 h 2161222"/>
                <a:gd name="connsiteX2999" fmla="*/ 873443 w 2443162"/>
                <a:gd name="connsiteY2999" fmla="*/ 588645 h 2161222"/>
                <a:gd name="connsiteX3000" fmla="*/ 878205 w 2443162"/>
                <a:gd name="connsiteY3000" fmla="*/ 585788 h 2161222"/>
                <a:gd name="connsiteX3001" fmla="*/ 882015 w 2443162"/>
                <a:gd name="connsiteY3001" fmla="*/ 583883 h 2161222"/>
                <a:gd name="connsiteX3002" fmla="*/ 886778 w 2443162"/>
                <a:gd name="connsiteY3002" fmla="*/ 581978 h 2161222"/>
                <a:gd name="connsiteX3003" fmla="*/ 891540 w 2443162"/>
                <a:gd name="connsiteY3003" fmla="*/ 581025 h 2161222"/>
                <a:gd name="connsiteX3004" fmla="*/ 893445 w 2443162"/>
                <a:gd name="connsiteY3004" fmla="*/ 581025 h 2161222"/>
                <a:gd name="connsiteX3005" fmla="*/ 924878 w 2443162"/>
                <a:gd name="connsiteY3005" fmla="*/ 571500 h 2161222"/>
                <a:gd name="connsiteX3006" fmla="*/ 936308 w 2443162"/>
                <a:gd name="connsiteY3006" fmla="*/ 565785 h 2161222"/>
                <a:gd name="connsiteX3007" fmla="*/ 947738 w 2443162"/>
                <a:gd name="connsiteY3007" fmla="*/ 560070 h 2161222"/>
                <a:gd name="connsiteX3008" fmla="*/ 959168 w 2443162"/>
                <a:gd name="connsiteY3008" fmla="*/ 554355 h 2161222"/>
                <a:gd name="connsiteX3009" fmla="*/ 969645 w 2443162"/>
                <a:gd name="connsiteY3009" fmla="*/ 548640 h 2161222"/>
                <a:gd name="connsiteX3010" fmla="*/ 981075 w 2443162"/>
                <a:gd name="connsiteY3010" fmla="*/ 541973 h 2161222"/>
                <a:gd name="connsiteX3011" fmla="*/ 991553 w 2443162"/>
                <a:gd name="connsiteY3011" fmla="*/ 535305 h 2161222"/>
                <a:gd name="connsiteX3012" fmla="*/ 1002030 w 2443162"/>
                <a:gd name="connsiteY3012" fmla="*/ 528638 h 2161222"/>
                <a:gd name="connsiteX3013" fmla="*/ 1012508 w 2443162"/>
                <a:gd name="connsiteY3013" fmla="*/ 521970 h 2161222"/>
                <a:gd name="connsiteX3014" fmla="*/ 1022985 w 2443162"/>
                <a:gd name="connsiteY3014" fmla="*/ 514350 h 2161222"/>
                <a:gd name="connsiteX3015" fmla="*/ 1032510 w 2443162"/>
                <a:gd name="connsiteY3015" fmla="*/ 506730 h 2161222"/>
                <a:gd name="connsiteX3016" fmla="*/ 1042035 w 2443162"/>
                <a:gd name="connsiteY3016" fmla="*/ 498158 h 2161222"/>
                <a:gd name="connsiteX3017" fmla="*/ 1051560 w 2443162"/>
                <a:gd name="connsiteY3017" fmla="*/ 489585 h 2161222"/>
                <a:gd name="connsiteX3018" fmla="*/ 1061085 w 2443162"/>
                <a:gd name="connsiteY3018" fmla="*/ 481013 h 2161222"/>
                <a:gd name="connsiteX3019" fmla="*/ 1070610 w 2443162"/>
                <a:gd name="connsiteY3019" fmla="*/ 471488 h 2161222"/>
                <a:gd name="connsiteX3020" fmla="*/ 1079183 w 2443162"/>
                <a:gd name="connsiteY3020" fmla="*/ 461963 h 2161222"/>
                <a:gd name="connsiteX3021" fmla="*/ 1087755 w 2443162"/>
                <a:gd name="connsiteY3021" fmla="*/ 451485 h 2161222"/>
                <a:gd name="connsiteX3022" fmla="*/ 1144905 w 2443162"/>
                <a:gd name="connsiteY3022" fmla="*/ 416243 h 2161222"/>
                <a:gd name="connsiteX3023" fmla="*/ 1140143 w 2443162"/>
                <a:gd name="connsiteY3023" fmla="*/ 318135 h 2161222"/>
                <a:gd name="connsiteX3024" fmla="*/ 1140143 w 2443162"/>
                <a:gd name="connsiteY3024" fmla="*/ 318135 h 2161222"/>
                <a:gd name="connsiteX3025" fmla="*/ 953453 w 2443162"/>
                <a:gd name="connsiteY3025" fmla="*/ 466725 h 2161222"/>
                <a:gd name="connsiteX3026" fmla="*/ 966788 w 2443162"/>
                <a:gd name="connsiteY3026" fmla="*/ 441008 h 2161222"/>
                <a:gd name="connsiteX3027" fmla="*/ 986790 w 2443162"/>
                <a:gd name="connsiteY3027" fmla="*/ 441008 h 2161222"/>
                <a:gd name="connsiteX3028" fmla="*/ 975360 w 2443162"/>
                <a:gd name="connsiteY3028" fmla="*/ 462915 h 2161222"/>
                <a:gd name="connsiteX3029" fmla="*/ 953453 w 2443162"/>
                <a:gd name="connsiteY3029" fmla="*/ 466725 h 2161222"/>
                <a:gd name="connsiteX3030" fmla="*/ 953453 w 2443162"/>
                <a:gd name="connsiteY3030" fmla="*/ 466725 h 2161222"/>
                <a:gd name="connsiteX3031" fmla="*/ 1222058 w 2443162"/>
                <a:gd name="connsiteY3031" fmla="*/ 0 h 2161222"/>
                <a:gd name="connsiteX3032" fmla="*/ 1204913 w 2443162"/>
                <a:gd name="connsiteY3032" fmla="*/ 0 h 2161222"/>
                <a:gd name="connsiteX3033" fmla="*/ 1186815 w 2443162"/>
                <a:gd name="connsiteY3033" fmla="*/ 6668 h 2161222"/>
                <a:gd name="connsiteX3034" fmla="*/ 1176338 w 2443162"/>
                <a:gd name="connsiteY3034" fmla="*/ 13335 h 2161222"/>
                <a:gd name="connsiteX3035" fmla="*/ 1165860 w 2443162"/>
                <a:gd name="connsiteY3035" fmla="*/ 23813 h 2161222"/>
                <a:gd name="connsiteX3036" fmla="*/ 1158240 w 2443162"/>
                <a:gd name="connsiteY3036" fmla="*/ 38100 h 2161222"/>
                <a:gd name="connsiteX3037" fmla="*/ 1154430 w 2443162"/>
                <a:gd name="connsiteY3037" fmla="*/ 52388 h 2161222"/>
                <a:gd name="connsiteX3038" fmla="*/ 1152525 w 2443162"/>
                <a:gd name="connsiteY3038" fmla="*/ 84773 h 2161222"/>
                <a:gd name="connsiteX3039" fmla="*/ 1152525 w 2443162"/>
                <a:gd name="connsiteY3039" fmla="*/ 120015 h 2161222"/>
                <a:gd name="connsiteX3040" fmla="*/ 1159193 w 2443162"/>
                <a:gd name="connsiteY3040" fmla="*/ 155258 h 2161222"/>
                <a:gd name="connsiteX3041" fmla="*/ 1169670 w 2443162"/>
                <a:gd name="connsiteY3041" fmla="*/ 211455 h 2161222"/>
                <a:gd name="connsiteX3042" fmla="*/ 1180148 w 2443162"/>
                <a:gd name="connsiteY3042" fmla="*/ 657225 h 2161222"/>
                <a:gd name="connsiteX3043" fmla="*/ 1225868 w 2443162"/>
                <a:gd name="connsiteY3043" fmla="*/ 646748 h 2161222"/>
                <a:gd name="connsiteX3044" fmla="*/ 1261110 w 2443162"/>
                <a:gd name="connsiteY3044" fmla="*/ 640080 h 2161222"/>
                <a:gd name="connsiteX3045" fmla="*/ 1271588 w 2443162"/>
                <a:gd name="connsiteY3045" fmla="*/ 212408 h 2161222"/>
                <a:gd name="connsiteX3046" fmla="*/ 1282065 w 2443162"/>
                <a:gd name="connsiteY3046" fmla="*/ 156210 h 2161222"/>
                <a:gd name="connsiteX3047" fmla="*/ 1285875 w 2443162"/>
                <a:gd name="connsiteY3047" fmla="*/ 120968 h 2161222"/>
                <a:gd name="connsiteX3048" fmla="*/ 1289685 w 2443162"/>
                <a:gd name="connsiteY3048" fmla="*/ 85725 h 2161222"/>
                <a:gd name="connsiteX3049" fmla="*/ 1289685 w 2443162"/>
                <a:gd name="connsiteY3049" fmla="*/ 53340 h 2161222"/>
                <a:gd name="connsiteX3050" fmla="*/ 1282065 w 2443162"/>
                <a:gd name="connsiteY3050" fmla="*/ 35243 h 2161222"/>
                <a:gd name="connsiteX3051" fmla="*/ 1278255 w 2443162"/>
                <a:gd name="connsiteY3051" fmla="*/ 24765 h 2161222"/>
                <a:gd name="connsiteX3052" fmla="*/ 1267778 w 2443162"/>
                <a:gd name="connsiteY3052" fmla="*/ 14288 h 2161222"/>
                <a:gd name="connsiteX3053" fmla="*/ 1257300 w 2443162"/>
                <a:gd name="connsiteY3053" fmla="*/ 7620 h 2161222"/>
                <a:gd name="connsiteX3054" fmla="*/ 1240155 w 2443162"/>
                <a:gd name="connsiteY3054" fmla="*/ 0 h 2161222"/>
                <a:gd name="connsiteX3055" fmla="*/ 1222058 w 2443162"/>
                <a:gd name="connsiteY3055" fmla="*/ 0 h 2161222"/>
                <a:gd name="connsiteX3056" fmla="*/ 1222058 w 2443162"/>
                <a:gd name="connsiteY3056" fmla="*/ 0 h 2161222"/>
                <a:gd name="connsiteX3057" fmla="*/ 1386840 w 2443162"/>
                <a:gd name="connsiteY3057" fmla="*/ 280035 h 2161222"/>
                <a:gd name="connsiteX3058" fmla="*/ 1394460 w 2443162"/>
                <a:gd name="connsiteY3058" fmla="*/ 272415 h 2161222"/>
                <a:gd name="connsiteX3059" fmla="*/ 1379220 w 2443162"/>
                <a:gd name="connsiteY3059" fmla="*/ 264795 h 2161222"/>
                <a:gd name="connsiteX3060" fmla="*/ 1335405 w 2443162"/>
                <a:gd name="connsiteY3060" fmla="*/ 264795 h 2161222"/>
                <a:gd name="connsiteX3061" fmla="*/ 1324928 w 2443162"/>
                <a:gd name="connsiteY3061" fmla="*/ 272415 h 2161222"/>
                <a:gd name="connsiteX3062" fmla="*/ 1299210 w 2443162"/>
                <a:gd name="connsiteY3062" fmla="*/ 268605 h 2161222"/>
                <a:gd name="connsiteX3063" fmla="*/ 1299210 w 2443162"/>
                <a:gd name="connsiteY3063" fmla="*/ 276225 h 2161222"/>
                <a:gd name="connsiteX3064" fmla="*/ 1343025 w 2443162"/>
                <a:gd name="connsiteY3064" fmla="*/ 280035 h 2161222"/>
                <a:gd name="connsiteX3065" fmla="*/ 1364933 w 2443162"/>
                <a:gd name="connsiteY3065" fmla="*/ 280035 h 2161222"/>
                <a:gd name="connsiteX3066" fmla="*/ 1386840 w 2443162"/>
                <a:gd name="connsiteY3066" fmla="*/ 280035 h 2161222"/>
                <a:gd name="connsiteX3067" fmla="*/ 1386840 w 2443162"/>
                <a:gd name="connsiteY3067" fmla="*/ 280035 h 2161222"/>
                <a:gd name="connsiteX3068" fmla="*/ 1303973 w 2443162"/>
                <a:gd name="connsiteY3068" fmla="*/ 1173480 h 2161222"/>
                <a:gd name="connsiteX3069" fmla="*/ 1303973 w 2443162"/>
                <a:gd name="connsiteY3069" fmla="*/ 1169670 h 2161222"/>
                <a:gd name="connsiteX3070" fmla="*/ 1296353 w 2443162"/>
                <a:gd name="connsiteY3070" fmla="*/ 1163003 h 2161222"/>
                <a:gd name="connsiteX3071" fmla="*/ 1281113 w 2443162"/>
                <a:gd name="connsiteY3071" fmla="*/ 1152525 h 2161222"/>
                <a:gd name="connsiteX3072" fmla="*/ 1277303 w 2443162"/>
                <a:gd name="connsiteY3072" fmla="*/ 1152525 h 2161222"/>
                <a:gd name="connsiteX3073" fmla="*/ 1277303 w 2443162"/>
                <a:gd name="connsiteY3073" fmla="*/ 1202055 h 2161222"/>
                <a:gd name="connsiteX3074" fmla="*/ 1295400 w 2443162"/>
                <a:gd name="connsiteY3074" fmla="*/ 1187768 h 2161222"/>
                <a:gd name="connsiteX3075" fmla="*/ 1303020 w 2443162"/>
                <a:gd name="connsiteY3075" fmla="*/ 1181100 h 2161222"/>
                <a:gd name="connsiteX3076" fmla="*/ 1303020 w 2443162"/>
                <a:gd name="connsiteY3076" fmla="*/ 1173480 h 2161222"/>
                <a:gd name="connsiteX3077" fmla="*/ 1303973 w 2443162"/>
                <a:gd name="connsiteY3077" fmla="*/ 1173480 h 2161222"/>
                <a:gd name="connsiteX3078" fmla="*/ 1830705 w 2443162"/>
                <a:gd name="connsiteY3078" fmla="*/ 715328 h 2161222"/>
                <a:gd name="connsiteX3079" fmla="*/ 1830705 w 2443162"/>
                <a:gd name="connsiteY3079" fmla="*/ 715328 h 2161222"/>
                <a:gd name="connsiteX3080" fmla="*/ 1836420 w 2443162"/>
                <a:gd name="connsiteY3080" fmla="*/ 717233 h 2161222"/>
                <a:gd name="connsiteX3081" fmla="*/ 1840230 w 2443162"/>
                <a:gd name="connsiteY3081" fmla="*/ 710565 h 2161222"/>
                <a:gd name="connsiteX3082" fmla="*/ 1815465 w 2443162"/>
                <a:gd name="connsiteY3082" fmla="*/ 668655 h 2161222"/>
                <a:gd name="connsiteX3083" fmla="*/ 1786890 w 2443162"/>
                <a:gd name="connsiteY3083" fmla="*/ 625793 h 2161222"/>
                <a:gd name="connsiteX3084" fmla="*/ 1763078 w 2443162"/>
                <a:gd name="connsiteY3084" fmla="*/ 606743 h 2161222"/>
                <a:gd name="connsiteX3085" fmla="*/ 1751648 w 2443162"/>
                <a:gd name="connsiteY3085" fmla="*/ 592455 h 2161222"/>
                <a:gd name="connsiteX3086" fmla="*/ 1740218 w 2443162"/>
                <a:gd name="connsiteY3086" fmla="*/ 578168 h 2161222"/>
                <a:gd name="connsiteX3087" fmla="*/ 1727835 w 2443162"/>
                <a:gd name="connsiteY3087" fmla="*/ 564833 h 2161222"/>
                <a:gd name="connsiteX3088" fmla="*/ 1715453 w 2443162"/>
                <a:gd name="connsiteY3088" fmla="*/ 551498 h 2161222"/>
                <a:gd name="connsiteX3089" fmla="*/ 1812608 w 2443162"/>
                <a:gd name="connsiteY3089" fmla="*/ 454343 h 2161222"/>
                <a:gd name="connsiteX3090" fmla="*/ 1825943 w 2443162"/>
                <a:gd name="connsiteY3090" fmla="*/ 467678 h 2161222"/>
                <a:gd name="connsiteX3091" fmla="*/ 1838325 w 2443162"/>
                <a:gd name="connsiteY3091" fmla="*/ 481965 h 2161222"/>
                <a:gd name="connsiteX3092" fmla="*/ 1850708 w 2443162"/>
                <a:gd name="connsiteY3092" fmla="*/ 496253 h 2161222"/>
                <a:gd name="connsiteX3093" fmla="*/ 1862138 w 2443162"/>
                <a:gd name="connsiteY3093" fmla="*/ 510540 h 2161222"/>
                <a:gd name="connsiteX3094" fmla="*/ 1873568 w 2443162"/>
                <a:gd name="connsiteY3094" fmla="*/ 525780 h 2161222"/>
                <a:gd name="connsiteX3095" fmla="*/ 1884998 w 2443162"/>
                <a:gd name="connsiteY3095" fmla="*/ 541020 h 2161222"/>
                <a:gd name="connsiteX3096" fmla="*/ 1895475 w 2443162"/>
                <a:gd name="connsiteY3096" fmla="*/ 556260 h 2161222"/>
                <a:gd name="connsiteX3097" fmla="*/ 1905953 w 2443162"/>
                <a:gd name="connsiteY3097" fmla="*/ 571500 h 2161222"/>
                <a:gd name="connsiteX3098" fmla="*/ 1916430 w 2443162"/>
                <a:gd name="connsiteY3098" fmla="*/ 586740 h 2161222"/>
                <a:gd name="connsiteX3099" fmla="*/ 1925955 w 2443162"/>
                <a:gd name="connsiteY3099" fmla="*/ 602933 h 2161222"/>
                <a:gd name="connsiteX3100" fmla="*/ 1935480 w 2443162"/>
                <a:gd name="connsiteY3100" fmla="*/ 619125 h 2161222"/>
                <a:gd name="connsiteX3101" fmla="*/ 1945005 w 2443162"/>
                <a:gd name="connsiteY3101" fmla="*/ 635318 h 2161222"/>
                <a:gd name="connsiteX3102" fmla="*/ 1953578 w 2443162"/>
                <a:gd name="connsiteY3102" fmla="*/ 651510 h 2161222"/>
                <a:gd name="connsiteX3103" fmla="*/ 1962150 w 2443162"/>
                <a:gd name="connsiteY3103" fmla="*/ 668655 h 2161222"/>
                <a:gd name="connsiteX3104" fmla="*/ 1969770 w 2443162"/>
                <a:gd name="connsiteY3104" fmla="*/ 685800 h 2161222"/>
                <a:gd name="connsiteX3105" fmla="*/ 1977390 w 2443162"/>
                <a:gd name="connsiteY3105" fmla="*/ 702945 h 2161222"/>
                <a:gd name="connsiteX3106" fmla="*/ 1985010 w 2443162"/>
                <a:gd name="connsiteY3106" fmla="*/ 721043 h 2161222"/>
                <a:gd name="connsiteX3107" fmla="*/ 1991678 w 2443162"/>
                <a:gd name="connsiteY3107" fmla="*/ 739140 h 2161222"/>
                <a:gd name="connsiteX3108" fmla="*/ 1997393 w 2443162"/>
                <a:gd name="connsiteY3108" fmla="*/ 757238 h 2161222"/>
                <a:gd name="connsiteX3109" fmla="*/ 2003108 w 2443162"/>
                <a:gd name="connsiteY3109" fmla="*/ 775335 h 2161222"/>
                <a:gd name="connsiteX3110" fmla="*/ 2008823 w 2443162"/>
                <a:gd name="connsiteY3110" fmla="*/ 794385 h 2161222"/>
                <a:gd name="connsiteX3111" fmla="*/ 2013585 w 2443162"/>
                <a:gd name="connsiteY3111" fmla="*/ 812483 h 2161222"/>
                <a:gd name="connsiteX3112" fmla="*/ 2018348 w 2443162"/>
                <a:gd name="connsiteY3112" fmla="*/ 831533 h 2161222"/>
                <a:gd name="connsiteX3113" fmla="*/ 2023110 w 2443162"/>
                <a:gd name="connsiteY3113" fmla="*/ 850583 h 2161222"/>
                <a:gd name="connsiteX3114" fmla="*/ 2026920 w 2443162"/>
                <a:gd name="connsiteY3114" fmla="*/ 869633 h 2161222"/>
                <a:gd name="connsiteX3115" fmla="*/ 2030730 w 2443162"/>
                <a:gd name="connsiteY3115" fmla="*/ 888683 h 2161222"/>
                <a:gd name="connsiteX3116" fmla="*/ 2033588 w 2443162"/>
                <a:gd name="connsiteY3116" fmla="*/ 907733 h 2161222"/>
                <a:gd name="connsiteX3117" fmla="*/ 2035493 w 2443162"/>
                <a:gd name="connsiteY3117" fmla="*/ 927735 h 2161222"/>
                <a:gd name="connsiteX3118" fmla="*/ 2037398 w 2443162"/>
                <a:gd name="connsiteY3118" fmla="*/ 947738 h 2161222"/>
                <a:gd name="connsiteX3119" fmla="*/ 2038350 w 2443162"/>
                <a:gd name="connsiteY3119" fmla="*/ 967740 h 2161222"/>
                <a:gd name="connsiteX3120" fmla="*/ 2039303 w 2443162"/>
                <a:gd name="connsiteY3120" fmla="*/ 987743 h 2161222"/>
                <a:gd name="connsiteX3121" fmla="*/ 2039303 w 2443162"/>
                <a:gd name="connsiteY3121" fmla="*/ 1007745 h 2161222"/>
                <a:gd name="connsiteX3122" fmla="*/ 1902143 w 2443162"/>
                <a:gd name="connsiteY3122" fmla="*/ 1007745 h 2161222"/>
                <a:gd name="connsiteX3123" fmla="*/ 1901190 w 2443162"/>
                <a:gd name="connsiteY3123" fmla="*/ 987743 h 2161222"/>
                <a:gd name="connsiteX3124" fmla="*/ 1900238 w 2443162"/>
                <a:gd name="connsiteY3124" fmla="*/ 967740 h 2161222"/>
                <a:gd name="connsiteX3125" fmla="*/ 1898333 w 2443162"/>
                <a:gd name="connsiteY3125" fmla="*/ 948690 h 2161222"/>
                <a:gd name="connsiteX3126" fmla="*/ 1896428 w 2443162"/>
                <a:gd name="connsiteY3126" fmla="*/ 929640 h 2161222"/>
                <a:gd name="connsiteX3127" fmla="*/ 1893570 w 2443162"/>
                <a:gd name="connsiteY3127" fmla="*/ 910590 h 2161222"/>
                <a:gd name="connsiteX3128" fmla="*/ 1889760 w 2443162"/>
                <a:gd name="connsiteY3128" fmla="*/ 891540 h 2161222"/>
                <a:gd name="connsiteX3129" fmla="*/ 1885950 w 2443162"/>
                <a:gd name="connsiteY3129" fmla="*/ 872490 h 2161222"/>
                <a:gd name="connsiteX3130" fmla="*/ 1881188 w 2443162"/>
                <a:gd name="connsiteY3130" fmla="*/ 854393 h 2161222"/>
                <a:gd name="connsiteX3131" fmla="*/ 1876425 w 2443162"/>
                <a:gd name="connsiteY3131" fmla="*/ 836295 h 2161222"/>
                <a:gd name="connsiteX3132" fmla="*/ 1871663 w 2443162"/>
                <a:gd name="connsiteY3132" fmla="*/ 818198 h 2161222"/>
                <a:gd name="connsiteX3133" fmla="*/ 1865948 w 2443162"/>
                <a:gd name="connsiteY3133" fmla="*/ 800100 h 2161222"/>
                <a:gd name="connsiteX3134" fmla="*/ 1859280 w 2443162"/>
                <a:gd name="connsiteY3134" fmla="*/ 782955 h 2161222"/>
                <a:gd name="connsiteX3135" fmla="*/ 1852613 w 2443162"/>
                <a:gd name="connsiteY3135" fmla="*/ 765810 h 2161222"/>
                <a:gd name="connsiteX3136" fmla="*/ 1844993 w 2443162"/>
                <a:gd name="connsiteY3136" fmla="*/ 748665 h 2161222"/>
                <a:gd name="connsiteX3137" fmla="*/ 1837373 w 2443162"/>
                <a:gd name="connsiteY3137" fmla="*/ 731520 h 2161222"/>
                <a:gd name="connsiteX3138" fmla="*/ 1830705 w 2443162"/>
                <a:gd name="connsiteY3138" fmla="*/ 715328 h 2161222"/>
                <a:gd name="connsiteX3139" fmla="*/ 1830705 w 2443162"/>
                <a:gd name="connsiteY3139" fmla="*/ 715328 h 2161222"/>
                <a:gd name="connsiteX3140" fmla="*/ 1635443 w 2443162"/>
                <a:gd name="connsiteY3140" fmla="*/ 633413 h 2161222"/>
                <a:gd name="connsiteX3141" fmla="*/ 1635443 w 2443162"/>
                <a:gd name="connsiteY3141" fmla="*/ 633413 h 2161222"/>
                <a:gd name="connsiteX3142" fmla="*/ 1635443 w 2443162"/>
                <a:gd name="connsiteY3142" fmla="*/ 633413 h 2161222"/>
                <a:gd name="connsiteX3143" fmla="*/ 1669733 w 2443162"/>
                <a:gd name="connsiteY3143" fmla="*/ 638175 h 2161222"/>
                <a:gd name="connsiteX3144" fmla="*/ 1676400 w 2443162"/>
                <a:gd name="connsiteY3144" fmla="*/ 648653 h 2161222"/>
                <a:gd name="connsiteX3145" fmla="*/ 1672590 w 2443162"/>
                <a:gd name="connsiteY3145" fmla="*/ 662940 h 2161222"/>
                <a:gd name="connsiteX3146" fmla="*/ 1718310 w 2443162"/>
                <a:gd name="connsiteY3146" fmla="*/ 691515 h 2161222"/>
                <a:gd name="connsiteX3147" fmla="*/ 1725930 w 2443162"/>
                <a:gd name="connsiteY3147" fmla="*/ 687705 h 2161222"/>
                <a:gd name="connsiteX3148" fmla="*/ 1784985 w 2443162"/>
                <a:gd name="connsiteY3148" fmla="*/ 758190 h 2161222"/>
                <a:gd name="connsiteX3149" fmla="*/ 1808798 w 2443162"/>
                <a:gd name="connsiteY3149" fmla="*/ 747713 h 2161222"/>
                <a:gd name="connsiteX3150" fmla="*/ 1809750 w 2443162"/>
                <a:gd name="connsiteY3150" fmla="*/ 746760 h 2161222"/>
                <a:gd name="connsiteX3151" fmla="*/ 1810703 w 2443162"/>
                <a:gd name="connsiteY3151" fmla="*/ 745808 h 2161222"/>
                <a:gd name="connsiteX3152" fmla="*/ 1817370 w 2443162"/>
                <a:gd name="connsiteY3152" fmla="*/ 761048 h 2161222"/>
                <a:gd name="connsiteX3153" fmla="*/ 1824038 w 2443162"/>
                <a:gd name="connsiteY3153" fmla="*/ 776288 h 2161222"/>
                <a:gd name="connsiteX3154" fmla="*/ 1829753 w 2443162"/>
                <a:gd name="connsiteY3154" fmla="*/ 791528 h 2161222"/>
                <a:gd name="connsiteX3155" fmla="*/ 1835468 w 2443162"/>
                <a:gd name="connsiteY3155" fmla="*/ 806768 h 2161222"/>
                <a:gd name="connsiteX3156" fmla="*/ 1840230 w 2443162"/>
                <a:gd name="connsiteY3156" fmla="*/ 822960 h 2161222"/>
                <a:gd name="connsiteX3157" fmla="*/ 1844993 w 2443162"/>
                <a:gd name="connsiteY3157" fmla="*/ 838200 h 2161222"/>
                <a:gd name="connsiteX3158" fmla="*/ 1849755 w 2443162"/>
                <a:gd name="connsiteY3158" fmla="*/ 854393 h 2161222"/>
                <a:gd name="connsiteX3159" fmla="*/ 1853565 w 2443162"/>
                <a:gd name="connsiteY3159" fmla="*/ 870585 h 2161222"/>
                <a:gd name="connsiteX3160" fmla="*/ 1857375 w 2443162"/>
                <a:gd name="connsiteY3160" fmla="*/ 886778 h 2161222"/>
                <a:gd name="connsiteX3161" fmla="*/ 1861185 w 2443162"/>
                <a:gd name="connsiteY3161" fmla="*/ 902970 h 2161222"/>
                <a:gd name="connsiteX3162" fmla="*/ 1864043 w 2443162"/>
                <a:gd name="connsiteY3162" fmla="*/ 920115 h 2161222"/>
                <a:gd name="connsiteX3163" fmla="*/ 1866900 w 2443162"/>
                <a:gd name="connsiteY3163" fmla="*/ 937260 h 2161222"/>
                <a:gd name="connsiteX3164" fmla="*/ 1868805 w 2443162"/>
                <a:gd name="connsiteY3164" fmla="*/ 954405 h 2161222"/>
                <a:gd name="connsiteX3165" fmla="*/ 1870710 w 2443162"/>
                <a:gd name="connsiteY3165" fmla="*/ 971550 h 2161222"/>
                <a:gd name="connsiteX3166" fmla="*/ 1871663 w 2443162"/>
                <a:gd name="connsiteY3166" fmla="*/ 988695 h 2161222"/>
                <a:gd name="connsiteX3167" fmla="*/ 1872615 w 2443162"/>
                <a:gd name="connsiteY3167" fmla="*/ 1006793 h 2161222"/>
                <a:gd name="connsiteX3168" fmla="*/ 1735455 w 2443162"/>
                <a:gd name="connsiteY3168" fmla="*/ 1006793 h 2161222"/>
                <a:gd name="connsiteX3169" fmla="*/ 1734503 w 2443162"/>
                <a:gd name="connsiteY3169" fmla="*/ 993458 h 2161222"/>
                <a:gd name="connsiteX3170" fmla="*/ 1733550 w 2443162"/>
                <a:gd name="connsiteY3170" fmla="*/ 980123 h 2161222"/>
                <a:gd name="connsiteX3171" fmla="*/ 1732598 w 2443162"/>
                <a:gd name="connsiteY3171" fmla="*/ 966788 h 2161222"/>
                <a:gd name="connsiteX3172" fmla="*/ 1730693 w 2443162"/>
                <a:gd name="connsiteY3172" fmla="*/ 953453 h 2161222"/>
                <a:gd name="connsiteX3173" fmla="*/ 1728788 w 2443162"/>
                <a:gd name="connsiteY3173" fmla="*/ 940118 h 2161222"/>
                <a:gd name="connsiteX3174" fmla="*/ 1726883 w 2443162"/>
                <a:gd name="connsiteY3174" fmla="*/ 926783 h 2161222"/>
                <a:gd name="connsiteX3175" fmla="*/ 1724025 w 2443162"/>
                <a:gd name="connsiteY3175" fmla="*/ 913448 h 2161222"/>
                <a:gd name="connsiteX3176" fmla="*/ 1721168 w 2443162"/>
                <a:gd name="connsiteY3176" fmla="*/ 901065 h 2161222"/>
                <a:gd name="connsiteX3177" fmla="*/ 1725930 w 2443162"/>
                <a:gd name="connsiteY3177" fmla="*/ 897255 h 2161222"/>
                <a:gd name="connsiteX3178" fmla="*/ 1732598 w 2443162"/>
                <a:gd name="connsiteY3178" fmla="*/ 855345 h 2161222"/>
                <a:gd name="connsiteX3179" fmla="*/ 1725930 w 2443162"/>
                <a:gd name="connsiteY3179" fmla="*/ 805815 h 2161222"/>
                <a:gd name="connsiteX3180" fmla="*/ 1711643 w 2443162"/>
                <a:gd name="connsiteY3180" fmla="*/ 752475 h 2161222"/>
                <a:gd name="connsiteX3181" fmla="*/ 1672590 w 2443162"/>
                <a:gd name="connsiteY3181" fmla="*/ 696278 h 2161222"/>
                <a:gd name="connsiteX3182" fmla="*/ 1679258 w 2443162"/>
                <a:gd name="connsiteY3182" fmla="*/ 700088 h 2161222"/>
                <a:gd name="connsiteX3183" fmla="*/ 1685925 w 2443162"/>
                <a:gd name="connsiteY3183" fmla="*/ 696278 h 2161222"/>
                <a:gd name="connsiteX3184" fmla="*/ 1654493 w 2443162"/>
                <a:gd name="connsiteY3184" fmla="*/ 675323 h 2161222"/>
                <a:gd name="connsiteX3185" fmla="*/ 1650683 w 2443162"/>
                <a:gd name="connsiteY3185" fmla="*/ 681990 h 2161222"/>
                <a:gd name="connsiteX3186" fmla="*/ 1682115 w 2443162"/>
                <a:gd name="connsiteY3186" fmla="*/ 727710 h 2161222"/>
                <a:gd name="connsiteX3187" fmla="*/ 1700213 w 2443162"/>
                <a:gd name="connsiteY3187" fmla="*/ 762953 h 2161222"/>
                <a:gd name="connsiteX3188" fmla="*/ 1714500 w 2443162"/>
                <a:gd name="connsiteY3188" fmla="*/ 798195 h 2161222"/>
                <a:gd name="connsiteX3189" fmla="*/ 1718310 w 2443162"/>
                <a:gd name="connsiteY3189" fmla="*/ 822960 h 2161222"/>
                <a:gd name="connsiteX3190" fmla="*/ 1725930 w 2443162"/>
                <a:gd name="connsiteY3190" fmla="*/ 864870 h 2161222"/>
                <a:gd name="connsiteX3191" fmla="*/ 1711643 w 2443162"/>
                <a:gd name="connsiteY3191" fmla="*/ 864870 h 2161222"/>
                <a:gd name="connsiteX3192" fmla="*/ 1707833 w 2443162"/>
                <a:gd name="connsiteY3192" fmla="*/ 854393 h 2161222"/>
                <a:gd name="connsiteX3193" fmla="*/ 1704023 w 2443162"/>
                <a:gd name="connsiteY3193" fmla="*/ 843915 h 2161222"/>
                <a:gd name="connsiteX3194" fmla="*/ 1700213 w 2443162"/>
                <a:gd name="connsiteY3194" fmla="*/ 833438 h 2161222"/>
                <a:gd name="connsiteX3195" fmla="*/ 1696403 w 2443162"/>
                <a:gd name="connsiteY3195" fmla="*/ 823913 h 2161222"/>
                <a:gd name="connsiteX3196" fmla="*/ 1700213 w 2443162"/>
                <a:gd name="connsiteY3196" fmla="*/ 818198 h 2161222"/>
                <a:gd name="connsiteX3197" fmla="*/ 1689735 w 2443162"/>
                <a:gd name="connsiteY3197" fmla="*/ 803910 h 2161222"/>
                <a:gd name="connsiteX3198" fmla="*/ 1689735 w 2443162"/>
                <a:gd name="connsiteY3198" fmla="*/ 785813 h 2161222"/>
                <a:gd name="connsiteX3199" fmla="*/ 1679258 w 2443162"/>
                <a:gd name="connsiteY3199" fmla="*/ 775335 h 2161222"/>
                <a:gd name="connsiteX3200" fmla="*/ 1674495 w 2443162"/>
                <a:gd name="connsiteY3200" fmla="*/ 775335 h 2161222"/>
                <a:gd name="connsiteX3201" fmla="*/ 1671638 w 2443162"/>
                <a:gd name="connsiteY3201" fmla="*/ 770573 h 2161222"/>
                <a:gd name="connsiteX3202" fmla="*/ 1668780 w 2443162"/>
                <a:gd name="connsiteY3202" fmla="*/ 766763 h 2161222"/>
                <a:gd name="connsiteX3203" fmla="*/ 1665923 w 2443162"/>
                <a:gd name="connsiteY3203" fmla="*/ 762000 h 2161222"/>
                <a:gd name="connsiteX3204" fmla="*/ 1663065 w 2443162"/>
                <a:gd name="connsiteY3204" fmla="*/ 757238 h 2161222"/>
                <a:gd name="connsiteX3205" fmla="*/ 1664018 w 2443162"/>
                <a:gd name="connsiteY3205" fmla="*/ 757238 h 2161222"/>
                <a:gd name="connsiteX3206" fmla="*/ 1667828 w 2443162"/>
                <a:gd name="connsiteY3206" fmla="*/ 757238 h 2161222"/>
                <a:gd name="connsiteX3207" fmla="*/ 1664018 w 2443162"/>
                <a:gd name="connsiteY3207" fmla="*/ 746760 h 2161222"/>
                <a:gd name="connsiteX3208" fmla="*/ 1670685 w 2443162"/>
                <a:gd name="connsiteY3208" fmla="*/ 742950 h 2161222"/>
                <a:gd name="connsiteX3209" fmla="*/ 1666875 w 2443162"/>
                <a:gd name="connsiteY3209" fmla="*/ 736283 h 2161222"/>
                <a:gd name="connsiteX3210" fmla="*/ 1653540 w 2443162"/>
                <a:gd name="connsiteY3210" fmla="*/ 742950 h 2161222"/>
                <a:gd name="connsiteX3211" fmla="*/ 1653540 w 2443162"/>
                <a:gd name="connsiteY3211" fmla="*/ 741998 h 2161222"/>
                <a:gd name="connsiteX3212" fmla="*/ 1660208 w 2443162"/>
                <a:gd name="connsiteY3212" fmla="*/ 721995 h 2161222"/>
                <a:gd name="connsiteX3213" fmla="*/ 1649730 w 2443162"/>
                <a:gd name="connsiteY3213" fmla="*/ 718185 h 2161222"/>
                <a:gd name="connsiteX3214" fmla="*/ 1644968 w 2443162"/>
                <a:gd name="connsiteY3214" fmla="*/ 727710 h 2161222"/>
                <a:gd name="connsiteX3215" fmla="*/ 1633538 w 2443162"/>
                <a:gd name="connsiteY3215" fmla="*/ 711518 h 2161222"/>
                <a:gd name="connsiteX3216" fmla="*/ 1621155 w 2443162"/>
                <a:gd name="connsiteY3216" fmla="*/ 696278 h 2161222"/>
                <a:gd name="connsiteX3217" fmla="*/ 1608773 w 2443162"/>
                <a:gd name="connsiteY3217" fmla="*/ 681038 h 2161222"/>
                <a:gd name="connsiteX3218" fmla="*/ 1595438 w 2443162"/>
                <a:gd name="connsiteY3218" fmla="*/ 666750 h 2161222"/>
                <a:gd name="connsiteX3219" fmla="*/ 1635443 w 2443162"/>
                <a:gd name="connsiteY3219" fmla="*/ 633413 h 2161222"/>
                <a:gd name="connsiteX3220" fmla="*/ 1635443 w 2443162"/>
                <a:gd name="connsiteY3220" fmla="*/ 633413 h 2161222"/>
                <a:gd name="connsiteX3221" fmla="*/ 1575435 w 2443162"/>
                <a:gd name="connsiteY3221" fmla="*/ 690563 h 2161222"/>
                <a:gd name="connsiteX3222" fmla="*/ 1577340 w 2443162"/>
                <a:gd name="connsiteY3222" fmla="*/ 692468 h 2161222"/>
                <a:gd name="connsiteX3223" fmla="*/ 1578293 w 2443162"/>
                <a:gd name="connsiteY3223" fmla="*/ 691515 h 2161222"/>
                <a:gd name="connsiteX3224" fmla="*/ 1596390 w 2443162"/>
                <a:gd name="connsiteY3224" fmla="*/ 714375 h 2161222"/>
                <a:gd name="connsiteX3225" fmla="*/ 1597343 w 2443162"/>
                <a:gd name="connsiteY3225" fmla="*/ 713423 h 2161222"/>
                <a:gd name="connsiteX3226" fmla="*/ 1608773 w 2443162"/>
                <a:gd name="connsiteY3226" fmla="*/ 727710 h 2161222"/>
                <a:gd name="connsiteX3227" fmla="*/ 1619250 w 2443162"/>
                <a:gd name="connsiteY3227" fmla="*/ 742950 h 2161222"/>
                <a:gd name="connsiteX3228" fmla="*/ 1628775 w 2443162"/>
                <a:gd name="connsiteY3228" fmla="*/ 758190 h 2161222"/>
                <a:gd name="connsiteX3229" fmla="*/ 1638300 w 2443162"/>
                <a:gd name="connsiteY3229" fmla="*/ 773430 h 2161222"/>
                <a:gd name="connsiteX3230" fmla="*/ 1636395 w 2443162"/>
                <a:gd name="connsiteY3230" fmla="*/ 774383 h 2161222"/>
                <a:gd name="connsiteX3231" fmla="*/ 1636395 w 2443162"/>
                <a:gd name="connsiteY3231" fmla="*/ 774383 h 2161222"/>
                <a:gd name="connsiteX3232" fmla="*/ 1623060 w 2443162"/>
                <a:gd name="connsiteY3232" fmla="*/ 778193 h 2161222"/>
                <a:gd name="connsiteX3233" fmla="*/ 1623060 w 2443162"/>
                <a:gd name="connsiteY3233" fmla="*/ 800100 h 2161222"/>
                <a:gd name="connsiteX3234" fmla="*/ 1662113 w 2443162"/>
                <a:gd name="connsiteY3234" fmla="*/ 824865 h 2161222"/>
                <a:gd name="connsiteX3235" fmla="*/ 1663065 w 2443162"/>
                <a:gd name="connsiteY3235" fmla="*/ 824865 h 2161222"/>
                <a:gd name="connsiteX3236" fmla="*/ 1664970 w 2443162"/>
                <a:gd name="connsiteY3236" fmla="*/ 824865 h 2161222"/>
                <a:gd name="connsiteX3237" fmla="*/ 1670685 w 2443162"/>
                <a:gd name="connsiteY3237" fmla="*/ 839153 h 2161222"/>
                <a:gd name="connsiteX3238" fmla="*/ 1676400 w 2443162"/>
                <a:gd name="connsiteY3238" fmla="*/ 853440 h 2161222"/>
                <a:gd name="connsiteX3239" fmla="*/ 1682115 w 2443162"/>
                <a:gd name="connsiteY3239" fmla="*/ 867728 h 2161222"/>
                <a:gd name="connsiteX3240" fmla="*/ 1686878 w 2443162"/>
                <a:gd name="connsiteY3240" fmla="*/ 882968 h 2161222"/>
                <a:gd name="connsiteX3241" fmla="*/ 1684020 w 2443162"/>
                <a:gd name="connsiteY3241" fmla="*/ 884873 h 2161222"/>
                <a:gd name="connsiteX3242" fmla="*/ 1684020 w 2443162"/>
                <a:gd name="connsiteY3242" fmla="*/ 884873 h 2161222"/>
                <a:gd name="connsiteX3243" fmla="*/ 1680210 w 2443162"/>
                <a:gd name="connsiteY3243" fmla="*/ 895350 h 2161222"/>
                <a:gd name="connsiteX3244" fmla="*/ 1665923 w 2443162"/>
                <a:gd name="connsiteY3244" fmla="*/ 902018 h 2161222"/>
                <a:gd name="connsiteX3245" fmla="*/ 1662113 w 2443162"/>
                <a:gd name="connsiteY3245" fmla="*/ 923925 h 2161222"/>
                <a:gd name="connsiteX3246" fmla="*/ 1651635 w 2443162"/>
                <a:gd name="connsiteY3246" fmla="*/ 927735 h 2161222"/>
                <a:gd name="connsiteX3247" fmla="*/ 1644968 w 2443162"/>
                <a:gd name="connsiteY3247" fmla="*/ 938213 h 2161222"/>
                <a:gd name="connsiteX3248" fmla="*/ 1638300 w 2443162"/>
                <a:gd name="connsiteY3248" fmla="*/ 933450 h 2161222"/>
                <a:gd name="connsiteX3249" fmla="*/ 1624013 w 2443162"/>
                <a:gd name="connsiteY3249" fmla="*/ 933450 h 2161222"/>
                <a:gd name="connsiteX3250" fmla="*/ 1630680 w 2443162"/>
                <a:gd name="connsiteY3250" fmla="*/ 922973 h 2161222"/>
                <a:gd name="connsiteX3251" fmla="*/ 1637348 w 2443162"/>
                <a:gd name="connsiteY3251" fmla="*/ 894398 h 2161222"/>
                <a:gd name="connsiteX3252" fmla="*/ 1647825 w 2443162"/>
                <a:gd name="connsiteY3252" fmla="*/ 887730 h 2161222"/>
                <a:gd name="connsiteX3253" fmla="*/ 1619250 w 2443162"/>
                <a:gd name="connsiteY3253" fmla="*/ 862965 h 2161222"/>
                <a:gd name="connsiteX3254" fmla="*/ 1598295 w 2443162"/>
                <a:gd name="connsiteY3254" fmla="*/ 869633 h 2161222"/>
                <a:gd name="connsiteX3255" fmla="*/ 1594485 w 2443162"/>
                <a:gd name="connsiteY3255" fmla="*/ 887730 h 2161222"/>
                <a:gd name="connsiteX3256" fmla="*/ 1583055 w 2443162"/>
                <a:gd name="connsiteY3256" fmla="*/ 902018 h 2161222"/>
                <a:gd name="connsiteX3257" fmla="*/ 1568768 w 2443162"/>
                <a:gd name="connsiteY3257" fmla="*/ 891540 h 2161222"/>
                <a:gd name="connsiteX3258" fmla="*/ 1564958 w 2443162"/>
                <a:gd name="connsiteY3258" fmla="*/ 881063 h 2161222"/>
                <a:gd name="connsiteX3259" fmla="*/ 1571625 w 2443162"/>
                <a:gd name="connsiteY3259" fmla="*/ 877253 h 2161222"/>
                <a:gd name="connsiteX3260" fmla="*/ 1575435 w 2443162"/>
                <a:gd name="connsiteY3260" fmla="*/ 883920 h 2161222"/>
                <a:gd name="connsiteX3261" fmla="*/ 1582103 w 2443162"/>
                <a:gd name="connsiteY3261" fmla="*/ 880110 h 2161222"/>
                <a:gd name="connsiteX3262" fmla="*/ 1578293 w 2443162"/>
                <a:gd name="connsiteY3262" fmla="*/ 869633 h 2161222"/>
                <a:gd name="connsiteX3263" fmla="*/ 1567815 w 2443162"/>
                <a:gd name="connsiteY3263" fmla="*/ 869633 h 2161222"/>
                <a:gd name="connsiteX3264" fmla="*/ 1567815 w 2443162"/>
                <a:gd name="connsiteY3264" fmla="*/ 874395 h 2161222"/>
                <a:gd name="connsiteX3265" fmla="*/ 1564005 w 2443162"/>
                <a:gd name="connsiteY3265" fmla="*/ 874395 h 2161222"/>
                <a:gd name="connsiteX3266" fmla="*/ 1532573 w 2443162"/>
                <a:gd name="connsiteY3266" fmla="*/ 838200 h 2161222"/>
                <a:gd name="connsiteX3267" fmla="*/ 1522095 w 2443162"/>
                <a:gd name="connsiteY3267" fmla="*/ 831533 h 2161222"/>
                <a:gd name="connsiteX3268" fmla="*/ 1525905 w 2443162"/>
                <a:gd name="connsiteY3268" fmla="*/ 827723 h 2161222"/>
                <a:gd name="connsiteX3269" fmla="*/ 1536383 w 2443162"/>
                <a:gd name="connsiteY3269" fmla="*/ 823913 h 2161222"/>
                <a:gd name="connsiteX3270" fmla="*/ 1525905 w 2443162"/>
                <a:gd name="connsiteY3270" fmla="*/ 820103 h 2161222"/>
                <a:gd name="connsiteX3271" fmla="*/ 1515428 w 2443162"/>
                <a:gd name="connsiteY3271" fmla="*/ 823913 h 2161222"/>
                <a:gd name="connsiteX3272" fmla="*/ 1523048 w 2443162"/>
                <a:gd name="connsiteY3272" fmla="*/ 830580 h 2161222"/>
                <a:gd name="connsiteX3273" fmla="*/ 1507808 w 2443162"/>
                <a:gd name="connsiteY3273" fmla="*/ 830580 h 2161222"/>
                <a:gd name="connsiteX3274" fmla="*/ 1500188 w 2443162"/>
                <a:gd name="connsiteY3274" fmla="*/ 820103 h 2161222"/>
                <a:gd name="connsiteX3275" fmla="*/ 1495425 w 2443162"/>
                <a:gd name="connsiteY3275" fmla="*/ 809625 h 2161222"/>
                <a:gd name="connsiteX3276" fmla="*/ 1486853 w 2443162"/>
                <a:gd name="connsiteY3276" fmla="*/ 799148 h 2161222"/>
                <a:gd name="connsiteX3277" fmla="*/ 1478280 w 2443162"/>
                <a:gd name="connsiteY3277" fmla="*/ 789623 h 2161222"/>
                <a:gd name="connsiteX3278" fmla="*/ 1575435 w 2443162"/>
                <a:gd name="connsiteY3278" fmla="*/ 690563 h 2161222"/>
                <a:gd name="connsiteX3279" fmla="*/ 1575435 w 2443162"/>
                <a:gd name="connsiteY3279" fmla="*/ 690563 h 2161222"/>
                <a:gd name="connsiteX3280" fmla="*/ 1484948 w 2443162"/>
                <a:gd name="connsiteY3280" fmla="*/ 841058 h 2161222"/>
                <a:gd name="connsiteX3281" fmla="*/ 1483043 w 2443162"/>
                <a:gd name="connsiteY3281" fmla="*/ 841058 h 2161222"/>
                <a:gd name="connsiteX3282" fmla="*/ 1483043 w 2443162"/>
                <a:gd name="connsiteY3282" fmla="*/ 842010 h 2161222"/>
                <a:gd name="connsiteX3283" fmla="*/ 1479233 w 2443162"/>
                <a:gd name="connsiteY3283" fmla="*/ 859155 h 2161222"/>
                <a:gd name="connsiteX3284" fmla="*/ 1464945 w 2443162"/>
                <a:gd name="connsiteY3284" fmla="*/ 848678 h 2161222"/>
                <a:gd name="connsiteX3285" fmla="*/ 1454468 w 2443162"/>
                <a:gd name="connsiteY3285" fmla="*/ 852488 h 2161222"/>
                <a:gd name="connsiteX3286" fmla="*/ 1461135 w 2443162"/>
                <a:gd name="connsiteY3286" fmla="*/ 862965 h 2161222"/>
                <a:gd name="connsiteX3287" fmla="*/ 1464945 w 2443162"/>
                <a:gd name="connsiteY3287" fmla="*/ 862965 h 2161222"/>
                <a:gd name="connsiteX3288" fmla="*/ 1461135 w 2443162"/>
                <a:gd name="connsiteY3288" fmla="*/ 877253 h 2161222"/>
                <a:gd name="connsiteX3289" fmla="*/ 1454468 w 2443162"/>
                <a:gd name="connsiteY3289" fmla="*/ 869633 h 2161222"/>
                <a:gd name="connsiteX3290" fmla="*/ 1440180 w 2443162"/>
                <a:gd name="connsiteY3290" fmla="*/ 865823 h 2161222"/>
                <a:gd name="connsiteX3291" fmla="*/ 1450658 w 2443162"/>
                <a:gd name="connsiteY3291" fmla="*/ 862013 h 2161222"/>
                <a:gd name="connsiteX3292" fmla="*/ 1450658 w 2443162"/>
                <a:gd name="connsiteY3292" fmla="*/ 858203 h 2161222"/>
                <a:gd name="connsiteX3293" fmla="*/ 1440180 w 2443162"/>
                <a:gd name="connsiteY3293" fmla="*/ 851535 h 2161222"/>
                <a:gd name="connsiteX3294" fmla="*/ 1443990 w 2443162"/>
                <a:gd name="connsiteY3294" fmla="*/ 823913 h 2161222"/>
                <a:gd name="connsiteX3295" fmla="*/ 1443990 w 2443162"/>
                <a:gd name="connsiteY3295" fmla="*/ 823913 h 2161222"/>
                <a:gd name="connsiteX3296" fmla="*/ 1459230 w 2443162"/>
                <a:gd name="connsiteY3296" fmla="*/ 808673 h 2161222"/>
                <a:gd name="connsiteX3297" fmla="*/ 1465898 w 2443162"/>
                <a:gd name="connsiteY3297" fmla="*/ 816293 h 2161222"/>
                <a:gd name="connsiteX3298" fmla="*/ 1471613 w 2443162"/>
                <a:gd name="connsiteY3298" fmla="*/ 823913 h 2161222"/>
                <a:gd name="connsiteX3299" fmla="*/ 1477328 w 2443162"/>
                <a:gd name="connsiteY3299" fmla="*/ 832485 h 2161222"/>
                <a:gd name="connsiteX3300" fmla="*/ 1484948 w 2443162"/>
                <a:gd name="connsiteY3300" fmla="*/ 841058 h 2161222"/>
                <a:gd name="connsiteX3301" fmla="*/ 1484948 w 2443162"/>
                <a:gd name="connsiteY3301" fmla="*/ 841058 h 2161222"/>
                <a:gd name="connsiteX3302" fmla="*/ 1548765 w 2443162"/>
                <a:gd name="connsiteY3302" fmla="*/ 1585913 h 2161222"/>
                <a:gd name="connsiteX3303" fmla="*/ 1562100 w 2443162"/>
                <a:gd name="connsiteY3303" fmla="*/ 1559243 h 2161222"/>
                <a:gd name="connsiteX3304" fmla="*/ 1554480 w 2443162"/>
                <a:gd name="connsiteY3304" fmla="*/ 1544955 h 2161222"/>
                <a:gd name="connsiteX3305" fmla="*/ 1575435 w 2443162"/>
                <a:gd name="connsiteY3305" fmla="*/ 1527810 h 2161222"/>
                <a:gd name="connsiteX3306" fmla="*/ 1575435 w 2443162"/>
                <a:gd name="connsiteY3306" fmla="*/ 1517333 h 2161222"/>
                <a:gd name="connsiteX3307" fmla="*/ 1558290 w 2443162"/>
                <a:gd name="connsiteY3307" fmla="*/ 1506855 h 2161222"/>
                <a:gd name="connsiteX3308" fmla="*/ 1571625 w 2443162"/>
                <a:gd name="connsiteY3308" fmla="*/ 1482090 h 2161222"/>
                <a:gd name="connsiteX3309" fmla="*/ 1592580 w 2443162"/>
                <a:gd name="connsiteY3309" fmla="*/ 1453515 h 2161222"/>
                <a:gd name="connsiteX3310" fmla="*/ 1571625 w 2443162"/>
                <a:gd name="connsiteY3310" fmla="*/ 1432560 h 2161222"/>
                <a:gd name="connsiteX3311" fmla="*/ 1558290 w 2443162"/>
                <a:gd name="connsiteY3311" fmla="*/ 1432560 h 2161222"/>
                <a:gd name="connsiteX3312" fmla="*/ 1548765 w 2443162"/>
                <a:gd name="connsiteY3312" fmla="*/ 1420178 h 2161222"/>
                <a:gd name="connsiteX3313" fmla="*/ 1556385 w 2443162"/>
                <a:gd name="connsiteY3313" fmla="*/ 1414463 h 2161222"/>
                <a:gd name="connsiteX3314" fmla="*/ 1564005 w 2443162"/>
                <a:gd name="connsiteY3314" fmla="*/ 1407795 h 2161222"/>
                <a:gd name="connsiteX3315" fmla="*/ 1570673 w 2443162"/>
                <a:gd name="connsiteY3315" fmla="*/ 1402080 h 2161222"/>
                <a:gd name="connsiteX3316" fmla="*/ 1577340 w 2443162"/>
                <a:gd name="connsiteY3316" fmla="*/ 1395413 h 2161222"/>
                <a:gd name="connsiteX3317" fmla="*/ 1626870 w 2443162"/>
                <a:gd name="connsiteY3317" fmla="*/ 1445895 h 2161222"/>
                <a:gd name="connsiteX3318" fmla="*/ 1626870 w 2443162"/>
                <a:gd name="connsiteY3318" fmla="*/ 1454468 h 2161222"/>
                <a:gd name="connsiteX3319" fmla="*/ 1626870 w 2443162"/>
                <a:gd name="connsiteY3319" fmla="*/ 1454468 h 2161222"/>
                <a:gd name="connsiteX3320" fmla="*/ 1636395 w 2443162"/>
                <a:gd name="connsiteY3320" fmla="*/ 1455420 h 2161222"/>
                <a:gd name="connsiteX3321" fmla="*/ 1673543 w 2443162"/>
                <a:gd name="connsiteY3321" fmla="*/ 1493520 h 2161222"/>
                <a:gd name="connsiteX3322" fmla="*/ 1659255 w 2443162"/>
                <a:gd name="connsiteY3322" fmla="*/ 1506855 h 2161222"/>
                <a:gd name="connsiteX3323" fmla="*/ 1644968 w 2443162"/>
                <a:gd name="connsiteY3323" fmla="*/ 1520190 h 2161222"/>
                <a:gd name="connsiteX3324" fmla="*/ 1629728 w 2443162"/>
                <a:gd name="connsiteY3324" fmla="*/ 1532573 h 2161222"/>
                <a:gd name="connsiteX3325" fmla="*/ 1614488 w 2443162"/>
                <a:gd name="connsiteY3325" fmla="*/ 1544955 h 2161222"/>
                <a:gd name="connsiteX3326" fmla="*/ 1598295 w 2443162"/>
                <a:gd name="connsiteY3326" fmla="*/ 1556385 h 2161222"/>
                <a:gd name="connsiteX3327" fmla="*/ 1582103 w 2443162"/>
                <a:gd name="connsiteY3327" fmla="*/ 1567815 h 2161222"/>
                <a:gd name="connsiteX3328" fmla="*/ 1565910 w 2443162"/>
                <a:gd name="connsiteY3328" fmla="*/ 1578293 h 2161222"/>
                <a:gd name="connsiteX3329" fmla="*/ 1548765 w 2443162"/>
                <a:gd name="connsiteY3329" fmla="*/ 1585913 h 2161222"/>
                <a:gd name="connsiteX3330" fmla="*/ 1548765 w 2443162"/>
                <a:gd name="connsiteY3330" fmla="*/ 1585913 h 2161222"/>
                <a:gd name="connsiteX3331" fmla="*/ 1560195 w 2443162"/>
                <a:gd name="connsiteY3331" fmla="*/ 1335405 h 2161222"/>
                <a:gd name="connsiteX3332" fmla="*/ 1564958 w 2443162"/>
                <a:gd name="connsiteY3332" fmla="*/ 1323023 h 2161222"/>
                <a:gd name="connsiteX3333" fmla="*/ 1550670 w 2443162"/>
                <a:gd name="connsiteY3333" fmla="*/ 1280160 h 2161222"/>
                <a:gd name="connsiteX3334" fmla="*/ 1533525 w 2443162"/>
                <a:gd name="connsiteY3334" fmla="*/ 1308735 h 2161222"/>
                <a:gd name="connsiteX3335" fmla="*/ 1520190 w 2443162"/>
                <a:gd name="connsiteY3335" fmla="*/ 1295400 h 2161222"/>
                <a:gd name="connsiteX3336" fmla="*/ 1525905 w 2443162"/>
                <a:gd name="connsiteY3336" fmla="*/ 1287780 h 2161222"/>
                <a:gd name="connsiteX3337" fmla="*/ 1540193 w 2443162"/>
                <a:gd name="connsiteY3337" fmla="*/ 1263015 h 2161222"/>
                <a:gd name="connsiteX3338" fmla="*/ 1533525 w 2443162"/>
                <a:gd name="connsiteY3338" fmla="*/ 1256348 h 2161222"/>
                <a:gd name="connsiteX3339" fmla="*/ 1544003 w 2443162"/>
                <a:gd name="connsiteY3339" fmla="*/ 1235393 h 2161222"/>
                <a:gd name="connsiteX3340" fmla="*/ 1540193 w 2443162"/>
                <a:gd name="connsiteY3340" fmla="*/ 1218248 h 2161222"/>
                <a:gd name="connsiteX3341" fmla="*/ 1536383 w 2443162"/>
                <a:gd name="connsiteY3341" fmla="*/ 1200150 h 2161222"/>
                <a:gd name="connsiteX3342" fmla="*/ 1522095 w 2443162"/>
                <a:gd name="connsiteY3342" fmla="*/ 1196340 h 2161222"/>
                <a:gd name="connsiteX3343" fmla="*/ 1518285 w 2443162"/>
                <a:gd name="connsiteY3343" fmla="*/ 1206818 h 2161222"/>
                <a:gd name="connsiteX3344" fmla="*/ 1514475 w 2443162"/>
                <a:gd name="connsiteY3344" fmla="*/ 1204913 h 2161222"/>
                <a:gd name="connsiteX3345" fmla="*/ 1522095 w 2443162"/>
                <a:gd name="connsiteY3345" fmla="*/ 1192530 h 2161222"/>
                <a:gd name="connsiteX3346" fmla="*/ 1528763 w 2443162"/>
                <a:gd name="connsiteY3346" fmla="*/ 1180148 h 2161222"/>
                <a:gd name="connsiteX3347" fmla="*/ 1534478 w 2443162"/>
                <a:gd name="connsiteY3347" fmla="*/ 1166813 h 2161222"/>
                <a:gd name="connsiteX3348" fmla="*/ 1540193 w 2443162"/>
                <a:gd name="connsiteY3348" fmla="*/ 1153478 h 2161222"/>
                <a:gd name="connsiteX3349" fmla="*/ 1552575 w 2443162"/>
                <a:gd name="connsiteY3349" fmla="*/ 1147763 h 2161222"/>
                <a:gd name="connsiteX3350" fmla="*/ 1560195 w 2443162"/>
                <a:gd name="connsiteY3350" fmla="*/ 1140143 h 2161222"/>
                <a:gd name="connsiteX3351" fmla="*/ 1564005 w 2443162"/>
                <a:gd name="connsiteY3351" fmla="*/ 1143953 h 2161222"/>
                <a:gd name="connsiteX3352" fmla="*/ 1570673 w 2443162"/>
                <a:gd name="connsiteY3352" fmla="*/ 1133475 h 2161222"/>
                <a:gd name="connsiteX3353" fmla="*/ 1564005 w 2443162"/>
                <a:gd name="connsiteY3353" fmla="*/ 1126808 h 2161222"/>
                <a:gd name="connsiteX3354" fmla="*/ 1570673 w 2443162"/>
                <a:gd name="connsiteY3354" fmla="*/ 1122998 h 2161222"/>
                <a:gd name="connsiteX3355" fmla="*/ 1581150 w 2443162"/>
                <a:gd name="connsiteY3355" fmla="*/ 1126808 h 2161222"/>
                <a:gd name="connsiteX3356" fmla="*/ 1602105 w 2443162"/>
                <a:gd name="connsiteY3356" fmla="*/ 1126808 h 2161222"/>
                <a:gd name="connsiteX3357" fmla="*/ 1616393 w 2443162"/>
                <a:gd name="connsiteY3357" fmla="*/ 1122998 h 2161222"/>
                <a:gd name="connsiteX3358" fmla="*/ 1651635 w 2443162"/>
                <a:gd name="connsiteY3358" fmla="*/ 1112520 h 2161222"/>
                <a:gd name="connsiteX3359" fmla="*/ 1644968 w 2443162"/>
                <a:gd name="connsiteY3359" fmla="*/ 1102043 h 2161222"/>
                <a:gd name="connsiteX3360" fmla="*/ 1641158 w 2443162"/>
                <a:gd name="connsiteY3360" fmla="*/ 1087755 h 2161222"/>
                <a:gd name="connsiteX3361" fmla="*/ 1659255 w 2443162"/>
                <a:gd name="connsiteY3361" fmla="*/ 1094423 h 2161222"/>
                <a:gd name="connsiteX3362" fmla="*/ 1665923 w 2443162"/>
                <a:gd name="connsiteY3362" fmla="*/ 1090613 h 2161222"/>
                <a:gd name="connsiteX3363" fmla="*/ 1662113 w 2443162"/>
                <a:gd name="connsiteY3363" fmla="*/ 1076325 h 2161222"/>
                <a:gd name="connsiteX3364" fmla="*/ 1641158 w 2443162"/>
                <a:gd name="connsiteY3364" fmla="*/ 1083945 h 2161222"/>
                <a:gd name="connsiteX3365" fmla="*/ 1616393 w 2443162"/>
                <a:gd name="connsiteY3365" fmla="*/ 1080135 h 2161222"/>
                <a:gd name="connsiteX3366" fmla="*/ 1599248 w 2443162"/>
                <a:gd name="connsiteY3366" fmla="*/ 1041083 h 2161222"/>
                <a:gd name="connsiteX3367" fmla="*/ 1600200 w 2443162"/>
                <a:gd name="connsiteY3367" fmla="*/ 1041083 h 2161222"/>
                <a:gd name="connsiteX3368" fmla="*/ 1600200 w 2443162"/>
                <a:gd name="connsiteY3368" fmla="*/ 1041083 h 2161222"/>
                <a:gd name="connsiteX3369" fmla="*/ 1598295 w 2443162"/>
                <a:gd name="connsiteY3369" fmla="*/ 1038225 h 2161222"/>
                <a:gd name="connsiteX3370" fmla="*/ 1706880 w 2443162"/>
                <a:gd name="connsiteY3370" fmla="*/ 1038225 h 2161222"/>
                <a:gd name="connsiteX3371" fmla="*/ 1705928 w 2443162"/>
                <a:gd name="connsiteY3371" fmla="*/ 1049655 h 2161222"/>
                <a:gd name="connsiteX3372" fmla="*/ 1704975 w 2443162"/>
                <a:gd name="connsiteY3372" fmla="*/ 1061085 h 2161222"/>
                <a:gd name="connsiteX3373" fmla="*/ 1704023 w 2443162"/>
                <a:gd name="connsiteY3373" fmla="*/ 1072515 h 2161222"/>
                <a:gd name="connsiteX3374" fmla="*/ 1703070 w 2443162"/>
                <a:gd name="connsiteY3374" fmla="*/ 1083945 h 2161222"/>
                <a:gd name="connsiteX3375" fmla="*/ 1702118 w 2443162"/>
                <a:gd name="connsiteY3375" fmla="*/ 1094423 h 2161222"/>
                <a:gd name="connsiteX3376" fmla="*/ 1700213 w 2443162"/>
                <a:gd name="connsiteY3376" fmla="*/ 1104900 h 2161222"/>
                <a:gd name="connsiteX3377" fmla="*/ 1698308 w 2443162"/>
                <a:gd name="connsiteY3377" fmla="*/ 1115378 h 2161222"/>
                <a:gd name="connsiteX3378" fmla="*/ 1696403 w 2443162"/>
                <a:gd name="connsiteY3378" fmla="*/ 1125855 h 2161222"/>
                <a:gd name="connsiteX3379" fmla="*/ 1693545 w 2443162"/>
                <a:gd name="connsiteY3379" fmla="*/ 1136333 h 2161222"/>
                <a:gd name="connsiteX3380" fmla="*/ 1690688 w 2443162"/>
                <a:gd name="connsiteY3380" fmla="*/ 1146810 h 2161222"/>
                <a:gd name="connsiteX3381" fmla="*/ 1687830 w 2443162"/>
                <a:gd name="connsiteY3381" fmla="*/ 1157288 h 2161222"/>
                <a:gd name="connsiteX3382" fmla="*/ 1684973 w 2443162"/>
                <a:gd name="connsiteY3382" fmla="*/ 1167765 h 2161222"/>
                <a:gd name="connsiteX3383" fmla="*/ 1681163 w 2443162"/>
                <a:gd name="connsiteY3383" fmla="*/ 1177290 h 2161222"/>
                <a:gd name="connsiteX3384" fmla="*/ 1677353 w 2443162"/>
                <a:gd name="connsiteY3384" fmla="*/ 1187768 h 2161222"/>
                <a:gd name="connsiteX3385" fmla="*/ 1673543 w 2443162"/>
                <a:gd name="connsiteY3385" fmla="*/ 1198245 h 2161222"/>
                <a:gd name="connsiteX3386" fmla="*/ 1669733 w 2443162"/>
                <a:gd name="connsiteY3386" fmla="*/ 1208723 h 2161222"/>
                <a:gd name="connsiteX3387" fmla="*/ 1664970 w 2443162"/>
                <a:gd name="connsiteY3387" fmla="*/ 1218248 h 2161222"/>
                <a:gd name="connsiteX3388" fmla="*/ 1661160 w 2443162"/>
                <a:gd name="connsiteY3388" fmla="*/ 1227773 h 2161222"/>
                <a:gd name="connsiteX3389" fmla="*/ 1656398 w 2443162"/>
                <a:gd name="connsiteY3389" fmla="*/ 1237298 h 2161222"/>
                <a:gd name="connsiteX3390" fmla="*/ 1651635 w 2443162"/>
                <a:gd name="connsiteY3390" fmla="*/ 1246823 h 2161222"/>
                <a:gd name="connsiteX3391" fmla="*/ 1646873 w 2443162"/>
                <a:gd name="connsiteY3391" fmla="*/ 1256348 h 2161222"/>
                <a:gd name="connsiteX3392" fmla="*/ 1642110 w 2443162"/>
                <a:gd name="connsiteY3392" fmla="*/ 1265873 h 2161222"/>
                <a:gd name="connsiteX3393" fmla="*/ 1636395 w 2443162"/>
                <a:gd name="connsiteY3393" fmla="*/ 1275398 h 2161222"/>
                <a:gd name="connsiteX3394" fmla="*/ 1630680 w 2443162"/>
                <a:gd name="connsiteY3394" fmla="*/ 1284923 h 2161222"/>
                <a:gd name="connsiteX3395" fmla="*/ 1624965 w 2443162"/>
                <a:gd name="connsiteY3395" fmla="*/ 1293495 h 2161222"/>
                <a:gd name="connsiteX3396" fmla="*/ 1619250 w 2443162"/>
                <a:gd name="connsiteY3396" fmla="*/ 1302068 h 2161222"/>
                <a:gd name="connsiteX3397" fmla="*/ 1613535 w 2443162"/>
                <a:gd name="connsiteY3397" fmla="*/ 1310640 h 2161222"/>
                <a:gd name="connsiteX3398" fmla="*/ 1606868 w 2443162"/>
                <a:gd name="connsiteY3398" fmla="*/ 1319213 h 2161222"/>
                <a:gd name="connsiteX3399" fmla="*/ 1600200 w 2443162"/>
                <a:gd name="connsiteY3399" fmla="*/ 1327785 h 2161222"/>
                <a:gd name="connsiteX3400" fmla="*/ 1593533 w 2443162"/>
                <a:gd name="connsiteY3400" fmla="*/ 1336358 h 2161222"/>
                <a:gd name="connsiteX3401" fmla="*/ 1586865 w 2443162"/>
                <a:gd name="connsiteY3401" fmla="*/ 1344930 h 2161222"/>
                <a:gd name="connsiteX3402" fmla="*/ 1579245 w 2443162"/>
                <a:gd name="connsiteY3402" fmla="*/ 1352550 h 2161222"/>
                <a:gd name="connsiteX3403" fmla="*/ 1560195 w 2443162"/>
                <a:gd name="connsiteY3403" fmla="*/ 1335405 h 2161222"/>
                <a:gd name="connsiteX3404" fmla="*/ 1560195 w 2443162"/>
                <a:gd name="connsiteY3404" fmla="*/ 1335405 h 2161222"/>
                <a:gd name="connsiteX3405" fmla="*/ 1503045 w 2443162"/>
                <a:gd name="connsiteY3405" fmla="*/ 1320165 h 2161222"/>
                <a:gd name="connsiteX3406" fmla="*/ 1496378 w 2443162"/>
                <a:gd name="connsiteY3406" fmla="*/ 1321118 h 2161222"/>
                <a:gd name="connsiteX3407" fmla="*/ 1497330 w 2443162"/>
                <a:gd name="connsiteY3407" fmla="*/ 1322070 h 2161222"/>
                <a:gd name="connsiteX3408" fmla="*/ 1493520 w 2443162"/>
                <a:gd name="connsiteY3408" fmla="*/ 1325880 h 2161222"/>
                <a:gd name="connsiteX3409" fmla="*/ 1462088 w 2443162"/>
                <a:gd name="connsiteY3409" fmla="*/ 1319213 h 2161222"/>
                <a:gd name="connsiteX3410" fmla="*/ 1455420 w 2443162"/>
                <a:gd name="connsiteY3410" fmla="*/ 1323023 h 2161222"/>
                <a:gd name="connsiteX3411" fmla="*/ 1437323 w 2443162"/>
                <a:gd name="connsiteY3411" fmla="*/ 1308735 h 2161222"/>
                <a:gd name="connsiteX3412" fmla="*/ 1423035 w 2443162"/>
                <a:gd name="connsiteY3412" fmla="*/ 1304925 h 2161222"/>
                <a:gd name="connsiteX3413" fmla="*/ 1443038 w 2443162"/>
                <a:gd name="connsiteY3413" fmla="*/ 1288733 h 2161222"/>
                <a:gd name="connsiteX3414" fmla="*/ 1443038 w 2443162"/>
                <a:gd name="connsiteY3414" fmla="*/ 1286828 h 2161222"/>
                <a:gd name="connsiteX3415" fmla="*/ 1460183 w 2443162"/>
                <a:gd name="connsiteY3415" fmla="*/ 1278255 h 2161222"/>
                <a:gd name="connsiteX3416" fmla="*/ 1503045 w 2443162"/>
                <a:gd name="connsiteY3416" fmla="*/ 1320165 h 2161222"/>
                <a:gd name="connsiteX3417" fmla="*/ 1503045 w 2443162"/>
                <a:gd name="connsiteY3417" fmla="*/ 1320165 h 2161222"/>
                <a:gd name="connsiteX3418" fmla="*/ 1582103 w 2443162"/>
                <a:gd name="connsiteY3418" fmla="*/ 1006793 h 2161222"/>
                <a:gd name="connsiteX3419" fmla="*/ 1582103 w 2443162"/>
                <a:gd name="connsiteY3419" fmla="*/ 1000125 h 2161222"/>
                <a:gd name="connsiteX3420" fmla="*/ 1596390 w 2443162"/>
                <a:gd name="connsiteY3420" fmla="*/ 989648 h 2161222"/>
                <a:gd name="connsiteX3421" fmla="*/ 1596390 w 2443162"/>
                <a:gd name="connsiteY3421" fmla="*/ 982980 h 2161222"/>
                <a:gd name="connsiteX3422" fmla="*/ 1603058 w 2443162"/>
                <a:gd name="connsiteY3422" fmla="*/ 979170 h 2161222"/>
                <a:gd name="connsiteX3423" fmla="*/ 1620203 w 2443162"/>
                <a:gd name="connsiteY3423" fmla="*/ 975360 h 2161222"/>
                <a:gd name="connsiteX3424" fmla="*/ 1620203 w 2443162"/>
                <a:gd name="connsiteY3424" fmla="*/ 967740 h 2161222"/>
                <a:gd name="connsiteX3425" fmla="*/ 1605915 w 2443162"/>
                <a:gd name="connsiteY3425" fmla="*/ 961073 h 2161222"/>
                <a:gd name="connsiteX3426" fmla="*/ 1630680 w 2443162"/>
                <a:gd name="connsiteY3426" fmla="*/ 946785 h 2161222"/>
                <a:gd name="connsiteX3427" fmla="*/ 1654493 w 2443162"/>
                <a:gd name="connsiteY3427" fmla="*/ 942975 h 2161222"/>
                <a:gd name="connsiteX3428" fmla="*/ 1662113 w 2443162"/>
                <a:gd name="connsiteY3428" fmla="*/ 928688 h 2161222"/>
                <a:gd name="connsiteX3429" fmla="*/ 1676400 w 2443162"/>
                <a:gd name="connsiteY3429" fmla="*/ 922020 h 2161222"/>
                <a:gd name="connsiteX3430" fmla="*/ 1683068 w 2443162"/>
                <a:gd name="connsiteY3430" fmla="*/ 907733 h 2161222"/>
                <a:gd name="connsiteX3431" fmla="*/ 1686878 w 2443162"/>
                <a:gd name="connsiteY3431" fmla="*/ 889635 h 2161222"/>
                <a:gd name="connsiteX3432" fmla="*/ 1686878 w 2443162"/>
                <a:gd name="connsiteY3432" fmla="*/ 891540 h 2161222"/>
                <a:gd name="connsiteX3433" fmla="*/ 1686878 w 2443162"/>
                <a:gd name="connsiteY3433" fmla="*/ 890588 h 2161222"/>
                <a:gd name="connsiteX3434" fmla="*/ 1687830 w 2443162"/>
                <a:gd name="connsiteY3434" fmla="*/ 889635 h 2161222"/>
                <a:gd name="connsiteX3435" fmla="*/ 1688783 w 2443162"/>
                <a:gd name="connsiteY3435" fmla="*/ 894398 h 2161222"/>
                <a:gd name="connsiteX3436" fmla="*/ 1689735 w 2443162"/>
                <a:gd name="connsiteY3436" fmla="*/ 899160 h 2161222"/>
                <a:gd name="connsiteX3437" fmla="*/ 1690688 w 2443162"/>
                <a:gd name="connsiteY3437" fmla="*/ 903923 h 2161222"/>
                <a:gd name="connsiteX3438" fmla="*/ 1691640 w 2443162"/>
                <a:gd name="connsiteY3438" fmla="*/ 908685 h 2161222"/>
                <a:gd name="connsiteX3439" fmla="*/ 1687830 w 2443162"/>
                <a:gd name="connsiteY3439" fmla="*/ 913448 h 2161222"/>
                <a:gd name="connsiteX3440" fmla="*/ 1687830 w 2443162"/>
                <a:gd name="connsiteY3440" fmla="*/ 913448 h 2161222"/>
                <a:gd name="connsiteX3441" fmla="*/ 1678305 w 2443162"/>
                <a:gd name="connsiteY3441" fmla="*/ 949643 h 2161222"/>
                <a:gd name="connsiteX3442" fmla="*/ 1674495 w 2443162"/>
                <a:gd name="connsiteY3442" fmla="*/ 963930 h 2161222"/>
                <a:gd name="connsiteX3443" fmla="*/ 1689735 w 2443162"/>
                <a:gd name="connsiteY3443" fmla="*/ 945833 h 2161222"/>
                <a:gd name="connsiteX3444" fmla="*/ 1696403 w 2443162"/>
                <a:gd name="connsiteY3444" fmla="*/ 935355 h 2161222"/>
                <a:gd name="connsiteX3445" fmla="*/ 1697355 w 2443162"/>
                <a:gd name="connsiteY3445" fmla="*/ 943928 h 2161222"/>
                <a:gd name="connsiteX3446" fmla="*/ 1698308 w 2443162"/>
                <a:gd name="connsiteY3446" fmla="*/ 952500 h 2161222"/>
                <a:gd name="connsiteX3447" fmla="*/ 1699260 w 2443162"/>
                <a:gd name="connsiteY3447" fmla="*/ 962025 h 2161222"/>
                <a:gd name="connsiteX3448" fmla="*/ 1700213 w 2443162"/>
                <a:gd name="connsiteY3448" fmla="*/ 970598 h 2161222"/>
                <a:gd name="connsiteX3449" fmla="*/ 1701165 w 2443162"/>
                <a:gd name="connsiteY3449" fmla="*/ 979170 h 2161222"/>
                <a:gd name="connsiteX3450" fmla="*/ 1701165 w 2443162"/>
                <a:gd name="connsiteY3450" fmla="*/ 987743 h 2161222"/>
                <a:gd name="connsiteX3451" fmla="*/ 1701165 w 2443162"/>
                <a:gd name="connsiteY3451" fmla="*/ 997268 h 2161222"/>
                <a:gd name="connsiteX3452" fmla="*/ 1701165 w 2443162"/>
                <a:gd name="connsiteY3452" fmla="*/ 1006793 h 2161222"/>
                <a:gd name="connsiteX3453" fmla="*/ 1582103 w 2443162"/>
                <a:gd name="connsiteY3453" fmla="*/ 1006793 h 2161222"/>
                <a:gd name="connsiteX3454" fmla="*/ 1582103 w 2443162"/>
                <a:gd name="connsiteY3454" fmla="*/ 1006793 h 2161222"/>
                <a:gd name="connsiteX3455" fmla="*/ 1417320 w 2443162"/>
                <a:gd name="connsiteY3455" fmla="*/ 776288 h 2161222"/>
                <a:gd name="connsiteX3456" fmla="*/ 1415415 w 2443162"/>
                <a:gd name="connsiteY3456" fmla="*/ 778193 h 2161222"/>
                <a:gd name="connsiteX3457" fmla="*/ 1404938 w 2443162"/>
                <a:gd name="connsiteY3457" fmla="*/ 784860 h 2161222"/>
                <a:gd name="connsiteX3458" fmla="*/ 1398270 w 2443162"/>
                <a:gd name="connsiteY3458" fmla="*/ 795338 h 2161222"/>
                <a:gd name="connsiteX3459" fmla="*/ 1391603 w 2443162"/>
                <a:gd name="connsiteY3459" fmla="*/ 788670 h 2161222"/>
                <a:gd name="connsiteX3460" fmla="*/ 1370648 w 2443162"/>
                <a:gd name="connsiteY3460" fmla="*/ 795338 h 2161222"/>
                <a:gd name="connsiteX3461" fmla="*/ 1377315 w 2443162"/>
                <a:gd name="connsiteY3461" fmla="*/ 805815 h 2161222"/>
                <a:gd name="connsiteX3462" fmla="*/ 1391603 w 2443162"/>
                <a:gd name="connsiteY3462" fmla="*/ 798195 h 2161222"/>
                <a:gd name="connsiteX3463" fmla="*/ 1402080 w 2443162"/>
                <a:gd name="connsiteY3463" fmla="*/ 802005 h 2161222"/>
                <a:gd name="connsiteX3464" fmla="*/ 1402080 w 2443162"/>
                <a:gd name="connsiteY3464" fmla="*/ 795338 h 2161222"/>
                <a:gd name="connsiteX3465" fmla="*/ 1408748 w 2443162"/>
                <a:gd name="connsiteY3465" fmla="*/ 791528 h 2161222"/>
                <a:gd name="connsiteX3466" fmla="*/ 1412558 w 2443162"/>
                <a:gd name="connsiteY3466" fmla="*/ 787718 h 2161222"/>
                <a:gd name="connsiteX3467" fmla="*/ 1423035 w 2443162"/>
                <a:gd name="connsiteY3467" fmla="*/ 783908 h 2161222"/>
                <a:gd name="connsiteX3468" fmla="*/ 1431608 w 2443162"/>
                <a:gd name="connsiteY3468" fmla="*/ 783908 h 2161222"/>
                <a:gd name="connsiteX3469" fmla="*/ 1417320 w 2443162"/>
                <a:gd name="connsiteY3469" fmla="*/ 776288 h 2161222"/>
                <a:gd name="connsiteX3470" fmla="*/ 1417320 w 2443162"/>
                <a:gd name="connsiteY3470" fmla="*/ 776288 h 2161222"/>
                <a:gd name="connsiteX3471" fmla="*/ 1674495 w 2443162"/>
                <a:gd name="connsiteY3471" fmla="*/ 1448753 h 2161222"/>
                <a:gd name="connsiteX3472" fmla="*/ 1680210 w 2443162"/>
                <a:gd name="connsiteY3472" fmla="*/ 1441133 h 2161222"/>
                <a:gd name="connsiteX3473" fmla="*/ 1669733 w 2443162"/>
                <a:gd name="connsiteY3473" fmla="*/ 1388745 h 2161222"/>
                <a:gd name="connsiteX3474" fmla="*/ 1663065 w 2443162"/>
                <a:gd name="connsiteY3474" fmla="*/ 1384935 h 2161222"/>
                <a:gd name="connsiteX3475" fmla="*/ 1666875 w 2443162"/>
                <a:gd name="connsiteY3475" fmla="*/ 1377315 h 2161222"/>
                <a:gd name="connsiteX3476" fmla="*/ 1645920 w 2443162"/>
                <a:gd name="connsiteY3476" fmla="*/ 1370648 h 2161222"/>
                <a:gd name="connsiteX3477" fmla="*/ 1639253 w 2443162"/>
                <a:gd name="connsiteY3477" fmla="*/ 1388745 h 2161222"/>
                <a:gd name="connsiteX3478" fmla="*/ 1639253 w 2443162"/>
                <a:gd name="connsiteY3478" fmla="*/ 1413510 h 2161222"/>
                <a:gd name="connsiteX3479" fmla="*/ 1598295 w 2443162"/>
                <a:gd name="connsiteY3479" fmla="*/ 1372553 h 2161222"/>
                <a:gd name="connsiteX3480" fmla="*/ 1605915 w 2443162"/>
                <a:gd name="connsiteY3480" fmla="*/ 1363980 h 2161222"/>
                <a:gd name="connsiteX3481" fmla="*/ 1613535 w 2443162"/>
                <a:gd name="connsiteY3481" fmla="*/ 1355408 h 2161222"/>
                <a:gd name="connsiteX3482" fmla="*/ 1620203 w 2443162"/>
                <a:gd name="connsiteY3482" fmla="*/ 1346835 h 2161222"/>
                <a:gd name="connsiteX3483" fmla="*/ 1627823 w 2443162"/>
                <a:gd name="connsiteY3483" fmla="*/ 1337310 h 2161222"/>
                <a:gd name="connsiteX3484" fmla="*/ 1634490 w 2443162"/>
                <a:gd name="connsiteY3484" fmla="*/ 1328738 h 2161222"/>
                <a:gd name="connsiteX3485" fmla="*/ 1641158 w 2443162"/>
                <a:gd name="connsiteY3485" fmla="*/ 1319213 h 2161222"/>
                <a:gd name="connsiteX3486" fmla="*/ 1647825 w 2443162"/>
                <a:gd name="connsiteY3486" fmla="*/ 1309688 h 2161222"/>
                <a:gd name="connsiteX3487" fmla="*/ 1654493 w 2443162"/>
                <a:gd name="connsiteY3487" fmla="*/ 1300163 h 2161222"/>
                <a:gd name="connsiteX3488" fmla="*/ 1660208 w 2443162"/>
                <a:gd name="connsiteY3488" fmla="*/ 1290638 h 2161222"/>
                <a:gd name="connsiteX3489" fmla="*/ 1665923 w 2443162"/>
                <a:gd name="connsiteY3489" fmla="*/ 1281113 h 2161222"/>
                <a:gd name="connsiteX3490" fmla="*/ 1671638 w 2443162"/>
                <a:gd name="connsiteY3490" fmla="*/ 1270635 h 2161222"/>
                <a:gd name="connsiteX3491" fmla="*/ 1677353 w 2443162"/>
                <a:gd name="connsiteY3491" fmla="*/ 1260158 h 2161222"/>
                <a:gd name="connsiteX3492" fmla="*/ 1683068 w 2443162"/>
                <a:gd name="connsiteY3492" fmla="*/ 1249680 h 2161222"/>
                <a:gd name="connsiteX3493" fmla="*/ 1687830 w 2443162"/>
                <a:gd name="connsiteY3493" fmla="*/ 1239203 h 2161222"/>
                <a:gd name="connsiteX3494" fmla="*/ 1692593 w 2443162"/>
                <a:gd name="connsiteY3494" fmla="*/ 1228725 h 2161222"/>
                <a:gd name="connsiteX3495" fmla="*/ 1697355 w 2443162"/>
                <a:gd name="connsiteY3495" fmla="*/ 1218248 h 2161222"/>
                <a:gd name="connsiteX3496" fmla="*/ 1702118 w 2443162"/>
                <a:gd name="connsiteY3496" fmla="*/ 1207770 h 2161222"/>
                <a:gd name="connsiteX3497" fmla="*/ 1706880 w 2443162"/>
                <a:gd name="connsiteY3497" fmla="*/ 1197293 h 2161222"/>
                <a:gd name="connsiteX3498" fmla="*/ 1710690 w 2443162"/>
                <a:gd name="connsiteY3498" fmla="*/ 1186815 h 2161222"/>
                <a:gd name="connsiteX3499" fmla="*/ 1714500 w 2443162"/>
                <a:gd name="connsiteY3499" fmla="*/ 1176338 h 2161222"/>
                <a:gd name="connsiteX3500" fmla="*/ 1718310 w 2443162"/>
                <a:gd name="connsiteY3500" fmla="*/ 1164908 h 2161222"/>
                <a:gd name="connsiteX3501" fmla="*/ 1721168 w 2443162"/>
                <a:gd name="connsiteY3501" fmla="*/ 1153478 h 2161222"/>
                <a:gd name="connsiteX3502" fmla="*/ 1724025 w 2443162"/>
                <a:gd name="connsiteY3502" fmla="*/ 1142048 h 2161222"/>
                <a:gd name="connsiteX3503" fmla="*/ 1726883 w 2443162"/>
                <a:gd name="connsiteY3503" fmla="*/ 1130618 h 2161222"/>
                <a:gd name="connsiteX3504" fmla="*/ 1728788 w 2443162"/>
                <a:gd name="connsiteY3504" fmla="*/ 1119188 h 2161222"/>
                <a:gd name="connsiteX3505" fmla="*/ 1730693 w 2443162"/>
                <a:gd name="connsiteY3505" fmla="*/ 1107758 h 2161222"/>
                <a:gd name="connsiteX3506" fmla="*/ 1732598 w 2443162"/>
                <a:gd name="connsiteY3506" fmla="*/ 1096328 h 2161222"/>
                <a:gd name="connsiteX3507" fmla="*/ 1734503 w 2443162"/>
                <a:gd name="connsiteY3507" fmla="*/ 1084898 h 2161222"/>
                <a:gd name="connsiteX3508" fmla="*/ 1735455 w 2443162"/>
                <a:gd name="connsiteY3508" fmla="*/ 1072515 h 2161222"/>
                <a:gd name="connsiteX3509" fmla="*/ 1736408 w 2443162"/>
                <a:gd name="connsiteY3509" fmla="*/ 1061085 h 2161222"/>
                <a:gd name="connsiteX3510" fmla="*/ 1736408 w 2443162"/>
                <a:gd name="connsiteY3510" fmla="*/ 1048703 h 2161222"/>
                <a:gd name="connsiteX3511" fmla="*/ 1737360 w 2443162"/>
                <a:gd name="connsiteY3511" fmla="*/ 1036320 h 2161222"/>
                <a:gd name="connsiteX3512" fmla="*/ 1874520 w 2443162"/>
                <a:gd name="connsiteY3512" fmla="*/ 1036320 h 2161222"/>
                <a:gd name="connsiteX3513" fmla="*/ 1873568 w 2443162"/>
                <a:gd name="connsiteY3513" fmla="*/ 1052513 h 2161222"/>
                <a:gd name="connsiteX3514" fmla="*/ 1872615 w 2443162"/>
                <a:gd name="connsiteY3514" fmla="*/ 1067753 h 2161222"/>
                <a:gd name="connsiteX3515" fmla="*/ 1871663 w 2443162"/>
                <a:gd name="connsiteY3515" fmla="*/ 1082993 h 2161222"/>
                <a:gd name="connsiteX3516" fmla="*/ 1869758 w 2443162"/>
                <a:gd name="connsiteY3516" fmla="*/ 1098233 h 2161222"/>
                <a:gd name="connsiteX3517" fmla="*/ 1867853 w 2443162"/>
                <a:gd name="connsiteY3517" fmla="*/ 1113473 h 2161222"/>
                <a:gd name="connsiteX3518" fmla="*/ 1864995 w 2443162"/>
                <a:gd name="connsiteY3518" fmla="*/ 1128713 h 2161222"/>
                <a:gd name="connsiteX3519" fmla="*/ 1862138 w 2443162"/>
                <a:gd name="connsiteY3519" fmla="*/ 1143953 h 2161222"/>
                <a:gd name="connsiteX3520" fmla="*/ 1859280 w 2443162"/>
                <a:gd name="connsiteY3520" fmla="*/ 1159193 h 2161222"/>
                <a:gd name="connsiteX3521" fmla="*/ 1855470 w 2443162"/>
                <a:gd name="connsiteY3521" fmla="*/ 1174433 h 2161222"/>
                <a:gd name="connsiteX3522" fmla="*/ 1851660 w 2443162"/>
                <a:gd name="connsiteY3522" fmla="*/ 1189673 h 2161222"/>
                <a:gd name="connsiteX3523" fmla="*/ 1847850 w 2443162"/>
                <a:gd name="connsiteY3523" fmla="*/ 1203960 h 2161222"/>
                <a:gd name="connsiteX3524" fmla="*/ 1843088 w 2443162"/>
                <a:gd name="connsiteY3524" fmla="*/ 1218248 h 2161222"/>
                <a:gd name="connsiteX3525" fmla="*/ 1838325 w 2443162"/>
                <a:gd name="connsiteY3525" fmla="*/ 1232535 h 2161222"/>
                <a:gd name="connsiteX3526" fmla="*/ 1833563 w 2443162"/>
                <a:gd name="connsiteY3526" fmla="*/ 1246823 h 2161222"/>
                <a:gd name="connsiteX3527" fmla="*/ 1828800 w 2443162"/>
                <a:gd name="connsiteY3527" fmla="*/ 1261110 h 2161222"/>
                <a:gd name="connsiteX3528" fmla="*/ 1823085 w 2443162"/>
                <a:gd name="connsiteY3528" fmla="*/ 1275398 h 2161222"/>
                <a:gd name="connsiteX3529" fmla="*/ 1817370 w 2443162"/>
                <a:gd name="connsiteY3529" fmla="*/ 1288733 h 2161222"/>
                <a:gd name="connsiteX3530" fmla="*/ 1810703 w 2443162"/>
                <a:gd name="connsiteY3530" fmla="*/ 1302068 h 2161222"/>
                <a:gd name="connsiteX3531" fmla="*/ 1804035 w 2443162"/>
                <a:gd name="connsiteY3531" fmla="*/ 1315403 h 2161222"/>
                <a:gd name="connsiteX3532" fmla="*/ 1797368 w 2443162"/>
                <a:gd name="connsiteY3532" fmla="*/ 1328738 h 2161222"/>
                <a:gd name="connsiteX3533" fmla="*/ 1790700 w 2443162"/>
                <a:gd name="connsiteY3533" fmla="*/ 1342073 h 2161222"/>
                <a:gd name="connsiteX3534" fmla="*/ 1783080 w 2443162"/>
                <a:gd name="connsiteY3534" fmla="*/ 1354455 h 2161222"/>
                <a:gd name="connsiteX3535" fmla="*/ 1775460 w 2443162"/>
                <a:gd name="connsiteY3535" fmla="*/ 1366838 h 2161222"/>
                <a:gd name="connsiteX3536" fmla="*/ 1767840 w 2443162"/>
                <a:gd name="connsiteY3536" fmla="*/ 1379220 h 2161222"/>
                <a:gd name="connsiteX3537" fmla="*/ 1759268 w 2443162"/>
                <a:gd name="connsiteY3537" fmla="*/ 1391603 h 2161222"/>
                <a:gd name="connsiteX3538" fmla="*/ 1750695 w 2443162"/>
                <a:gd name="connsiteY3538" fmla="*/ 1403985 h 2161222"/>
                <a:gd name="connsiteX3539" fmla="*/ 1741170 w 2443162"/>
                <a:gd name="connsiteY3539" fmla="*/ 1415415 h 2161222"/>
                <a:gd name="connsiteX3540" fmla="*/ 1732598 w 2443162"/>
                <a:gd name="connsiteY3540" fmla="*/ 1426845 h 2161222"/>
                <a:gd name="connsiteX3541" fmla="*/ 1723073 w 2443162"/>
                <a:gd name="connsiteY3541" fmla="*/ 1438275 h 2161222"/>
                <a:gd name="connsiteX3542" fmla="*/ 1713548 w 2443162"/>
                <a:gd name="connsiteY3542" fmla="*/ 1448753 h 2161222"/>
                <a:gd name="connsiteX3543" fmla="*/ 1704023 w 2443162"/>
                <a:gd name="connsiteY3543" fmla="*/ 1460183 h 2161222"/>
                <a:gd name="connsiteX3544" fmla="*/ 1694498 w 2443162"/>
                <a:gd name="connsiteY3544" fmla="*/ 1470660 h 2161222"/>
                <a:gd name="connsiteX3545" fmla="*/ 1674495 w 2443162"/>
                <a:gd name="connsiteY3545" fmla="*/ 1448753 h 2161222"/>
                <a:gd name="connsiteX3546" fmla="*/ 1674495 w 2443162"/>
                <a:gd name="connsiteY3546" fmla="*/ 1448753 h 2161222"/>
                <a:gd name="connsiteX3547" fmla="*/ 776288 w 2443162"/>
                <a:gd name="connsiteY3547" fmla="*/ 1039178 h 2161222"/>
                <a:gd name="connsiteX3548" fmla="*/ 776288 w 2443162"/>
                <a:gd name="connsiteY3548" fmla="*/ 1039178 h 2161222"/>
                <a:gd name="connsiteX3549" fmla="*/ 765810 w 2443162"/>
                <a:gd name="connsiteY3549" fmla="*/ 1074420 h 2161222"/>
                <a:gd name="connsiteX3550" fmla="*/ 780098 w 2443162"/>
                <a:gd name="connsiteY3550" fmla="*/ 1084898 h 2161222"/>
                <a:gd name="connsiteX3551" fmla="*/ 765810 w 2443162"/>
                <a:gd name="connsiteY3551" fmla="*/ 1105853 h 2161222"/>
                <a:gd name="connsiteX3552" fmla="*/ 744855 w 2443162"/>
                <a:gd name="connsiteY3552" fmla="*/ 1105853 h 2161222"/>
                <a:gd name="connsiteX3553" fmla="*/ 743903 w 2443162"/>
                <a:gd name="connsiteY3553" fmla="*/ 1097280 h 2161222"/>
                <a:gd name="connsiteX3554" fmla="*/ 742950 w 2443162"/>
                <a:gd name="connsiteY3554" fmla="*/ 1088708 h 2161222"/>
                <a:gd name="connsiteX3555" fmla="*/ 741998 w 2443162"/>
                <a:gd name="connsiteY3555" fmla="*/ 1080135 h 2161222"/>
                <a:gd name="connsiteX3556" fmla="*/ 741045 w 2443162"/>
                <a:gd name="connsiteY3556" fmla="*/ 1071563 h 2161222"/>
                <a:gd name="connsiteX3557" fmla="*/ 740093 w 2443162"/>
                <a:gd name="connsiteY3557" fmla="*/ 1062038 h 2161222"/>
                <a:gd name="connsiteX3558" fmla="*/ 740093 w 2443162"/>
                <a:gd name="connsiteY3558" fmla="*/ 1053465 h 2161222"/>
                <a:gd name="connsiteX3559" fmla="*/ 739140 w 2443162"/>
                <a:gd name="connsiteY3559" fmla="*/ 1044893 h 2161222"/>
                <a:gd name="connsiteX3560" fmla="*/ 738188 w 2443162"/>
                <a:gd name="connsiteY3560" fmla="*/ 1035368 h 2161222"/>
                <a:gd name="connsiteX3561" fmla="*/ 780098 w 2443162"/>
                <a:gd name="connsiteY3561" fmla="*/ 1035368 h 2161222"/>
                <a:gd name="connsiteX3562" fmla="*/ 776288 w 2443162"/>
                <a:gd name="connsiteY3562" fmla="*/ 1039178 h 2161222"/>
                <a:gd name="connsiteX3563" fmla="*/ 776288 w 2443162"/>
                <a:gd name="connsiteY3563" fmla="*/ 1039178 h 2161222"/>
                <a:gd name="connsiteX3564" fmla="*/ 711518 w 2443162"/>
                <a:gd name="connsiteY3564" fmla="*/ 1080135 h 2161222"/>
                <a:gd name="connsiteX3565" fmla="*/ 709613 w 2443162"/>
                <a:gd name="connsiteY3565" fmla="*/ 1080135 h 2161222"/>
                <a:gd name="connsiteX3566" fmla="*/ 709613 w 2443162"/>
                <a:gd name="connsiteY3566" fmla="*/ 1081088 h 2161222"/>
                <a:gd name="connsiteX3567" fmla="*/ 691515 w 2443162"/>
                <a:gd name="connsiteY3567" fmla="*/ 1084898 h 2161222"/>
                <a:gd name="connsiteX3568" fmla="*/ 687705 w 2443162"/>
                <a:gd name="connsiteY3568" fmla="*/ 1102043 h 2161222"/>
                <a:gd name="connsiteX3569" fmla="*/ 652463 w 2443162"/>
                <a:gd name="connsiteY3569" fmla="*/ 1144905 h 2161222"/>
                <a:gd name="connsiteX3570" fmla="*/ 656273 w 2443162"/>
                <a:gd name="connsiteY3570" fmla="*/ 1207770 h 2161222"/>
                <a:gd name="connsiteX3571" fmla="*/ 617220 w 2443162"/>
                <a:gd name="connsiteY3571" fmla="*/ 1218248 h 2161222"/>
                <a:gd name="connsiteX3572" fmla="*/ 601028 w 2443162"/>
                <a:gd name="connsiteY3572" fmla="*/ 1218248 h 2161222"/>
                <a:gd name="connsiteX3573" fmla="*/ 594360 w 2443162"/>
                <a:gd name="connsiteY3573" fmla="*/ 1196340 h 2161222"/>
                <a:gd name="connsiteX3574" fmla="*/ 588645 w 2443162"/>
                <a:gd name="connsiteY3574" fmla="*/ 1174433 h 2161222"/>
                <a:gd name="connsiteX3575" fmla="*/ 582930 w 2443162"/>
                <a:gd name="connsiteY3575" fmla="*/ 1152525 h 2161222"/>
                <a:gd name="connsiteX3576" fmla="*/ 579120 w 2443162"/>
                <a:gd name="connsiteY3576" fmla="*/ 1129665 h 2161222"/>
                <a:gd name="connsiteX3577" fmla="*/ 575310 w 2443162"/>
                <a:gd name="connsiteY3577" fmla="*/ 1106805 h 2161222"/>
                <a:gd name="connsiteX3578" fmla="*/ 572453 w 2443162"/>
                <a:gd name="connsiteY3578" fmla="*/ 1083945 h 2161222"/>
                <a:gd name="connsiteX3579" fmla="*/ 571500 w 2443162"/>
                <a:gd name="connsiteY3579" fmla="*/ 1072515 h 2161222"/>
                <a:gd name="connsiteX3580" fmla="*/ 570548 w 2443162"/>
                <a:gd name="connsiteY3580" fmla="*/ 1061085 h 2161222"/>
                <a:gd name="connsiteX3581" fmla="*/ 571500 w 2443162"/>
                <a:gd name="connsiteY3581" fmla="*/ 1047750 h 2161222"/>
                <a:gd name="connsiteX3582" fmla="*/ 571500 w 2443162"/>
                <a:gd name="connsiteY3582" fmla="*/ 1035368 h 2161222"/>
                <a:gd name="connsiteX3583" fmla="*/ 708660 w 2443162"/>
                <a:gd name="connsiteY3583" fmla="*/ 1035368 h 2161222"/>
                <a:gd name="connsiteX3584" fmla="*/ 708660 w 2443162"/>
                <a:gd name="connsiteY3584" fmla="*/ 1046798 h 2161222"/>
                <a:gd name="connsiteX3585" fmla="*/ 709613 w 2443162"/>
                <a:gd name="connsiteY3585" fmla="*/ 1057275 h 2161222"/>
                <a:gd name="connsiteX3586" fmla="*/ 710565 w 2443162"/>
                <a:gd name="connsiteY3586" fmla="*/ 1068705 h 2161222"/>
                <a:gd name="connsiteX3587" fmla="*/ 711518 w 2443162"/>
                <a:gd name="connsiteY3587" fmla="*/ 1080135 h 2161222"/>
                <a:gd name="connsiteX3588" fmla="*/ 711518 w 2443162"/>
                <a:gd name="connsiteY3588" fmla="*/ 1080135 h 2161222"/>
                <a:gd name="connsiteX3589" fmla="*/ 571500 w 2443162"/>
                <a:gd name="connsiteY3589" fmla="*/ 1219200 h 2161222"/>
                <a:gd name="connsiteX3590" fmla="*/ 567690 w 2443162"/>
                <a:gd name="connsiteY3590" fmla="*/ 1219200 h 2161222"/>
                <a:gd name="connsiteX3591" fmla="*/ 567690 w 2443162"/>
                <a:gd name="connsiteY3591" fmla="*/ 1219200 h 2161222"/>
                <a:gd name="connsiteX3592" fmla="*/ 567690 w 2443162"/>
                <a:gd name="connsiteY3592" fmla="*/ 1221105 h 2161222"/>
                <a:gd name="connsiteX3593" fmla="*/ 559118 w 2443162"/>
                <a:gd name="connsiteY3593" fmla="*/ 1221105 h 2161222"/>
                <a:gd name="connsiteX3594" fmla="*/ 552450 w 2443162"/>
                <a:gd name="connsiteY3594" fmla="*/ 1210628 h 2161222"/>
                <a:gd name="connsiteX3595" fmla="*/ 514350 w 2443162"/>
                <a:gd name="connsiteY3595" fmla="*/ 1206818 h 2161222"/>
                <a:gd name="connsiteX3596" fmla="*/ 524828 w 2443162"/>
                <a:gd name="connsiteY3596" fmla="*/ 1223963 h 2161222"/>
                <a:gd name="connsiteX3597" fmla="*/ 490538 w 2443162"/>
                <a:gd name="connsiteY3597" fmla="*/ 1217295 h 2161222"/>
                <a:gd name="connsiteX3598" fmla="*/ 501015 w 2443162"/>
                <a:gd name="connsiteY3598" fmla="*/ 1206818 h 2161222"/>
                <a:gd name="connsiteX3599" fmla="*/ 490538 w 2443162"/>
                <a:gd name="connsiteY3599" fmla="*/ 1200150 h 2161222"/>
                <a:gd name="connsiteX3600" fmla="*/ 466725 w 2443162"/>
                <a:gd name="connsiteY3600" fmla="*/ 1210628 h 2161222"/>
                <a:gd name="connsiteX3601" fmla="*/ 456248 w 2443162"/>
                <a:gd name="connsiteY3601" fmla="*/ 1227773 h 2161222"/>
                <a:gd name="connsiteX3602" fmla="*/ 460058 w 2443162"/>
                <a:gd name="connsiteY3602" fmla="*/ 1265873 h 2161222"/>
                <a:gd name="connsiteX3603" fmla="*/ 491490 w 2443162"/>
                <a:gd name="connsiteY3603" fmla="*/ 1338263 h 2161222"/>
                <a:gd name="connsiteX3604" fmla="*/ 505778 w 2443162"/>
                <a:gd name="connsiteY3604" fmla="*/ 1359218 h 2161222"/>
                <a:gd name="connsiteX3605" fmla="*/ 512445 w 2443162"/>
                <a:gd name="connsiteY3605" fmla="*/ 1363028 h 2161222"/>
                <a:gd name="connsiteX3606" fmla="*/ 491490 w 2443162"/>
                <a:gd name="connsiteY3606" fmla="*/ 1321118 h 2161222"/>
                <a:gd name="connsiteX3607" fmla="*/ 484823 w 2443162"/>
                <a:gd name="connsiteY3607" fmla="*/ 1300163 h 2161222"/>
                <a:gd name="connsiteX3608" fmla="*/ 491490 w 2443162"/>
                <a:gd name="connsiteY3608" fmla="*/ 1293495 h 2161222"/>
                <a:gd name="connsiteX3609" fmla="*/ 487680 w 2443162"/>
                <a:gd name="connsiteY3609" fmla="*/ 1283018 h 2161222"/>
                <a:gd name="connsiteX3610" fmla="*/ 501968 w 2443162"/>
                <a:gd name="connsiteY3610" fmla="*/ 1283018 h 2161222"/>
                <a:gd name="connsiteX3611" fmla="*/ 521970 w 2443162"/>
                <a:gd name="connsiteY3611" fmla="*/ 1313498 h 2161222"/>
                <a:gd name="connsiteX3612" fmla="*/ 525780 w 2443162"/>
                <a:gd name="connsiteY3612" fmla="*/ 1317308 h 2161222"/>
                <a:gd name="connsiteX3613" fmla="*/ 525780 w 2443162"/>
                <a:gd name="connsiteY3613" fmla="*/ 1293495 h 2161222"/>
                <a:gd name="connsiteX3614" fmla="*/ 533400 w 2443162"/>
                <a:gd name="connsiteY3614" fmla="*/ 1300163 h 2161222"/>
                <a:gd name="connsiteX3615" fmla="*/ 537210 w 2443162"/>
                <a:gd name="connsiteY3615" fmla="*/ 1310640 h 2161222"/>
                <a:gd name="connsiteX3616" fmla="*/ 557213 w 2443162"/>
                <a:gd name="connsiteY3616" fmla="*/ 1318260 h 2161222"/>
                <a:gd name="connsiteX3617" fmla="*/ 567690 w 2443162"/>
                <a:gd name="connsiteY3617" fmla="*/ 1310640 h 2161222"/>
                <a:gd name="connsiteX3618" fmla="*/ 572453 w 2443162"/>
                <a:gd name="connsiteY3618" fmla="*/ 1310640 h 2161222"/>
                <a:gd name="connsiteX3619" fmla="*/ 572453 w 2443162"/>
                <a:gd name="connsiteY3619" fmla="*/ 1329690 h 2161222"/>
                <a:gd name="connsiteX3620" fmla="*/ 579120 w 2443162"/>
                <a:gd name="connsiteY3620" fmla="*/ 1343978 h 2161222"/>
                <a:gd name="connsiteX3621" fmla="*/ 593408 w 2443162"/>
                <a:gd name="connsiteY3621" fmla="*/ 1343978 h 2161222"/>
                <a:gd name="connsiteX3622" fmla="*/ 618173 w 2443162"/>
                <a:gd name="connsiteY3622" fmla="*/ 1392555 h 2161222"/>
                <a:gd name="connsiteX3623" fmla="*/ 632460 w 2443162"/>
                <a:gd name="connsiteY3623" fmla="*/ 1396365 h 2161222"/>
                <a:gd name="connsiteX3624" fmla="*/ 639128 w 2443162"/>
                <a:gd name="connsiteY3624" fmla="*/ 1375410 h 2161222"/>
                <a:gd name="connsiteX3625" fmla="*/ 639128 w 2443162"/>
                <a:gd name="connsiteY3625" fmla="*/ 1372553 h 2161222"/>
                <a:gd name="connsiteX3626" fmla="*/ 639128 w 2443162"/>
                <a:gd name="connsiteY3626" fmla="*/ 1372553 h 2161222"/>
                <a:gd name="connsiteX3627" fmla="*/ 639128 w 2443162"/>
                <a:gd name="connsiteY3627" fmla="*/ 1371600 h 2161222"/>
                <a:gd name="connsiteX3628" fmla="*/ 648653 w 2443162"/>
                <a:gd name="connsiteY3628" fmla="*/ 1387793 h 2161222"/>
                <a:gd name="connsiteX3629" fmla="*/ 659130 w 2443162"/>
                <a:gd name="connsiteY3629" fmla="*/ 1403985 h 2161222"/>
                <a:gd name="connsiteX3630" fmla="*/ 669608 w 2443162"/>
                <a:gd name="connsiteY3630" fmla="*/ 1419225 h 2161222"/>
                <a:gd name="connsiteX3631" fmla="*/ 681038 w 2443162"/>
                <a:gd name="connsiteY3631" fmla="*/ 1434465 h 2161222"/>
                <a:gd name="connsiteX3632" fmla="*/ 692468 w 2443162"/>
                <a:gd name="connsiteY3632" fmla="*/ 1449705 h 2161222"/>
                <a:gd name="connsiteX3633" fmla="*/ 704850 w 2443162"/>
                <a:gd name="connsiteY3633" fmla="*/ 1463993 h 2161222"/>
                <a:gd name="connsiteX3634" fmla="*/ 718185 w 2443162"/>
                <a:gd name="connsiteY3634" fmla="*/ 1478280 h 2161222"/>
                <a:gd name="connsiteX3635" fmla="*/ 731520 w 2443162"/>
                <a:gd name="connsiteY3635" fmla="*/ 1492568 h 2161222"/>
                <a:gd name="connsiteX3636" fmla="*/ 635318 w 2443162"/>
                <a:gd name="connsiteY3636" fmla="*/ 1588770 h 2161222"/>
                <a:gd name="connsiteX3637" fmla="*/ 621983 w 2443162"/>
                <a:gd name="connsiteY3637" fmla="*/ 1575435 h 2161222"/>
                <a:gd name="connsiteX3638" fmla="*/ 609600 w 2443162"/>
                <a:gd name="connsiteY3638" fmla="*/ 1561148 h 2161222"/>
                <a:gd name="connsiteX3639" fmla="*/ 597218 w 2443162"/>
                <a:gd name="connsiteY3639" fmla="*/ 1546860 h 2161222"/>
                <a:gd name="connsiteX3640" fmla="*/ 584835 w 2443162"/>
                <a:gd name="connsiteY3640" fmla="*/ 1532573 h 2161222"/>
                <a:gd name="connsiteX3641" fmla="*/ 573405 w 2443162"/>
                <a:gd name="connsiteY3641" fmla="*/ 1517333 h 2161222"/>
                <a:gd name="connsiteX3642" fmla="*/ 561975 w 2443162"/>
                <a:gd name="connsiteY3642" fmla="*/ 1502093 h 2161222"/>
                <a:gd name="connsiteX3643" fmla="*/ 551498 w 2443162"/>
                <a:gd name="connsiteY3643" fmla="*/ 1486853 h 2161222"/>
                <a:gd name="connsiteX3644" fmla="*/ 541020 w 2443162"/>
                <a:gd name="connsiteY3644" fmla="*/ 1471613 h 2161222"/>
                <a:gd name="connsiteX3645" fmla="*/ 530543 w 2443162"/>
                <a:gd name="connsiteY3645" fmla="*/ 1456373 h 2161222"/>
                <a:gd name="connsiteX3646" fmla="*/ 521018 w 2443162"/>
                <a:gd name="connsiteY3646" fmla="*/ 1440180 h 2161222"/>
                <a:gd name="connsiteX3647" fmla="*/ 511493 w 2443162"/>
                <a:gd name="connsiteY3647" fmla="*/ 1423988 h 2161222"/>
                <a:gd name="connsiteX3648" fmla="*/ 501968 w 2443162"/>
                <a:gd name="connsiteY3648" fmla="*/ 1407795 h 2161222"/>
                <a:gd name="connsiteX3649" fmla="*/ 493395 w 2443162"/>
                <a:gd name="connsiteY3649" fmla="*/ 1390650 h 2161222"/>
                <a:gd name="connsiteX3650" fmla="*/ 484823 w 2443162"/>
                <a:gd name="connsiteY3650" fmla="*/ 1373505 h 2161222"/>
                <a:gd name="connsiteX3651" fmla="*/ 476250 w 2443162"/>
                <a:gd name="connsiteY3651" fmla="*/ 1356360 h 2161222"/>
                <a:gd name="connsiteX3652" fmla="*/ 468630 w 2443162"/>
                <a:gd name="connsiteY3652" fmla="*/ 1339215 h 2161222"/>
                <a:gd name="connsiteX3653" fmla="*/ 461010 w 2443162"/>
                <a:gd name="connsiteY3653" fmla="*/ 1321118 h 2161222"/>
                <a:gd name="connsiteX3654" fmla="*/ 454343 w 2443162"/>
                <a:gd name="connsiteY3654" fmla="*/ 1303020 h 2161222"/>
                <a:gd name="connsiteX3655" fmla="*/ 448628 w 2443162"/>
                <a:gd name="connsiteY3655" fmla="*/ 1284923 h 2161222"/>
                <a:gd name="connsiteX3656" fmla="*/ 442913 w 2443162"/>
                <a:gd name="connsiteY3656" fmla="*/ 1266825 h 2161222"/>
                <a:gd name="connsiteX3657" fmla="*/ 437198 w 2443162"/>
                <a:gd name="connsiteY3657" fmla="*/ 1247775 h 2161222"/>
                <a:gd name="connsiteX3658" fmla="*/ 432435 w 2443162"/>
                <a:gd name="connsiteY3658" fmla="*/ 1229678 h 2161222"/>
                <a:gd name="connsiteX3659" fmla="*/ 427673 w 2443162"/>
                <a:gd name="connsiteY3659" fmla="*/ 1210628 h 2161222"/>
                <a:gd name="connsiteX3660" fmla="*/ 422910 w 2443162"/>
                <a:gd name="connsiteY3660" fmla="*/ 1191578 h 2161222"/>
                <a:gd name="connsiteX3661" fmla="*/ 419100 w 2443162"/>
                <a:gd name="connsiteY3661" fmla="*/ 1172528 h 2161222"/>
                <a:gd name="connsiteX3662" fmla="*/ 415290 w 2443162"/>
                <a:gd name="connsiteY3662" fmla="*/ 1153478 h 2161222"/>
                <a:gd name="connsiteX3663" fmla="*/ 412433 w 2443162"/>
                <a:gd name="connsiteY3663" fmla="*/ 1133475 h 2161222"/>
                <a:gd name="connsiteX3664" fmla="*/ 410528 w 2443162"/>
                <a:gd name="connsiteY3664" fmla="*/ 1113473 h 2161222"/>
                <a:gd name="connsiteX3665" fmla="*/ 408623 w 2443162"/>
                <a:gd name="connsiteY3665" fmla="*/ 1093470 h 2161222"/>
                <a:gd name="connsiteX3666" fmla="*/ 406718 w 2443162"/>
                <a:gd name="connsiteY3666" fmla="*/ 1073468 h 2161222"/>
                <a:gd name="connsiteX3667" fmla="*/ 405765 w 2443162"/>
                <a:gd name="connsiteY3667" fmla="*/ 1053465 h 2161222"/>
                <a:gd name="connsiteX3668" fmla="*/ 404813 w 2443162"/>
                <a:gd name="connsiteY3668" fmla="*/ 1033463 h 2161222"/>
                <a:gd name="connsiteX3669" fmla="*/ 542925 w 2443162"/>
                <a:gd name="connsiteY3669" fmla="*/ 1033463 h 2161222"/>
                <a:gd name="connsiteX3670" fmla="*/ 543878 w 2443162"/>
                <a:gd name="connsiteY3670" fmla="*/ 1057275 h 2161222"/>
                <a:gd name="connsiteX3671" fmla="*/ 545783 w 2443162"/>
                <a:gd name="connsiteY3671" fmla="*/ 1081088 h 2161222"/>
                <a:gd name="connsiteX3672" fmla="*/ 548640 w 2443162"/>
                <a:gd name="connsiteY3672" fmla="*/ 1103948 h 2161222"/>
                <a:gd name="connsiteX3673" fmla="*/ 551498 w 2443162"/>
                <a:gd name="connsiteY3673" fmla="*/ 1126808 h 2161222"/>
                <a:gd name="connsiteX3674" fmla="*/ 556260 w 2443162"/>
                <a:gd name="connsiteY3674" fmla="*/ 1149668 h 2161222"/>
                <a:gd name="connsiteX3675" fmla="*/ 561023 w 2443162"/>
                <a:gd name="connsiteY3675" fmla="*/ 1172528 h 2161222"/>
                <a:gd name="connsiteX3676" fmla="*/ 565785 w 2443162"/>
                <a:gd name="connsiteY3676" fmla="*/ 1194435 h 2161222"/>
                <a:gd name="connsiteX3677" fmla="*/ 571500 w 2443162"/>
                <a:gd name="connsiteY3677" fmla="*/ 1219200 h 2161222"/>
                <a:gd name="connsiteX3678" fmla="*/ 571500 w 2443162"/>
                <a:gd name="connsiteY3678" fmla="*/ 1219200 h 2161222"/>
                <a:gd name="connsiteX3679" fmla="*/ 724853 w 2443162"/>
                <a:gd name="connsiteY3679" fmla="*/ 1441133 h 2161222"/>
                <a:gd name="connsiteX3680" fmla="*/ 738188 w 2443162"/>
                <a:gd name="connsiteY3680" fmla="*/ 1431608 h 2161222"/>
                <a:gd name="connsiteX3681" fmla="*/ 769620 w 2443162"/>
                <a:gd name="connsiteY3681" fmla="*/ 1448753 h 2161222"/>
                <a:gd name="connsiteX3682" fmla="*/ 774383 w 2443162"/>
                <a:gd name="connsiteY3682" fmla="*/ 1451610 h 2161222"/>
                <a:gd name="connsiteX3683" fmla="*/ 753428 w 2443162"/>
                <a:gd name="connsiteY3683" fmla="*/ 1472565 h 2161222"/>
                <a:gd name="connsiteX3684" fmla="*/ 745808 w 2443162"/>
                <a:gd name="connsiteY3684" fmla="*/ 1464945 h 2161222"/>
                <a:gd name="connsiteX3685" fmla="*/ 738188 w 2443162"/>
                <a:gd name="connsiteY3685" fmla="*/ 1457325 h 2161222"/>
                <a:gd name="connsiteX3686" fmla="*/ 731520 w 2443162"/>
                <a:gd name="connsiteY3686" fmla="*/ 1449705 h 2161222"/>
                <a:gd name="connsiteX3687" fmla="*/ 724853 w 2443162"/>
                <a:gd name="connsiteY3687" fmla="*/ 1441133 h 2161222"/>
                <a:gd name="connsiteX3688" fmla="*/ 724853 w 2443162"/>
                <a:gd name="connsiteY3688" fmla="*/ 1441133 h 2161222"/>
                <a:gd name="connsiteX3689" fmla="*/ 843915 w 2443162"/>
                <a:gd name="connsiteY3689" fmla="*/ 1323975 h 2161222"/>
                <a:gd name="connsiteX3690" fmla="*/ 847725 w 2443162"/>
                <a:gd name="connsiteY3690" fmla="*/ 1290638 h 2161222"/>
                <a:gd name="connsiteX3691" fmla="*/ 833438 w 2443162"/>
                <a:gd name="connsiteY3691" fmla="*/ 1259205 h 2161222"/>
                <a:gd name="connsiteX3692" fmla="*/ 829628 w 2443162"/>
                <a:gd name="connsiteY3692" fmla="*/ 1205865 h 2161222"/>
                <a:gd name="connsiteX3693" fmla="*/ 812483 w 2443162"/>
                <a:gd name="connsiteY3693" fmla="*/ 1174433 h 2161222"/>
                <a:gd name="connsiteX3694" fmla="*/ 816293 w 2443162"/>
                <a:gd name="connsiteY3694" fmla="*/ 1153478 h 2161222"/>
                <a:gd name="connsiteX3695" fmla="*/ 795338 w 2443162"/>
                <a:gd name="connsiteY3695" fmla="*/ 1114425 h 2161222"/>
                <a:gd name="connsiteX3696" fmla="*/ 778193 w 2443162"/>
                <a:gd name="connsiteY3696" fmla="*/ 1106805 h 2161222"/>
                <a:gd name="connsiteX3697" fmla="*/ 784860 w 2443162"/>
                <a:gd name="connsiteY3697" fmla="*/ 1085850 h 2161222"/>
                <a:gd name="connsiteX3698" fmla="*/ 778193 w 2443162"/>
                <a:gd name="connsiteY3698" fmla="*/ 1067753 h 2161222"/>
                <a:gd name="connsiteX3699" fmla="*/ 784860 w 2443162"/>
                <a:gd name="connsiteY3699" fmla="*/ 1049655 h 2161222"/>
                <a:gd name="connsiteX3700" fmla="*/ 805815 w 2443162"/>
                <a:gd name="connsiteY3700" fmla="*/ 1049655 h 2161222"/>
                <a:gd name="connsiteX3701" fmla="*/ 812483 w 2443162"/>
                <a:gd name="connsiteY3701" fmla="*/ 1040130 h 2161222"/>
                <a:gd name="connsiteX3702" fmla="*/ 812483 w 2443162"/>
                <a:gd name="connsiteY3702" fmla="*/ 1039178 h 2161222"/>
                <a:gd name="connsiteX3703" fmla="*/ 814388 w 2443162"/>
                <a:gd name="connsiteY3703" fmla="*/ 1035368 h 2161222"/>
                <a:gd name="connsiteX3704" fmla="*/ 842010 w 2443162"/>
                <a:gd name="connsiteY3704" fmla="*/ 1035368 h 2161222"/>
                <a:gd name="connsiteX3705" fmla="*/ 843915 w 2443162"/>
                <a:gd name="connsiteY3705" fmla="*/ 1039178 h 2161222"/>
                <a:gd name="connsiteX3706" fmla="*/ 843915 w 2443162"/>
                <a:gd name="connsiteY3706" fmla="*/ 1039178 h 2161222"/>
                <a:gd name="connsiteX3707" fmla="*/ 843915 w 2443162"/>
                <a:gd name="connsiteY3707" fmla="*/ 1039178 h 2161222"/>
                <a:gd name="connsiteX3708" fmla="*/ 843915 w 2443162"/>
                <a:gd name="connsiteY3708" fmla="*/ 1039178 h 2161222"/>
                <a:gd name="connsiteX3709" fmla="*/ 843915 w 2443162"/>
                <a:gd name="connsiteY3709" fmla="*/ 1039178 h 2161222"/>
                <a:gd name="connsiteX3710" fmla="*/ 846773 w 2443162"/>
                <a:gd name="connsiteY3710" fmla="*/ 1049655 h 2161222"/>
                <a:gd name="connsiteX3711" fmla="*/ 843915 w 2443162"/>
                <a:gd name="connsiteY3711" fmla="*/ 1081088 h 2161222"/>
                <a:gd name="connsiteX3712" fmla="*/ 837248 w 2443162"/>
                <a:gd name="connsiteY3712" fmla="*/ 1087755 h 2161222"/>
                <a:gd name="connsiteX3713" fmla="*/ 850583 w 2443162"/>
                <a:gd name="connsiteY3713" fmla="*/ 1112520 h 2161222"/>
                <a:gd name="connsiteX3714" fmla="*/ 843915 w 2443162"/>
                <a:gd name="connsiteY3714" fmla="*/ 1119188 h 2161222"/>
                <a:gd name="connsiteX3715" fmla="*/ 837248 w 2443162"/>
                <a:gd name="connsiteY3715" fmla="*/ 1112520 h 2161222"/>
                <a:gd name="connsiteX3716" fmla="*/ 834390 w 2443162"/>
                <a:gd name="connsiteY3716" fmla="*/ 1112520 h 2161222"/>
                <a:gd name="connsiteX3717" fmla="*/ 841058 w 2443162"/>
                <a:gd name="connsiteY3717" fmla="*/ 1129665 h 2161222"/>
                <a:gd name="connsiteX3718" fmla="*/ 850583 w 2443162"/>
                <a:gd name="connsiteY3718" fmla="*/ 1147763 h 2161222"/>
                <a:gd name="connsiteX3719" fmla="*/ 853440 w 2443162"/>
                <a:gd name="connsiteY3719" fmla="*/ 1147763 h 2161222"/>
                <a:gd name="connsiteX3720" fmla="*/ 856298 w 2443162"/>
                <a:gd name="connsiteY3720" fmla="*/ 1129665 h 2161222"/>
                <a:gd name="connsiteX3721" fmla="*/ 849630 w 2443162"/>
                <a:gd name="connsiteY3721" fmla="*/ 1125855 h 2161222"/>
                <a:gd name="connsiteX3722" fmla="*/ 849630 w 2443162"/>
                <a:gd name="connsiteY3722" fmla="*/ 1114425 h 2161222"/>
                <a:gd name="connsiteX3723" fmla="*/ 849630 w 2443162"/>
                <a:gd name="connsiteY3723" fmla="*/ 1092518 h 2161222"/>
                <a:gd name="connsiteX3724" fmla="*/ 857250 w 2443162"/>
                <a:gd name="connsiteY3724" fmla="*/ 1049655 h 2161222"/>
                <a:gd name="connsiteX3725" fmla="*/ 855345 w 2443162"/>
                <a:gd name="connsiteY3725" fmla="*/ 1044893 h 2161222"/>
                <a:gd name="connsiteX3726" fmla="*/ 849630 w 2443162"/>
                <a:gd name="connsiteY3726" fmla="*/ 1036320 h 2161222"/>
                <a:gd name="connsiteX3727" fmla="*/ 851535 w 2443162"/>
                <a:gd name="connsiteY3727" fmla="*/ 1036320 h 2161222"/>
                <a:gd name="connsiteX3728" fmla="*/ 850583 w 2443162"/>
                <a:gd name="connsiteY3728" fmla="*/ 1033463 h 2161222"/>
                <a:gd name="connsiteX3729" fmla="*/ 878205 w 2443162"/>
                <a:gd name="connsiteY3729" fmla="*/ 1033463 h 2161222"/>
                <a:gd name="connsiteX3730" fmla="*/ 879158 w 2443162"/>
                <a:gd name="connsiteY3730" fmla="*/ 1049655 h 2161222"/>
                <a:gd name="connsiteX3731" fmla="*/ 881063 w 2443162"/>
                <a:gd name="connsiteY3731" fmla="*/ 1064895 h 2161222"/>
                <a:gd name="connsiteX3732" fmla="*/ 882968 w 2443162"/>
                <a:gd name="connsiteY3732" fmla="*/ 1080135 h 2161222"/>
                <a:gd name="connsiteX3733" fmla="*/ 886778 w 2443162"/>
                <a:gd name="connsiteY3733" fmla="*/ 1095375 h 2161222"/>
                <a:gd name="connsiteX3734" fmla="*/ 890588 w 2443162"/>
                <a:gd name="connsiteY3734" fmla="*/ 1110615 h 2161222"/>
                <a:gd name="connsiteX3735" fmla="*/ 895350 w 2443162"/>
                <a:gd name="connsiteY3735" fmla="*/ 1125855 h 2161222"/>
                <a:gd name="connsiteX3736" fmla="*/ 901065 w 2443162"/>
                <a:gd name="connsiteY3736" fmla="*/ 1140143 h 2161222"/>
                <a:gd name="connsiteX3737" fmla="*/ 906780 w 2443162"/>
                <a:gd name="connsiteY3737" fmla="*/ 1154430 h 2161222"/>
                <a:gd name="connsiteX3738" fmla="*/ 912495 w 2443162"/>
                <a:gd name="connsiteY3738" fmla="*/ 1168718 h 2161222"/>
                <a:gd name="connsiteX3739" fmla="*/ 919163 w 2443162"/>
                <a:gd name="connsiteY3739" fmla="*/ 1182053 h 2161222"/>
                <a:gd name="connsiteX3740" fmla="*/ 926783 w 2443162"/>
                <a:gd name="connsiteY3740" fmla="*/ 1195388 h 2161222"/>
                <a:gd name="connsiteX3741" fmla="*/ 934403 w 2443162"/>
                <a:gd name="connsiteY3741" fmla="*/ 1208723 h 2161222"/>
                <a:gd name="connsiteX3742" fmla="*/ 942975 w 2443162"/>
                <a:gd name="connsiteY3742" fmla="*/ 1221105 h 2161222"/>
                <a:gd name="connsiteX3743" fmla="*/ 952500 w 2443162"/>
                <a:gd name="connsiteY3743" fmla="*/ 1232535 h 2161222"/>
                <a:gd name="connsiteX3744" fmla="*/ 962025 w 2443162"/>
                <a:gd name="connsiteY3744" fmla="*/ 1243965 h 2161222"/>
                <a:gd name="connsiteX3745" fmla="*/ 971550 w 2443162"/>
                <a:gd name="connsiteY3745" fmla="*/ 1254443 h 2161222"/>
                <a:gd name="connsiteX3746" fmla="*/ 872490 w 2443162"/>
                <a:gd name="connsiteY3746" fmla="*/ 1353503 h 2161222"/>
                <a:gd name="connsiteX3747" fmla="*/ 865823 w 2443162"/>
                <a:gd name="connsiteY3747" fmla="*/ 1345883 h 2161222"/>
                <a:gd name="connsiteX3748" fmla="*/ 859155 w 2443162"/>
                <a:gd name="connsiteY3748" fmla="*/ 1338263 h 2161222"/>
                <a:gd name="connsiteX3749" fmla="*/ 852488 w 2443162"/>
                <a:gd name="connsiteY3749" fmla="*/ 1330643 h 2161222"/>
                <a:gd name="connsiteX3750" fmla="*/ 843915 w 2443162"/>
                <a:gd name="connsiteY3750" fmla="*/ 1323975 h 2161222"/>
                <a:gd name="connsiteX3751" fmla="*/ 843915 w 2443162"/>
                <a:gd name="connsiteY3751" fmla="*/ 1323975 h 2161222"/>
                <a:gd name="connsiteX3752" fmla="*/ 837248 w 2443162"/>
                <a:gd name="connsiteY3752" fmla="*/ 1006793 h 2161222"/>
                <a:gd name="connsiteX3753" fmla="*/ 825818 w 2443162"/>
                <a:gd name="connsiteY3753" fmla="*/ 989648 h 2161222"/>
                <a:gd name="connsiteX3754" fmla="*/ 825818 w 2443162"/>
                <a:gd name="connsiteY3754" fmla="*/ 964883 h 2161222"/>
                <a:gd name="connsiteX3755" fmla="*/ 843915 w 2443162"/>
                <a:gd name="connsiteY3755" fmla="*/ 954405 h 2161222"/>
                <a:gd name="connsiteX3756" fmla="*/ 872490 w 2443162"/>
                <a:gd name="connsiteY3756" fmla="*/ 958215 h 2161222"/>
                <a:gd name="connsiteX3757" fmla="*/ 879158 w 2443162"/>
                <a:gd name="connsiteY3757" fmla="*/ 964883 h 2161222"/>
                <a:gd name="connsiteX3758" fmla="*/ 879158 w 2443162"/>
                <a:gd name="connsiteY3758" fmla="*/ 966788 h 2161222"/>
                <a:gd name="connsiteX3759" fmla="*/ 881063 w 2443162"/>
                <a:gd name="connsiteY3759" fmla="*/ 973455 h 2161222"/>
                <a:gd name="connsiteX3760" fmla="*/ 880110 w 2443162"/>
                <a:gd name="connsiteY3760" fmla="*/ 982028 h 2161222"/>
                <a:gd name="connsiteX3761" fmla="*/ 879158 w 2443162"/>
                <a:gd name="connsiteY3761" fmla="*/ 989648 h 2161222"/>
                <a:gd name="connsiteX3762" fmla="*/ 878205 w 2443162"/>
                <a:gd name="connsiteY3762" fmla="*/ 998220 h 2161222"/>
                <a:gd name="connsiteX3763" fmla="*/ 878205 w 2443162"/>
                <a:gd name="connsiteY3763" fmla="*/ 1006793 h 2161222"/>
                <a:gd name="connsiteX3764" fmla="*/ 837248 w 2443162"/>
                <a:gd name="connsiteY3764" fmla="*/ 1006793 h 2161222"/>
                <a:gd name="connsiteX3765" fmla="*/ 837248 w 2443162"/>
                <a:gd name="connsiteY3765" fmla="*/ 1006793 h 2161222"/>
                <a:gd name="connsiteX3766" fmla="*/ 907733 w 2443162"/>
                <a:gd name="connsiteY3766" fmla="*/ 1059180 h 2161222"/>
                <a:gd name="connsiteX3767" fmla="*/ 909638 w 2443162"/>
                <a:gd name="connsiteY3767" fmla="*/ 1062990 h 2161222"/>
                <a:gd name="connsiteX3768" fmla="*/ 922973 w 2443162"/>
                <a:gd name="connsiteY3768" fmla="*/ 1078230 h 2161222"/>
                <a:gd name="connsiteX3769" fmla="*/ 943928 w 2443162"/>
                <a:gd name="connsiteY3769" fmla="*/ 1078230 h 2161222"/>
                <a:gd name="connsiteX3770" fmla="*/ 968693 w 2443162"/>
                <a:gd name="connsiteY3770" fmla="*/ 1095375 h 2161222"/>
                <a:gd name="connsiteX3771" fmla="*/ 976313 w 2443162"/>
                <a:gd name="connsiteY3771" fmla="*/ 1091565 h 2161222"/>
                <a:gd name="connsiteX3772" fmla="*/ 993458 w 2443162"/>
                <a:gd name="connsiteY3772" fmla="*/ 1105853 h 2161222"/>
                <a:gd name="connsiteX3773" fmla="*/ 982980 w 2443162"/>
                <a:gd name="connsiteY3773" fmla="*/ 1113473 h 2161222"/>
                <a:gd name="connsiteX3774" fmla="*/ 1003935 w 2443162"/>
                <a:gd name="connsiteY3774" fmla="*/ 1123950 h 2161222"/>
                <a:gd name="connsiteX3775" fmla="*/ 1003935 w 2443162"/>
                <a:gd name="connsiteY3775" fmla="*/ 1109663 h 2161222"/>
                <a:gd name="connsiteX3776" fmla="*/ 1014413 w 2443162"/>
                <a:gd name="connsiteY3776" fmla="*/ 1092518 h 2161222"/>
                <a:gd name="connsiteX3777" fmla="*/ 1024890 w 2443162"/>
                <a:gd name="connsiteY3777" fmla="*/ 1106805 h 2161222"/>
                <a:gd name="connsiteX3778" fmla="*/ 1039178 w 2443162"/>
                <a:gd name="connsiteY3778" fmla="*/ 1121093 h 2161222"/>
                <a:gd name="connsiteX3779" fmla="*/ 1018223 w 2443162"/>
                <a:gd name="connsiteY3779" fmla="*/ 1127760 h 2161222"/>
                <a:gd name="connsiteX3780" fmla="*/ 1024890 w 2443162"/>
                <a:gd name="connsiteY3780" fmla="*/ 1145858 h 2161222"/>
                <a:gd name="connsiteX3781" fmla="*/ 1039178 w 2443162"/>
                <a:gd name="connsiteY3781" fmla="*/ 1138238 h 2161222"/>
                <a:gd name="connsiteX3782" fmla="*/ 1039178 w 2443162"/>
                <a:gd name="connsiteY3782" fmla="*/ 1131570 h 2161222"/>
                <a:gd name="connsiteX3783" fmla="*/ 1049655 w 2443162"/>
                <a:gd name="connsiteY3783" fmla="*/ 1124903 h 2161222"/>
                <a:gd name="connsiteX3784" fmla="*/ 1056323 w 2443162"/>
                <a:gd name="connsiteY3784" fmla="*/ 1093470 h 2161222"/>
                <a:gd name="connsiteX3785" fmla="*/ 1057275 w 2443162"/>
                <a:gd name="connsiteY3785" fmla="*/ 1096328 h 2161222"/>
                <a:gd name="connsiteX3786" fmla="*/ 1057275 w 2443162"/>
                <a:gd name="connsiteY3786" fmla="*/ 1093470 h 2161222"/>
                <a:gd name="connsiteX3787" fmla="*/ 1059180 w 2443162"/>
                <a:gd name="connsiteY3787" fmla="*/ 1090613 h 2161222"/>
                <a:gd name="connsiteX3788" fmla="*/ 1062038 w 2443162"/>
                <a:gd name="connsiteY3788" fmla="*/ 1097280 h 2161222"/>
                <a:gd name="connsiteX3789" fmla="*/ 1064895 w 2443162"/>
                <a:gd name="connsiteY3789" fmla="*/ 1103948 h 2161222"/>
                <a:gd name="connsiteX3790" fmla="*/ 1068705 w 2443162"/>
                <a:gd name="connsiteY3790" fmla="*/ 1109663 h 2161222"/>
                <a:gd name="connsiteX3791" fmla="*/ 1072515 w 2443162"/>
                <a:gd name="connsiteY3791" fmla="*/ 1115378 h 2161222"/>
                <a:gd name="connsiteX3792" fmla="*/ 1076325 w 2443162"/>
                <a:gd name="connsiteY3792" fmla="*/ 1121093 h 2161222"/>
                <a:gd name="connsiteX3793" fmla="*/ 1081088 w 2443162"/>
                <a:gd name="connsiteY3793" fmla="*/ 1126808 h 2161222"/>
                <a:gd name="connsiteX3794" fmla="*/ 1085850 w 2443162"/>
                <a:gd name="connsiteY3794" fmla="*/ 1131570 h 2161222"/>
                <a:gd name="connsiteX3795" fmla="*/ 1090613 w 2443162"/>
                <a:gd name="connsiteY3795" fmla="*/ 1137285 h 2161222"/>
                <a:gd name="connsiteX3796" fmla="*/ 990600 w 2443162"/>
                <a:gd name="connsiteY3796" fmla="*/ 1237298 h 2161222"/>
                <a:gd name="connsiteX3797" fmla="*/ 982028 w 2443162"/>
                <a:gd name="connsiteY3797" fmla="*/ 1227773 h 2161222"/>
                <a:gd name="connsiteX3798" fmla="*/ 974408 w 2443162"/>
                <a:gd name="connsiteY3798" fmla="*/ 1218248 h 2161222"/>
                <a:gd name="connsiteX3799" fmla="*/ 966788 w 2443162"/>
                <a:gd name="connsiteY3799" fmla="*/ 1207770 h 2161222"/>
                <a:gd name="connsiteX3800" fmla="*/ 960120 w 2443162"/>
                <a:gd name="connsiteY3800" fmla="*/ 1197293 h 2161222"/>
                <a:gd name="connsiteX3801" fmla="*/ 953453 w 2443162"/>
                <a:gd name="connsiteY3801" fmla="*/ 1186815 h 2161222"/>
                <a:gd name="connsiteX3802" fmla="*/ 946785 w 2443162"/>
                <a:gd name="connsiteY3802" fmla="*/ 1176338 h 2161222"/>
                <a:gd name="connsiteX3803" fmla="*/ 941070 w 2443162"/>
                <a:gd name="connsiteY3803" fmla="*/ 1165860 h 2161222"/>
                <a:gd name="connsiteX3804" fmla="*/ 935355 w 2443162"/>
                <a:gd name="connsiteY3804" fmla="*/ 1155383 h 2161222"/>
                <a:gd name="connsiteX3805" fmla="*/ 930593 w 2443162"/>
                <a:gd name="connsiteY3805" fmla="*/ 1143953 h 2161222"/>
                <a:gd name="connsiteX3806" fmla="*/ 925830 w 2443162"/>
                <a:gd name="connsiteY3806" fmla="*/ 1132523 h 2161222"/>
                <a:gd name="connsiteX3807" fmla="*/ 921068 w 2443162"/>
                <a:gd name="connsiteY3807" fmla="*/ 1121093 h 2161222"/>
                <a:gd name="connsiteX3808" fmla="*/ 917258 w 2443162"/>
                <a:gd name="connsiteY3808" fmla="*/ 1108710 h 2161222"/>
                <a:gd name="connsiteX3809" fmla="*/ 913448 w 2443162"/>
                <a:gd name="connsiteY3809" fmla="*/ 1096328 h 2161222"/>
                <a:gd name="connsiteX3810" fmla="*/ 910590 w 2443162"/>
                <a:gd name="connsiteY3810" fmla="*/ 1083945 h 2161222"/>
                <a:gd name="connsiteX3811" fmla="*/ 907733 w 2443162"/>
                <a:gd name="connsiteY3811" fmla="*/ 1071563 h 2161222"/>
                <a:gd name="connsiteX3812" fmla="*/ 907733 w 2443162"/>
                <a:gd name="connsiteY3812" fmla="*/ 1059180 h 2161222"/>
                <a:gd name="connsiteX3813" fmla="*/ 907733 w 2443162"/>
                <a:gd name="connsiteY3813" fmla="*/ 1059180 h 2161222"/>
                <a:gd name="connsiteX3814" fmla="*/ 967740 w 2443162"/>
                <a:gd name="connsiteY3814" fmla="*/ 784860 h 2161222"/>
                <a:gd name="connsiteX3815" fmla="*/ 962978 w 2443162"/>
                <a:gd name="connsiteY3815" fmla="*/ 788670 h 2161222"/>
                <a:gd name="connsiteX3816" fmla="*/ 962978 w 2443162"/>
                <a:gd name="connsiteY3816" fmla="*/ 788670 h 2161222"/>
                <a:gd name="connsiteX3817" fmla="*/ 934403 w 2443162"/>
                <a:gd name="connsiteY3817" fmla="*/ 823913 h 2161222"/>
                <a:gd name="connsiteX3818" fmla="*/ 909638 w 2443162"/>
                <a:gd name="connsiteY3818" fmla="*/ 862965 h 2161222"/>
                <a:gd name="connsiteX3819" fmla="*/ 902970 w 2443162"/>
                <a:gd name="connsiteY3819" fmla="*/ 862965 h 2161222"/>
                <a:gd name="connsiteX3820" fmla="*/ 890588 w 2443162"/>
                <a:gd name="connsiteY3820" fmla="*/ 865823 h 2161222"/>
                <a:gd name="connsiteX3821" fmla="*/ 883920 w 2443162"/>
                <a:gd name="connsiteY3821" fmla="*/ 865823 h 2161222"/>
                <a:gd name="connsiteX3822" fmla="*/ 870585 w 2443162"/>
                <a:gd name="connsiteY3822" fmla="*/ 880110 h 2161222"/>
                <a:gd name="connsiteX3823" fmla="*/ 887730 w 2443162"/>
                <a:gd name="connsiteY3823" fmla="*/ 876300 h 2161222"/>
                <a:gd name="connsiteX3824" fmla="*/ 904875 w 2443162"/>
                <a:gd name="connsiteY3824" fmla="*/ 872490 h 2161222"/>
                <a:gd name="connsiteX3825" fmla="*/ 901065 w 2443162"/>
                <a:gd name="connsiteY3825" fmla="*/ 879158 h 2161222"/>
                <a:gd name="connsiteX3826" fmla="*/ 887730 w 2443162"/>
                <a:gd name="connsiteY3826" fmla="*/ 885825 h 2161222"/>
                <a:gd name="connsiteX3827" fmla="*/ 881063 w 2443162"/>
                <a:gd name="connsiteY3827" fmla="*/ 885825 h 2161222"/>
                <a:gd name="connsiteX3828" fmla="*/ 860108 w 2443162"/>
                <a:gd name="connsiteY3828" fmla="*/ 902970 h 2161222"/>
                <a:gd name="connsiteX3829" fmla="*/ 840105 w 2443162"/>
                <a:gd name="connsiteY3829" fmla="*/ 899160 h 2161222"/>
                <a:gd name="connsiteX3830" fmla="*/ 809625 w 2443162"/>
                <a:gd name="connsiteY3830" fmla="*/ 954405 h 2161222"/>
                <a:gd name="connsiteX3831" fmla="*/ 816293 w 2443162"/>
                <a:gd name="connsiteY3831" fmla="*/ 967740 h 2161222"/>
                <a:gd name="connsiteX3832" fmla="*/ 799148 w 2443162"/>
                <a:gd name="connsiteY3832" fmla="*/ 984885 h 2161222"/>
                <a:gd name="connsiteX3833" fmla="*/ 799148 w 2443162"/>
                <a:gd name="connsiteY3833" fmla="*/ 1004888 h 2161222"/>
                <a:gd name="connsiteX3834" fmla="*/ 739140 w 2443162"/>
                <a:gd name="connsiteY3834" fmla="*/ 1004888 h 2161222"/>
                <a:gd name="connsiteX3835" fmla="*/ 739140 w 2443162"/>
                <a:gd name="connsiteY3835" fmla="*/ 993458 h 2161222"/>
                <a:gd name="connsiteX3836" fmla="*/ 740093 w 2443162"/>
                <a:gd name="connsiteY3836" fmla="*/ 982028 h 2161222"/>
                <a:gd name="connsiteX3837" fmla="*/ 741045 w 2443162"/>
                <a:gd name="connsiteY3837" fmla="*/ 970598 h 2161222"/>
                <a:gd name="connsiteX3838" fmla="*/ 741998 w 2443162"/>
                <a:gd name="connsiteY3838" fmla="*/ 959168 h 2161222"/>
                <a:gd name="connsiteX3839" fmla="*/ 743903 w 2443162"/>
                <a:gd name="connsiteY3839" fmla="*/ 948690 h 2161222"/>
                <a:gd name="connsiteX3840" fmla="*/ 745808 w 2443162"/>
                <a:gd name="connsiteY3840" fmla="*/ 937260 h 2161222"/>
                <a:gd name="connsiteX3841" fmla="*/ 747713 w 2443162"/>
                <a:gd name="connsiteY3841" fmla="*/ 926783 h 2161222"/>
                <a:gd name="connsiteX3842" fmla="*/ 750570 w 2443162"/>
                <a:gd name="connsiteY3842" fmla="*/ 915353 h 2161222"/>
                <a:gd name="connsiteX3843" fmla="*/ 752475 w 2443162"/>
                <a:gd name="connsiteY3843" fmla="*/ 904875 h 2161222"/>
                <a:gd name="connsiteX3844" fmla="*/ 755333 w 2443162"/>
                <a:gd name="connsiteY3844" fmla="*/ 894398 h 2161222"/>
                <a:gd name="connsiteX3845" fmla="*/ 758190 w 2443162"/>
                <a:gd name="connsiteY3845" fmla="*/ 883920 h 2161222"/>
                <a:gd name="connsiteX3846" fmla="*/ 761048 w 2443162"/>
                <a:gd name="connsiteY3846" fmla="*/ 873443 h 2161222"/>
                <a:gd name="connsiteX3847" fmla="*/ 764858 w 2443162"/>
                <a:gd name="connsiteY3847" fmla="*/ 862965 h 2161222"/>
                <a:gd name="connsiteX3848" fmla="*/ 768668 w 2443162"/>
                <a:gd name="connsiteY3848" fmla="*/ 853440 h 2161222"/>
                <a:gd name="connsiteX3849" fmla="*/ 772478 w 2443162"/>
                <a:gd name="connsiteY3849" fmla="*/ 842963 h 2161222"/>
                <a:gd name="connsiteX3850" fmla="*/ 776288 w 2443162"/>
                <a:gd name="connsiteY3850" fmla="*/ 833438 h 2161222"/>
                <a:gd name="connsiteX3851" fmla="*/ 780098 w 2443162"/>
                <a:gd name="connsiteY3851" fmla="*/ 823913 h 2161222"/>
                <a:gd name="connsiteX3852" fmla="*/ 784860 w 2443162"/>
                <a:gd name="connsiteY3852" fmla="*/ 813435 h 2161222"/>
                <a:gd name="connsiteX3853" fmla="*/ 789623 w 2443162"/>
                <a:gd name="connsiteY3853" fmla="*/ 803910 h 2161222"/>
                <a:gd name="connsiteX3854" fmla="*/ 794385 w 2443162"/>
                <a:gd name="connsiteY3854" fmla="*/ 794385 h 2161222"/>
                <a:gd name="connsiteX3855" fmla="*/ 799148 w 2443162"/>
                <a:gd name="connsiteY3855" fmla="*/ 784860 h 2161222"/>
                <a:gd name="connsiteX3856" fmla="*/ 803910 w 2443162"/>
                <a:gd name="connsiteY3856" fmla="*/ 775335 h 2161222"/>
                <a:gd name="connsiteX3857" fmla="*/ 809625 w 2443162"/>
                <a:gd name="connsiteY3857" fmla="*/ 765810 h 2161222"/>
                <a:gd name="connsiteX3858" fmla="*/ 815340 w 2443162"/>
                <a:gd name="connsiteY3858" fmla="*/ 756285 h 2161222"/>
                <a:gd name="connsiteX3859" fmla="*/ 821055 w 2443162"/>
                <a:gd name="connsiteY3859" fmla="*/ 746760 h 2161222"/>
                <a:gd name="connsiteX3860" fmla="*/ 826770 w 2443162"/>
                <a:gd name="connsiteY3860" fmla="*/ 738188 h 2161222"/>
                <a:gd name="connsiteX3861" fmla="*/ 833438 w 2443162"/>
                <a:gd name="connsiteY3861" fmla="*/ 729615 h 2161222"/>
                <a:gd name="connsiteX3862" fmla="*/ 840105 w 2443162"/>
                <a:gd name="connsiteY3862" fmla="*/ 721043 h 2161222"/>
                <a:gd name="connsiteX3863" fmla="*/ 846773 w 2443162"/>
                <a:gd name="connsiteY3863" fmla="*/ 712470 h 2161222"/>
                <a:gd name="connsiteX3864" fmla="*/ 853440 w 2443162"/>
                <a:gd name="connsiteY3864" fmla="*/ 703898 h 2161222"/>
                <a:gd name="connsiteX3865" fmla="*/ 860108 w 2443162"/>
                <a:gd name="connsiteY3865" fmla="*/ 695325 h 2161222"/>
                <a:gd name="connsiteX3866" fmla="*/ 867728 w 2443162"/>
                <a:gd name="connsiteY3866" fmla="*/ 687705 h 2161222"/>
                <a:gd name="connsiteX3867" fmla="*/ 967740 w 2443162"/>
                <a:gd name="connsiteY3867" fmla="*/ 784860 h 2161222"/>
                <a:gd name="connsiteX3868" fmla="*/ 967740 w 2443162"/>
                <a:gd name="connsiteY3868" fmla="*/ 784860 h 2161222"/>
                <a:gd name="connsiteX3869" fmla="*/ 1634490 w 2443162"/>
                <a:gd name="connsiteY3869" fmla="*/ 403860 h 2161222"/>
                <a:gd name="connsiteX3870" fmla="*/ 1627823 w 2443162"/>
                <a:gd name="connsiteY3870" fmla="*/ 389573 h 2161222"/>
                <a:gd name="connsiteX3871" fmla="*/ 1609725 w 2443162"/>
                <a:gd name="connsiteY3871" fmla="*/ 379095 h 2161222"/>
                <a:gd name="connsiteX3872" fmla="*/ 1595438 w 2443162"/>
                <a:gd name="connsiteY3872" fmla="*/ 393383 h 2161222"/>
                <a:gd name="connsiteX3873" fmla="*/ 1612583 w 2443162"/>
                <a:gd name="connsiteY3873" fmla="*/ 401003 h 2161222"/>
                <a:gd name="connsiteX3874" fmla="*/ 1633538 w 2443162"/>
                <a:gd name="connsiteY3874" fmla="*/ 415290 h 2161222"/>
                <a:gd name="connsiteX3875" fmla="*/ 1633538 w 2443162"/>
                <a:gd name="connsiteY3875" fmla="*/ 403860 h 2161222"/>
                <a:gd name="connsiteX3876" fmla="*/ 1634490 w 2443162"/>
                <a:gd name="connsiteY3876" fmla="*/ 403860 h 2161222"/>
                <a:gd name="connsiteX3877" fmla="*/ 1553528 w 2443162"/>
                <a:gd name="connsiteY3877" fmla="*/ 796290 h 2161222"/>
                <a:gd name="connsiteX3878" fmla="*/ 1553528 w 2443162"/>
                <a:gd name="connsiteY3878" fmla="*/ 806768 h 2161222"/>
                <a:gd name="connsiteX3879" fmla="*/ 1578293 w 2443162"/>
                <a:gd name="connsiteY3879" fmla="*/ 799148 h 2161222"/>
                <a:gd name="connsiteX3880" fmla="*/ 1584960 w 2443162"/>
                <a:gd name="connsiteY3880" fmla="*/ 784860 h 2161222"/>
                <a:gd name="connsiteX3881" fmla="*/ 1567815 w 2443162"/>
                <a:gd name="connsiteY3881" fmla="*/ 763905 h 2161222"/>
                <a:gd name="connsiteX3882" fmla="*/ 1574483 w 2443162"/>
                <a:gd name="connsiteY3882" fmla="*/ 749618 h 2161222"/>
                <a:gd name="connsiteX3883" fmla="*/ 1599248 w 2443162"/>
                <a:gd name="connsiteY3883" fmla="*/ 763905 h 2161222"/>
                <a:gd name="connsiteX3884" fmla="*/ 1603058 w 2443162"/>
                <a:gd name="connsiteY3884" fmla="*/ 760095 h 2161222"/>
                <a:gd name="connsiteX3885" fmla="*/ 1599248 w 2443162"/>
                <a:gd name="connsiteY3885" fmla="*/ 760095 h 2161222"/>
                <a:gd name="connsiteX3886" fmla="*/ 1592580 w 2443162"/>
                <a:gd name="connsiteY3886" fmla="*/ 749618 h 2161222"/>
                <a:gd name="connsiteX3887" fmla="*/ 1603058 w 2443162"/>
                <a:gd name="connsiteY3887" fmla="*/ 742950 h 2161222"/>
                <a:gd name="connsiteX3888" fmla="*/ 1592580 w 2443162"/>
                <a:gd name="connsiteY3888" fmla="*/ 732473 h 2161222"/>
                <a:gd name="connsiteX3889" fmla="*/ 1571625 w 2443162"/>
                <a:gd name="connsiteY3889" fmla="*/ 742950 h 2161222"/>
                <a:gd name="connsiteX3890" fmla="*/ 1564958 w 2443162"/>
                <a:gd name="connsiteY3890" fmla="*/ 757238 h 2161222"/>
                <a:gd name="connsiteX3891" fmla="*/ 1561148 w 2443162"/>
                <a:gd name="connsiteY3891" fmla="*/ 767715 h 2161222"/>
                <a:gd name="connsiteX3892" fmla="*/ 1571625 w 2443162"/>
                <a:gd name="connsiteY3892" fmla="*/ 782003 h 2161222"/>
                <a:gd name="connsiteX3893" fmla="*/ 1567815 w 2443162"/>
                <a:gd name="connsiteY3893" fmla="*/ 788670 h 2161222"/>
                <a:gd name="connsiteX3894" fmla="*/ 1553528 w 2443162"/>
                <a:gd name="connsiteY3894" fmla="*/ 796290 h 2161222"/>
                <a:gd name="connsiteX3895" fmla="*/ 1553528 w 2443162"/>
                <a:gd name="connsiteY3895" fmla="*/ 796290 h 2161222"/>
                <a:gd name="connsiteX3896" fmla="*/ 547688 w 2443162"/>
                <a:gd name="connsiteY3896" fmla="*/ 1421130 h 2161222"/>
                <a:gd name="connsiteX3897" fmla="*/ 547688 w 2443162"/>
                <a:gd name="connsiteY3897" fmla="*/ 1413510 h 2161222"/>
                <a:gd name="connsiteX3898" fmla="*/ 537210 w 2443162"/>
                <a:gd name="connsiteY3898" fmla="*/ 1385888 h 2161222"/>
                <a:gd name="connsiteX3899" fmla="*/ 522923 w 2443162"/>
                <a:gd name="connsiteY3899" fmla="*/ 1382078 h 2161222"/>
                <a:gd name="connsiteX3900" fmla="*/ 547688 w 2443162"/>
                <a:gd name="connsiteY3900" fmla="*/ 1421130 h 2161222"/>
                <a:gd name="connsiteX3901" fmla="*/ 547688 w 2443162"/>
                <a:gd name="connsiteY3901" fmla="*/ 1421130 h 2161222"/>
                <a:gd name="connsiteX3902" fmla="*/ 1116330 w 2443162"/>
                <a:gd name="connsiteY3902" fmla="*/ 898208 h 2161222"/>
                <a:gd name="connsiteX3903" fmla="*/ 1120140 w 2443162"/>
                <a:gd name="connsiteY3903" fmla="*/ 912495 h 2161222"/>
                <a:gd name="connsiteX3904" fmla="*/ 1126808 w 2443162"/>
                <a:gd name="connsiteY3904" fmla="*/ 926783 h 2161222"/>
                <a:gd name="connsiteX3905" fmla="*/ 1137285 w 2443162"/>
                <a:gd name="connsiteY3905" fmla="*/ 941070 h 2161222"/>
                <a:gd name="connsiteX3906" fmla="*/ 1155383 w 2443162"/>
                <a:gd name="connsiteY3906" fmla="*/ 951548 h 2161222"/>
                <a:gd name="connsiteX3907" fmla="*/ 1155383 w 2443162"/>
                <a:gd name="connsiteY3907" fmla="*/ 941070 h 2161222"/>
                <a:gd name="connsiteX3908" fmla="*/ 1141095 w 2443162"/>
                <a:gd name="connsiteY3908" fmla="*/ 923925 h 2161222"/>
                <a:gd name="connsiteX3909" fmla="*/ 1148715 w 2443162"/>
                <a:gd name="connsiteY3909" fmla="*/ 909638 h 2161222"/>
                <a:gd name="connsiteX3910" fmla="*/ 1155383 w 2443162"/>
                <a:gd name="connsiteY3910" fmla="*/ 905828 h 2161222"/>
                <a:gd name="connsiteX3911" fmla="*/ 1155383 w 2443162"/>
                <a:gd name="connsiteY3911" fmla="*/ 845820 h 2161222"/>
                <a:gd name="connsiteX3912" fmla="*/ 1151573 w 2443162"/>
                <a:gd name="connsiteY3912" fmla="*/ 845820 h 2161222"/>
                <a:gd name="connsiteX3913" fmla="*/ 1137285 w 2443162"/>
                <a:gd name="connsiteY3913" fmla="*/ 856298 h 2161222"/>
                <a:gd name="connsiteX3914" fmla="*/ 1126808 w 2443162"/>
                <a:gd name="connsiteY3914" fmla="*/ 866775 h 2161222"/>
                <a:gd name="connsiteX3915" fmla="*/ 1120140 w 2443162"/>
                <a:gd name="connsiteY3915" fmla="*/ 881063 h 2161222"/>
                <a:gd name="connsiteX3916" fmla="*/ 1116330 w 2443162"/>
                <a:gd name="connsiteY3916" fmla="*/ 898208 h 2161222"/>
                <a:gd name="connsiteX3917" fmla="*/ 1116330 w 2443162"/>
                <a:gd name="connsiteY3917" fmla="*/ 898208 h 2161222"/>
                <a:gd name="connsiteX3918" fmla="*/ 822008 w 2443162"/>
                <a:gd name="connsiteY3918" fmla="*/ 639128 h 2161222"/>
                <a:gd name="connsiteX3919" fmla="*/ 812483 w 2443162"/>
                <a:gd name="connsiteY3919" fmla="*/ 628650 h 2161222"/>
                <a:gd name="connsiteX3920" fmla="*/ 832485 w 2443162"/>
                <a:gd name="connsiteY3920" fmla="*/ 624840 h 2161222"/>
                <a:gd name="connsiteX3921" fmla="*/ 822008 w 2443162"/>
                <a:gd name="connsiteY3921" fmla="*/ 639128 h 2161222"/>
                <a:gd name="connsiteX3922" fmla="*/ 822008 w 2443162"/>
                <a:gd name="connsiteY3922" fmla="*/ 639128 h 2161222"/>
                <a:gd name="connsiteX3923" fmla="*/ 2039303 w 2443162"/>
                <a:gd name="connsiteY3923" fmla="*/ 1035368 h 2161222"/>
                <a:gd name="connsiteX3924" fmla="*/ 1902143 w 2443162"/>
                <a:gd name="connsiteY3924" fmla="*/ 1035368 h 2161222"/>
                <a:gd name="connsiteX3925" fmla="*/ 1901190 w 2443162"/>
                <a:gd name="connsiteY3925" fmla="*/ 1051560 h 2161222"/>
                <a:gd name="connsiteX3926" fmla="*/ 1900238 w 2443162"/>
                <a:gd name="connsiteY3926" fmla="*/ 1067753 h 2161222"/>
                <a:gd name="connsiteX3927" fmla="*/ 1899285 w 2443162"/>
                <a:gd name="connsiteY3927" fmla="*/ 1083945 h 2161222"/>
                <a:gd name="connsiteX3928" fmla="*/ 1897380 w 2443162"/>
                <a:gd name="connsiteY3928" fmla="*/ 1100138 h 2161222"/>
                <a:gd name="connsiteX3929" fmla="*/ 1895475 w 2443162"/>
                <a:gd name="connsiteY3929" fmla="*/ 1115378 h 2161222"/>
                <a:gd name="connsiteX3930" fmla="*/ 1893570 w 2443162"/>
                <a:gd name="connsiteY3930" fmla="*/ 1131570 h 2161222"/>
                <a:gd name="connsiteX3931" fmla="*/ 1890713 w 2443162"/>
                <a:gd name="connsiteY3931" fmla="*/ 1146810 h 2161222"/>
                <a:gd name="connsiteX3932" fmla="*/ 1887855 w 2443162"/>
                <a:gd name="connsiteY3932" fmla="*/ 1162050 h 2161222"/>
                <a:gd name="connsiteX3933" fmla="*/ 1884045 w 2443162"/>
                <a:gd name="connsiteY3933" fmla="*/ 1177290 h 2161222"/>
                <a:gd name="connsiteX3934" fmla="*/ 1880235 w 2443162"/>
                <a:gd name="connsiteY3934" fmla="*/ 1193483 h 2161222"/>
                <a:gd name="connsiteX3935" fmla="*/ 1875473 w 2443162"/>
                <a:gd name="connsiteY3935" fmla="*/ 1208723 h 2161222"/>
                <a:gd name="connsiteX3936" fmla="*/ 1870710 w 2443162"/>
                <a:gd name="connsiteY3936" fmla="*/ 1223963 h 2161222"/>
                <a:gd name="connsiteX3937" fmla="*/ 1865948 w 2443162"/>
                <a:gd name="connsiteY3937" fmla="*/ 1239203 h 2161222"/>
                <a:gd name="connsiteX3938" fmla="*/ 1860233 w 2443162"/>
                <a:gd name="connsiteY3938" fmla="*/ 1253490 h 2161222"/>
                <a:gd name="connsiteX3939" fmla="*/ 1854518 w 2443162"/>
                <a:gd name="connsiteY3939" fmla="*/ 1268730 h 2161222"/>
                <a:gd name="connsiteX3940" fmla="*/ 1848803 w 2443162"/>
                <a:gd name="connsiteY3940" fmla="*/ 1283018 h 2161222"/>
                <a:gd name="connsiteX3941" fmla="*/ 1843088 w 2443162"/>
                <a:gd name="connsiteY3941" fmla="*/ 1297305 h 2161222"/>
                <a:gd name="connsiteX3942" fmla="*/ 1836420 w 2443162"/>
                <a:gd name="connsiteY3942" fmla="*/ 1311593 h 2161222"/>
                <a:gd name="connsiteX3943" fmla="*/ 1829753 w 2443162"/>
                <a:gd name="connsiteY3943" fmla="*/ 1325880 h 2161222"/>
                <a:gd name="connsiteX3944" fmla="*/ 1823085 w 2443162"/>
                <a:gd name="connsiteY3944" fmla="*/ 1340168 h 2161222"/>
                <a:gd name="connsiteX3945" fmla="*/ 1815465 w 2443162"/>
                <a:gd name="connsiteY3945" fmla="*/ 1353503 h 2161222"/>
                <a:gd name="connsiteX3946" fmla="*/ 1807845 w 2443162"/>
                <a:gd name="connsiteY3946" fmla="*/ 1366838 h 2161222"/>
                <a:gd name="connsiteX3947" fmla="*/ 1800225 w 2443162"/>
                <a:gd name="connsiteY3947" fmla="*/ 1380173 h 2161222"/>
                <a:gd name="connsiteX3948" fmla="*/ 1791653 w 2443162"/>
                <a:gd name="connsiteY3948" fmla="*/ 1393508 h 2161222"/>
                <a:gd name="connsiteX3949" fmla="*/ 1783080 w 2443162"/>
                <a:gd name="connsiteY3949" fmla="*/ 1405890 h 2161222"/>
                <a:gd name="connsiteX3950" fmla="*/ 1773555 w 2443162"/>
                <a:gd name="connsiteY3950" fmla="*/ 1418273 h 2161222"/>
                <a:gd name="connsiteX3951" fmla="*/ 1764030 w 2443162"/>
                <a:gd name="connsiteY3951" fmla="*/ 1430655 h 2161222"/>
                <a:gd name="connsiteX3952" fmla="*/ 1754505 w 2443162"/>
                <a:gd name="connsiteY3952" fmla="*/ 1443038 h 2161222"/>
                <a:gd name="connsiteX3953" fmla="*/ 1744028 w 2443162"/>
                <a:gd name="connsiteY3953" fmla="*/ 1455420 h 2161222"/>
                <a:gd name="connsiteX3954" fmla="*/ 1734503 w 2443162"/>
                <a:gd name="connsiteY3954" fmla="*/ 1466850 h 2161222"/>
                <a:gd name="connsiteX3955" fmla="*/ 1724025 w 2443162"/>
                <a:gd name="connsiteY3955" fmla="*/ 1478280 h 2161222"/>
                <a:gd name="connsiteX3956" fmla="*/ 1717358 w 2443162"/>
                <a:gd name="connsiteY3956" fmla="*/ 1489710 h 2161222"/>
                <a:gd name="connsiteX3957" fmla="*/ 1810703 w 2443162"/>
                <a:gd name="connsiteY3957" fmla="*/ 1585913 h 2161222"/>
                <a:gd name="connsiteX3958" fmla="*/ 1824038 w 2443162"/>
                <a:gd name="connsiteY3958" fmla="*/ 1572578 h 2161222"/>
                <a:gd name="connsiteX3959" fmla="*/ 1836420 w 2443162"/>
                <a:gd name="connsiteY3959" fmla="*/ 1558290 h 2161222"/>
                <a:gd name="connsiteX3960" fmla="*/ 1848803 w 2443162"/>
                <a:gd name="connsiteY3960" fmla="*/ 1544003 h 2161222"/>
                <a:gd name="connsiteX3961" fmla="*/ 1860233 w 2443162"/>
                <a:gd name="connsiteY3961" fmla="*/ 1529715 h 2161222"/>
                <a:gd name="connsiteX3962" fmla="*/ 1871663 w 2443162"/>
                <a:gd name="connsiteY3962" fmla="*/ 1515428 h 2161222"/>
                <a:gd name="connsiteX3963" fmla="*/ 1882140 w 2443162"/>
                <a:gd name="connsiteY3963" fmla="*/ 1500188 h 2161222"/>
                <a:gd name="connsiteX3964" fmla="*/ 1892618 w 2443162"/>
                <a:gd name="connsiteY3964" fmla="*/ 1484948 h 2161222"/>
                <a:gd name="connsiteX3965" fmla="*/ 1903095 w 2443162"/>
                <a:gd name="connsiteY3965" fmla="*/ 1469708 h 2161222"/>
                <a:gd name="connsiteX3966" fmla="*/ 1913573 w 2443162"/>
                <a:gd name="connsiteY3966" fmla="*/ 1453515 h 2161222"/>
                <a:gd name="connsiteX3967" fmla="*/ 1924050 w 2443162"/>
                <a:gd name="connsiteY3967" fmla="*/ 1438275 h 2161222"/>
                <a:gd name="connsiteX3968" fmla="*/ 1933575 w 2443162"/>
                <a:gd name="connsiteY3968" fmla="*/ 1422083 h 2161222"/>
                <a:gd name="connsiteX3969" fmla="*/ 1942148 w 2443162"/>
                <a:gd name="connsiteY3969" fmla="*/ 1405890 h 2161222"/>
                <a:gd name="connsiteX3970" fmla="*/ 1950720 w 2443162"/>
                <a:gd name="connsiteY3970" fmla="*/ 1388745 h 2161222"/>
                <a:gd name="connsiteX3971" fmla="*/ 1959293 w 2443162"/>
                <a:gd name="connsiteY3971" fmla="*/ 1372553 h 2161222"/>
                <a:gd name="connsiteX3972" fmla="*/ 1967865 w 2443162"/>
                <a:gd name="connsiteY3972" fmla="*/ 1355408 h 2161222"/>
                <a:gd name="connsiteX3973" fmla="*/ 1975485 w 2443162"/>
                <a:gd name="connsiteY3973" fmla="*/ 1338263 h 2161222"/>
                <a:gd name="connsiteX3974" fmla="*/ 1982153 w 2443162"/>
                <a:gd name="connsiteY3974" fmla="*/ 1321118 h 2161222"/>
                <a:gd name="connsiteX3975" fmla="*/ 1988820 w 2443162"/>
                <a:gd name="connsiteY3975" fmla="*/ 1303973 h 2161222"/>
                <a:gd name="connsiteX3976" fmla="*/ 1994535 w 2443162"/>
                <a:gd name="connsiteY3976" fmla="*/ 1285875 h 2161222"/>
                <a:gd name="connsiteX3977" fmla="*/ 2000250 w 2443162"/>
                <a:gd name="connsiteY3977" fmla="*/ 1267778 h 2161222"/>
                <a:gd name="connsiteX3978" fmla="*/ 2005965 w 2443162"/>
                <a:gd name="connsiteY3978" fmla="*/ 1249680 h 2161222"/>
                <a:gd name="connsiteX3979" fmla="*/ 2011680 w 2443162"/>
                <a:gd name="connsiteY3979" fmla="*/ 1230630 h 2161222"/>
                <a:gd name="connsiteX3980" fmla="*/ 2016443 w 2443162"/>
                <a:gd name="connsiteY3980" fmla="*/ 1211580 h 2161222"/>
                <a:gd name="connsiteX3981" fmla="*/ 2021205 w 2443162"/>
                <a:gd name="connsiteY3981" fmla="*/ 1192530 h 2161222"/>
                <a:gd name="connsiteX3982" fmla="*/ 2025015 w 2443162"/>
                <a:gd name="connsiteY3982" fmla="*/ 1173480 h 2161222"/>
                <a:gd name="connsiteX3983" fmla="*/ 2028825 w 2443162"/>
                <a:gd name="connsiteY3983" fmla="*/ 1154430 h 2161222"/>
                <a:gd name="connsiteX3984" fmla="*/ 2031683 w 2443162"/>
                <a:gd name="connsiteY3984" fmla="*/ 1134428 h 2161222"/>
                <a:gd name="connsiteX3985" fmla="*/ 2034540 w 2443162"/>
                <a:gd name="connsiteY3985" fmla="*/ 1115378 h 2161222"/>
                <a:gd name="connsiteX3986" fmla="*/ 2036445 w 2443162"/>
                <a:gd name="connsiteY3986" fmla="*/ 1095375 h 2161222"/>
                <a:gd name="connsiteX3987" fmla="*/ 2037398 w 2443162"/>
                <a:gd name="connsiteY3987" fmla="*/ 1075373 h 2161222"/>
                <a:gd name="connsiteX3988" fmla="*/ 2038350 w 2443162"/>
                <a:gd name="connsiteY3988" fmla="*/ 1055370 h 2161222"/>
                <a:gd name="connsiteX3989" fmla="*/ 2039303 w 2443162"/>
                <a:gd name="connsiteY3989" fmla="*/ 1035368 h 2161222"/>
                <a:gd name="connsiteX3990" fmla="*/ 2039303 w 2443162"/>
                <a:gd name="connsiteY3990" fmla="*/ 1035368 h 2161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</a:cxnLst>
              <a:rect l="l" t="t" r="r" b="b"/>
              <a:pathLst>
                <a:path w="2443162" h="2161222">
                  <a:moveTo>
                    <a:pt x="404813" y="1006793"/>
                  </a:moveTo>
                  <a:lnTo>
                    <a:pt x="536258" y="1006793"/>
                  </a:lnTo>
                  <a:lnTo>
                    <a:pt x="541973" y="989648"/>
                  </a:lnTo>
                  <a:lnTo>
                    <a:pt x="542925" y="973455"/>
                  </a:lnTo>
                  <a:lnTo>
                    <a:pt x="543878" y="957263"/>
                  </a:lnTo>
                  <a:lnTo>
                    <a:pt x="545783" y="941070"/>
                  </a:lnTo>
                  <a:lnTo>
                    <a:pt x="547688" y="924878"/>
                  </a:lnTo>
                  <a:lnTo>
                    <a:pt x="549593" y="909638"/>
                  </a:lnTo>
                  <a:lnTo>
                    <a:pt x="552450" y="893445"/>
                  </a:lnTo>
                  <a:lnTo>
                    <a:pt x="555308" y="878205"/>
                  </a:lnTo>
                  <a:lnTo>
                    <a:pt x="559118" y="862013"/>
                  </a:lnTo>
                  <a:lnTo>
                    <a:pt x="562928" y="846773"/>
                  </a:lnTo>
                  <a:lnTo>
                    <a:pt x="566738" y="831533"/>
                  </a:lnTo>
                  <a:lnTo>
                    <a:pt x="576263" y="801053"/>
                  </a:lnTo>
                  <a:lnTo>
                    <a:pt x="581978" y="785813"/>
                  </a:lnTo>
                  <a:lnTo>
                    <a:pt x="587693" y="770573"/>
                  </a:lnTo>
                  <a:lnTo>
                    <a:pt x="593408" y="756285"/>
                  </a:lnTo>
                  <a:lnTo>
                    <a:pt x="600075" y="741998"/>
                  </a:lnTo>
                  <a:lnTo>
                    <a:pt x="606743" y="727710"/>
                  </a:lnTo>
                  <a:lnTo>
                    <a:pt x="613410" y="713423"/>
                  </a:lnTo>
                  <a:lnTo>
                    <a:pt x="620078" y="699135"/>
                  </a:lnTo>
                  <a:lnTo>
                    <a:pt x="627698" y="684848"/>
                  </a:lnTo>
                  <a:lnTo>
                    <a:pt x="635318" y="671513"/>
                  </a:lnTo>
                  <a:lnTo>
                    <a:pt x="643890" y="658178"/>
                  </a:lnTo>
                  <a:lnTo>
                    <a:pt x="652463" y="644843"/>
                  </a:lnTo>
                  <a:lnTo>
                    <a:pt x="661035" y="631508"/>
                  </a:lnTo>
                  <a:lnTo>
                    <a:pt x="670560" y="619125"/>
                  </a:lnTo>
                  <a:lnTo>
                    <a:pt x="680085" y="606743"/>
                  </a:lnTo>
                  <a:lnTo>
                    <a:pt x="689610" y="594360"/>
                  </a:lnTo>
                  <a:lnTo>
                    <a:pt x="700088" y="582930"/>
                  </a:lnTo>
                  <a:lnTo>
                    <a:pt x="710565" y="571500"/>
                  </a:lnTo>
                  <a:lnTo>
                    <a:pt x="721043" y="560070"/>
                  </a:lnTo>
                  <a:lnTo>
                    <a:pt x="731520" y="548640"/>
                  </a:lnTo>
                  <a:lnTo>
                    <a:pt x="635318" y="451485"/>
                  </a:lnTo>
                  <a:lnTo>
                    <a:pt x="621983" y="464820"/>
                  </a:lnTo>
                  <a:lnTo>
                    <a:pt x="609600" y="479108"/>
                  </a:lnTo>
                  <a:lnTo>
                    <a:pt x="597218" y="493395"/>
                  </a:lnTo>
                  <a:lnTo>
                    <a:pt x="585788" y="507683"/>
                  </a:lnTo>
                  <a:lnTo>
                    <a:pt x="574358" y="522923"/>
                  </a:lnTo>
                  <a:lnTo>
                    <a:pt x="562928" y="538163"/>
                  </a:lnTo>
                  <a:lnTo>
                    <a:pt x="552450" y="553403"/>
                  </a:lnTo>
                  <a:lnTo>
                    <a:pt x="541973" y="568643"/>
                  </a:lnTo>
                  <a:lnTo>
                    <a:pt x="532448" y="583883"/>
                  </a:lnTo>
                  <a:lnTo>
                    <a:pt x="521970" y="600075"/>
                  </a:lnTo>
                  <a:lnTo>
                    <a:pt x="512445" y="616268"/>
                  </a:lnTo>
                  <a:lnTo>
                    <a:pt x="502920" y="632460"/>
                  </a:lnTo>
                  <a:lnTo>
                    <a:pt x="494348" y="649605"/>
                  </a:lnTo>
                  <a:lnTo>
                    <a:pt x="485775" y="666750"/>
                  </a:lnTo>
                  <a:lnTo>
                    <a:pt x="477203" y="683895"/>
                  </a:lnTo>
                  <a:lnTo>
                    <a:pt x="469583" y="701040"/>
                  </a:lnTo>
                  <a:lnTo>
                    <a:pt x="461963" y="719138"/>
                  </a:lnTo>
                  <a:lnTo>
                    <a:pt x="455295" y="737235"/>
                  </a:lnTo>
                  <a:lnTo>
                    <a:pt x="448628" y="755333"/>
                  </a:lnTo>
                  <a:lnTo>
                    <a:pt x="442913" y="773430"/>
                  </a:lnTo>
                  <a:lnTo>
                    <a:pt x="437198" y="792480"/>
                  </a:lnTo>
                  <a:lnTo>
                    <a:pt x="431483" y="811530"/>
                  </a:lnTo>
                  <a:lnTo>
                    <a:pt x="426720" y="830580"/>
                  </a:lnTo>
                  <a:lnTo>
                    <a:pt x="421958" y="849630"/>
                  </a:lnTo>
                  <a:lnTo>
                    <a:pt x="418148" y="868680"/>
                  </a:lnTo>
                  <a:lnTo>
                    <a:pt x="414338" y="888683"/>
                  </a:lnTo>
                  <a:lnTo>
                    <a:pt x="411480" y="907733"/>
                  </a:lnTo>
                  <a:lnTo>
                    <a:pt x="408623" y="927735"/>
                  </a:lnTo>
                  <a:lnTo>
                    <a:pt x="406718" y="947738"/>
                  </a:lnTo>
                  <a:lnTo>
                    <a:pt x="404813" y="967740"/>
                  </a:lnTo>
                  <a:lnTo>
                    <a:pt x="403860" y="987743"/>
                  </a:lnTo>
                  <a:lnTo>
                    <a:pt x="404813" y="1006793"/>
                  </a:lnTo>
                  <a:lnTo>
                    <a:pt x="404813" y="1006793"/>
                  </a:lnTo>
                  <a:close/>
                  <a:moveTo>
                    <a:pt x="1229678" y="1350645"/>
                  </a:moveTo>
                  <a:lnTo>
                    <a:pt x="1208723" y="1358265"/>
                  </a:lnTo>
                  <a:lnTo>
                    <a:pt x="1198245" y="1362075"/>
                  </a:lnTo>
                  <a:lnTo>
                    <a:pt x="1194435" y="1365885"/>
                  </a:lnTo>
                  <a:lnTo>
                    <a:pt x="1198245" y="1744028"/>
                  </a:lnTo>
                  <a:lnTo>
                    <a:pt x="1202055" y="1768793"/>
                  </a:lnTo>
                  <a:lnTo>
                    <a:pt x="1205865" y="1786890"/>
                  </a:lnTo>
                  <a:lnTo>
                    <a:pt x="1212533" y="1797368"/>
                  </a:lnTo>
                  <a:lnTo>
                    <a:pt x="1219200" y="1801178"/>
                  </a:lnTo>
                  <a:lnTo>
                    <a:pt x="1226820" y="1797368"/>
                  </a:lnTo>
                  <a:lnTo>
                    <a:pt x="1233488" y="1786890"/>
                  </a:lnTo>
                  <a:lnTo>
                    <a:pt x="1237298" y="1768793"/>
                  </a:lnTo>
                  <a:lnTo>
                    <a:pt x="1237298" y="1743075"/>
                  </a:lnTo>
                  <a:lnTo>
                    <a:pt x="1247775" y="1343025"/>
                  </a:lnTo>
                  <a:lnTo>
                    <a:pt x="1229678" y="1350645"/>
                  </a:lnTo>
                  <a:lnTo>
                    <a:pt x="1229678" y="1350645"/>
                  </a:lnTo>
                  <a:close/>
                  <a:moveTo>
                    <a:pt x="1190625" y="1226820"/>
                  </a:moveTo>
                  <a:lnTo>
                    <a:pt x="1226820" y="1216343"/>
                  </a:lnTo>
                  <a:lnTo>
                    <a:pt x="1247775" y="1209675"/>
                  </a:lnTo>
                  <a:lnTo>
                    <a:pt x="1258253" y="806768"/>
                  </a:lnTo>
                  <a:lnTo>
                    <a:pt x="1215390" y="817245"/>
                  </a:lnTo>
                  <a:lnTo>
                    <a:pt x="1183958" y="827723"/>
                  </a:lnTo>
                  <a:lnTo>
                    <a:pt x="1190625" y="1226820"/>
                  </a:lnTo>
                  <a:lnTo>
                    <a:pt x="1190625" y="1226820"/>
                  </a:lnTo>
                  <a:close/>
                  <a:moveTo>
                    <a:pt x="471488" y="374333"/>
                  </a:moveTo>
                  <a:lnTo>
                    <a:pt x="485775" y="352425"/>
                  </a:lnTo>
                  <a:lnTo>
                    <a:pt x="501015" y="328613"/>
                  </a:lnTo>
                  <a:lnTo>
                    <a:pt x="517208" y="304800"/>
                  </a:lnTo>
                  <a:lnTo>
                    <a:pt x="533400" y="280988"/>
                  </a:lnTo>
                  <a:lnTo>
                    <a:pt x="549593" y="259080"/>
                  </a:lnTo>
                  <a:lnTo>
                    <a:pt x="564833" y="238125"/>
                  </a:lnTo>
                  <a:lnTo>
                    <a:pt x="572453" y="229553"/>
                  </a:lnTo>
                  <a:lnTo>
                    <a:pt x="580073" y="220980"/>
                  </a:lnTo>
                  <a:lnTo>
                    <a:pt x="586740" y="214313"/>
                  </a:lnTo>
                  <a:lnTo>
                    <a:pt x="592455" y="208598"/>
                  </a:lnTo>
                  <a:lnTo>
                    <a:pt x="577215" y="212408"/>
                  </a:lnTo>
                  <a:lnTo>
                    <a:pt x="561975" y="217170"/>
                  </a:lnTo>
                  <a:lnTo>
                    <a:pt x="547688" y="221933"/>
                  </a:lnTo>
                  <a:lnTo>
                    <a:pt x="533400" y="226695"/>
                  </a:lnTo>
                  <a:lnTo>
                    <a:pt x="519113" y="232410"/>
                  </a:lnTo>
                  <a:lnTo>
                    <a:pt x="505778" y="239078"/>
                  </a:lnTo>
                  <a:lnTo>
                    <a:pt x="492443" y="245745"/>
                  </a:lnTo>
                  <a:lnTo>
                    <a:pt x="479108" y="253365"/>
                  </a:lnTo>
                  <a:lnTo>
                    <a:pt x="466725" y="260985"/>
                  </a:lnTo>
                  <a:lnTo>
                    <a:pt x="454343" y="269558"/>
                  </a:lnTo>
                  <a:lnTo>
                    <a:pt x="441960" y="278130"/>
                  </a:lnTo>
                  <a:lnTo>
                    <a:pt x="430530" y="287655"/>
                  </a:lnTo>
                  <a:lnTo>
                    <a:pt x="419100" y="298133"/>
                  </a:lnTo>
                  <a:lnTo>
                    <a:pt x="407670" y="308610"/>
                  </a:lnTo>
                  <a:lnTo>
                    <a:pt x="397193" y="319088"/>
                  </a:lnTo>
                  <a:lnTo>
                    <a:pt x="386715" y="329565"/>
                  </a:lnTo>
                  <a:lnTo>
                    <a:pt x="377190" y="340995"/>
                  </a:lnTo>
                  <a:lnTo>
                    <a:pt x="367665" y="352425"/>
                  </a:lnTo>
                  <a:lnTo>
                    <a:pt x="358140" y="363855"/>
                  </a:lnTo>
                  <a:lnTo>
                    <a:pt x="349568" y="376238"/>
                  </a:lnTo>
                  <a:lnTo>
                    <a:pt x="340995" y="388620"/>
                  </a:lnTo>
                  <a:lnTo>
                    <a:pt x="333375" y="401955"/>
                  </a:lnTo>
                  <a:lnTo>
                    <a:pt x="325755" y="415290"/>
                  </a:lnTo>
                  <a:lnTo>
                    <a:pt x="320040" y="428625"/>
                  </a:lnTo>
                  <a:lnTo>
                    <a:pt x="313373" y="441960"/>
                  </a:lnTo>
                  <a:lnTo>
                    <a:pt x="307658" y="456248"/>
                  </a:lnTo>
                  <a:lnTo>
                    <a:pt x="301943" y="470535"/>
                  </a:lnTo>
                  <a:lnTo>
                    <a:pt x="295275" y="483870"/>
                  </a:lnTo>
                  <a:lnTo>
                    <a:pt x="290513" y="498158"/>
                  </a:lnTo>
                  <a:lnTo>
                    <a:pt x="285750" y="513398"/>
                  </a:lnTo>
                  <a:lnTo>
                    <a:pt x="281940" y="528638"/>
                  </a:lnTo>
                  <a:lnTo>
                    <a:pt x="279083" y="542925"/>
                  </a:lnTo>
                  <a:lnTo>
                    <a:pt x="291465" y="530543"/>
                  </a:lnTo>
                  <a:lnTo>
                    <a:pt x="304800" y="519113"/>
                  </a:lnTo>
                  <a:lnTo>
                    <a:pt x="318135" y="507683"/>
                  </a:lnTo>
                  <a:lnTo>
                    <a:pt x="332423" y="497205"/>
                  </a:lnTo>
                  <a:lnTo>
                    <a:pt x="360045" y="476250"/>
                  </a:lnTo>
                  <a:lnTo>
                    <a:pt x="386715" y="455295"/>
                  </a:lnTo>
                  <a:lnTo>
                    <a:pt x="400050" y="445770"/>
                  </a:lnTo>
                  <a:lnTo>
                    <a:pt x="412433" y="435293"/>
                  </a:lnTo>
                  <a:lnTo>
                    <a:pt x="423863" y="424815"/>
                  </a:lnTo>
                  <a:lnTo>
                    <a:pt x="435293" y="415290"/>
                  </a:lnTo>
                  <a:lnTo>
                    <a:pt x="445770" y="404813"/>
                  </a:lnTo>
                  <a:lnTo>
                    <a:pt x="455295" y="394335"/>
                  </a:lnTo>
                  <a:lnTo>
                    <a:pt x="460058" y="389573"/>
                  </a:lnTo>
                  <a:lnTo>
                    <a:pt x="464820" y="384810"/>
                  </a:lnTo>
                  <a:lnTo>
                    <a:pt x="468630" y="379095"/>
                  </a:lnTo>
                  <a:lnTo>
                    <a:pt x="471488" y="374333"/>
                  </a:lnTo>
                  <a:lnTo>
                    <a:pt x="471488" y="374333"/>
                  </a:lnTo>
                  <a:close/>
                  <a:moveTo>
                    <a:pt x="390525" y="633413"/>
                  </a:moveTo>
                  <a:lnTo>
                    <a:pt x="385763" y="641033"/>
                  </a:lnTo>
                  <a:lnTo>
                    <a:pt x="380048" y="648653"/>
                  </a:lnTo>
                  <a:lnTo>
                    <a:pt x="372428" y="657225"/>
                  </a:lnTo>
                  <a:lnTo>
                    <a:pt x="364808" y="664845"/>
                  </a:lnTo>
                  <a:lnTo>
                    <a:pt x="356235" y="673418"/>
                  </a:lnTo>
                  <a:lnTo>
                    <a:pt x="347663" y="681990"/>
                  </a:lnTo>
                  <a:lnTo>
                    <a:pt x="337185" y="690563"/>
                  </a:lnTo>
                  <a:lnTo>
                    <a:pt x="326708" y="699135"/>
                  </a:lnTo>
                  <a:lnTo>
                    <a:pt x="304800" y="717233"/>
                  </a:lnTo>
                  <a:lnTo>
                    <a:pt x="282893" y="737235"/>
                  </a:lnTo>
                  <a:lnTo>
                    <a:pt x="271463" y="747713"/>
                  </a:lnTo>
                  <a:lnTo>
                    <a:pt x="260033" y="758190"/>
                  </a:lnTo>
                  <a:lnTo>
                    <a:pt x="248603" y="769620"/>
                  </a:lnTo>
                  <a:lnTo>
                    <a:pt x="238125" y="782003"/>
                  </a:lnTo>
                  <a:lnTo>
                    <a:pt x="232410" y="788670"/>
                  </a:lnTo>
                  <a:lnTo>
                    <a:pt x="226695" y="797243"/>
                  </a:lnTo>
                  <a:lnTo>
                    <a:pt x="220980" y="806768"/>
                  </a:lnTo>
                  <a:lnTo>
                    <a:pt x="215265" y="816293"/>
                  </a:lnTo>
                  <a:lnTo>
                    <a:pt x="209550" y="826770"/>
                  </a:lnTo>
                  <a:lnTo>
                    <a:pt x="203835" y="838200"/>
                  </a:lnTo>
                  <a:lnTo>
                    <a:pt x="198120" y="849630"/>
                  </a:lnTo>
                  <a:lnTo>
                    <a:pt x="192405" y="861060"/>
                  </a:lnTo>
                  <a:lnTo>
                    <a:pt x="187643" y="873443"/>
                  </a:lnTo>
                  <a:lnTo>
                    <a:pt x="180975" y="884873"/>
                  </a:lnTo>
                  <a:lnTo>
                    <a:pt x="176213" y="897255"/>
                  </a:lnTo>
                  <a:lnTo>
                    <a:pt x="172403" y="909638"/>
                  </a:lnTo>
                  <a:lnTo>
                    <a:pt x="168593" y="922020"/>
                  </a:lnTo>
                  <a:lnTo>
                    <a:pt x="165735" y="933450"/>
                  </a:lnTo>
                  <a:lnTo>
                    <a:pt x="162878" y="944880"/>
                  </a:lnTo>
                  <a:lnTo>
                    <a:pt x="160020" y="956310"/>
                  </a:lnTo>
                  <a:lnTo>
                    <a:pt x="149543" y="860108"/>
                  </a:lnTo>
                  <a:lnTo>
                    <a:pt x="146685" y="841058"/>
                  </a:lnTo>
                  <a:lnTo>
                    <a:pt x="142875" y="822008"/>
                  </a:lnTo>
                  <a:lnTo>
                    <a:pt x="140018" y="802958"/>
                  </a:lnTo>
                  <a:lnTo>
                    <a:pt x="137160" y="782955"/>
                  </a:lnTo>
                  <a:lnTo>
                    <a:pt x="133350" y="763905"/>
                  </a:lnTo>
                  <a:lnTo>
                    <a:pt x="130493" y="743903"/>
                  </a:lnTo>
                  <a:lnTo>
                    <a:pt x="128588" y="723900"/>
                  </a:lnTo>
                  <a:lnTo>
                    <a:pt x="126683" y="703898"/>
                  </a:lnTo>
                  <a:lnTo>
                    <a:pt x="125730" y="683895"/>
                  </a:lnTo>
                  <a:lnTo>
                    <a:pt x="125730" y="663893"/>
                  </a:lnTo>
                  <a:lnTo>
                    <a:pt x="125730" y="643890"/>
                  </a:lnTo>
                  <a:lnTo>
                    <a:pt x="126683" y="623888"/>
                  </a:lnTo>
                  <a:lnTo>
                    <a:pt x="126683" y="614363"/>
                  </a:lnTo>
                  <a:lnTo>
                    <a:pt x="127635" y="603885"/>
                  </a:lnTo>
                  <a:lnTo>
                    <a:pt x="128588" y="594360"/>
                  </a:lnTo>
                  <a:lnTo>
                    <a:pt x="130493" y="584835"/>
                  </a:lnTo>
                  <a:lnTo>
                    <a:pt x="131445" y="575310"/>
                  </a:lnTo>
                  <a:lnTo>
                    <a:pt x="133350" y="565785"/>
                  </a:lnTo>
                  <a:lnTo>
                    <a:pt x="135255" y="556260"/>
                  </a:lnTo>
                  <a:lnTo>
                    <a:pt x="138113" y="546735"/>
                  </a:lnTo>
                  <a:lnTo>
                    <a:pt x="123825" y="570548"/>
                  </a:lnTo>
                  <a:lnTo>
                    <a:pt x="109538" y="596265"/>
                  </a:lnTo>
                  <a:lnTo>
                    <a:pt x="101918" y="609600"/>
                  </a:lnTo>
                  <a:lnTo>
                    <a:pt x="95250" y="622935"/>
                  </a:lnTo>
                  <a:lnTo>
                    <a:pt x="88583" y="636270"/>
                  </a:lnTo>
                  <a:lnTo>
                    <a:pt x="82868" y="649605"/>
                  </a:lnTo>
                  <a:lnTo>
                    <a:pt x="77153" y="662940"/>
                  </a:lnTo>
                  <a:lnTo>
                    <a:pt x="72390" y="676275"/>
                  </a:lnTo>
                  <a:lnTo>
                    <a:pt x="67628" y="690563"/>
                  </a:lnTo>
                  <a:lnTo>
                    <a:pt x="64770" y="704850"/>
                  </a:lnTo>
                  <a:lnTo>
                    <a:pt x="61913" y="719138"/>
                  </a:lnTo>
                  <a:lnTo>
                    <a:pt x="60008" y="734378"/>
                  </a:lnTo>
                  <a:lnTo>
                    <a:pt x="59055" y="741998"/>
                  </a:lnTo>
                  <a:lnTo>
                    <a:pt x="58103" y="749618"/>
                  </a:lnTo>
                  <a:lnTo>
                    <a:pt x="58103" y="757238"/>
                  </a:lnTo>
                  <a:lnTo>
                    <a:pt x="58103" y="764858"/>
                  </a:lnTo>
                  <a:lnTo>
                    <a:pt x="58103" y="775335"/>
                  </a:lnTo>
                  <a:lnTo>
                    <a:pt x="59055" y="785813"/>
                  </a:lnTo>
                  <a:lnTo>
                    <a:pt x="60008" y="796290"/>
                  </a:lnTo>
                  <a:lnTo>
                    <a:pt x="60960" y="806768"/>
                  </a:lnTo>
                  <a:lnTo>
                    <a:pt x="61913" y="817245"/>
                  </a:lnTo>
                  <a:lnTo>
                    <a:pt x="63818" y="827723"/>
                  </a:lnTo>
                  <a:lnTo>
                    <a:pt x="65723" y="837248"/>
                  </a:lnTo>
                  <a:lnTo>
                    <a:pt x="68580" y="846773"/>
                  </a:lnTo>
                  <a:lnTo>
                    <a:pt x="71438" y="856298"/>
                  </a:lnTo>
                  <a:lnTo>
                    <a:pt x="74295" y="865823"/>
                  </a:lnTo>
                  <a:lnTo>
                    <a:pt x="77153" y="875348"/>
                  </a:lnTo>
                  <a:lnTo>
                    <a:pt x="80963" y="884873"/>
                  </a:lnTo>
                  <a:lnTo>
                    <a:pt x="87630" y="902970"/>
                  </a:lnTo>
                  <a:lnTo>
                    <a:pt x="95250" y="920115"/>
                  </a:lnTo>
                  <a:lnTo>
                    <a:pt x="111443" y="955358"/>
                  </a:lnTo>
                  <a:lnTo>
                    <a:pt x="128588" y="990600"/>
                  </a:lnTo>
                  <a:lnTo>
                    <a:pt x="136208" y="1008698"/>
                  </a:lnTo>
                  <a:lnTo>
                    <a:pt x="143828" y="1026795"/>
                  </a:lnTo>
                  <a:lnTo>
                    <a:pt x="150495" y="1044893"/>
                  </a:lnTo>
                  <a:lnTo>
                    <a:pt x="156210" y="1063943"/>
                  </a:lnTo>
                  <a:lnTo>
                    <a:pt x="157163" y="1058228"/>
                  </a:lnTo>
                  <a:lnTo>
                    <a:pt x="158115" y="1051560"/>
                  </a:lnTo>
                  <a:lnTo>
                    <a:pt x="160020" y="1044893"/>
                  </a:lnTo>
                  <a:lnTo>
                    <a:pt x="161925" y="1038225"/>
                  </a:lnTo>
                  <a:lnTo>
                    <a:pt x="164783" y="1031558"/>
                  </a:lnTo>
                  <a:lnTo>
                    <a:pt x="167640" y="1023938"/>
                  </a:lnTo>
                  <a:lnTo>
                    <a:pt x="171450" y="1016318"/>
                  </a:lnTo>
                  <a:lnTo>
                    <a:pt x="175260" y="1008698"/>
                  </a:lnTo>
                  <a:lnTo>
                    <a:pt x="182880" y="992505"/>
                  </a:lnTo>
                  <a:lnTo>
                    <a:pt x="191453" y="976313"/>
                  </a:lnTo>
                  <a:lnTo>
                    <a:pt x="200978" y="960120"/>
                  </a:lnTo>
                  <a:lnTo>
                    <a:pt x="211455" y="943928"/>
                  </a:lnTo>
                  <a:lnTo>
                    <a:pt x="221933" y="927735"/>
                  </a:lnTo>
                  <a:lnTo>
                    <a:pt x="232410" y="912495"/>
                  </a:lnTo>
                  <a:lnTo>
                    <a:pt x="242888" y="897255"/>
                  </a:lnTo>
                  <a:lnTo>
                    <a:pt x="253365" y="883920"/>
                  </a:lnTo>
                  <a:lnTo>
                    <a:pt x="263843" y="870585"/>
                  </a:lnTo>
                  <a:lnTo>
                    <a:pt x="273368" y="859155"/>
                  </a:lnTo>
                  <a:lnTo>
                    <a:pt x="281940" y="848678"/>
                  </a:lnTo>
                  <a:lnTo>
                    <a:pt x="290513" y="840105"/>
                  </a:lnTo>
                  <a:lnTo>
                    <a:pt x="301943" y="824865"/>
                  </a:lnTo>
                  <a:lnTo>
                    <a:pt x="312420" y="811530"/>
                  </a:lnTo>
                  <a:lnTo>
                    <a:pt x="321945" y="799148"/>
                  </a:lnTo>
                  <a:lnTo>
                    <a:pt x="329565" y="787718"/>
                  </a:lnTo>
                  <a:lnTo>
                    <a:pt x="336233" y="777240"/>
                  </a:lnTo>
                  <a:lnTo>
                    <a:pt x="341948" y="766763"/>
                  </a:lnTo>
                  <a:lnTo>
                    <a:pt x="347663" y="756285"/>
                  </a:lnTo>
                  <a:lnTo>
                    <a:pt x="352425" y="745808"/>
                  </a:lnTo>
                  <a:lnTo>
                    <a:pt x="357188" y="735330"/>
                  </a:lnTo>
                  <a:lnTo>
                    <a:pt x="361950" y="724853"/>
                  </a:lnTo>
                  <a:lnTo>
                    <a:pt x="366713" y="713423"/>
                  </a:lnTo>
                  <a:lnTo>
                    <a:pt x="371475" y="701040"/>
                  </a:lnTo>
                  <a:lnTo>
                    <a:pt x="381953" y="672465"/>
                  </a:lnTo>
                  <a:lnTo>
                    <a:pt x="390525" y="633413"/>
                  </a:lnTo>
                  <a:lnTo>
                    <a:pt x="390525" y="633413"/>
                  </a:lnTo>
                  <a:close/>
                  <a:moveTo>
                    <a:pt x="310515" y="882968"/>
                  </a:moveTo>
                  <a:lnTo>
                    <a:pt x="295275" y="902970"/>
                  </a:lnTo>
                  <a:lnTo>
                    <a:pt x="280988" y="922973"/>
                  </a:lnTo>
                  <a:lnTo>
                    <a:pt x="266700" y="942023"/>
                  </a:lnTo>
                  <a:lnTo>
                    <a:pt x="253365" y="961073"/>
                  </a:lnTo>
                  <a:lnTo>
                    <a:pt x="240983" y="979170"/>
                  </a:lnTo>
                  <a:lnTo>
                    <a:pt x="229553" y="998220"/>
                  </a:lnTo>
                  <a:lnTo>
                    <a:pt x="224790" y="1007745"/>
                  </a:lnTo>
                  <a:lnTo>
                    <a:pt x="220028" y="1017270"/>
                  </a:lnTo>
                  <a:lnTo>
                    <a:pt x="215265" y="1026795"/>
                  </a:lnTo>
                  <a:lnTo>
                    <a:pt x="210503" y="1036320"/>
                  </a:lnTo>
                  <a:lnTo>
                    <a:pt x="205740" y="1045845"/>
                  </a:lnTo>
                  <a:lnTo>
                    <a:pt x="201930" y="1055370"/>
                  </a:lnTo>
                  <a:lnTo>
                    <a:pt x="198120" y="1064895"/>
                  </a:lnTo>
                  <a:lnTo>
                    <a:pt x="194310" y="1075373"/>
                  </a:lnTo>
                  <a:lnTo>
                    <a:pt x="191453" y="1085850"/>
                  </a:lnTo>
                  <a:lnTo>
                    <a:pt x="188595" y="1096328"/>
                  </a:lnTo>
                  <a:lnTo>
                    <a:pt x="186690" y="1106805"/>
                  </a:lnTo>
                  <a:lnTo>
                    <a:pt x="184785" y="1118235"/>
                  </a:lnTo>
                  <a:lnTo>
                    <a:pt x="182880" y="1129665"/>
                  </a:lnTo>
                  <a:lnTo>
                    <a:pt x="180975" y="1141095"/>
                  </a:lnTo>
                  <a:lnTo>
                    <a:pt x="180023" y="1153478"/>
                  </a:lnTo>
                  <a:lnTo>
                    <a:pt x="179070" y="1165860"/>
                  </a:lnTo>
                  <a:lnTo>
                    <a:pt x="179070" y="1179195"/>
                  </a:lnTo>
                  <a:lnTo>
                    <a:pt x="179070" y="1192530"/>
                  </a:lnTo>
                  <a:lnTo>
                    <a:pt x="179070" y="1206818"/>
                  </a:lnTo>
                  <a:lnTo>
                    <a:pt x="180023" y="1221105"/>
                  </a:lnTo>
                  <a:lnTo>
                    <a:pt x="177165" y="1208723"/>
                  </a:lnTo>
                  <a:lnTo>
                    <a:pt x="173355" y="1196340"/>
                  </a:lnTo>
                  <a:lnTo>
                    <a:pt x="169545" y="1183958"/>
                  </a:lnTo>
                  <a:lnTo>
                    <a:pt x="165735" y="1171575"/>
                  </a:lnTo>
                  <a:lnTo>
                    <a:pt x="160973" y="1159193"/>
                  </a:lnTo>
                  <a:lnTo>
                    <a:pt x="156210" y="1146810"/>
                  </a:lnTo>
                  <a:lnTo>
                    <a:pt x="150495" y="1134428"/>
                  </a:lnTo>
                  <a:lnTo>
                    <a:pt x="145733" y="1122045"/>
                  </a:lnTo>
                  <a:lnTo>
                    <a:pt x="133350" y="1097280"/>
                  </a:lnTo>
                  <a:lnTo>
                    <a:pt x="120968" y="1072515"/>
                  </a:lnTo>
                  <a:lnTo>
                    <a:pt x="107633" y="1047750"/>
                  </a:lnTo>
                  <a:lnTo>
                    <a:pt x="94298" y="1023938"/>
                  </a:lnTo>
                  <a:lnTo>
                    <a:pt x="81915" y="1000125"/>
                  </a:lnTo>
                  <a:lnTo>
                    <a:pt x="69533" y="976313"/>
                  </a:lnTo>
                  <a:lnTo>
                    <a:pt x="63818" y="964883"/>
                  </a:lnTo>
                  <a:lnTo>
                    <a:pt x="58103" y="953453"/>
                  </a:lnTo>
                  <a:lnTo>
                    <a:pt x="53340" y="942023"/>
                  </a:lnTo>
                  <a:lnTo>
                    <a:pt x="48578" y="930593"/>
                  </a:lnTo>
                  <a:lnTo>
                    <a:pt x="43815" y="919163"/>
                  </a:lnTo>
                  <a:lnTo>
                    <a:pt x="40005" y="907733"/>
                  </a:lnTo>
                  <a:lnTo>
                    <a:pt x="38100" y="899160"/>
                  </a:lnTo>
                  <a:lnTo>
                    <a:pt x="35243" y="887730"/>
                  </a:lnTo>
                  <a:lnTo>
                    <a:pt x="32385" y="876300"/>
                  </a:lnTo>
                  <a:lnTo>
                    <a:pt x="30480" y="865823"/>
                  </a:lnTo>
                  <a:lnTo>
                    <a:pt x="29528" y="855345"/>
                  </a:lnTo>
                  <a:lnTo>
                    <a:pt x="28575" y="843915"/>
                  </a:lnTo>
                  <a:lnTo>
                    <a:pt x="23813" y="867728"/>
                  </a:lnTo>
                  <a:lnTo>
                    <a:pt x="20003" y="890588"/>
                  </a:lnTo>
                  <a:lnTo>
                    <a:pt x="17145" y="912495"/>
                  </a:lnTo>
                  <a:lnTo>
                    <a:pt x="15240" y="933450"/>
                  </a:lnTo>
                  <a:lnTo>
                    <a:pt x="14288" y="952500"/>
                  </a:lnTo>
                  <a:lnTo>
                    <a:pt x="14288" y="971550"/>
                  </a:lnTo>
                  <a:lnTo>
                    <a:pt x="14288" y="989648"/>
                  </a:lnTo>
                  <a:lnTo>
                    <a:pt x="15240" y="1006793"/>
                  </a:lnTo>
                  <a:lnTo>
                    <a:pt x="17145" y="1022985"/>
                  </a:lnTo>
                  <a:lnTo>
                    <a:pt x="20003" y="1038225"/>
                  </a:lnTo>
                  <a:lnTo>
                    <a:pt x="23813" y="1052513"/>
                  </a:lnTo>
                  <a:lnTo>
                    <a:pt x="27623" y="1066800"/>
                  </a:lnTo>
                  <a:lnTo>
                    <a:pt x="32385" y="1081088"/>
                  </a:lnTo>
                  <a:lnTo>
                    <a:pt x="37148" y="1094423"/>
                  </a:lnTo>
                  <a:lnTo>
                    <a:pt x="42863" y="1107758"/>
                  </a:lnTo>
                  <a:lnTo>
                    <a:pt x="49530" y="1120140"/>
                  </a:lnTo>
                  <a:lnTo>
                    <a:pt x="56198" y="1132523"/>
                  </a:lnTo>
                  <a:lnTo>
                    <a:pt x="63818" y="1144905"/>
                  </a:lnTo>
                  <a:lnTo>
                    <a:pt x="71438" y="1157288"/>
                  </a:lnTo>
                  <a:lnTo>
                    <a:pt x="80010" y="1168718"/>
                  </a:lnTo>
                  <a:lnTo>
                    <a:pt x="88583" y="1181100"/>
                  </a:lnTo>
                  <a:lnTo>
                    <a:pt x="98108" y="1192530"/>
                  </a:lnTo>
                  <a:lnTo>
                    <a:pt x="107633" y="1204913"/>
                  </a:lnTo>
                  <a:lnTo>
                    <a:pt x="117158" y="1217295"/>
                  </a:lnTo>
                  <a:lnTo>
                    <a:pt x="138113" y="1242060"/>
                  </a:lnTo>
                  <a:lnTo>
                    <a:pt x="160020" y="1268730"/>
                  </a:lnTo>
                  <a:lnTo>
                    <a:pt x="171450" y="1283018"/>
                  </a:lnTo>
                  <a:lnTo>
                    <a:pt x="182880" y="1297305"/>
                  </a:lnTo>
                  <a:lnTo>
                    <a:pt x="195263" y="1312545"/>
                  </a:lnTo>
                  <a:lnTo>
                    <a:pt x="207645" y="1328738"/>
                  </a:lnTo>
                  <a:lnTo>
                    <a:pt x="206693" y="1317308"/>
                  </a:lnTo>
                  <a:lnTo>
                    <a:pt x="206693" y="1305878"/>
                  </a:lnTo>
                  <a:lnTo>
                    <a:pt x="206693" y="1294448"/>
                  </a:lnTo>
                  <a:lnTo>
                    <a:pt x="207645" y="1283018"/>
                  </a:lnTo>
                  <a:lnTo>
                    <a:pt x="209550" y="1270635"/>
                  </a:lnTo>
                  <a:lnTo>
                    <a:pt x="211455" y="1258253"/>
                  </a:lnTo>
                  <a:lnTo>
                    <a:pt x="214313" y="1245870"/>
                  </a:lnTo>
                  <a:lnTo>
                    <a:pt x="218123" y="1233488"/>
                  </a:lnTo>
                  <a:lnTo>
                    <a:pt x="221933" y="1221105"/>
                  </a:lnTo>
                  <a:lnTo>
                    <a:pt x="226695" y="1207770"/>
                  </a:lnTo>
                  <a:lnTo>
                    <a:pt x="231458" y="1194435"/>
                  </a:lnTo>
                  <a:lnTo>
                    <a:pt x="236220" y="1181100"/>
                  </a:lnTo>
                  <a:lnTo>
                    <a:pt x="246698" y="1154430"/>
                  </a:lnTo>
                  <a:lnTo>
                    <a:pt x="257175" y="1126808"/>
                  </a:lnTo>
                  <a:lnTo>
                    <a:pt x="268605" y="1099185"/>
                  </a:lnTo>
                  <a:lnTo>
                    <a:pt x="279083" y="1070610"/>
                  </a:lnTo>
                  <a:lnTo>
                    <a:pt x="283845" y="1056323"/>
                  </a:lnTo>
                  <a:lnTo>
                    <a:pt x="288608" y="1042035"/>
                  </a:lnTo>
                  <a:lnTo>
                    <a:pt x="293370" y="1026795"/>
                  </a:lnTo>
                  <a:lnTo>
                    <a:pt x="297180" y="1011555"/>
                  </a:lnTo>
                  <a:lnTo>
                    <a:pt x="300990" y="996315"/>
                  </a:lnTo>
                  <a:lnTo>
                    <a:pt x="303848" y="981075"/>
                  </a:lnTo>
                  <a:lnTo>
                    <a:pt x="306705" y="964883"/>
                  </a:lnTo>
                  <a:lnTo>
                    <a:pt x="308610" y="949643"/>
                  </a:lnTo>
                  <a:lnTo>
                    <a:pt x="309563" y="933450"/>
                  </a:lnTo>
                  <a:lnTo>
                    <a:pt x="310515" y="917258"/>
                  </a:lnTo>
                  <a:lnTo>
                    <a:pt x="310515" y="901065"/>
                  </a:lnTo>
                  <a:lnTo>
                    <a:pt x="310515" y="882968"/>
                  </a:lnTo>
                  <a:lnTo>
                    <a:pt x="310515" y="882968"/>
                  </a:lnTo>
                  <a:close/>
                  <a:moveTo>
                    <a:pt x="332423" y="1591628"/>
                  </a:moveTo>
                  <a:lnTo>
                    <a:pt x="328613" y="1579245"/>
                  </a:lnTo>
                  <a:lnTo>
                    <a:pt x="325755" y="1566863"/>
                  </a:lnTo>
                  <a:lnTo>
                    <a:pt x="322898" y="1553528"/>
                  </a:lnTo>
                  <a:lnTo>
                    <a:pt x="320993" y="1540193"/>
                  </a:lnTo>
                  <a:lnTo>
                    <a:pt x="320040" y="1526858"/>
                  </a:lnTo>
                  <a:lnTo>
                    <a:pt x="319088" y="1512570"/>
                  </a:lnTo>
                  <a:lnTo>
                    <a:pt x="319088" y="1498283"/>
                  </a:lnTo>
                  <a:lnTo>
                    <a:pt x="319088" y="1482090"/>
                  </a:lnTo>
                  <a:lnTo>
                    <a:pt x="319088" y="1467803"/>
                  </a:lnTo>
                  <a:lnTo>
                    <a:pt x="320040" y="1453515"/>
                  </a:lnTo>
                  <a:lnTo>
                    <a:pt x="320993" y="1438275"/>
                  </a:lnTo>
                  <a:lnTo>
                    <a:pt x="321945" y="1423035"/>
                  </a:lnTo>
                  <a:lnTo>
                    <a:pt x="323850" y="1390650"/>
                  </a:lnTo>
                  <a:lnTo>
                    <a:pt x="326708" y="1359218"/>
                  </a:lnTo>
                  <a:lnTo>
                    <a:pt x="329565" y="1327785"/>
                  </a:lnTo>
                  <a:lnTo>
                    <a:pt x="331470" y="1296353"/>
                  </a:lnTo>
                  <a:lnTo>
                    <a:pt x="331470" y="1280160"/>
                  </a:lnTo>
                  <a:lnTo>
                    <a:pt x="331470" y="1264920"/>
                  </a:lnTo>
                  <a:lnTo>
                    <a:pt x="331470" y="1248728"/>
                  </a:lnTo>
                  <a:lnTo>
                    <a:pt x="331470" y="1233488"/>
                  </a:lnTo>
                  <a:lnTo>
                    <a:pt x="330518" y="1218248"/>
                  </a:lnTo>
                  <a:lnTo>
                    <a:pt x="328613" y="1203008"/>
                  </a:lnTo>
                  <a:lnTo>
                    <a:pt x="326708" y="1187768"/>
                  </a:lnTo>
                  <a:lnTo>
                    <a:pt x="323850" y="1172528"/>
                  </a:lnTo>
                  <a:lnTo>
                    <a:pt x="320040" y="1157288"/>
                  </a:lnTo>
                  <a:lnTo>
                    <a:pt x="314325" y="1143000"/>
                  </a:lnTo>
                  <a:lnTo>
                    <a:pt x="309563" y="1128713"/>
                  </a:lnTo>
                  <a:lnTo>
                    <a:pt x="303848" y="1114425"/>
                  </a:lnTo>
                  <a:lnTo>
                    <a:pt x="297180" y="1137285"/>
                  </a:lnTo>
                  <a:lnTo>
                    <a:pt x="290513" y="1159193"/>
                  </a:lnTo>
                  <a:lnTo>
                    <a:pt x="283845" y="1181100"/>
                  </a:lnTo>
                  <a:lnTo>
                    <a:pt x="277178" y="1202055"/>
                  </a:lnTo>
                  <a:lnTo>
                    <a:pt x="271463" y="1223963"/>
                  </a:lnTo>
                  <a:lnTo>
                    <a:pt x="265748" y="1244918"/>
                  </a:lnTo>
                  <a:lnTo>
                    <a:pt x="260985" y="1266825"/>
                  </a:lnTo>
                  <a:lnTo>
                    <a:pt x="257175" y="1288733"/>
                  </a:lnTo>
                  <a:lnTo>
                    <a:pt x="256223" y="1300163"/>
                  </a:lnTo>
                  <a:lnTo>
                    <a:pt x="255270" y="1311593"/>
                  </a:lnTo>
                  <a:lnTo>
                    <a:pt x="254318" y="1323023"/>
                  </a:lnTo>
                  <a:lnTo>
                    <a:pt x="253365" y="1334453"/>
                  </a:lnTo>
                  <a:lnTo>
                    <a:pt x="253365" y="1345883"/>
                  </a:lnTo>
                  <a:lnTo>
                    <a:pt x="253365" y="1358265"/>
                  </a:lnTo>
                  <a:lnTo>
                    <a:pt x="253365" y="1370648"/>
                  </a:lnTo>
                  <a:lnTo>
                    <a:pt x="254318" y="1383030"/>
                  </a:lnTo>
                  <a:lnTo>
                    <a:pt x="255270" y="1395413"/>
                  </a:lnTo>
                  <a:lnTo>
                    <a:pt x="256223" y="1407795"/>
                  </a:lnTo>
                  <a:lnTo>
                    <a:pt x="258128" y="1421130"/>
                  </a:lnTo>
                  <a:lnTo>
                    <a:pt x="260033" y="1434465"/>
                  </a:lnTo>
                  <a:lnTo>
                    <a:pt x="262890" y="1447800"/>
                  </a:lnTo>
                  <a:lnTo>
                    <a:pt x="265748" y="1462088"/>
                  </a:lnTo>
                  <a:lnTo>
                    <a:pt x="269558" y="1476375"/>
                  </a:lnTo>
                  <a:lnTo>
                    <a:pt x="273368" y="1490663"/>
                  </a:lnTo>
                  <a:lnTo>
                    <a:pt x="268605" y="1483043"/>
                  </a:lnTo>
                  <a:lnTo>
                    <a:pt x="261938" y="1471613"/>
                  </a:lnTo>
                  <a:lnTo>
                    <a:pt x="252413" y="1456373"/>
                  </a:lnTo>
                  <a:lnTo>
                    <a:pt x="240983" y="1439228"/>
                  </a:lnTo>
                  <a:lnTo>
                    <a:pt x="227648" y="1419225"/>
                  </a:lnTo>
                  <a:lnTo>
                    <a:pt x="211455" y="1397318"/>
                  </a:lnTo>
                  <a:lnTo>
                    <a:pt x="202883" y="1386840"/>
                  </a:lnTo>
                  <a:lnTo>
                    <a:pt x="193358" y="1375410"/>
                  </a:lnTo>
                  <a:lnTo>
                    <a:pt x="183833" y="1363980"/>
                  </a:lnTo>
                  <a:lnTo>
                    <a:pt x="173355" y="1352550"/>
                  </a:lnTo>
                  <a:lnTo>
                    <a:pt x="149543" y="1323975"/>
                  </a:lnTo>
                  <a:lnTo>
                    <a:pt x="124778" y="1295400"/>
                  </a:lnTo>
                  <a:lnTo>
                    <a:pt x="100013" y="1266825"/>
                  </a:lnTo>
                  <a:lnTo>
                    <a:pt x="76200" y="1238250"/>
                  </a:lnTo>
                  <a:lnTo>
                    <a:pt x="64770" y="1219200"/>
                  </a:lnTo>
                  <a:lnTo>
                    <a:pt x="53340" y="1204913"/>
                  </a:lnTo>
                  <a:lnTo>
                    <a:pt x="42863" y="1190625"/>
                  </a:lnTo>
                  <a:lnTo>
                    <a:pt x="32385" y="1176338"/>
                  </a:lnTo>
                  <a:lnTo>
                    <a:pt x="22860" y="1163003"/>
                  </a:lnTo>
                  <a:lnTo>
                    <a:pt x="14288" y="1149668"/>
                  </a:lnTo>
                  <a:lnTo>
                    <a:pt x="6668" y="1137285"/>
                  </a:lnTo>
                  <a:lnTo>
                    <a:pt x="0" y="1124903"/>
                  </a:lnTo>
                  <a:lnTo>
                    <a:pt x="953" y="1154430"/>
                  </a:lnTo>
                  <a:lnTo>
                    <a:pt x="2858" y="1182053"/>
                  </a:lnTo>
                  <a:lnTo>
                    <a:pt x="6668" y="1208723"/>
                  </a:lnTo>
                  <a:lnTo>
                    <a:pt x="12383" y="1234440"/>
                  </a:lnTo>
                  <a:lnTo>
                    <a:pt x="19050" y="1258253"/>
                  </a:lnTo>
                  <a:lnTo>
                    <a:pt x="26670" y="1281113"/>
                  </a:lnTo>
                  <a:lnTo>
                    <a:pt x="36195" y="1303020"/>
                  </a:lnTo>
                  <a:lnTo>
                    <a:pt x="46673" y="1323975"/>
                  </a:lnTo>
                  <a:lnTo>
                    <a:pt x="57150" y="1343025"/>
                  </a:lnTo>
                  <a:lnTo>
                    <a:pt x="69533" y="1362075"/>
                  </a:lnTo>
                  <a:lnTo>
                    <a:pt x="81915" y="1380173"/>
                  </a:lnTo>
                  <a:lnTo>
                    <a:pt x="95250" y="1396365"/>
                  </a:lnTo>
                  <a:lnTo>
                    <a:pt x="109538" y="1412558"/>
                  </a:lnTo>
                  <a:lnTo>
                    <a:pt x="123825" y="1427798"/>
                  </a:lnTo>
                  <a:lnTo>
                    <a:pt x="139065" y="1442085"/>
                  </a:lnTo>
                  <a:lnTo>
                    <a:pt x="154305" y="1455420"/>
                  </a:lnTo>
                  <a:lnTo>
                    <a:pt x="169545" y="1467803"/>
                  </a:lnTo>
                  <a:lnTo>
                    <a:pt x="184785" y="1480185"/>
                  </a:lnTo>
                  <a:lnTo>
                    <a:pt x="200025" y="1490663"/>
                  </a:lnTo>
                  <a:lnTo>
                    <a:pt x="215265" y="1501140"/>
                  </a:lnTo>
                  <a:lnTo>
                    <a:pt x="243840" y="1520190"/>
                  </a:lnTo>
                  <a:lnTo>
                    <a:pt x="269558" y="1537335"/>
                  </a:lnTo>
                  <a:lnTo>
                    <a:pt x="281940" y="1544955"/>
                  </a:lnTo>
                  <a:lnTo>
                    <a:pt x="292418" y="1552575"/>
                  </a:lnTo>
                  <a:lnTo>
                    <a:pt x="302895" y="1559243"/>
                  </a:lnTo>
                  <a:lnTo>
                    <a:pt x="311468" y="1565910"/>
                  </a:lnTo>
                  <a:lnTo>
                    <a:pt x="319088" y="1572578"/>
                  </a:lnTo>
                  <a:lnTo>
                    <a:pt x="325755" y="1578293"/>
                  </a:lnTo>
                  <a:lnTo>
                    <a:pt x="330518" y="1584008"/>
                  </a:lnTo>
                  <a:lnTo>
                    <a:pt x="332423" y="1591628"/>
                  </a:lnTo>
                  <a:lnTo>
                    <a:pt x="332423" y="1591628"/>
                  </a:lnTo>
                  <a:close/>
                  <a:moveTo>
                    <a:pt x="177165" y="813435"/>
                  </a:moveTo>
                  <a:lnTo>
                    <a:pt x="182880" y="797243"/>
                  </a:lnTo>
                  <a:lnTo>
                    <a:pt x="189548" y="782003"/>
                  </a:lnTo>
                  <a:lnTo>
                    <a:pt x="197168" y="766763"/>
                  </a:lnTo>
                  <a:lnTo>
                    <a:pt x="205740" y="753428"/>
                  </a:lnTo>
                  <a:lnTo>
                    <a:pt x="215265" y="740093"/>
                  </a:lnTo>
                  <a:lnTo>
                    <a:pt x="224790" y="727710"/>
                  </a:lnTo>
                  <a:lnTo>
                    <a:pt x="235268" y="716280"/>
                  </a:lnTo>
                  <a:lnTo>
                    <a:pt x="245745" y="704850"/>
                  </a:lnTo>
                  <a:lnTo>
                    <a:pt x="256223" y="694373"/>
                  </a:lnTo>
                  <a:lnTo>
                    <a:pt x="267653" y="683895"/>
                  </a:lnTo>
                  <a:lnTo>
                    <a:pt x="279083" y="673418"/>
                  </a:lnTo>
                  <a:lnTo>
                    <a:pt x="290513" y="663893"/>
                  </a:lnTo>
                  <a:lnTo>
                    <a:pt x="315278" y="643890"/>
                  </a:lnTo>
                  <a:lnTo>
                    <a:pt x="340043" y="624840"/>
                  </a:lnTo>
                  <a:lnTo>
                    <a:pt x="352425" y="615315"/>
                  </a:lnTo>
                  <a:lnTo>
                    <a:pt x="364808" y="605790"/>
                  </a:lnTo>
                  <a:lnTo>
                    <a:pt x="377190" y="595313"/>
                  </a:lnTo>
                  <a:lnTo>
                    <a:pt x="389573" y="584835"/>
                  </a:lnTo>
                  <a:lnTo>
                    <a:pt x="401003" y="574358"/>
                  </a:lnTo>
                  <a:lnTo>
                    <a:pt x="412433" y="563880"/>
                  </a:lnTo>
                  <a:lnTo>
                    <a:pt x="423863" y="553403"/>
                  </a:lnTo>
                  <a:lnTo>
                    <a:pt x="434340" y="541973"/>
                  </a:lnTo>
                  <a:lnTo>
                    <a:pt x="444818" y="529590"/>
                  </a:lnTo>
                  <a:lnTo>
                    <a:pt x="455295" y="516255"/>
                  </a:lnTo>
                  <a:lnTo>
                    <a:pt x="464820" y="502920"/>
                  </a:lnTo>
                  <a:lnTo>
                    <a:pt x="473393" y="488633"/>
                  </a:lnTo>
                  <a:lnTo>
                    <a:pt x="481013" y="473393"/>
                  </a:lnTo>
                  <a:lnTo>
                    <a:pt x="487680" y="458153"/>
                  </a:lnTo>
                  <a:lnTo>
                    <a:pt x="493395" y="441008"/>
                  </a:lnTo>
                  <a:lnTo>
                    <a:pt x="499110" y="422910"/>
                  </a:lnTo>
                  <a:lnTo>
                    <a:pt x="486728" y="434340"/>
                  </a:lnTo>
                  <a:lnTo>
                    <a:pt x="476250" y="445770"/>
                  </a:lnTo>
                  <a:lnTo>
                    <a:pt x="462915" y="456248"/>
                  </a:lnTo>
                  <a:lnTo>
                    <a:pt x="449580" y="465773"/>
                  </a:lnTo>
                  <a:lnTo>
                    <a:pt x="436245" y="475298"/>
                  </a:lnTo>
                  <a:lnTo>
                    <a:pt x="421958" y="484823"/>
                  </a:lnTo>
                  <a:lnTo>
                    <a:pt x="408623" y="493395"/>
                  </a:lnTo>
                  <a:lnTo>
                    <a:pt x="394335" y="502920"/>
                  </a:lnTo>
                  <a:lnTo>
                    <a:pt x="366713" y="521018"/>
                  </a:lnTo>
                  <a:lnTo>
                    <a:pt x="339090" y="540068"/>
                  </a:lnTo>
                  <a:lnTo>
                    <a:pt x="324803" y="550545"/>
                  </a:lnTo>
                  <a:lnTo>
                    <a:pt x="311468" y="561023"/>
                  </a:lnTo>
                  <a:lnTo>
                    <a:pt x="298133" y="572453"/>
                  </a:lnTo>
                  <a:lnTo>
                    <a:pt x="285750" y="581978"/>
                  </a:lnTo>
                  <a:lnTo>
                    <a:pt x="274320" y="594360"/>
                  </a:lnTo>
                  <a:lnTo>
                    <a:pt x="263843" y="606743"/>
                  </a:lnTo>
                  <a:lnTo>
                    <a:pt x="254318" y="619125"/>
                  </a:lnTo>
                  <a:lnTo>
                    <a:pt x="245745" y="631508"/>
                  </a:lnTo>
                  <a:lnTo>
                    <a:pt x="237173" y="643890"/>
                  </a:lnTo>
                  <a:lnTo>
                    <a:pt x="228600" y="657225"/>
                  </a:lnTo>
                  <a:lnTo>
                    <a:pt x="220980" y="670560"/>
                  </a:lnTo>
                  <a:lnTo>
                    <a:pt x="214313" y="684848"/>
                  </a:lnTo>
                  <a:lnTo>
                    <a:pt x="220028" y="663893"/>
                  </a:lnTo>
                  <a:lnTo>
                    <a:pt x="225743" y="642938"/>
                  </a:lnTo>
                  <a:lnTo>
                    <a:pt x="231458" y="621983"/>
                  </a:lnTo>
                  <a:lnTo>
                    <a:pt x="236220" y="601028"/>
                  </a:lnTo>
                  <a:lnTo>
                    <a:pt x="240030" y="580073"/>
                  </a:lnTo>
                  <a:lnTo>
                    <a:pt x="242888" y="560070"/>
                  </a:lnTo>
                  <a:lnTo>
                    <a:pt x="243840" y="550545"/>
                  </a:lnTo>
                  <a:lnTo>
                    <a:pt x="244793" y="541020"/>
                  </a:lnTo>
                  <a:lnTo>
                    <a:pt x="244793" y="531495"/>
                  </a:lnTo>
                  <a:lnTo>
                    <a:pt x="244793" y="521970"/>
                  </a:lnTo>
                  <a:lnTo>
                    <a:pt x="247650" y="496253"/>
                  </a:lnTo>
                  <a:lnTo>
                    <a:pt x="249555" y="477203"/>
                  </a:lnTo>
                  <a:lnTo>
                    <a:pt x="251460" y="461963"/>
                  </a:lnTo>
                  <a:lnTo>
                    <a:pt x="254318" y="449580"/>
                  </a:lnTo>
                  <a:lnTo>
                    <a:pt x="255270" y="443865"/>
                  </a:lnTo>
                  <a:lnTo>
                    <a:pt x="257175" y="438150"/>
                  </a:lnTo>
                  <a:lnTo>
                    <a:pt x="259080" y="431483"/>
                  </a:lnTo>
                  <a:lnTo>
                    <a:pt x="261938" y="423863"/>
                  </a:lnTo>
                  <a:lnTo>
                    <a:pt x="269558" y="405765"/>
                  </a:lnTo>
                  <a:lnTo>
                    <a:pt x="280035" y="381953"/>
                  </a:lnTo>
                  <a:lnTo>
                    <a:pt x="283845" y="375285"/>
                  </a:lnTo>
                  <a:lnTo>
                    <a:pt x="290513" y="365760"/>
                  </a:lnTo>
                  <a:lnTo>
                    <a:pt x="296228" y="356235"/>
                  </a:lnTo>
                  <a:lnTo>
                    <a:pt x="300038" y="349568"/>
                  </a:lnTo>
                  <a:lnTo>
                    <a:pt x="292418" y="355283"/>
                  </a:lnTo>
                  <a:lnTo>
                    <a:pt x="285750" y="360998"/>
                  </a:lnTo>
                  <a:lnTo>
                    <a:pt x="279083" y="366713"/>
                  </a:lnTo>
                  <a:lnTo>
                    <a:pt x="272415" y="372428"/>
                  </a:lnTo>
                  <a:lnTo>
                    <a:pt x="266700" y="376238"/>
                  </a:lnTo>
                  <a:lnTo>
                    <a:pt x="260985" y="381953"/>
                  </a:lnTo>
                  <a:lnTo>
                    <a:pt x="255270" y="387668"/>
                  </a:lnTo>
                  <a:lnTo>
                    <a:pt x="249555" y="393383"/>
                  </a:lnTo>
                  <a:lnTo>
                    <a:pt x="243840" y="400050"/>
                  </a:lnTo>
                  <a:lnTo>
                    <a:pt x="238125" y="406718"/>
                  </a:lnTo>
                  <a:lnTo>
                    <a:pt x="233363" y="412433"/>
                  </a:lnTo>
                  <a:lnTo>
                    <a:pt x="228600" y="420053"/>
                  </a:lnTo>
                  <a:lnTo>
                    <a:pt x="223838" y="426720"/>
                  </a:lnTo>
                  <a:lnTo>
                    <a:pt x="219075" y="433388"/>
                  </a:lnTo>
                  <a:lnTo>
                    <a:pt x="214313" y="440055"/>
                  </a:lnTo>
                  <a:lnTo>
                    <a:pt x="210503" y="446723"/>
                  </a:lnTo>
                  <a:lnTo>
                    <a:pt x="206693" y="454343"/>
                  </a:lnTo>
                  <a:lnTo>
                    <a:pt x="202883" y="461010"/>
                  </a:lnTo>
                  <a:lnTo>
                    <a:pt x="199073" y="468630"/>
                  </a:lnTo>
                  <a:lnTo>
                    <a:pt x="196215" y="476250"/>
                  </a:lnTo>
                  <a:lnTo>
                    <a:pt x="190500" y="491490"/>
                  </a:lnTo>
                  <a:lnTo>
                    <a:pt x="184785" y="507683"/>
                  </a:lnTo>
                  <a:lnTo>
                    <a:pt x="180023" y="523875"/>
                  </a:lnTo>
                  <a:lnTo>
                    <a:pt x="176213" y="541020"/>
                  </a:lnTo>
                  <a:lnTo>
                    <a:pt x="171450" y="557213"/>
                  </a:lnTo>
                  <a:lnTo>
                    <a:pt x="168593" y="575310"/>
                  </a:lnTo>
                  <a:lnTo>
                    <a:pt x="167640" y="590550"/>
                  </a:lnTo>
                  <a:lnTo>
                    <a:pt x="166688" y="605790"/>
                  </a:lnTo>
                  <a:lnTo>
                    <a:pt x="166688" y="621030"/>
                  </a:lnTo>
                  <a:lnTo>
                    <a:pt x="165735" y="635318"/>
                  </a:lnTo>
                  <a:lnTo>
                    <a:pt x="165735" y="650558"/>
                  </a:lnTo>
                  <a:lnTo>
                    <a:pt x="165735" y="664845"/>
                  </a:lnTo>
                  <a:lnTo>
                    <a:pt x="165735" y="679133"/>
                  </a:lnTo>
                  <a:lnTo>
                    <a:pt x="166688" y="693420"/>
                  </a:lnTo>
                  <a:lnTo>
                    <a:pt x="168593" y="721995"/>
                  </a:lnTo>
                  <a:lnTo>
                    <a:pt x="171450" y="751523"/>
                  </a:lnTo>
                  <a:lnTo>
                    <a:pt x="174308" y="782003"/>
                  </a:lnTo>
                  <a:lnTo>
                    <a:pt x="177165" y="813435"/>
                  </a:lnTo>
                  <a:lnTo>
                    <a:pt x="177165" y="813435"/>
                  </a:lnTo>
                  <a:close/>
                  <a:moveTo>
                    <a:pt x="520065" y="1794510"/>
                  </a:moveTo>
                  <a:lnTo>
                    <a:pt x="513398" y="1784033"/>
                  </a:lnTo>
                  <a:lnTo>
                    <a:pt x="506730" y="1772603"/>
                  </a:lnTo>
                  <a:lnTo>
                    <a:pt x="501015" y="1761173"/>
                  </a:lnTo>
                  <a:lnTo>
                    <a:pt x="495300" y="1748790"/>
                  </a:lnTo>
                  <a:lnTo>
                    <a:pt x="490538" y="1736408"/>
                  </a:lnTo>
                  <a:lnTo>
                    <a:pt x="485775" y="1724025"/>
                  </a:lnTo>
                  <a:lnTo>
                    <a:pt x="481965" y="1710690"/>
                  </a:lnTo>
                  <a:lnTo>
                    <a:pt x="478155" y="1697355"/>
                  </a:lnTo>
                  <a:lnTo>
                    <a:pt x="475298" y="1683068"/>
                  </a:lnTo>
                  <a:lnTo>
                    <a:pt x="471488" y="1668780"/>
                  </a:lnTo>
                  <a:lnTo>
                    <a:pt x="468630" y="1654493"/>
                  </a:lnTo>
                  <a:lnTo>
                    <a:pt x="465773" y="1640205"/>
                  </a:lnTo>
                  <a:lnTo>
                    <a:pt x="460058" y="1611630"/>
                  </a:lnTo>
                  <a:lnTo>
                    <a:pt x="454343" y="1582103"/>
                  </a:lnTo>
                  <a:lnTo>
                    <a:pt x="448628" y="1552575"/>
                  </a:lnTo>
                  <a:lnTo>
                    <a:pt x="441960" y="1523048"/>
                  </a:lnTo>
                  <a:lnTo>
                    <a:pt x="438150" y="1507808"/>
                  </a:lnTo>
                  <a:lnTo>
                    <a:pt x="434340" y="1493520"/>
                  </a:lnTo>
                  <a:lnTo>
                    <a:pt x="429578" y="1479233"/>
                  </a:lnTo>
                  <a:lnTo>
                    <a:pt x="424815" y="1464945"/>
                  </a:lnTo>
                  <a:lnTo>
                    <a:pt x="420053" y="1450658"/>
                  </a:lnTo>
                  <a:lnTo>
                    <a:pt x="414338" y="1436370"/>
                  </a:lnTo>
                  <a:lnTo>
                    <a:pt x="407670" y="1423035"/>
                  </a:lnTo>
                  <a:lnTo>
                    <a:pt x="401003" y="1409700"/>
                  </a:lnTo>
                  <a:lnTo>
                    <a:pt x="393383" y="1396365"/>
                  </a:lnTo>
                  <a:lnTo>
                    <a:pt x="384810" y="1383983"/>
                  </a:lnTo>
                  <a:lnTo>
                    <a:pt x="375285" y="1371600"/>
                  </a:lnTo>
                  <a:lnTo>
                    <a:pt x="365760" y="1360170"/>
                  </a:lnTo>
                  <a:lnTo>
                    <a:pt x="366713" y="1385888"/>
                  </a:lnTo>
                  <a:lnTo>
                    <a:pt x="367665" y="1410653"/>
                  </a:lnTo>
                  <a:lnTo>
                    <a:pt x="366713" y="1435418"/>
                  </a:lnTo>
                  <a:lnTo>
                    <a:pt x="366713" y="1458278"/>
                  </a:lnTo>
                  <a:lnTo>
                    <a:pt x="366713" y="1480185"/>
                  </a:lnTo>
                  <a:lnTo>
                    <a:pt x="366713" y="1502093"/>
                  </a:lnTo>
                  <a:lnTo>
                    <a:pt x="366713" y="1523048"/>
                  </a:lnTo>
                  <a:lnTo>
                    <a:pt x="366713" y="1543050"/>
                  </a:lnTo>
                  <a:lnTo>
                    <a:pt x="366713" y="1553528"/>
                  </a:lnTo>
                  <a:lnTo>
                    <a:pt x="367665" y="1563053"/>
                  </a:lnTo>
                  <a:lnTo>
                    <a:pt x="368618" y="1572578"/>
                  </a:lnTo>
                  <a:lnTo>
                    <a:pt x="369570" y="1582103"/>
                  </a:lnTo>
                  <a:lnTo>
                    <a:pt x="371475" y="1591628"/>
                  </a:lnTo>
                  <a:lnTo>
                    <a:pt x="373380" y="1601153"/>
                  </a:lnTo>
                  <a:lnTo>
                    <a:pt x="376238" y="1610678"/>
                  </a:lnTo>
                  <a:lnTo>
                    <a:pt x="379095" y="1620203"/>
                  </a:lnTo>
                  <a:lnTo>
                    <a:pt x="382905" y="1629728"/>
                  </a:lnTo>
                  <a:lnTo>
                    <a:pt x="386715" y="1639253"/>
                  </a:lnTo>
                  <a:lnTo>
                    <a:pt x="390525" y="1648778"/>
                  </a:lnTo>
                  <a:lnTo>
                    <a:pt x="395288" y="1658303"/>
                  </a:lnTo>
                  <a:lnTo>
                    <a:pt x="400050" y="1666875"/>
                  </a:lnTo>
                  <a:lnTo>
                    <a:pt x="405765" y="1676400"/>
                  </a:lnTo>
                  <a:lnTo>
                    <a:pt x="411480" y="1685925"/>
                  </a:lnTo>
                  <a:lnTo>
                    <a:pt x="418148" y="1694498"/>
                  </a:lnTo>
                  <a:lnTo>
                    <a:pt x="405765" y="1684020"/>
                  </a:lnTo>
                  <a:lnTo>
                    <a:pt x="392430" y="1672590"/>
                  </a:lnTo>
                  <a:lnTo>
                    <a:pt x="376238" y="1660208"/>
                  </a:lnTo>
                  <a:lnTo>
                    <a:pt x="359093" y="1646873"/>
                  </a:lnTo>
                  <a:lnTo>
                    <a:pt x="348615" y="1640205"/>
                  </a:lnTo>
                  <a:lnTo>
                    <a:pt x="338138" y="1633538"/>
                  </a:lnTo>
                  <a:lnTo>
                    <a:pt x="327660" y="1626870"/>
                  </a:lnTo>
                  <a:lnTo>
                    <a:pt x="316230" y="1620203"/>
                  </a:lnTo>
                  <a:lnTo>
                    <a:pt x="303848" y="1613535"/>
                  </a:lnTo>
                  <a:lnTo>
                    <a:pt x="290513" y="1607820"/>
                  </a:lnTo>
                  <a:lnTo>
                    <a:pt x="277178" y="1602105"/>
                  </a:lnTo>
                  <a:lnTo>
                    <a:pt x="262890" y="1596390"/>
                  </a:lnTo>
                  <a:lnTo>
                    <a:pt x="254318" y="1593533"/>
                  </a:lnTo>
                  <a:lnTo>
                    <a:pt x="245745" y="1589723"/>
                  </a:lnTo>
                  <a:lnTo>
                    <a:pt x="238125" y="1585913"/>
                  </a:lnTo>
                  <a:lnTo>
                    <a:pt x="230505" y="1581150"/>
                  </a:lnTo>
                  <a:lnTo>
                    <a:pt x="222885" y="1576388"/>
                  </a:lnTo>
                  <a:lnTo>
                    <a:pt x="215265" y="1571625"/>
                  </a:lnTo>
                  <a:lnTo>
                    <a:pt x="207645" y="1566863"/>
                  </a:lnTo>
                  <a:lnTo>
                    <a:pt x="200025" y="1562100"/>
                  </a:lnTo>
                  <a:lnTo>
                    <a:pt x="185738" y="1551623"/>
                  </a:lnTo>
                  <a:lnTo>
                    <a:pt x="172403" y="1541145"/>
                  </a:lnTo>
                  <a:lnTo>
                    <a:pt x="159068" y="1529715"/>
                  </a:lnTo>
                  <a:lnTo>
                    <a:pt x="146685" y="1518285"/>
                  </a:lnTo>
                  <a:lnTo>
                    <a:pt x="134303" y="1505903"/>
                  </a:lnTo>
                  <a:lnTo>
                    <a:pt x="122873" y="1494473"/>
                  </a:lnTo>
                  <a:lnTo>
                    <a:pt x="111443" y="1482090"/>
                  </a:lnTo>
                  <a:lnTo>
                    <a:pt x="100013" y="1470660"/>
                  </a:lnTo>
                  <a:lnTo>
                    <a:pt x="79058" y="1447800"/>
                  </a:lnTo>
                  <a:lnTo>
                    <a:pt x="59055" y="1426845"/>
                  </a:lnTo>
                  <a:lnTo>
                    <a:pt x="65723" y="1443038"/>
                  </a:lnTo>
                  <a:lnTo>
                    <a:pt x="75248" y="1473518"/>
                  </a:lnTo>
                  <a:lnTo>
                    <a:pt x="85725" y="1502093"/>
                  </a:lnTo>
                  <a:lnTo>
                    <a:pt x="97155" y="1528763"/>
                  </a:lnTo>
                  <a:lnTo>
                    <a:pt x="109538" y="1553528"/>
                  </a:lnTo>
                  <a:lnTo>
                    <a:pt x="122873" y="1575435"/>
                  </a:lnTo>
                  <a:lnTo>
                    <a:pt x="137160" y="1596390"/>
                  </a:lnTo>
                  <a:lnTo>
                    <a:pt x="152400" y="1615440"/>
                  </a:lnTo>
                  <a:lnTo>
                    <a:pt x="167640" y="1632585"/>
                  </a:lnTo>
                  <a:lnTo>
                    <a:pt x="183833" y="1648778"/>
                  </a:lnTo>
                  <a:lnTo>
                    <a:pt x="200025" y="1663065"/>
                  </a:lnTo>
                  <a:lnTo>
                    <a:pt x="217170" y="1676400"/>
                  </a:lnTo>
                  <a:lnTo>
                    <a:pt x="234315" y="1687830"/>
                  </a:lnTo>
                  <a:lnTo>
                    <a:pt x="251460" y="1698308"/>
                  </a:lnTo>
                  <a:lnTo>
                    <a:pt x="268605" y="1707833"/>
                  </a:lnTo>
                  <a:lnTo>
                    <a:pt x="286703" y="1716405"/>
                  </a:lnTo>
                  <a:lnTo>
                    <a:pt x="304800" y="1724025"/>
                  </a:lnTo>
                  <a:lnTo>
                    <a:pt x="321945" y="1730693"/>
                  </a:lnTo>
                  <a:lnTo>
                    <a:pt x="339090" y="1736408"/>
                  </a:lnTo>
                  <a:lnTo>
                    <a:pt x="356235" y="1742123"/>
                  </a:lnTo>
                  <a:lnTo>
                    <a:pt x="372428" y="1746885"/>
                  </a:lnTo>
                  <a:lnTo>
                    <a:pt x="404813" y="1755458"/>
                  </a:lnTo>
                  <a:lnTo>
                    <a:pt x="435293" y="1763078"/>
                  </a:lnTo>
                  <a:lnTo>
                    <a:pt x="449580" y="1766888"/>
                  </a:lnTo>
                  <a:lnTo>
                    <a:pt x="462915" y="1770698"/>
                  </a:lnTo>
                  <a:lnTo>
                    <a:pt x="475298" y="1774508"/>
                  </a:lnTo>
                  <a:lnTo>
                    <a:pt x="485775" y="1778318"/>
                  </a:lnTo>
                  <a:lnTo>
                    <a:pt x="496253" y="1783080"/>
                  </a:lnTo>
                  <a:lnTo>
                    <a:pt x="504825" y="1787843"/>
                  </a:lnTo>
                  <a:lnTo>
                    <a:pt x="512445" y="1792605"/>
                  </a:lnTo>
                  <a:lnTo>
                    <a:pt x="520065" y="1794510"/>
                  </a:lnTo>
                  <a:lnTo>
                    <a:pt x="520065" y="1794510"/>
                  </a:lnTo>
                  <a:close/>
                  <a:moveTo>
                    <a:pt x="741045" y="1945958"/>
                  </a:moveTo>
                  <a:lnTo>
                    <a:pt x="736283" y="1939290"/>
                  </a:lnTo>
                  <a:lnTo>
                    <a:pt x="731520" y="1931670"/>
                  </a:lnTo>
                  <a:lnTo>
                    <a:pt x="726758" y="1923098"/>
                  </a:lnTo>
                  <a:lnTo>
                    <a:pt x="723900" y="1914525"/>
                  </a:lnTo>
                  <a:lnTo>
                    <a:pt x="715328" y="1894523"/>
                  </a:lnTo>
                  <a:lnTo>
                    <a:pt x="705803" y="1872615"/>
                  </a:lnTo>
                  <a:lnTo>
                    <a:pt x="696278" y="1848803"/>
                  </a:lnTo>
                  <a:lnTo>
                    <a:pt x="686753" y="1824038"/>
                  </a:lnTo>
                  <a:lnTo>
                    <a:pt x="675323" y="1798320"/>
                  </a:lnTo>
                  <a:lnTo>
                    <a:pt x="662940" y="1772603"/>
                  </a:lnTo>
                  <a:lnTo>
                    <a:pt x="656273" y="1759268"/>
                  </a:lnTo>
                  <a:lnTo>
                    <a:pt x="649605" y="1745933"/>
                  </a:lnTo>
                  <a:lnTo>
                    <a:pt x="641985" y="1732598"/>
                  </a:lnTo>
                  <a:lnTo>
                    <a:pt x="634365" y="1719263"/>
                  </a:lnTo>
                  <a:lnTo>
                    <a:pt x="625793" y="1705928"/>
                  </a:lnTo>
                  <a:lnTo>
                    <a:pt x="617220" y="1693545"/>
                  </a:lnTo>
                  <a:lnTo>
                    <a:pt x="607695" y="1680210"/>
                  </a:lnTo>
                  <a:lnTo>
                    <a:pt x="598170" y="1667828"/>
                  </a:lnTo>
                  <a:lnTo>
                    <a:pt x="587693" y="1655445"/>
                  </a:lnTo>
                  <a:lnTo>
                    <a:pt x="577215" y="1644015"/>
                  </a:lnTo>
                  <a:lnTo>
                    <a:pt x="565785" y="1632585"/>
                  </a:lnTo>
                  <a:lnTo>
                    <a:pt x="554355" y="1622108"/>
                  </a:lnTo>
                  <a:lnTo>
                    <a:pt x="541973" y="1611630"/>
                  </a:lnTo>
                  <a:lnTo>
                    <a:pt x="528638" y="1601153"/>
                  </a:lnTo>
                  <a:lnTo>
                    <a:pt x="515303" y="1591628"/>
                  </a:lnTo>
                  <a:lnTo>
                    <a:pt x="501015" y="1583055"/>
                  </a:lnTo>
                  <a:lnTo>
                    <a:pt x="515303" y="1630680"/>
                  </a:lnTo>
                  <a:lnTo>
                    <a:pt x="527685" y="1675448"/>
                  </a:lnTo>
                  <a:lnTo>
                    <a:pt x="533400" y="1696403"/>
                  </a:lnTo>
                  <a:lnTo>
                    <a:pt x="539115" y="1716405"/>
                  </a:lnTo>
                  <a:lnTo>
                    <a:pt x="545783" y="1736408"/>
                  </a:lnTo>
                  <a:lnTo>
                    <a:pt x="552450" y="1755458"/>
                  </a:lnTo>
                  <a:lnTo>
                    <a:pt x="556260" y="1764983"/>
                  </a:lnTo>
                  <a:lnTo>
                    <a:pt x="560070" y="1773555"/>
                  </a:lnTo>
                  <a:lnTo>
                    <a:pt x="564833" y="1782128"/>
                  </a:lnTo>
                  <a:lnTo>
                    <a:pt x="569595" y="1790700"/>
                  </a:lnTo>
                  <a:lnTo>
                    <a:pt x="574358" y="1799273"/>
                  </a:lnTo>
                  <a:lnTo>
                    <a:pt x="579120" y="1807845"/>
                  </a:lnTo>
                  <a:lnTo>
                    <a:pt x="583883" y="1816418"/>
                  </a:lnTo>
                  <a:lnTo>
                    <a:pt x="589598" y="1824038"/>
                  </a:lnTo>
                  <a:lnTo>
                    <a:pt x="595313" y="1832610"/>
                  </a:lnTo>
                  <a:lnTo>
                    <a:pt x="601980" y="1840230"/>
                  </a:lnTo>
                  <a:lnTo>
                    <a:pt x="608648" y="1847850"/>
                  </a:lnTo>
                  <a:lnTo>
                    <a:pt x="615315" y="1855470"/>
                  </a:lnTo>
                  <a:lnTo>
                    <a:pt x="622935" y="1863090"/>
                  </a:lnTo>
                  <a:lnTo>
                    <a:pt x="631508" y="1870710"/>
                  </a:lnTo>
                  <a:lnTo>
                    <a:pt x="640080" y="1878330"/>
                  </a:lnTo>
                  <a:lnTo>
                    <a:pt x="649605" y="1885950"/>
                  </a:lnTo>
                  <a:lnTo>
                    <a:pt x="634365" y="1878330"/>
                  </a:lnTo>
                  <a:lnTo>
                    <a:pt x="614363" y="1869758"/>
                  </a:lnTo>
                  <a:lnTo>
                    <a:pt x="590550" y="1860233"/>
                  </a:lnTo>
                  <a:lnTo>
                    <a:pt x="563880" y="1850708"/>
                  </a:lnTo>
                  <a:lnTo>
                    <a:pt x="549593" y="1845945"/>
                  </a:lnTo>
                  <a:lnTo>
                    <a:pt x="534353" y="1841183"/>
                  </a:lnTo>
                  <a:lnTo>
                    <a:pt x="519113" y="1836420"/>
                  </a:lnTo>
                  <a:lnTo>
                    <a:pt x="503873" y="1832610"/>
                  </a:lnTo>
                  <a:lnTo>
                    <a:pt x="488633" y="1828800"/>
                  </a:lnTo>
                  <a:lnTo>
                    <a:pt x="473393" y="1824990"/>
                  </a:lnTo>
                  <a:lnTo>
                    <a:pt x="458153" y="1822133"/>
                  </a:lnTo>
                  <a:lnTo>
                    <a:pt x="442913" y="1819275"/>
                  </a:lnTo>
                  <a:lnTo>
                    <a:pt x="429578" y="1817370"/>
                  </a:lnTo>
                  <a:lnTo>
                    <a:pt x="417195" y="1815465"/>
                  </a:lnTo>
                  <a:lnTo>
                    <a:pt x="405765" y="1813560"/>
                  </a:lnTo>
                  <a:lnTo>
                    <a:pt x="394335" y="1811655"/>
                  </a:lnTo>
                  <a:lnTo>
                    <a:pt x="383858" y="1809750"/>
                  </a:lnTo>
                  <a:lnTo>
                    <a:pt x="373380" y="1806893"/>
                  </a:lnTo>
                  <a:lnTo>
                    <a:pt x="363855" y="1804035"/>
                  </a:lnTo>
                  <a:lnTo>
                    <a:pt x="354330" y="1801178"/>
                  </a:lnTo>
                  <a:lnTo>
                    <a:pt x="344805" y="1798320"/>
                  </a:lnTo>
                  <a:lnTo>
                    <a:pt x="336233" y="1795463"/>
                  </a:lnTo>
                  <a:lnTo>
                    <a:pt x="328613" y="1792605"/>
                  </a:lnTo>
                  <a:lnTo>
                    <a:pt x="320993" y="1789748"/>
                  </a:lnTo>
                  <a:lnTo>
                    <a:pt x="306705" y="1783080"/>
                  </a:lnTo>
                  <a:lnTo>
                    <a:pt x="293370" y="1776413"/>
                  </a:lnTo>
                  <a:lnTo>
                    <a:pt x="280988" y="1769745"/>
                  </a:lnTo>
                  <a:lnTo>
                    <a:pt x="269558" y="1763078"/>
                  </a:lnTo>
                  <a:lnTo>
                    <a:pt x="259080" y="1755458"/>
                  </a:lnTo>
                  <a:lnTo>
                    <a:pt x="248603" y="1748790"/>
                  </a:lnTo>
                  <a:lnTo>
                    <a:pt x="238125" y="1741170"/>
                  </a:lnTo>
                  <a:lnTo>
                    <a:pt x="227648" y="1734503"/>
                  </a:lnTo>
                  <a:lnTo>
                    <a:pt x="217170" y="1727835"/>
                  </a:lnTo>
                  <a:lnTo>
                    <a:pt x="205740" y="1721168"/>
                  </a:lnTo>
                  <a:lnTo>
                    <a:pt x="221933" y="1749743"/>
                  </a:lnTo>
                  <a:lnTo>
                    <a:pt x="238125" y="1775460"/>
                  </a:lnTo>
                  <a:lnTo>
                    <a:pt x="255270" y="1798320"/>
                  </a:lnTo>
                  <a:lnTo>
                    <a:pt x="273368" y="1819275"/>
                  </a:lnTo>
                  <a:lnTo>
                    <a:pt x="291465" y="1838325"/>
                  </a:lnTo>
                  <a:lnTo>
                    <a:pt x="309563" y="1855470"/>
                  </a:lnTo>
                  <a:lnTo>
                    <a:pt x="328613" y="1870710"/>
                  </a:lnTo>
                  <a:lnTo>
                    <a:pt x="347663" y="1884045"/>
                  </a:lnTo>
                  <a:lnTo>
                    <a:pt x="366713" y="1895475"/>
                  </a:lnTo>
                  <a:lnTo>
                    <a:pt x="386715" y="1905953"/>
                  </a:lnTo>
                  <a:lnTo>
                    <a:pt x="406718" y="1914525"/>
                  </a:lnTo>
                  <a:lnTo>
                    <a:pt x="426720" y="1921193"/>
                  </a:lnTo>
                  <a:lnTo>
                    <a:pt x="446723" y="1926908"/>
                  </a:lnTo>
                  <a:lnTo>
                    <a:pt x="466725" y="1931670"/>
                  </a:lnTo>
                  <a:lnTo>
                    <a:pt x="486728" y="1935480"/>
                  </a:lnTo>
                  <a:lnTo>
                    <a:pt x="506730" y="1938338"/>
                  </a:lnTo>
                  <a:lnTo>
                    <a:pt x="525780" y="1940243"/>
                  </a:lnTo>
                  <a:lnTo>
                    <a:pt x="544830" y="1941195"/>
                  </a:lnTo>
                  <a:lnTo>
                    <a:pt x="562928" y="1941195"/>
                  </a:lnTo>
                  <a:lnTo>
                    <a:pt x="581025" y="1941195"/>
                  </a:lnTo>
                  <a:lnTo>
                    <a:pt x="615315" y="1940243"/>
                  </a:lnTo>
                  <a:lnTo>
                    <a:pt x="647700" y="1939290"/>
                  </a:lnTo>
                  <a:lnTo>
                    <a:pt x="662940" y="1939290"/>
                  </a:lnTo>
                  <a:lnTo>
                    <a:pt x="677228" y="1939290"/>
                  </a:lnTo>
                  <a:lnTo>
                    <a:pt x="690563" y="1939290"/>
                  </a:lnTo>
                  <a:lnTo>
                    <a:pt x="702945" y="1939290"/>
                  </a:lnTo>
                  <a:lnTo>
                    <a:pt x="714375" y="1940243"/>
                  </a:lnTo>
                  <a:lnTo>
                    <a:pt x="724853" y="1942148"/>
                  </a:lnTo>
                  <a:lnTo>
                    <a:pt x="734378" y="1945005"/>
                  </a:lnTo>
                  <a:lnTo>
                    <a:pt x="741045" y="1945958"/>
                  </a:lnTo>
                  <a:lnTo>
                    <a:pt x="741045" y="1945958"/>
                  </a:lnTo>
                  <a:close/>
                  <a:moveTo>
                    <a:pt x="1972628" y="374333"/>
                  </a:moveTo>
                  <a:lnTo>
                    <a:pt x="1958340" y="352425"/>
                  </a:lnTo>
                  <a:lnTo>
                    <a:pt x="1943100" y="328613"/>
                  </a:lnTo>
                  <a:lnTo>
                    <a:pt x="1926908" y="304800"/>
                  </a:lnTo>
                  <a:lnTo>
                    <a:pt x="1910715" y="280988"/>
                  </a:lnTo>
                  <a:lnTo>
                    <a:pt x="1894523" y="259080"/>
                  </a:lnTo>
                  <a:lnTo>
                    <a:pt x="1879283" y="238125"/>
                  </a:lnTo>
                  <a:lnTo>
                    <a:pt x="1871663" y="229553"/>
                  </a:lnTo>
                  <a:lnTo>
                    <a:pt x="1864995" y="220980"/>
                  </a:lnTo>
                  <a:lnTo>
                    <a:pt x="1858328" y="214313"/>
                  </a:lnTo>
                  <a:lnTo>
                    <a:pt x="1852613" y="208598"/>
                  </a:lnTo>
                  <a:lnTo>
                    <a:pt x="1867853" y="212408"/>
                  </a:lnTo>
                  <a:lnTo>
                    <a:pt x="1883093" y="217170"/>
                  </a:lnTo>
                  <a:lnTo>
                    <a:pt x="1897380" y="221933"/>
                  </a:lnTo>
                  <a:lnTo>
                    <a:pt x="1911668" y="226695"/>
                  </a:lnTo>
                  <a:lnTo>
                    <a:pt x="1925955" y="232410"/>
                  </a:lnTo>
                  <a:lnTo>
                    <a:pt x="1940243" y="239078"/>
                  </a:lnTo>
                  <a:lnTo>
                    <a:pt x="1953578" y="245745"/>
                  </a:lnTo>
                  <a:lnTo>
                    <a:pt x="1966913" y="253365"/>
                  </a:lnTo>
                  <a:lnTo>
                    <a:pt x="1980248" y="260985"/>
                  </a:lnTo>
                  <a:lnTo>
                    <a:pt x="1992630" y="269558"/>
                  </a:lnTo>
                  <a:lnTo>
                    <a:pt x="2005013" y="278130"/>
                  </a:lnTo>
                  <a:lnTo>
                    <a:pt x="2016443" y="287655"/>
                  </a:lnTo>
                  <a:lnTo>
                    <a:pt x="2027873" y="298133"/>
                  </a:lnTo>
                  <a:lnTo>
                    <a:pt x="2038350" y="308610"/>
                  </a:lnTo>
                  <a:lnTo>
                    <a:pt x="2048828" y="319088"/>
                  </a:lnTo>
                  <a:lnTo>
                    <a:pt x="2059305" y="329565"/>
                  </a:lnTo>
                  <a:lnTo>
                    <a:pt x="2069783" y="340995"/>
                  </a:lnTo>
                  <a:lnTo>
                    <a:pt x="2079308" y="352425"/>
                  </a:lnTo>
                  <a:lnTo>
                    <a:pt x="2088833" y="363855"/>
                  </a:lnTo>
                  <a:lnTo>
                    <a:pt x="2097405" y="376238"/>
                  </a:lnTo>
                  <a:lnTo>
                    <a:pt x="2105978" y="388620"/>
                  </a:lnTo>
                  <a:lnTo>
                    <a:pt x="2113598" y="401955"/>
                  </a:lnTo>
                  <a:lnTo>
                    <a:pt x="2121218" y="415290"/>
                  </a:lnTo>
                  <a:lnTo>
                    <a:pt x="2127885" y="428625"/>
                  </a:lnTo>
                  <a:lnTo>
                    <a:pt x="2134553" y="441960"/>
                  </a:lnTo>
                  <a:lnTo>
                    <a:pt x="2141220" y="456248"/>
                  </a:lnTo>
                  <a:lnTo>
                    <a:pt x="2146935" y="470535"/>
                  </a:lnTo>
                  <a:lnTo>
                    <a:pt x="2151698" y="484823"/>
                  </a:lnTo>
                  <a:lnTo>
                    <a:pt x="2156460" y="499110"/>
                  </a:lnTo>
                  <a:lnTo>
                    <a:pt x="2161223" y="514350"/>
                  </a:lnTo>
                  <a:lnTo>
                    <a:pt x="2165033" y="529590"/>
                  </a:lnTo>
                  <a:lnTo>
                    <a:pt x="2168843" y="544830"/>
                  </a:lnTo>
                  <a:lnTo>
                    <a:pt x="2155508" y="532448"/>
                  </a:lnTo>
                  <a:lnTo>
                    <a:pt x="2142173" y="521018"/>
                  </a:lnTo>
                  <a:lnTo>
                    <a:pt x="2127885" y="509588"/>
                  </a:lnTo>
                  <a:lnTo>
                    <a:pt x="2114550" y="499110"/>
                  </a:lnTo>
                  <a:lnTo>
                    <a:pt x="2086928" y="478155"/>
                  </a:lnTo>
                  <a:lnTo>
                    <a:pt x="2060258" y="457200"/>
                  </a:lnTo>
                  <a:lnTo>
                    <a:pt x="2047875" y="447675"/>
                  </a:lnTo>
                  <a:lnTo>
                    <a:pt x="2035493" y="437198"/>
                  </a:lnTo>
                  <a:lnTo>
                    <a:pt x="2024063" y="426720"/>
                  </a:lnTo>
                  <a:lnTo>
                    <a:pt x="2012633" y="417195"/>
                  </a:lnTo>
                  <a:lnTo>
                    <a:pt x="2002155" y="406718"/>
                  </a:lnTo>
                  <a:lnTo>
                    <a:pt x="1992630" y="396240"/>
                  </a:lnTo>
                  <a:lnTo>
                    <a:pt x="1987868" y="391478"/>
                  </a:lnTo>
                  <a:lnTo>
                    <a:pt x="1984058" y="386715"/>
                  </a:lnTo>
                  <a:lnTo>
                    <a:pt x="1980248" y="381000"/>
                  </a:lnTo>
                  <a:lnTo>
                    <a:pt x="1972628" y="374333"/>
                  </a:lnTo>
                  <a:lnTo>
                    <a:pt x="1972628" y="374333"/>
                  </a:lnTo>
                  <a:close/>
                  <a:moveTo>
                    <a:pt x="2059305" y="635318"/>
                  </a:moveTo>
                  <a:lnTo>
                    <a:pt x="2064068" y="642938"/>
                  </a:lnTo>
                  <a:lnTo>
                    <a:pt x="2069783" y="650558"/>
                  </a:lnTo>
                  <a:lnTo>
                    <a:pt x="2076450" y="658178"/>
                  </a:lnTo>
                  <a:lnTo>
                    <a:pt x="2084070" y="665798"/>
                  </a:lnTo>
                  <a:lnTo>
                    <a:pt x="2092643" y="674370"/>
                  </a:lnTo>
                  <a:lnTo>
                    <a:pt x="2102168" y="682943"/>
                  </a:lnTo>
                  <a:lnTo>
                    <a:pt x="2111693" y="691515"/>
                  </a:lnTo>
                  <a:lnTo>
                    <a:pt x="2121218" y="700088"/>
                  </a:lnTo>
                  <a:lnTo>
                    <a:pt x="2142173" y="718185"/>
                  </a:lnTo>
                  <a:lnTo>
                    <a:pt x="2164080" y="738188"/>
                  </a:lnTo>
                  <a:lnTo>
                    <a:pt x="2175510" y="748665"/>
                  </a:lnTo>
                  <a:lnTo>
                    <a:pt x="2186940" y="759143"/>
                  </a:lnTo>
                  <a:lnTo>
                    <a:pt x="2198370" y="770573"/>
                  </a:lnTo>
                  <a:lnTo>
                    <a:pt x="2208848" y="782003"/>
                  </a:lnTo>
                  <a:lnTo>
                    <a:pt x="2214563" y="788670"/>
                  </a:lnTo>
                  <a:lnTo>
                    <a:pt x="2220278" y="797243"/>
                  </a:lnTo>
                  <a:lnTo>
                    <a:pt x="2225993" y="806768"/>
                  </a:lnTo>
                  <a:lnTo>
                    <a:pt x="2231708" y="816293"/>
                  </a:lnTo>
                  <a:lnTo>
                    <a:pt x="2237423" y="826770"/>
                  </a:lnTo>
                  <a:lnTo>
                    <a:pt x="2243138" y="837248"/>
                  </a:lnTo>
                  <a:lnTo>
                    <a:pt x="2248853" y="848678"/>
                  </a:lnTo>
                  <a:lnTo>
                    <a:pt x="2253615" y="860108"/>
                  </a:lnTo>
                  <a:lnTo>
                    <a:pt x="2258378" y="872490"/>
                  </a:lnTo>
                  <a:lnTo>
                    <a:pt x="2263140" y="884873"/>
                  </a:lnTo>
                  <a:lnTo>
                    <a:pt x="2267903" y="897255"/>
                  </a:lnTo>
                  <a:lnTo>
                    <a:pt x="2272665" y="909638"/>
                  </a:lnTo>
                  <a:lnTo>
                    <a:pt x="2276475" y="922020"/>
                  </a:lnTo>
                  <a:lnTo>
                    <a:pt x="2280285" y="934403"/>
                  </a:lnTo>
                  <a:lnTo>
                    <a:pt x="2283143" y="945833"/>
                  </a:lnTo>
                  <a:lnTo>
                    <a:pt x="2286000" y="957263"/>
                  </a:lnTo>
                  <a:lnTo>
                    <a:pt x="2296478" y="862013"/>
                  </a:lnTo>
                  <a:lnTo>
                    <a:pt x="2299335" y="842963"/>
                  </a:lnTo>
                  <a:lnTo>
                    <a:pt x="2302193" y="823913"/>
                  </a:lnTo>
                  <a:lnTo>
                    <a:pt x="2306003" y="804863"/>
                  </a:lnTo>
                  <a:lnTo>
                    <a:pt x="2308860" y="784860"/>
                  </a:lnTo>
                  <a:lnTo>
                    <a:pt x="2311718" y="764858"/>
                  </a:lnTo>
                  <a:lnTo>
                    <a:pt x="2314575" y="744855"/>
                  </a:lnTo>
                  <a:lnTo>
                    <a:pt x="2316480" y="724853"/>
                  </a:lnTo>
                  <a:lnTo>
                    <a:pt x="2318385" y="704850"/>
                  </a:lnTo>
                  <a:lnTo>
                    <a:pt x="2319338" y="684848"/>
                  </a:lnTo>
                  <a:lnTo>
                    <a:pt x="2320290" y="664845"/>
                  </a:lnTo>
                  <a:lnTo>
                    <a:pt x="2320290" y="644843"/>
                  </a:lnTo>
                  <a:lnTo>
                    <a:pt x="2319338" y="624840"/>
                  </a:lnTo>
                  <a:lnTo>
                    <a:pt x="2318385" y="615315"/>
                  </a:lnTo>
                  <a:lnTo>
                    <a:pt x="2317433" y="604838"/>
                  </a:lnTo>
                  <a:lnTo>
                    <a:pt x="2316480" y="595313"/>
                  </a:lnTo>
                  <a:lnTo>
                    <a:pt x="2315528" y="585788"/>
                  </a:lnTo>
                  <a:lnTo>
                    <a:pt x="2313623" y="576263"/>
                  </a:lnTo>
                  <a:lnTo>
                    <a:pt x="2311718" y="566738"/>
                  </a:lnTo>
                  <a:lnTo>
                    <a:pt x="2309813" y="557213"/>
                  </a:lnTo>
                  <a:lnTo>
                    <a:pt x="2306955" y="547688"/>
                  </a:lnTo>
                  <a:lnTo>
                    <a:pt x="2321243" y="573405"/>
                  </a:lnTo>
                  <a:lnTo>
                    <a:pt x="2335530" y="599123"/>
                  </a:lnTo>
                  <a:lnTo>
                    <a:pt x="2342198" y="612458"/>
                  </a:lnTo>
                  <a:lnTo>
                    <a:pt x="2348865" y="625793"/>
                  </a:lnTo>
                  <a:lnTo>
                    <a:pt x="2354580" y="639128"/>
                  </a:lnTo>
                  <a:lnTo>
                    <a:pt x="2360295" y="652463"/>
                  </a:lnTo>
                  <a:lnTo>
                    <a:pt x="2365058" y="665798"/>
                  </a:lnTo>
                  <a:lnTo>
                    <a:pt x="2369820" y="679133"/>
                  </a:lnTo>
                  <a:lnTo>
                    <a:pt x="2374583" y="693420"/>
                  </a:lnTo>
                  <a:lnTo>
                    <a:pt x="2378393" y="707708"/>
                  </a:lnTo>
                  <a:lnTo>
                    <a:pt x="2381250" y="721995"/>
                  </a:lnTo>
                  <a:lnTo>
                    <a:pt x="2383155" y="737235"/>
                  </a:lnTo>
                  <a:lnTo>
                    <a:pt x="2384108" y="744855"/>
                  </a:lnTo>
                  <a:lnTo>
                    <a:pt x="2385060" y="752475"/>
                  </a:lnTo>
                  <a:lnTo>
                    <a:pt x="2385060" y="760095"/>
                  </a:lnTo>
                  <a:lnTo>
                    <a:pt x="2385060" y="767715"/>
                  </a:lnTo>
                  <a:lnTo>
                    <a:pt x="2385060" y="778193"/>
                  </a:lnTo>
                  <a:lnTo>
                    <a:pt x="2385060" y="788670"/>
                  </a:lnTo>
                  <a:lnTo>
                    <a:pt x="2384108" y="799148"/>
                  </a:lnTo>
                  <a:lnTo>
                    <a:pt x="2383155" y="809625"/>
                  </a:lnTo>
                  <a:lnTo>
                    <a:pt x="2381250" y="820103"/>
                  </a:lnTo>
                  <a:lnTo>
                    <a:pt x="2379345" y="830580"/>
                  </a:lnTo>
                  <a:lnTo>
                    <a:pt x="2377440" y="840105"/>
                  </a:lnTo>
                  <a:lnTo>
                    <a:pt x="2375535" y="849630"/>
                  </a:lnTo>
                  <a:lnTo>
                    <a:pt x="2372678" y="859155"/>
                  </a:lnTo>
                  <a:lnTo>
                    <a:pt x="2369820" y="868680"/>
                  </a:lnTo>
                  <a:lnTo>
                    <a:pt x="2366963" y="878205"/>
                  </a:lnTo>
                  <a:lnTo>
                    <a:pt x="2364105" y="887730"/>
                  </a:lnTo>
                  <a:lnTo>
                    <a:pt x="2357438" y="905828"/>
                  </a:lnTo>
                  <a:lnTo>
                    <a:pt x="2349818" y="922973"/>
                  </a:lnTo>
                  <a:lnTo>
                    <a:pt x="2333625" y="958215"/>
                  </a:lnTo>
                  <a:lnTo>
                    <a:pt x="2317433" y="993458"/>
                  </a:lnTo>
                  <a:lnTo>
                    <a:pt x="2309813" y="1011555"/>
                  </a:lnTo>
                  <a:lnTo>
                    <a:pt x="2302193" y="1029653"/>
                  </a:lnTo>
                  <a:lnTo>
                    <a:pt x="2295525" y="1047750"/>
                  </a:lnTo>
                  <a:lnTo>
                    <a:pt x="2288858" y="1066800"/>
                  </a:lnTo>
                  <a:lnTo>
                    <a:pt x="2287905" y="1061085"/>
                  </a:lnTo>
                  <a:lnTo>
                    <a:pt x="2286953" y="1054418"/>
                  </a:lnTo>
                  <a:lnTo>
                    <a:pt x="2285048" y="1047750"/>
                  </a:lnTo>
                  <a:lnTo>
                    <a:pt x="2283143" y="1041083"/>
                  </a:lnTo>
                  <a:lnTo>
                    <a:pt x="2280285" y="1034415"/>
                  </a:lnTo>
                  <a:lnTo>
                    <a:pt x="2277428" y="1026795"/>
                  </a:lnTo>
                  <a:lnTo>
                    <a:pt x="2274570" y="1019175"/>
                  </a:lnTo>
                  <a:lnTo>
                    <a:pt x="2270760" y="1011555"/>
                  </a:lnTo>
                  <a:lnTo>
                    <a:pt x="2263140" y="996315"/>
                  </a:lnTo>
                  <a:lnTo>
                    <a:pt x="2254568" y="980123"/>
                  </a:lnTo>
                  <a:lnTo>
                    <a:pt x="2245043" y="963930"/>
                  </a:lnTo>
                  <a:lnTo>
                    <a:pt x="2235518" y="947738"/>
                  </a:lnTo>
                  <a:lnTo>
                    <a:pt x="2225993" y="932498"/>
                  </a:lnTo>
                  <a:lnTo>
                    <a:pt x="2215515" y="917258"/>
                  </a:lnTo>
                  <a:lnTo>
                    <a:pt x="2205038" y="902018"/>
                  </a:lnTo>
                  <a:lnTo>
                    <a:pt x="2194560" y="888683"/>
                  </a:lnTo>
                  <a:lnTo>
                    <a:pt x="2185035" y="875348"/>
                  </a:lnTo>
                  <a:lnTo>
                    <a:pt x="2176463" y="863918"/>
                  </a:lnTo>
                  <a:lnTo>
                    <a:pt x="2167890" y="853440"/>
                  </a:lnTo>
                  <a:lnTo>
                    <a:pt x="2160270" y="844868"/>
                  </a:lnTo>
                  <a:lnTo>
                    <a:pt x="2148840" y="829628"/>
                  </a:lnTo>
                  <a:lnTo>
                    <a:pt x="2138363" y="816293"/>
                  </a:lnTo>
                  <a:lnTo>
                    <a:pt x="2129790" y="803910"/>
                  </a:lnTo>
                  <a:lnTo>
                    <a:pt x="2122170" y="792480"/>
                  </a:lnTo>
                  <a:lnTo>
                    <a:pt x="2115503" y="782003"/>
                  </a:lnTo>
                  <a:lnTo>
                    <a:pt x="2109788" y="771525"/>
                  </a:lnTo>
                  <a:lnTo>
                    <a:pt x="2105025" y="761048"/>
                  </a:lnTo>
                  <a:lnTo>
                    <a:pt x="2100263" y="750570"/>
                  </a:lnTo>
                  <a:lnTo>
                    <a:pt x="2095500" y="740093"/>
                  </a:lnTo>
                  <a:lnTo>
                    <a:pt x="2091690" y="729615"/>
                  </a:lnTo>
                  <a:lnTo>
                    <a:pt x="2086928" y="718185"/>
                  </a:lnTo>
                  <a:lnTo>
                    <a:pt x="2082165" y="705803"/>
                  </a:lnTo>
                  <a:lnTo>
                    <a:pt x="2072640" y="677228"/>
                  </a:lnTo>
                  <a:lnTo>
                    <a:pt x="2059305" y="635318"/>
                  </a:lnTo>
                  <a:lnTo>
                    <a:pt x="2059305" y="635318"/>
                  </a:lnTo>
                  <a:close/>
                  <a:moveTo>
                    <a:pt x="2132648" y="882968"/>
                  </a:moveTo>
                  <a:lnTo>
                    <a:pt x="2147888" y="902970"/>
                  </a:lnTo>
                  <a:lnTo>
                    <a:pt x="2162175" y="922020"/>
                  </a:lnTo>
                  <a:lnTo>
                    <a:pt x="2176463" y="941070"/>
                  </a:lnTo>
                  <a:lnTo>
                    <a:pt x="2189798" y="960120"/>
                  </a:lnTo>
                  <a:lnTo>
                    <a:pt x="2202180" y="978218"/>
                  </a:lnTo>
                  <a:lnTo>
                    <a:pt x="2212658" y="997268"/>
                  </a:lnTo>
                  <a:lnTo>
                    <a:pt x="2217420" y="1006793"/>
                  </a:lnTo>
                  <a:lnTo>
                    <a:pt x="2222183" y="1016318"/>
                  </a:lnTo>
                  <a:lnTo>
                    <a:pt x="2226945" y="1025843"/>
                  </a:lnTo>
                  <a:lnTo>
                    <a:pt x="2231708" y="1035368"/>
                  </a:lnTo>
                  <a:lnTo>
                    <a:pt x="2235518" y="1044893"/>
                  </a:lnTo>
                  <a:lnTo>
                    <a:pt x="2239328" y="1054418"/>
                  </a:lnTo>
                  <a:lnTo>
                    <a:pt x="2243138" y="1063943"/>
                  </a:lnTo>
                  <a:lnTo>
                    <a:pt x="2245995" y="1074420"/>
                  </a:lnTo>
                  <a:lnTo>
                    <a:pt x="2248853" y="1084898"/>
                  </a:lnTo>
                  <a:lnTo>
                    <a:pt x="2251710" y="1095375"/>
                  </a:lnTo>
                  <a:lnTo>
                    <a:pt x="2254568" y="1105853"/>
                  </a:lnTo>
                  <a:lnTo>
                    <a:pt x="2256473" y="1117283"/>
                  </a:lnTo>
                  <a:lnTo>
                    <a:pt x="2258378" y="1128713"/>
                  </a:lnTo>
                  <a:lnTo>
                    <a:pt x="2259330" y="1140143"/>
                  </a:lnTo>
                  <a:lnTo>
                    <a:pt x="2260283" y="1152525"/>
                  </a:lnTo>
                  <a:lnTo>
                    <a:pt x="2261235" y="1164908"/>
                  </a:lnTo>
                  <a:lnTo>
                    <a:pt x="2261235" y="1178243"/>
                  </a:lnTo>
                  <a:lnTo>
                    <a:pt x="2261235" y="1191578"/>
                  </a:lnTo>
                  <a:lnTo>
                    <a:pt x="2261235" y="1205865"/>
                  </a:lnTo>
                  <a:lnTo>
                    <a:pt x="2261235" y="1220153"/>
                  </a:lnTo>
                  <a:lnTo>
                    <a:pt x="2264093" y="1207770"/>
                  </a:lnTo>
                  <a:lnTo>
                    <a:pt x="2266950" y="1195388"/>
                  </a:lnTo>
                  <a:lnTo>
                    <a:pt x="2270760" y="1183005"/>
                  </a:lnTo>
                  <a:lnTo>
                    <a:pt x="2274570" y="1170623"/>
                  </a:lnTo>
                  <a:lnTo>
                    <a:pt x="2279333" y="1158240"/>
                  </a:lnTo>
                  <a:lnTo>
                    <a:pt x="2284095" y="1145858"/>
                  </a:lnTo>
                  <a:lnTo>
                    <a:pt x="2288858" y="1133475"/>
                  </a:lnTo>
                  <a:lnTo>
                    <a:pt x="2294573" y="1121093"/>
                  </a:lnTo>
                  <a:lnTo>
                    <a:pt x="2306003" y="1096328"/>
                  </a:lnTo>
                  <a:lnTo>
                    <a:pt x="2319338" y="1072515"/>
                  </a:lnTo>
                  <a:lnTo>
                    <a:pt x="2331720" y="1047750"/>
                  </a:lnTo>
                  <a:lnTo>
                    <a:pt x="2345055" y="1023938"/>
                  </a:lnTo>
                  <a:lnTo>
                    <a:pt x="2357438" y="1000125"/>
                  </a:lnTo>
                  <a:lnTo>
                    <a:pt x="2369820" y="976313"/>
                  </a:lnTo>
                  <a:lnTo>
                    <a:pt x="2375535" y="964883"/>
                  </a:lnTo>
                  <a:lnTo>
                    <a:pt x="2381250" y="953453"/>
                  </a:lnTo>
                  <a:lnTo>
                    <a:pt x="2386013" y="942023"/>
                  </a:lnTo>
                  <a:lnTo>
                    <a:pt x="2390775" y="930593"/>
                  </a:lnTo>
                  <a:lnTo>
                    <a:pt x="2395538" y="919163"/>
                  </a:lnTo>
                  <a:lnTo>
                    <a:pt x="2399348" y="907733"/>
                  </a:lnTo>
                  <a:lnTo>
                    <a:pt x="2403158" y="896303"/>
                  </a:lnTo>
                  <a:lnTo>
                    <a:pt x="2406015" y="884873"/>
                  </a:lnTo>
                  <a:lnTo>
                    <a:pt x="2408873" y="874395"/>
                  </a:lnTo>
                  <a:lnTo>
                    <a:pt x="2410778" y="863918"/>
                  </a:lnTo>
                  <a:lnTo>
                    <a:pt x="2411730" y="853440"/>
                  </a:lnTo>
                  <a:lnTo>
                    <a:pt x="2412683" y="842963"/>
                  </a:lnTo>
                  <a:lnTo>
                    <a:pt x="2417445" y="866775"/>
                  </a:lnTo>
                  <a:lnTo>
                    <a:pt x="2421255" y="889635"/>
                  </a:lnTo>
                  <a:lnTo>
                    <a:pt x="2424113" y="911543"/>
                  </a:lnTo>
                  <a:lnTo>
                    <a:pt x="2426018" y="931545"/>
                  </a:lnTo>
                  <a:lnTo>
                    <a:pt x="2426970" y="950595"/>
                  </a:lnTo>
                  <a:lnTo>
                    <a:pt x="2426970" y="969645"/>
                  </a:lnTo>
                  <a:lnTo>
                    <a:pt x="2426970" y="987743"/>
                  </a:lnTo>
                  <a:lnTo>
                    <a:pt x="2426018" y="1004888"/>
                  </a:lnTo>
                  <a:lnTo>
                    <a:pt x="2424113" y="1021080"/>
                  </a:lnTo>
                  <a:lnTo>
                    <a:pt x="2421255" y="1036320"/>
                  </a:lnTo>
                  <a:lnTo>
                    <a:pt x="2418398" y="1050608"/>
                  </a:lnTo>
                  <a:lnTo>
                    <a:pt x="2413635" y="1064895"/>
                  </a:lnTo>
                  <a:lnTo>
                    <a:pt x="2408873" y="1079183"/>
                  </a:lnTo>
                  <a:lnTo>
                    <a:pt x="2404110" y="1092518"/>
                  </a:lnTo>
                  <a:lnTo>
                    <a:pt x="2398395" y="1105853"/>
                  </a:lnTo>
                  <a:lnTo>
                    <a:pt x="2392680" y="1118235"/>
                  </a:lnTo>
                  <a:lnTo>
                    <a:pt x="2386013" y="1130618"/>
                  </a:lnTo>
                  <a:lnTo>
                    <a:pt x="2378393" y="1143000"/>
                  </a:lnTo>
                  <a:lnTo>
                    <a:pt x="2369820" y="1155383"/>
                  </a:lnTo>
                  <a:lnTo>
                    <a:pt x="2361248" y="1166813"/>
                  </a:lnTo>
                  <a:lnTo>
                    <a:pt x="2352675" y="1179195"/>
                  </a:lnTo>
                  <a:lnTo>
                    <a:pt x="2343150" y="1190625"/>
                  </a:lnTo>
                  <a:lnTo>
                    <a:pt x="2333625" y="1203008"/>
                  </a:lnTo>
                  <a:lnTo>
                    <a:pt x="2323148" y="1215390"/>
                  </a:lnTo>
                  <a:lnTo>
                    <a:pt x="2302193" y="1240155"/>
                  </a:lnTo>
                  <a:lnTo>
                    <a:pt x="2280285" y="1266825"/>
                  </a:lnTo>
                  <a:lnTo>
                    <a:pt x="2268855" y="1281113"/>
                  </a:lnTo>
                  <a:lnTo>
                    <a:pt x="2257425" y="1295400"/>
                  </a:lnTo>
                  <a:lnTo>
                    <a:pt x="2245995" y="1310640"/>
                  </a:lnTo>
                  <a:lnTo>
                    <a:pt x="2233613" y="1326833"/>
                  </a:lnTo>
                  <a:lnTo>
                    <a:pt x="2234565" y="1315403"/>
                  </a:lnTo>
                  <a:lnTo>
                    <a:pt x="2234565" y="1303973"/>
                  </a:lnTo>
                  <a:lnTo>
                    <a:pt x="2234565" y="1292543"/>
                  </a:lnTo>
                  <a:lnTo>
                    <a:pt x="2233613" y="1281113"/>
                  </a:lnTo>
                  <a:lnTo>
                    <a:pt x="2231708" y="1268730"/>
                  </a:lnTo>
                  <a:lnTo>
                    <a:pt x="2228850" y="1256348"/>
                  </a:lnTo>
                  <a:lnTo>
                    <a:pt x="2225993" y="1243965"/>
                  </a:lnTo>
                  <a:lnTo>
                    <a:pt x="2222183" y="1231583"/>
                  </a:lnTo>
                  <a:lnTo>
                    <a:pt x="2218373" y="1219200"/>
                  </a:lnTo>
                  <a:lnTo>
                    <a:pt x="2213610" y="1205865"/>
                  </a:lnTo>
                  <a:lnTo>
                    <a:pt x="2208848" y="1192530"/>
                  </a:lnTo>
                  <a:lnTo>
                    <a:pt x="2204085" y="1179195"/>
                  </a:lnTo>
                  <a:lnTo>
                    <a:pt x="2193608" y="1152525"/>
                  </a:lnTo>
                  <a:lnTo>
                    <a:pt x="2182178" y="1124903"/>
                  </a:lnTo>
                  <a:lnTo>
                    <a:pt x="2171700" y="1097280"/>
                  </a:lnTo>
                  <a:lnTo>
                    <a:pt x="2161223" y="1068705"/>
                  </a:lnTo>
                  <a:lnTo>
                    <a:pt x="2156460" y="1054418"/>
                  </a:lnTo>
                  <a:lnTo>
                    <a:pt x="2151698" y="1040130"/>
                  </a:lnTo>
                  <a:lnTo>
                    <a:pt x="2146935" y="1024890"/>
                  </a:lnTo>
                  <a:lnTo>
                    <a:pt x="2142173" y="1009650"/>
                  </a:lnTo>
                  <a:lnTo>
                    <a:pt x="2138363" y="994410"/>
                  </a:lnTo>
                  <a:lnTo>
                    <a:pt x="2135505" y="979170"/>
                  </a:lnTo>
                  <a:lnTo>
                    <a:pt x="2132648" y="962978"/>
                  </a:lnTo>
                  <a:lnTo>
                    <a:pt x="2130743" y="947738"/>
                  </a:lnTo>
                  <a:lnTo>
                    <a:pt x="2128838" y="931545"/>
                  </a:lnTo>
                  <a:lnTo>
                    <a:pt x="2128838" y="915353"/>
                  </a:lnTo>
                  <a:lnTo>
                    <a:pt x="2128838" y="899160"/>
                  </a:lnTo>
                  <a:lnTo>
                    <a:pt x="2132648" y="882968"/>
                  </a:lnTo>
                  <a:lnTo>
                    <a:pt x="2132648" y="882968"/>
                  </a:lnTo>
                  <a:close/>
                  <a:moveTo>
                    <a:pt x="2111693" y="1592580"/>
                  </a:moveTo>
                  <a:lnTo>
                    <a:pt x="2115503" y="1580198"/>
                  </a:lnTo>
                  <a:lnTo>
                    <a:pt x="2118360" y="1567815"/>
                  </a:lnTo>
                  <a:lnTo>
                    <a:pt x="2121218" y="1554480"/>
                  </a:lnTo>
                  <a:lnTo>
                    <a:pt x="2123123" y="1541145"/>
                  </a:lnTo>
                  <a:lnTo>
                    <a:pt x="2124075" y="1527810"/>
                  </a:lnTo>
                  <a:lnTo>
                    <a:pt x="2125028" y="1513523"/>
                  </a:lnTo>
                  <a:lnTo>
                    <a:pt x="2125028" y="1499235"/>
                  </a:lnTo>
                  <a:lnTo>
                    <a:pt x="2125028" y="1483995"/>
                  </a:lnTo>
                  <a:lnTo>
                    <a:pt x="2125028" y="1468755"/>
                  </a:lnTo>
                  <a:lnTo>
                    <a:pt x="2124075" y="1453515"/>
                  </a:lnTo>
                  <a:lnTo>
                    <a:pt x="2123123" y="1438275"/>
                  </a:lnTo>
                  <a:lnTo>
                    <a:pt x="2122170" y="1423035"/>
                  </a:lnTo>
                  <a:lnTo>
                    <a:pt x="2119313" y="1391603"/>
                  </a:lnTo>
                  <a:lnTo>
                    <a:pt x="2116455" y="1360170"/>
                  </a:lnTo>
                  <a:lnTo>
                    <a:pt x="2114550" y="1328738"/>
                  </a:lnTo>
                  <a:lnTo>
                    <a:pt x="2112645" y="1297305"/>
                  </a:lnTo>
                  <a:lnTo>
                    <a:pt x="2111693" y="1281113"/>
                  </a:lnTo>
                  <a:lnTo>
                    <a:pt x="2111693" y="1265873"/>
                  </a:lnTo>
                  <a:lnTo>
                    <a:pt x="2112645" y="1249680"/>
                  </a:lnTo>
                  <a:lnTo>
                    <a:pt x="2112645" y="1233488"/>
                  </a:lnTo>
                  <a:lnTo>
                    <a:pt x="2113598" y="1217295"/>
                  </a:lnTo>
                  <a:lnTo>
                    <a:pt x="2115503" y="1202055"/>
                  </a:lnTo>
                  <a:lnTo>
                    <a:pt x="2117408" y="1185863"/>
                  </a:lnTo>
                  <a:lnTo>
                    <a:pt x="2120265" y="1170623"/>
                  </a:lnTo>
                  <a:lnTo>
                    <a:pt x="2124075" y="1155383"/>
                  </a:lnTo>
                  <a:lnTo>
                    <a:pt x="2128838" y="1140143"/>
                  </a:lnTo>
                  <a:lnTo>
                    <a:pt x="2134553" y="1124903"/>
                  </a:lnTo>
                  <a:lnTo>
                    <a:pt x="2140268" y="1109663"/>
                  </a:lnTo>
                  <a:lnTo>
                    <a:pt x="2146935" y="1132523"/>
                  </a:lnTo>
                  <a:lnTo>
                    <a:pt x="2153603" y="1154430"/>
                  </a:lnTo>
                  <a:lnTo>
                    <a:pt x="2160270" y="1176338"/>
                  </a:lnTo>
                  <a:lnTo>
                    <a:pt x="2165985" y="1197293"/>
                  </a:lnTo>
                  <a:lnTo>
                    <a:pt x="2171700" y="1219200"/>
                  </a:lnTo>
                  <a:lnTo>
                    <a:pt x="2177415" y="1240155"/>
                  </a:lnTo>
                  <a:lnTo>
                    <a:pt x="2182178" y="1262063"/>
                  </a:lnTo>
                  <a:lnTo>
                    <a:pt x="2185988" y="1283970"/>
                  </a:lnTo>
                  <a:lnTo>
                    <a:pt x="2187893" y="1295400"/>
                  </a:lnTo>
                  <a:lnTo>
                    <a:pt x="2188845" y="1306830"/>
                  </a:lnTo>
                  <a:lnTo>
                    <a:pt x="2189798" y="1318260"/>
                  </a:lnTo>
                  <a:lnTo>
                    <a:pt x="2189798" y="1329690"/>
                  </a:lnTo>
                  <a:lnTo>
                    <a:pt x="2190750" y="1341120"/>
                  </a:lnTo>
                  <a:lnTo>
                    <a:pt x="2190750" y="1353503"/>
                  </a:lnTo>
                  <a:lnTo>
                    <a:pt x="2190750" y="1365885"/>
                  </a:lnTo>
                  <a:lnTo>
                    <a:pt x="2190750" y="1378268"/>
                  </a:lnTo>
                  <a:lnTo>
                    <a:pt x="2189798" y="1390650"/>
                  </a:lnTo>
                  <a:lnTo>
                    <a:pt x="2188845" y="1403033"/>
                  </a:lnTo>
                  <a:lnTo>
                    <a:pt x="2186940" y="1416368"/>
                  </a:lnTo>
                  <a:lnTo>
                    <a:pt x="2185035" y="1429703"/>
                  </a:lnTo>
                  <a:lnTo>
                    <a:pt x="2182178" y="1443038"/>
                  </a:lnTo>
                  <a:lnTo>
                    <a:pt x="2179320" y="1457325"/>
                  </a:lnTo>
                  <a:lnTo>
                    <a:pt x="2175510" y="1471613"/>
                  </a:lnTo>
                  <a:lnTo>
                    <a:pt x="2171700" y="1485900"/>
                  </a:lnTo>
                  <a:lnTo>
                    <a:pt x="2176463" y="1478280"/>
                  </a:lnTo>
                  <a:lnTo>
                    <a:pt x="2184083" y="1466850"/>
                  </a:lnTo>
                  <a:lnTo>
                    <a:pt x="2193608" y="1451610"/>
                  </a:lnTo>
                  <a:lnTo>
                    <a:pt x="2205038" y="1434465"/>
                  </a:lnTo>
                  <a:lnTo>
                    <a:pt x="2218373" y="1414463"/>
                  </a:lnTo>
                  <a:lnTo>
                    <a:pt x="2233613" y="1392555"/>
                  </a:lnTo>
                  <a:lnTo>
                    <a:pt x="2242185" y="1382078"/>
                  </a:lnTo>
                  <a:lnTo>
                    <a:pt x="2250758" y="1370648"/>
                  </a:lnTo>
                  <a:lnTo>
                    <a:pt x="2260283" y="1359218"/>
                  </a:lnTo>
                  <a:lnTo>
                    <a:pt x="2269808" y="1347788"/>
                  </a:lnTo>
                  <a:lnTo>
                    <a:pt x="2293620" y="1319213"/>
                  </a:lnTo>
                  <a:lnTo>
                    <a:pt x="2318385" y="1290638"/>
                  </a:lnTo>
                  <a:lnTo>
                    <a:pt x="2343150" y="1262063"/>
                  </a:lnTo>
                  <a:lnTo>
                    <a:pt x="2366963" y="1233488"/>
                  </a:lnTo>
                  <a:lnTo>
                    <a:pt x="2378393" y="1219200"/>
                  </a:lnTo>
                  <a:lnTo>
                    <a:pt x="2389823" y="1204913"/>
                  </a:lnTo>
                  <a:lnTo>
                    <a:pt x="2400300" y="1190625"/>
                  </a:lnTo>
                  <a:lnTo>
                    <a:pt x="2410778" y="1176338"/>
                  </a:lnTo>
                  <a:lnTo>
                    <a:pt x="2420303" y="1163003"/>
                  </a:lnTo>
                  <a:lnTo>
                    <a:pt x="2428875" y="1149668"/>
                  </a:lnTo>
                  <a:lnTo>
                    <a:pt x="2436495" y="1137285"/>
                  </a:lnTo>
                  <a:lnTo>
                    <a:pt x="2443163" y="1124903"/>
                  </a:lnTo>
                  <a:lnTo>
                    <a:pt x="2442210" y="1153478"/>
                  </a:lnTo>
                  <a:lnTo>
                    <a:pt x="2439353" y="1181100"/>
                  </a:lnTo>
                  <a:lnTo>
                    <a:pt x="2435543" y="1207770"/>
                  </a:lnTo>
                  <a:lnTo>
                    <a:pt x="2429828" y="1233488"/>
                  </a:lnTo>
                  <a:lnTo>
                    <a:pt x="2423160" y="1257300"/>
                  </a:lnTo>
                  <a:lnTo>
                    <a:pt x="2415540" y="1280160"/>
                  </a:lnTo>
                  <a:lnTo>
                    <a:pt x="2406015" y="1302068"/>
                  </a:lnTo>
                  <a:lnTo>
                    <a:pt x="2395538" y="1323023"/>
                  </a:lnTo>
                  <a:lnTo>
                    <a:pt x="2384108" y="1343025"/>
                  </a:lnTo>
                  <a:lnTo>
                    <a:pt x="2372678" y="1362075"/>
                  </a:lnTo>
                  <a:lnTo>
                    <a:pt x="2359343" y="1380173"/>
                  </a:lnTo>
                  <a:lnTo>
                    <a:pt x="2346008" y="1396365"/>
                  </a:lnTo>
                  <a:lnTo>
                    <a:pt x="2331720" y="1412558"/>
                  </a:lnTo>
                  <a:lnTo>
                    <a:pt x="2317433" y="1427798"/>
                  </a:lnTo>
                  <a:lnTo>
                    <a:pt x="2303145" y="1442085"/>
                  </a:lnTo>
                  <a:lnTo>
                    <a:pt x="2287905" y="1455420"/>
                  </a:lnTo>
                  <a:lnTo>
                    <a:pt x="2272665" y="1467803"/>
                  </a:lnTo>
                  <a:lnTo>
                    <a:pt x="2257425" y="1480185"/>
                  </a:lnTo>
                  <a:lnTo>
                    <a:pt x="2242185" y="1490663"/>
                  </a:lnTo>
                  <a:lnTo>
                    <a:pt x="2227898" y="1502093"/>
                  </a:lnTo>
                  <a:lnTo>
                    <a:pt x="2199323" y="1521143"/>
                  </a:lnTo>
                  <a:lnTo>
                    <a:pt x="2172653" y="1538288"/>
                  </a:lnTo>
                  <a:lnTo>
                    <a:pt x="2161223" y="1545908"/>
                  </a:lnTo>
                  <a:lnTo>
                    <a:pt x="2149793" y="1553528"/>
                  </a:lnTo>
                  <a:lnTo>
                    <a:pt x="2139315" y="1560195"/>
                  </a:lnTo>
                  <a:lnTo>
                    <a:pt x="2129790" y="1566863"/>
                  </a:lnTo>
                  <a:lnTo>
                    <a:pt x="2122170" y="1573530"/>
                  </a:lnTo>
                  <a:lnTo>
                    <a:pt x="2116455" y="1579245"/>
                  </a:lnTo>
                  <a:lnTo>
                    <a:pt x="2111693" y="1584960"/>
                  </a:lnTo>
                  <a:lnTo>
                    <a:pt x="2111693" y="1592580"/>
                  </a:lnTo>
                  <a:lnTo>
                    <a:pt x="2111693" y="1592580"/>
                  </a:lnTo>
                  <a:close/>
                  <a:moveTo>
                    <a:pt x="1925003" y="1794510"/>
                  </a:moveTo>
                  <a:lnTo>
                    <a:pt x="1931670" y="1784033"/>
                  </a:lnTo>
                  <a:lnTo>
                    <a:pt x="1938338" y="1772603"/>
                  </a:lnTo>
                  <a:lnTo>
                    <a:pt x="1944053" y="1761173"/>
                  </a:lnTo>
                  <a:lnTo>
                    <a:pt x="1948815" y="1748790"/>
                  </a:lnTo>
                  <a:lnTo>
                    <a:pt x="1953578" y="1736408"/>
                  </a:lnTo>
                  <a:lnTo>
                    <a:pt x="1958340" y="1724025"/>
                  </a:lnTo>
                  <a:lnTo>
                    <a:pt x="1962150" y="1710690"/>
                  </a:lnTo>
                  <a:lnTo>
                    <a:pt x="1965960" y="1697355"/>
                  </a:lnTo>
                  <a:lnTo>
                    <a:pt x="1969770" y="1683068"/>
                  </a:lnTo>
                  <a:lnTo>
                    <a:pt x="1972628" y="1668780"/>
                  </a:lnTo>
                  <a:lnTo>
                    <a:pt x="1975485" y="1654493"/>
                  </a:lnTo>
                  <a:lnTo>
                    <a:pt x="1978343" y="1640205"/>
                  </a:lnTo>
                  <a:lnTo>
                    <a:pt x="1984058" y="1611630"/>
                  </a:lnTo>
                  <a:lnTo>
                    <a:pt x="1989773" y="1582103"/>
                  </a:lnTo>
                  <a:lnTo>
                    <a:pt x="1995488" y="1552575"/>
                  </a:lnTo>
                  <a:lnTo>
                    <a:pt x="2002155" y="1523048"/>
                  </a:lnTo>
                  <a:lnTo>
                    <a:pt x="2005965" y="1507808"/>
                  </a:lnTo>
                  <a:lnTo>
                    <a:pt x="2009775" y="1493520"/>
                  </a:lnTo>
                  <a:lnTo>
                    <a:pt x="2014538" y="1479233"/>
                  </a:lnTo>
                  <a:lnTo>
                    <a:pt x="2019300" y="1464945"/>
                  </a:lnTo>
                  <a:lnTo>
                    <a:pt x="2025015" y="1450658"/>
                  </a:lnTo>
                  <a:lnTo>
                    <a:pt x="2030730" y="1436370"/>
                  </a:lnTo>
                  <a:lnTo>
                    <a:pt x="2037398" y="1423035"/>
                  </a:lnTo>
                  <a:lnTo>
                    <a:pt x="2044065" y="1409700"/>
                  </a:lnTo>
                  <a:lnTo>
                    <a:pt x="2051685" y="1396365"/>
                  </a:lnTo>
                  <a:lnTo>
                    <a:pt x="2060258" y="1383983"/>
                  </a:lnTo>
                  <a:lnTo>
                    <a:pt x="2069783" y="1371600"/>
                  </a:lnTo>
                  <a:lnTo>
                    <a:pt x="2080260" y="1360170"/>
                  </a:lnTo>
                  <a:lnTo>
                    <a:pt x="2079308" y="1385888"/>
                  </a:lnTo>
                  <a:lnTo>
                    <a:pt x="2078355" y="1410653"/>
                  </a:lnTo>
                  <a:lnTo>
                    <a:pt x="2078355" y="1435418"/>
                  </a:lnTo>
                  <a:lnTo>
                    <a:pt x="2078355" y="1458278"/>
                  </a:lnTo>
                  <a:lnTo>
                    <a:pt x="2079308" y="1480185"/>
                  </a:lnTo>
                  <a:lnTo>
                    <a:pt x="2079308" y="1502093"/>
                  </a:lnTo>
                  <a:lnTo>
                    <a:pt x="2079308" y="1523048"/>
                  </a:lnTo>
                  <a:lnTo>
                    <a:pt x="2079308" y="1543050"/>
                  </a:lnTo>
                  <a:lnTo>
                    <a:pt x="2078355" y="1553528"/>
                  </a:lnTo>
                  <a:lnTo>
                    <a:pt x="2077403" y="1563053"/>
                  </a:lnTo>
                  <a:lnTo>
                    <a:pt x="2076450" y="1572578"/>
                  </a:lnTo>
                  <a:lnTo>
                    <a:pt x="2075498" y="1582103"/>
                  </a:lnTo>
                  <a:lnTo>
                    <a:pt x="2073593" y="1591628"/>
                  </a:lnTo>
                  <a:lnTo>
                    <a:pt x="2071688" y="1601153"/>
                  </a:lnTo>
                  <a:lnTo>
                    <a:pt x="2069783" y="1610678"/>
                  </a:lnTo>
                  <a:lnTo>
                    <a:pt x="2066925" y="1620203"/>
                  </a:lnTo>
                  <a:lnTo>
                    <a:pt x="2064068" y="1629728"/>
                  </a:lnTo>
                  <a:lnTo>
                    <a:pt x="2060258" y="1639253"/>
                  </a:lnTo>
                  <a:lnTo>
                    <a:pt x="2055495" y="1648778"/>
                  </a:lnTo>
                  <a:lnTo>
                    <a:pt x="2050733" y="1658303"/>
                  </a:lnTo>
                  <a:lnTo>
                    <a:pt x="2045018" y="1666875"/>
                  </a:lnTo>
                  <a:lnTo>
                    <a:pt x="2039303" y="1676400"/>
                  </a:lnTo>
                  <a:lnTo>
                    <a:pt x="2033588" y="1685925"/>
                  </a:lnTo>
                  <a:lnTo>
                    <a:pt x="2026920" y="1694498"/>
                  </a:lnTo>
                  <a:lnTo>
                    <a:pt x="2038350" y="1684020"/>
                  </a:lnTo>
                  <a:lnTo>
                    <a:pt x="2052638" y="1672590"/>
                  </a:lnTo>
                  <a:lnTo>
                    <a:pt x="2067878" y="1660208"/>
                  </a:lnTo>
                  <a:lnTo>
                    <a:pt x="2085023" y="1646873"/>
                  </a:lnTo>
                  <a:lnTo>
                    <a:pt x="2094548" y="1640205"/>
                  </a:lnTo>
                  <a:lnTo>
                    <a:pt x="2105025" y="1633538"/>
                  </a:lnTo>
                  <a:lnTo>
                    <a:pt x="2115503" y="1626870"/>
                  </a:lnTo>
                  <a:lnTo>
                    <a:pt x="2126933" y="1620203"/>
                  </a:lnTo>
                  <a:lnTo>
                    <a:pt x="2139315" y="1613535"/>
                  </a:lnTo>
                  <a:lnTo>
                    <a:pt x="2151698" y="1607820"/>
                  </a:lnTo>
                  <a:lnTo>
                    <a:pt x="2165033" y="1602105"/>
                  </a:lnTo>
                  <a:lnTo>
                    <a:pt x="2179320" y="1596390"/>
                  </a:lnTo>
                  <a:lnTo>
                    <a:pt x="2187893" y="1593533"/>
                  </a:lnTo>
                  <a:lnTo>
                    <a:pt x="2195513" y="1589723"/>
                  </a:lnTo>
                  <a:lnTo>
                    <a:pt x="2204085" y="1585913"/>
                  </a:lnTo>
                  <a:lnTo>
                    <a:pt x="2211705" y="1581150"/>
                  </a:lnTo>
                  <a:lnTo>
                    <a:pt x="2219325" y="1576388"/>
                  </a:lnTo>
                  <a:lnTo>
                    <a:pt x="2226945" y="1571625"/>
                  </a:lnTo>
                  <a:lnTo>
                    <a:pt x="2234565" y="1566863"/>
                  </a:lnTo>
                  <a:lnTo>
                    <a:pt x="2242185" y="1562100"/>
                  </a:lnTo>
                  <a:lnTo>
                    <a:pt x="2256473" y="1551623"/>
                  </a:lnTo>
                  <a:lnTo>
                    <a:pt x="2269808" y="1541145"/>
                  </a:lnTo>
                  <a:lnTo>
                    <a:pt x="2283143" y="1529715"/>
                  </a:lnTo>
                  <a:lnTo>
                    <a:pt x="2295525" y="1518285"/>
                  </a:lnTo>
                  <a:lnTo>
                    <a:pt x="2307908" y="1505903"/>
                  </a:lnTo>
                  <a:lnTo>
                    <a:pt x="2319338" y="1494473"/>
                  </a:lnTo>
                  <a:lnTo>
                    <a:pt x="2330768" y="1482090"/>
                  </a:lnTo>
                  <a:lnTo>
                    <a:pt x="2341245" y="1470660"/>
                  </a:lnTo>
                  <a:lnTo>
                    <a:pt x="2362200" y="1447800"/>
                  </a:lnTo>
                  <a:lnTo>
                    <a:pt x="2382203" y="1426845"/>
                  </a:lnTo>
                  <a:lnTo>
                    <a:pt x="2375535" y="1443038"/>
                  </a:lnTo>
                  <a:lnTo>
                    <a:pt x="2366010" y="1473518"/>
                  </a:lnTo>
                  <a:lnTo>
                    <a:pt x="2355533" y="1502093"/>
                  </a:lnTo>
                  <a:lnTo>
                    <a:pt x="2344103" y="1528763"/>
                  </a:lnTo>
                  <a:lnTo>
                    <a:pt x="2331720" y="1553528"/>
                  </a:lnTo>
                  <a:lnTo>
                    <a:pt x="2318385" y="1575435"/>
                  </a:lnTo>
                  <a:lnTo>
                    <a:pt x="2304098" y="1596390"/>
                  </a:lnTo>
                  <a:lnTo>
                    <a:pt x="2288858" y="1615440"/>
                  </a:lnTo>
                  <a:lnTo>
                    <a:pt x="2273618" y="1632585"/>
                  </a:lnTo>
                  <a:lnTo>
                    <a:pt x="2257425" y="1648778"/>
                  </a:lnTo>
                  <a:lnTo>
                    <a:pt x="2241233" y="1663065"/>
                  </a:lnTo>
                  <a:lnTo>
                    <a:pt x="2225040" y="1676400"/>
                  </a:lnTo>
                  <a:lnTo>
                    <a:pt x="2207895" y="1687830"/>
                  </a:lnTo>
                  <a:lnTo>
                    <a:pt x="2190750" y="1698308"/>
                  </a:lnTo>
                  <a:lnTo>
                    <a:pt x="2172653" y="1707833"/>
                  </a:lnTo>
                  <a:lnTo>
                    <a:pt x="2155508" y="1716405"/>
                  </a:lnTo>
                  <a:lnTo>
                    <a:pt x="2137410" y="1724025"/>
                  </a:lnTo>
                  <a:lnTo>
                    <a:pt x="2120265" y="1730693"/>
                  </a:lnTo>
                  <a:lnTo>
                    <a:pt x="2103120" y="1736408"/>
                  </a:lnTo>
                  <a:lnTo>
                    <a:pt x="2085975" y="1742123"/>
                  </a:lnTo>
                  <a:lnTo>
                    <a:pt x="2068830" y="1746885"/>
                  </a:lnTo>
                  <a:lnTo>
                    <a:pt x="2036445" y="1755458"/>
                  </a:lnTo>
                  <a:lnTo>
                    <a:pt x="2005965" y="1763078"/>
                  </a:lnTo>
                  <a:lnTo>
                    <a:pt x="1991678" y="1766888"/>
                  </a:lnTo>
                  <a:lnTo>
                    <a:pt x="1978343" y="1770698"/>
                  </a:lnTo>
                  <a:lnTo>
                    <a:pt x="1965960" y="1774508"/>
                  </a:lnTo>
                  <a:lnTo>
                    <a:pt x="1954530" y="1778318"/>
                  </a:lnTo>
                  <a:lnTo>
                    <a:pt x="1944053" y="1783080"/>
                  </a:lnTo>
                  <a:lnTo>
                    <a:pt x="1934528" y="1787843"/>
                  </a:lnTo>
                  <a:lnTo>
                    <a:pt x="1926908" y="1792605"/>
                  </a:lnTo>
                  <a:lnTo>
                    <a:pt x="1925003" y="1794510"/>
                  </a:lnTo>
                  <a:lnTo>
                    <a:pt x="1925003" y="1794510"/>
                  </a:lnTo>
                  <a:close/>
                  <a:moveTo>
                    <a:pt x="1703070" y="1945958"/>
                  </a:moveTo>
                  <a:lnTo>
                    <a:pt x="1707833" y="1939290"/>
                  </a:lnTo>
                  <a:lnTo>
                    <a:pt x="1712595" y="1931670"/>
                  </a:lnTo>
                  <a:lnTo>
                    <a:pt x="1717358" y="1923098"/>
                  </a:lnTo>
                  <a:lnTo>
                    <a:pt x="1722120" y="1914525"/>
                  </a:lnTo>
                  <a:lnTo>
                    <a:pt x="1730693" y="1894523"/>
                  </a:lnTo>
                  <a:lnTo>
                    <a:pt x="1740218" y="1872615"/>
                  </a:lnTo>
                  <a:lnTo>
                    <a:pt x="1749743" y="1848803"/>
                  </a:lnTo>
                  <a:lnTo>
                    <a:pt x="1760220" y="1824038"/>
                  </a:lnTo>
                  <a:lnTo>
                    <a:pt x="1771650" y="1798320"/>
                  </a:lnTo>
                  <a:lnTo>
                    <a:pt x="1784033" y="1772603"/>
                  </a:lnTo>
                  <a:lnTo>
                    <a:pt x="1790700" y="1759268"/>
                  </a:lnTo>
                  <a:lnTo>
                    <a:pt x="1797368" y="1745933"/>
                  </a:lnTo>
                  <a:lnTo>
                    <a:pt x="1804988" y="1732598"/>
                  </a:lnTo>
                  <a:lnTo>
                    <a:pt x="1812608" y="1719263"/>
                  </a:lnTo>
                  <a:lnTo>
                    <a:pt x="1820228" y="1705928"/>
                  </a:lnTo>
                  <a:lnTo>
                    <a:pt x="1828800" y="1693545"/>
                  </a:lnTo>
                  <a:lnTo>
                    <a:pt x="1838325" y="1680210"/>
                  </a:lnTo>
                  <a:lnTo>
                    <a:pt x="1847850" y="1667828"/>
                  </a:lnTo>
                  <a:lnTo>
                    <a:pt x="1858328" y="1655445"/>
                  </a:lnTo>
                  <a:lnTo>
                    <a:pt x="1868805" y="1644015"/>
                  </a:lnTo>
                  <a:lnTo>
                    <a:pt x="1879283" y="1632585"/>
                  </a:lnTo>
                  <a:lnTo>
                    <a:pt x="1891665" y="1622108"/>
                  </a:lnTo>
                  <a:lnTo>
                    <a:pt x="1904048" y="1611630"/>
                  </a:lnTo>
                  <a:lnTo>
                    <a:pt x="1917383" y="1601153"/>
                  </a:lnTo>
                  <a:lnTo>
                    <a:pt x="1931670" y="1591628"/>
                  </a:lnTo>
                  <a:lnTo>
                    <a:pt x="1945958" y="1583055"/>
                  </a:lnTo>
                  <a:lnTo>
                    <a:pt x="1931670" y="1630680"/>
                  </a:lnTo>
                  <a:lnTo>
                    <a:pt x="1919288" y="1675448"/>
                  </a:lnTo>
                  <a:lnTo>
                    <a:pt x="1913573" y="1696403"/>
                  </a:lnTo>
                  <a:lnTo>
                    <a:pt x="1907858" y="1716405"/>
                  </a:lnTo>
                  <a:lnTo>
                    <a:pt x="1902143" y="1736408"/>
                  </a:lnTo>
                  <a:lnTo>
                    <a:pt x="1895475" y="1755458"/>
                  </a:lnTo>
                  <a:lnTo>
                    <a:pt x="1891665" y="1764983"/>
                  </a:lnTo>
                  <a:lnTo>
                    <a:pt x="1887855" y="1773555"/>
                  </a:lnTo>
                  <a:lnTo>
                    <a:pt x="1884045" y="1782128"/>
                  </a:lnTo>
                  <a:lnTo>
                    <a:pt x="1879283" y="1790700"/>
                  </a:lnTo>
                  <a:lnTo>
                    <a:pt x="1874520" y="1799273"/>
                  </a:lnTo>
                  <a:lnTo>
                    <a:pt x="1869758" y="1807845"/>
                  </a:lnTo>
                  <a:lnTo>
                    <a:pt x="1864043" y="1816418"/>
                  </a:lnTo>
                  <a:lnTo>
                    <a:pt x="1858328" y="1824038"/>
                  </a:lnTo>
                  <a:lnTo>
                    <a:pt x="1852613" y="1832610"/>
                  </a:lnTo>
                  <a:lnTo>
                    <a:pt x="1846898" y="1840230"/>
                  </a:lnTo>
                  <a:lnTo>
                    <a:pt x="1840230" y="1847850"/>
                  </a:lnTo>
                  <a:lnTo>
                    <a:pt x="1832610" y="1855470"/>
                  </a:lnTo>
                  <a:lnTo>
                    <a:pt x="1824990" y="1863090"/>
                  </a:lnTo>
                  <a:lnTo>
                    <a:pt x="1817370" y="1870710"/>
                  </a:lnTo>
                  <a:lnTo>
                    <a:pt x="1808798" y="1878330"/>
                  </a:lnTo>
                  <a:lnTo>
                    <a:pt x="1800225" y="1885950"/>
                  </a:lnTo>
                  <a:lnTo>
                    <a:pt x="1815465" y="1878330"/>
                  </a:lnTo>
                  <a:lnTo>
                    <a:pt x="1835468" y="1869758"/>
                  </a:lnTo>
                  <a:lnTo>
                    <a:pt x="1859280" y="1860233"/>
                  </a:lnTo>
                  <a:lnTo>
                    <a:pt x="1885950" y="1850708"/>
                  </a:lnTo>
                  <a:lnTo>
                    <a:pt x="1900238" y="1845945"/>
                  </a:lnTo>
                  <a:lnTo>
                    <a:pt x="1914525" y="1841183"/>
                  </a:lnTo>
                  <a:lnTo>
                    <a:pt x="1929765" y="1836420"/>
                  </a:lnTo>
                  <a:lnTo>
                    <a:pt x="1945005" y="1832610"/>
                  </a:lnTo>
                  <a:lnTo>
                    <a:pt x="1960245" y="1828800"/>
                  </a:lnTo>
                  <a:lnTo>
                    <a:pt x="1975485" y="1824990"/>
                  </a:lnTo>
                  <a:lnTo>
                    <a:pt x="1990725" y="1822133"/>
                  </a:lnTo>
                  <a:lnTo>
                    <a:pt x="2005965" y="1819275"/>
                  </a:lnTo>
                  <a:lnTo>
                    <a:pt x="2019300" y="1817370"/>
                  </a:lnTo>
                  <a:lnTo>
                    <a:pt x="2031683" y="1815465"/>
                  </a:lnTo>
                  <a:lnTo>
                    <a:pt x="2043113" y="1813560"/>
                  </a:lnTo>
                  <a:lnTo>
                    <a:pt x="2054543" y="1811655"/>
                  </a:lnTo>
                  <a:lnTo>
                    <a:pt x="2065020" y="1809750"/>
                  </a:lnTo>
                  <a:lnTo>
                    <a:pt x="2075498" y="1806893"/>
                  </a:lnTo>
                  <a:lnTo>
                    <a:pt x="2085023" y="1804035"/>
                  </a:lnTo>
                  <a:lnTo>
                    <a:pt x="2094548" y="1801178"/>
                  </a:lnTo>
                  <a:lnTo>
                    <a:pt x="2103120" y="1798320"/>
                  </a:lnTo>
                  <a:lnTo>
                    <a:pt x="2111693" y="1795463"/>
                  </a:lnTo>
                  <a:lnTo>
                    <a:pt x="2120265" y="1792605"/>
                  </a:lnTo>
                  <a:lnTo>
                    <a:pt x="2127885" y="1789748"/>
                  </a:lnTo>
                  <a:lnTo>
                    <a:pt x="2142173" y="1783080"/>
                  </a:lnTo>
                  <a:lnTo>
                    <a:pt x="2155508" y="1776413"/>
                  </a:lnTo>
                  <a:lnTo>
                    <a:pt x="2167890" y="1769745"/>
                  </a:lnTo>
                  <a:lnTo>
                    <a:pt x="2179320" y="1763078"/>
                  </a:lnTo>
                  <a:lnTo>
                    <a:pt x="2189798" y="1755458"/>
                  </a:lnTo>
                  <a:lnTo>
                    <a:pt x="2200275" y="1748790"/>
                  </a:lnTo>
                  <a:lnTo>
                    <a:pt x="2210753" y="1741170"/>
                  </a:lnTo>
                  <a:lnTo>
                    <a:pt x="2221230" y="1734503"/>
                  </a:lnTo>
                  <a:lnTo>
                    <a:pt x="2232660" y="1727835"/>
                  </a:lnTo>
                  <a:lnTo>
                    <a:pt x="2244090" y="1721168"/>
                  </a:lnTo>
                  <a:lnTo>
                    <a:pt x="2227898" y="1749743"/>
                  </a:lnTo>
                  <a:lnTo>
                    <a:pt x="2211705" y="1775460"/>
                  </a:lnTo>
                  <a:lnTo>
                    <a:pt x="2194560" y="1798320"/>
                  </a:lnTo>
                  <a:lnTo>
                    <a:pt x="2177415" y="1819275"/>
                  </a:lnTo>
                  <a:lnTo>
                    <a:pt x="2159318" y="1838325"/>
                  </a:lnTo>
                  <a:lnTo>
                    <a:pt x="2140268" y="1855470"/>
                  </a:lnTo>
                  <a:lnTo>
                    <a:pt x="2121218" y="1870710"/>
                  </a:lnTo>
                  <a:lnTo>
                    <a:pt x="2102168" y="1884045"/>
                  </a:lnTo>
                  <a:lnTo>
                    <a:pt x="2082165" y="1895475"/>
                  </a:lnTo>
                  <a:lnTo>
                    <a:pt x="2062163" y="1905953"/>
                  </a:lnTo>
                  <a:lnTo>
                    <a:pt x="2042160" y="1914525"/>
                  </a:lnTo>
                  <a:lnTo>
                    <a:pt x="2022158" y="1921193"/>
                  </a:lnTo>
                  <a:lnTo>
                    <a:pt x="2002155" y="1926908"/>
                  </a:lnTo>
                  <a:lnTo>
                    <a:pt x="1982153" y="1931670"/>
                  </a:lnTo>
                  <a:lnTo>
                    <a:pt x="1962150" y="1935480"/>
                  </a:lnTo>
                  <a:lnTo>
                    <a:pt x="1943100" y="1938338"/>
                  </a:lnTo>
                  <a:lnTo>
                    <a:pt x="1924050" y="1940243"/>
                  </a:lnTo>
                  <a:lnTo>
                    <a:pt x="1905000" y="1941195"/>
                  </a:lnTo>
                  <a:lnTo>
                    <a:pt x="1885950" y="1941195"/>
                  </a:lnTo>
                  <a:lnTo>
                    <a:pt x="1867853" y="1941195"/>
                  </a:lnTo>
                  <a:lnTo>
                    <a:pt x="1833563" y="1940243"/>
                  </a:lnTo>
                  <a:lnTo>
                    <a:pt x="1801178" y="1939290"/>
                  </a:lnTo>
                  <a:lnTo>
                    <a:pt x="1785938" y="1939290"/>
                  </a:lnTo>
                  <a:lnTo>
                    <a:pt x="1771650" y="1939290"/>
                  </a:lnTo>
                  <a:lnTo>
                    <a:pt x="1758315" y="1939290"/>
                  </a:lnTo>
                  <a:lnTo>
                    <a:pt x="1745933" y="1939290"/>
                  </a:lnTo>
                  <a:lnTo>
                    <a:pt x="1734503" y="1940243"/>
                  </a:lnTo>
                  <a:lnTo>
                    <a:pt x="1724025" y="1942148"/>
                  </a:lnTo>
                  <a:lnTo>
                    <a:pt x="1714500" y="1945005"/>
                  </a:lnTo>
                  <a:lnTo>
                    <a:pt x="1703070" y="1945958"/>
                  </a:lnTo>
                  <a:lnTo>
                    <a:pt x="1703070" y="1945958"/>
                  </a:lnTo>
                  <a:close/>
                  <a:moveTo>
                    <a:pt x="2267903" y="813435"/>
                  </a:moveTo>
                  <a:lnTo>
                    <a:pt x="2262188" y="797243"/>
                  </a:lnTo>
                  <a:lnTo>
                    <a:pt x="2255520" y="782003"/>
                  </a:lnTo>
                  <a:lnTo>
                    <a:pt x="2247900" y="766763"/>
                  </a:lnTo>
                  <a:lnTo>
                    <a:pt x="2239328" y="753428"/>
                  </a:lnTo>
                  <a:lnTo>
                    <a:pt x="2230755" y="740093"/>
                  </a:lnTo>
                  <a:lnTo>
                    <a:pt x="2220278" y="727710"/>
                  </a:lnTo>
                  <a:lnTo>
                    <a:pt x="2210753" y="716280"/>
                  </a:lnTo>
                  <a:lnTo>
                    <a:pt x="2200275" y="704850"/>
                  </a:lnTo>
                  <a:lnTo>
                    <a:pt x="2188845" y="694373"/>
                  </a:lnTo>
                  <a:lnTo>
                    <a:pt x="2177415" y="683895"/>
                  </a:lnTo>
                  <a:lnTo>
                    <a:pt x="2165985" y="673418"/>
                  </a:lnTo>
                  <a:lnTo>
                    <a:pt x="2153603" y="663893"/>
                  </a:lnTo>
                  <a:lnTo>
                    <a:pt x="2128838" y="643890"/>
                  </a:lnTo>
                  <a:lnTo>
                    <a:pt x="2103120" y="624840"/>
                  </a:lnTo>
                  <a:lnTo>
                    <a:pt x="2090738" y="615315"/>
                  </a:lnTo>
                  <a:lnTo>
                    <a:pt x="2078355" y="605790"/>
                  </a:lnTo>
                  <a:lnTo>
                    <a:pt x="2065973" y="595313"/>
                  </a:lnTo>
                  <a:lnTo>
                    <a:pt x="2053590" y="584835"/>
                  </a:lnTo>
                  <a:lnTo>
                    <a:pt x="2042160" y="574358"/>
                  </a:lnTo>
                  <a:lnTo>
                    <a:pt x="2030730" y="563880"/>
                  </a:lnTo>
                  <a:lnTo>
                    <a:pt x="2020253" y="553403"/>
                  </a:lnTo>
                  <a:lnTo>
                    <a:pt x="2009775" y="541973"/>
                  </a:lnTo>
                  <a:lnTo>
                    <a:pt x="1999298" y="529590"/>
                  </a:lnTo>
                  <a:lnTo>
                    <a:pt x="1989773" y="516255"/>
                  </a:lnTo>
                  <a:lnTo>
                    <a:pt x="1980248" y="502920"/>
                  </a:lnTo>
                  <a:lnTo>
                    <a:pt x="1971675" y="488633"/>
                  </a:lnTo>
                  <a:lnTo>
                    <a:pt x="1964055" y="473393"/>
                  </a:lnTo>
                  <a:lnTo>
                    <a:pt x="1957388" y="458153"/>
                  </a:lnTo>
                  <a:lnTo>
                    <a:pt x="1950720" y="441008"/>
                  </a:lnTo>
                  <a:lnTo>
                    <a:pt x="1945958" y="422910"/>
                  </a:lnTo>
                  <a:lnTo>
                    <a:pt x="1957388" y="434340"/>
                  </a:lnTo>
                  <a:lnTo>
                    <a:pt x="1969770" y="444818"/>
                  </a:lnTo>
                  <a:lnTo>
                    <a:pt x="1982153" y="455295"/>
                  </a:lnTo>
                  <a:lnTo>
                    <a:pt x="1995488" y="464820"/>
                  </a:lnTo>
                  <a:lnTo>
                    <a:pt x="2008823" y="474345"/>
                  </a:lnTo>
                  <a:lnTo>
                    <a:pt x="2022158" y="483870"/>
                  </a:lnTo>
                  <a:lnTo>
                    <a:pt x="2036445" y="492443"/>
                  </a:lnTo>
                  <a:lnTo>
                    <a:pt x="2050733" y="501968"/>
                  </a:lnTo>
                  <a:lnTo>
                    <a:pt x="2079308" y="520065"/>
                  </a:lnTo>
                  <a:lnTo>
                    <a:pt x="2106930" y="539115"/>
                  </a:lnTo>
                  <a:lnTo>
                    <a:pt x="2121218" y="549593"/>
                  </a:lnTo>
                  <a:lnTo>
                    <a:pt x="2134553" y="560070"/>
                  </a:lnTo>
                  <a:lnTo>
                    <a:pt x="2147888" y="571500"/>
                  </a:lnTo>
                  <a:lnTo>
                    <a:pt x="2161223" y="582930"/>
                  </a:lnTo>
                  <a:lnTo>
                    <a:pt x="2172653" y="595313"/>
                  </a:lnTo>
                  <a:lnTo>
                    <a:pt x="2183130" y="607695"/>
                  </a:lnTo>
                  <a:lnTo>
                    <a:pt x="2192655" y="620078"/>
                  </a:lnTo>
                  <a:lnTo>
                    <a:pt x="2201228" y="632460"/>
                  </a:lnTo>
                  <a:lnTo>
                    <a:pt x="2208848" y="644843"/>
                  </a:lnTo>
                  <a:lnTo>
                    <a:pt x="2216468" y="658178"/>
                  </a:lnTo>
                  <a:lnTo>
                    <a:pt x="2223135" y="671513"/>
                  </a:lnTo>
                  <a:lnTo>
                    <a:pt x="2230755" y="685800"/>
                  </a:lnTo>
                  <a:lnTo>
                    <a:pt x="2225040" y="664845"/>
                  </a:lnTo>
                  <a:lnTo>
                    <a:pt x="2220278" y="643890"/>
                  </a:lnTo>
                  <a:lnTo>
                    <a:pt x="2214563" y="622935"/>
                  </a:lnTo>
                  <a:lnTo>
                    <a:pt x="2209800" y="600075"/>
                  </a:lnTo>
                  <a:lnTo>
                    <a:pt x="2205990" y="579120"/>
                  </a:lnTo>
                  <a:lnTo>
                    <a:pt x="2202180" y="559118"/>
                  </a:lnTo>
                  <a:lnTo>
                    <a:pt x="2201228" y="549593"/>
                  </a:lnTo>
                  <a:lnTo>
                    <a:pt x="2200275" y="540068"/>
                  </a:lnTo>
                  <a:lnTo>
                    <a:pt x="2199323" y="530543"/>
                  </a:lnTo>
                  <a:lnTo>
                    <a:pt x="2199323" y="521018"/>
                  </a:lnTo>
                  <a:lnTo>
                    <a:pt x="2196465" y="495300"/>
                  </a:lnTo>
                  <a:lnTo>
                    <a:pt x="2194560" y="476250"/>
                  </a:lnTo>
                  <a:lnTo>
                    <a:pt x="2192655" y="461010"/>
                  </a:lnTo>
                  <a:lnTo>
                    <a:pt x="2189798" y="448628"/>
                  </a:lnTo>
                  <a:lnTo>
                    <a:pt x="2187893" y="442913"/>
                  </a:lnTo>
                  <a:lnTo>
                    <a:pt x="2185988" y="437198"/>
                  </a:lnTo>
                  <a:lnTo>
                    <a:pt x="2184083" y="430530"/>
                  </a:lnTo>
                  <a:lnTo>
                    <a:pt x="2181225" y="422910"/>
                  </a:lnTo>
                  <a:lnTo>
                    <a:pt x="2174558" y="404813"/>
                  </a:lnTo>
                  <a:lnTo>
                    <a:pt x="2164080" y="381000"/>
                  </a:lnTo>
                  <a:lnTo>
                    <a:pt x="2160270" y="374333"/>
                  </a:lnTo>
                  <a:lnTo>
                    <a:pt x="2154555" y="364808"/>
                  </a:lnTo>
                  <a:lnTo>
                    <a:pt x="2148840" y="355283"/>
                  </a:lnTo>
                  <a:lnTo>
                    <a:pt x="2145030" y="348615"/>
                  </a:lnTo>
                  <a:lnTo>
                    <a:pt x="2152650" y="354330"/>
                  </a:lnTo>
                  <a:lnTo>
                    <a:pt x="2160270" y="360045"/>
                  </a:lnTo>
                  <a:lnTo>
                    <a:pt x="2166938" y="365760"/>
                  </a:lnTo>
                  <a:lnTo>
                    <a:pt x="2173605" y="371475"/>
                  </a:lnTo>
                  <a:lnTo>
                    <a:pt x="2180273" y="377190"/>
                  </a:lnTo>
                  <a:lnTo>
                    <a:pt x="2185988" y="382905"/>
                  </a:lnTo>
                  <a:lnTo>
                    <a:pt x="2191703" y="388620"/>
                  </a:lnTo>
                  <a:lnTo>
                    <a:pt x="2197418" y="394335"/>
                  </a:lnTo>
                  <a:lnTo>
                    <a:pt x="2203133" y="400050"/>
                  </a:lnTo>
                  <a:lnTo>
                    <a:pt x="2207895" y="406718"/>
                  </a:lnTo>
                  <a:lnTo>
                    <a:pt x="2213610" y="412433"/>
                  </a:lnTo>
                  <a:lnTo>
                    <a:pt x="2218373" y="419100"/>
                  </a:lnTo>
                  <a:lnTo>
                    <a:pt x="2223135" y="425768"/>
                  </a:lnTo>
                  <a:lnTo>
                    <a:pt x="2227898" y="432435"/>
                  </a:lnTo>
                  <a:lnTo>
                    <a:pt x="2232660" y="439103"/>
                  </a:lnTo>
                  <a:lnTo>
                    <a:pt x="2236470" y="445770"/>
                  </a:lnTo>
                  <a:lnTo>
                    <a:pt x="2244090" y="460058"/>
                  </a:lnTo>
                  <a:lnTo>
                    <a:pt x="2250758" y="475298"/>
                  </a:lnTo>
                  <a:lnTo>
                    <a:pt x="2257425" y="490538"/>
                  </a:lnTo>
                  <a:lnTo>
                    <a:pt x="2263140" y="506730"/>
                  </a:lnTo>
                  <a:lnTo>
                    <a:pt x="2267903" y="522923"/>
                  </a:lnTo>
                  <a:lnTo>
                    <a:pt x="2272665" y="540068"/>
                  </a:lnTo>
                  <a:lnTo>
                    <a:pt x="2276475" y="557213"/>
                  </a:lnTo>
                  <a:lnTo>
                    <a:pt x="2279333" y="575310"/>
                  </a:lnTo>
                  <a:lnTo>
                    <a:pt x="2281238" y="590550"/>
                  </a:lnTo>
                  <a:lnTo>
                    <a:pt x="2282190" y="605790"/>
                  </a:lnTo>
                  <a:lnTo>
                    <a:pt x="2283143" y="621030"/>
                  </a:lnTo>
                  <a:lnTo>
                    <a:pt x="2283143" y="635318"/>
                  </a:lnTo>
                  <a:lnTo>
                    <a:pt x="2284095" y="650558"/>
                  </a:lnTo>
                  <a:lnTo>
                    <a:pt x="2283143" y="664845"/>
                  </a:lnTo>
                  <a:lnTo>
                    <a:pt x="2283143" y="679133"/>
                  </a:lnTo>
                  <a:lnTo>
                    <a:pt x="2282190" y="693420"/>
                  </a:lnTo>
                  <a:lnTo>
                    <a:pt x="2280285" y="721995"/>
                  </a:lnTo>
                  <a:lnTo>
                    <a:pt x="2277428" y="751523"/>
                  </a:lnTo>
                  <a:lnTo>
                    <a:pt x="2273618" y="782003"/>
                  </a:lnTo>
                  <a:lnTo>
                    <a:pt x="2267903" y="813435"/>
                  </a:lnTo>
                  <a:lnTo>
                    <a:pt x="2267903" y="813435"/>
                  </a:lnTo>
                  <a:close/>
                  <a:moveTo>
                    <a:pt x="422910" y="1971675"/>
                  </a:moveTo>
                  <a:lnTo>
                    <a:pt x="438150" y="1981200"/>
                  </a:lnTo>
                  <a:lnTo>
                    <a:pt x="454343" y="1987868"/>
                  </a:lnTo>
                  <a:lnTo>
                    <a:pt x="471488" y="1992630"/>
                  </a:lnTo>
                  <a:lnTo>
                    <a:pt x="489585" y="1996440"/>
                  </a:lnTo>
                  <a:lnTo>
                    <a:pt x="508635" y="1998345"/>
                  </a:lnTo>
                  <a:lnTo>
                    <a:pt x="528638" y="1998345"/>
                  </a:lnTo>
                  <a:lnTo>
                    <a:pt x="549593" y="1998345"/>
                  </a:lnTo>
                  <a:lnTo>
                    <a:pt x="570548" y="1996440"/>
                  </a:lnTo>
                  <a:lnTo>
                    <a:pt x="592455" y="1993583"/>
                  </a:lnTo>
                  <a:lnTo>
                    <a:pt x="615315" y="1989773"/>
                  </a:lnTo>
                  <a:lnTo>
                    <a:pt x="639128" y="1985010"/>
                  </a:lnTo>
                  <a:lnTo>
                    <a:pt x="663893" y="1980248"/>
                  </a:lnTo>
                  <a:lnTo>
                    <a:pt x="714375" y="1968818"/>
                  </a:lnTo>
                  <a:lnTo>
                    <a:pt x="765810" y="1957388"/>
                  </a:lnTo>
                  <a:lnTo>
                    <a:pt x="792480" y="1951673"/>
                  </a:lnTo>
                  <a:lnTo>
                    <a:pt x="820103" y="1945958"/>
                  </a:lnTo>
                  <a:lnTo>
                    <a:pt x="847725" y="1941195"/>
                  </a:lnTo>
                  <a:lnTo>
                    <a:pt x="875348" y="1935480"/>
                  </a:lnTo>
                  <a:lnTo>
                    <a:pt x="903923" y="1930718"/>
                  </a:lnTo>
                  <a:lnTo>
                    <a:pt x="932498" y="1926908"/>
                  </a:lnTo>
                  <a:lnTo>
                    <a:pt x="961073" y="1924050"/>
                  </a:lnTo>
                  <a:lnTo>
                    <a:pt x="989648" y="1922145"/>
                  </a:lnTo>
                  <a:lnTo>
                    <a:pt x="1018223" y="1921193"/>
                  </a:lnTo>
                  <a:lnTo>
                    <a:pt x="1046798" y="1922145"/>
                  </a:lnTo>
                  <a:lnTo>
                    <a:pt x="1076325" y="1924050"/>
                  </a:lnTo>
                  <a:lnTo>
                    <a:pt x="1104900" y="1927860"/>
                  </a:lnTo>
                  <a:lnTo>
                    <a:pt x="1134428" y="1932623"/>
                  </a:lnTo>
                  <a:lnTo>
                    <a:pt x="1163003" y="1939290"/>
                  </a:lnTo>
                  <a:lnTo>
                    <a:pt x="1192530" y="1948815"/>
                  </a:lnTo>
                  <a:lnTo>
                    <a:pt x="1221105" y="1959293"/>
                  </a:lnTo>
                  <a:lnTo>
                    <a:pt x="1258253" y="1948815"/>
                  </a:lnTo>
                  <a:lnTo>
                    <a:pt x="1293495" y="1940243"/>
                  </a:lnTo>
                  <a:lnTo>
                    <a:pt x="1326833" y="1933575"/>
                  </a:lnTo>
                  <a:lnTo>
                    <a:pt x="1359218" y="1928813"/>
                  </a:lnTo>
                  <a:lnTo>
                    <a:pt x="1390650" y="1925003"/>
                  </a:lnTo>
                  <a:lnTo>
                    <a:pt x="1421130" y="1923098"/>
                  </a:lnTo>
                  <a:lnTo>
                    <a:pt x="1449705" y="1923098"/>
                  </a:lnTo>
                  <a:lnTo>
                    <a:pt x="1478280" y="1924050"/>
                  </a:lnTo>
                  <a:lnTo>
                    <a:pt x="1504950" y="1925955"/>
                  </a:lnTo>
                  <a:lnTo>
                    <a:pt x="1530668" y="1928813"/>
                  </a:lnTo>
                  <a:lnTo>
                    <a:pt x="1556385" y="1932623"/>
                  </a:lnTo>
                  <a:lnTo>
                    <a:pt x="1581150" y="1937385"/>
                  </a:lnTo>
                  <a:lnTo>
                    <a:pt x="1604963" y="1942148"/>
                  </a:lnTo>
                  <a:lnTo>
                    <a:pt x="1627823" y="1946910"/>
                  </a:lnTo>
                  <a:lnTo>
                    <a:pt x="1650683" y="1952625"/>
                  </a:lnTo>
                  <a:lnTo>
                    <a:pt x="1673543" y="1958340"/>
                  </a:lnTo>
                  <a:lnTo>
                    <a:pt x="1717358" y="1969770"/>
                  </a:lnTo>
                  <a:lnTo>
                    <a:pt x="1759268" y="1980248"/>
                  </a:lnTo>
                  <a:lnTo>
                    <a:pt x="1780223" y="1985010"/>
                  </a:lnTo>
                  <a:lnTo>
                    <a:pt x="1801178" y="1989773"/>
                  </a:lnTo>
                  <a:lnTo>
                    <a:pt x="1822133" y="1993583"/>
                  </a:lnTo>
                  <a:lnTo>
                    <a:pt x="1843088" y="1996440"/>
                  </a:lnTo>
                  <a:lnTo>
                    <a:pt x="1864043" y="1998345"/>
                  </a:lnTo>
                  <a:lnTo>
                    <a:pt x="1884998" y="1998345"/>
                  </a:lnTo>
                  <a:lnTo>
                    <a:pt x="1906905" y="1998345"/>
                  </a:lnTo>
                  <a:lnTo>
                    <a:pt x="1928813" y="1996440"/>
                  </a:lnTo>
                  <a:lnTo>
                    <a:pt x="1951673" y="1993583"/>
                  </a:lnTo>
                  <a:lnTo>
                    <a:pt x="1974533" y="1987868"/>
                  </a:lnTo>
                  <a:lnTo>
                    <a:pt x="1998345" y="1981200"/>
                  </a:lnTo>
                  <a:lnTo>
                    <a:pt x="2023110" y="1972628"/>
                  </a:lnTo>
                  <a:lnTo>
                    <a:pt x="2001203" y="1992630"/>
                  </a:lnTo>
                  <a:lnTo>
                    <a:pt x="1978343" y="2009775"/>
                  </a:lnTo>
                  <a:lnTo>
                    <a:pt x="1955483" y="2025015"/>
                  </a:lnTo>
                  <a:lnTo>
                    <a:pt x="1931670" y="2038350"/>
                  </a:lnTo>
                  <a:lnTo>
                    <a:pt x="1907858" y="2048828"/>
                  </a:lnTo>
                  <a:lnTo>
                    <a:pt x="1883093" y="2057400"/>
                  </a:lnTo>
                  <a:lnTo>
                    <a:pt x="1857375" y="2064068"/>
                  </a:lnTo>
                  <a:lnTo>
                    <a:pt x="1831658" y="2069783"/>
                  </a:lnTo>
                  <a:lnTo>
                    <a:pt x="1805940" y="2073593"/>
                  </a:lnTo>
                  <a:lnTo>
                    <a:pt x="1779270" y="2075498"/>
                  </a:lnTo>
                  <a:lnTo>
                    <a:pt x="1752600" y="2076450"/>
                  </a:lnTo>
                  <a:lnTo>
                    <a:pt x="1726883" y="2076450"/>
                  </a:lnTo>
                  <a:lnTo>
                    <a:pt x="1701165" y="2074545"/>
                  </a:lnTo>
                  <a:lnTo>
                    <a:pt x="1674495" y="2071688"/>
                  </a:lnTo>
                  <a:lnTo>
                    <a:pt x="1648778" y="2068830"/>
                  </a:lnTo>
                  <a:lnTo>
                    <a:pt x="1623060" y="2064068"/>
                  </a:lnTo>
                  <a:lnTo>
                    <a:pt x="1597343" y="2059305"/>
                  </a:lnTo>
                  <a:lnTo>
                    <a:pt x="1571625" y="2053590"/>
                  </a:lnTo>
                  <a:lnTo>
                    <a:pt x="1546860" y="2047875"/>
                  </a:lnTo>
                  <a:lnTo>
                    <a:pt x="1522095" y="2042160"/>
                  </a:lnTo>
                  <a:lnTo>
                    <a:pt x="1474470" y="2029778"/>
                  </a:lnTo>
                  <a:lnTo>
                    <a:pt x="1428750" y="2018348"/>
                  </a:lnTo>
                  <a:lnTo>
                    <a:pt x="1406843" y="2012633"/>
                  </a:lnTo>
                  <a:lnTo>
                    <a:pt x="1385888" y="2006918"/>
                  </a:lnTo>
                  <a:lnTo>
                    <a:pt x="1365885" y="2002155"/>
                  </a:lnTo>
                  <a:lnTo>
                    <a:pt x="1346835" y="1997393"/>
                  </a:lnTo>
                  <a:lnTo>
                    <a:pt x="1328738" y="1994535"/>
                  </a:lnTo>
                  <a:lnTo>
                    <a:pt x="1311593" y="1991678"/>
                  </a:lnTo>
                  <a:lnTo>
                    <a:pt x="1295400" y="1990725"/>
                  </a:lnTo>
                  <a:lnTo>
                    <a:pt x="1280160" y="1990725"/>
                  </a:lnTo>
                  <a:lnTo>
                    <a:pt x="1298258" y="2000250"/>
                  </a:lnTo>
                  <a:lnTo>
                    <a:pt x="1315403" y="2009775"/>
                  </a:lnTo>
                  <a:lnTo>
                    <a:pt x="1330643" y="2019300"/>
                  </a:lnTo>
                  <a:lnTo>
                    <a:pt x="1345883" y="2028825"/>
                  </a:lnTo>
                  <a:lnTo>
                    <a:pt x="1361123" y="2039303"/>
                  </a:lnTo>
                  <a:lnTo>
                    <a:pt x="1375410" y="2048828"/>
                  </a:lnTo>
                  <a:lnTo>
                    <a:pt x="1388745" y="2059305"/>
                  </a:lnTo>
                  <a:lnTo>
                    <a:pt x="1402080" y="2069783"/>
                  </a:lnTo>
                  <a:lnTo>
                    <a:pt x="1414463" y="2080260"/>
                  </a:lnTo>
                  <a:lnTo>
                    <a:pt x="1425893" y="2090738"/>
                  </a:lnTo>
                  <a:lnTo>
                    <a:pt x="1437323" y="2101215"/>
                  </a:lnTo>
                  <a:lnTo>
                    <a:pt x="1447800" y="2111693"/>
                  </a:lnTo>
                  <a:lnTo>
                    <a:pt x="1458278" y="2122170"/>
                  </a:lnTo>
                  <a:lnTo>
                    <a:pt x="1468755" y="2132648"/>
                  </a:lnTo>
                  <a:lnTo>
                    <a:pt x="1478280" y="2143125"/>
                  </a:lnTo>
                  <a:lnTo>
                    <a:pt x="1487805" y="2153603"/>
                  </a:lnTo>
                  <a:lnTo>
                    <a:pt x="1472565" y="2155508"/>
                  </a:lnTo>
                  <a:lnTo>
                    <a:pt x="1458278" y="2157413"/>
                  </a:lnTo>
                  <a:lnTo>
                    <a:pt x="1443990" y="2159318"/>
                  </a:lnTo>
                  <a:lnTo>
                    <a:pt x="1428750" y="2161223"/>
                  </a:lnTo>
                  <a:lnTo>
                    <a:pt x="1421130" y="2149793"/>
                  </a:lnTo>
                  <a:lnTo>
                    <a:pt x="1413510" y="2138363"/>
                  </a:lnTo>
                  <a:lnTo>
                    <a:pt x="1403985" y="2127885"/>
                  </a:lnTo>
                  <a:lnTo>
                    <a:pt x="1394460" y="2117408"/>
                  </a:lnTo>
                  <a:lnTo>
                    <a:pt x="1383983" y="2106930"/>
                  </a:lnTo>
                  <a:lnTo>
                    <a:pt x="1372553" y="2096453"/>
                  </a:lnTo>
                  <a:lnTo>
                    <a:pt x="1360170" y="2085975"/>
                  </a:lnTo>
                  <a:lnTo>
                    <a:pt x="1346835" y="2075498"/>
                  </a:lnTo>
                  <a:lnTo>
                    <a:pt x="1333500" y="2065020"/>
                  </a:lnTo>
                  <a:lnTo>
                    <a:pt x="1319213" y="2054543"/>
                  </a:lnTo>
                  <a:lnTo>
                    <a:pt x="1303973" y="2044065"/>
                  </a:lnTo>
                  <a:lnTo>
                    <a:pt x="1288733" y="2034540"/>
                  </a:lnTo>
                  <a:lnTo>
                    <a:pt x="1272540" y="2025015"/>
                  </a:lnTo>
                  <a:lnTo>
                    <a:pt x="1255395" y="2015490"/>
                  </a:lnTo>
                  <a:lnTo>
                    <a:pt x="1237298" y="2005965"/>
                  </a:lnTo>
                  <a:lnTo>
                    <a:pt x="1218248" y="1996440"/>
                  </a:lnTo>
                  <a:lnTo>
                    <a:pt x="1202055" y="2002155"/>
                  </a:lnTo>
                  <a:lnTo>
                    <a:pt x="1186815" y="2007870"/>
                  </a:lnTo>
                  <a:lnTo>
                    <a:pt x="1171575" y="2014538"/>
                  </a:lnTo>
                  <a:lnTo>
                    <a:pt x="1156335" y="2021205"/>
                  </a:lnTo>
                  <a:lnTo>
                    <a:pt x="1141095" y="2028825"/>
                  </a:lnTo>
                  <a:lnTo>
                    <a:pt x="1126808" y="2037398"/>
                  </a:lnTo>
                  <a:lnTo>
                    <a:pt x="1112520" y="2045970"/>
                  </a:lnTo>
                  <a:lnTo>
                    <a:pt x="1098233" y="2056448"/>
                  </a:lnTo>
                  <a:lnTo>
                    <a:pt x="1084898" y="2066925"/>
                  </a:lnTo>
                  <a:lnTo>
                    <a:pt x="1071563" y="2078355"/>
                  </a:lnTo>
                  <a:lnTo>
                    <a:pt x="1059180" y="2089785"/>
                  </a:lnTo>
                  <a:lnTo>
                    <a:pt x="1046798" y="2102168"/>
                  </a:lnTo>
                  <a:lnTo>
                    <a:pt x="1035368" y="2115503"/>
                  </a:lnTo>
                  <a:lnTo>
                    <a:pt x="1023938" y="2129790"/>
                  </a:lnTo>
                  <a:lnTo>
                    <a:pt x="1012508" y="2145030"/>
                  </a:lnTo>
                  <a:lnTo>
                    <a:pt x="1002030" y="2160270"/>
                  </a:lnTo>
                  <a:lnTo>
                    <a:pt x="987743" y="2158365"/>
                  </a:lnTo>
                  <a:lnTo>
                    <a:pt x="972503" y="2156460"/>
                  </a:lnTo>
                  <a:lnTo>
                    <a:pt x="958215" y="2154555"/>
                  </a:lnTo>
                  <a:lnTo>
                    <a:pt x="943928" y="2152650"/>
                  </a:lnTo>
                  <a:lnTo>
                    <a:pt x="954405" y="2142173"/>
                  </a:lnTo>
                  <a:lnTo>
                    <a:pt x="964883" y="2131695"/>
                  </a:lnTo>
                  <a:lnTo>
                    <a:pt x="975360" y="2121218"/>
                  </a:lnTo>
                  <a:lnTo>
                    <a:pt x="985838" y="2110740"/>
                  </a:lnTo>
                  <a:lnTo>
                    <a:pt x="997268" y="2100263"/>
                  </a:lnTo>
                  <a:lnTo>
                    <a:pt x="1008698" y="2089785"/>
                  </a:lnTo>
                  <a:lnTo>
                    <a:pt x="1021080" y="2079308"/>
                  </a:lnTo>
                  <a:lnTo>
                    <a:pt x="1033463" y="2068830"/>
                  </a:lnTo>
                  <a:lnTo>
                    <a:pt x="1045845" y="2058353"/>
                  </a:lnTo>
                  <a:lnTo>
                    <a:pt x="1059180" y="2047875"/>
                  </a:lnTo>
                  <a:lnTo>
                    <a:pt x="1073468" y="2037398"/>
                  </a:lnTo>
                  <a:lnTo>
                    <a:pt x="1087755" y="2027873"/>
                  </a:lnTo>
                  <a:lnTo>
                    <a:pt x="1102995" y="2018348"/>
                  </a:lnTo>
                  <a:lnTo>
                    <a:pt x="1119188" y="2008823"/>
                  </a:lnTo>
                  <a:lnTo>
                    <a:pt x="1135380" y="2000250"/>
                  </a:lnTo>
                  <a:lnTo>
                    <a:pt x="1152525" y="1990725"/>
                  </a:lnTo>
                  <a:lnTo>
                    <a:pt x="1141095" y="1989773"/>
                  </a:lnTo>
                  <a:lnTo>
                    <a:pt x="1127760" y="1989773"/>
                  </a:lnTo>
                  <a:lnTo>
                    <a:pt x="1113473" y="1991678"/>
                  </a:lnTo>
                  <a:lnTo>
                    <a:pt x="1098233" y="1993583"/>
                  </a:lnTo>
                  <a:lnTo>
                    <a:pt x="1081088" y="1997393"/>
                  </a:lnTo>
                  <a:lnTo>
                    <a:pt x="1062990" y="2002155"/>
                  </a:lnTo>
                  <a:lnTo>
                    <a:pt x="1043940" y="2006918"/>
                  </a:lnTo>
                  <a:lnTo>
                    <a:pt x="1022985" y="2011680"/>
                  </a:lnTo>
                  <a:lnTo>
                    <a:pt x="979170" y="2023110"/>
                  </a:lnTo>
                  <a:lnTo>
                    <a:pt x="932498" y="2035493"/>
                  </a:lnTo>
                  <a:lnTo>
                    <a:pt x="907733" y="2041208"/>
                  </a:lnTo>
                  <a:lnTo>
                    <a:pt x="882968" y="2046923"/>
                  </a:lnTo>
                  <a:lnTo>
                    <a:pt x="857250" y="2052638"/>
                  </a:lnTo>
                  <a:lnTo>
                    <a:pt x="831533" y="2057400"/>
                  </a:lnTo>
                  <a:lnTo>
                    <a:pt x="805815" y="2062163"/>
                  </a:lnTo>
                  <a:lnTo>
                    <a:pt x="779145" y="2065973"/>
                  </a:lnTo>
                  <a:lnTo>
                    <a:pt x="752475" y="2068830"/>
                  </a:lnTo>
                  <a:lnTo>
                    <a:pt x="725805" y="2070735"/>
                  </a:lnTo>
                  <a:lnTo>
                    <a:pt x="699135" y="2071688"/>
                  </a:lnTo>
                  <a:lnTo>
                    <a:pt x="672465" y="2071688"/>
                  </a:lnTo>
                  <a:lnTo>
                    <a:pt x="645795" y="2069783"/>
                  </a:lnTo>
                  <a:lnTo>
                    <a:pt x="619125" y="2065973"/>
                  </a:lnTo>
                  <a:lnTo>
                    <a:pt x="593408" y="2061210"/>
                  </a:lnTo>
                  <a:lnTo>
                    <a:pt x="567690" y="2054543"/>
                  </a:lnTo>
                  <a:lnTo>
                    <a:pt x="541973" y="2045970"/>
                  </a:lnTo>
                  <a:lnTo>
                    <a:pt x="516255" y="2035493"/>
                  </a:lnTo>
                  <a:lnTo>
                    <a:pt x="491490" y="2023110"/>
                  </a:lnTo>
                  <a:lnTo>
                    <a:pt x="467678" y="2007870"/>
                  </a:lnTo>
                  <a:lnTo>
                    <a:pt x="443865" y="1990725"/>
                  </a:lnTo>
                  <a:lnTo>
                    <a:pt x="422910" y="1971675"/>
                  </a:lnTo>
                  <a:lnTo>
                    <a:pt x="422910" y="1971675"/>
                  </a:lnTo>
                  <a:close/>
                  <a:moveTo>
                    <a:pt x="1270635" y="1442085"/>
                  </a:moveTo>
                  <a:lnTo>
                    <a:pt x="1270635" y="1456373"/>
                  </a:lnTo>
                  <a:lnTo>
                    <a:pt x="1272540" y="1469708"/>
                  </a:lnTo>
                  <a:lnTo>
                    <a:pt x="1272540" y="1483043"/>
                  </a:lnTo>
                  <a:lnTo>
                    <a:pt x="1272540" y="1496378"/>
                  </a:lnTo>
                  <a:lnTo>
                    <a:pt x="1285875" y="1504950"/>
                  </a:lnTo>
                  <a:lnTo>
                    <a:pt x="1300163" y="1513523"/>
                  </a:lnTo>
                  <a:lnTo>
                    <a:pt x="1306830" y="1518285"/>
                  </a:lnTo>
                  <a:lnTo>
                    <a:pt x="1313498" y="1523048"/>
                  </a:lnTo>
                  <a:lnTo>
                    <a:pt x="1320165" y="1528763"/>
                  </a:lnTo>
                  <a:lnTo>
                    <a:pt x="1326833" y="1534478"/>
                  </a:lnTo>
                  <a:lnTo>
                    <a:pt x="1333500" y="1541145"/>
                  </a:lnTo>
                  <a:lnTo>
                    <a:pt x="1340168" y="1548765"/>
                  </a:lnTo>
                  <a:lnTo>
                    <a:pt x="1345883" y="1556385"/>
                  </a:lnTo>
                  <a:lnTo>
                    <a:pt x="1351598" y="1564958"/>
                  </a:lnTo>
                  <a:lnTo>
                    <a:pt x="1357313" y="1574483"/>
                  </a:lnTo>
                  <a:lnTo>
                    <a:pt x="1362075" y="1584008"/>
                  </a:lnTo>
                  <a:lnTo>
                    <a:pt x="1366838" y="1594485"/>
                  </a:lnTo>
                  <a:lnTo>
                    <a:pt x="1370648" y="1605915"/>
                  </a:lnTo>
                  <a:lnTo>
                    <a:pt x="1370648" y="1597343"/>
                  </a:lnTo>
                  <a:lnTo>
                    <a:pt x="1370648" y="1589723"/>
                  </a:lnTo>
                  <a:lnTo>
                    <a:pt x="1370648" y="1583055"/>
                  </a:lnTo>
                  <a:lnTo>
                    <a:pt x="1370648" y="1575435"/>
                  </a:lnTo>
                  <a:lnTo>
                    <a:pt x="1369695" y="1568768"/>
                  </a:lnTo>
                  <a:lnTo>
                    <a:pt x="1368743" y="1562100"/>
                  </a:lnTo>
                  <a:lnTo>
                    <a:pt x="1367790" y="1555433"/>
                  </a:lnTo>
                  <a:lnTo>
                    <a:pt x="1366838" y="1548765"/>
                  </a:lnTo>
                  <a:lnTo>
                    <a:pt x="1364933" y="1542098"/>
                  </a:lnTo>
                  <a:lnTo>
                    <a:pt x="1363028" y="1536383"/>
                  </a:lnTo>
                  <a:lnTo>
                    <a:pt x="1361123" y="1530668"/>
                  </a:lnTo>
                  <a:lnTo>
                    <a:pt x="1358265" y="1524953"/>
                  </a:lnTo>
                  <a:lnTo>
                    <a:pt x="1355408" y="1519238"/>
                  </a:lnTo>
                  <a:lnTo>
                    <a:pt x="1352550" y="1513523"/>
                  </a:lnTo>
                  <a:lnTo>
                    <a:pt x="1349693" y="1507808"/>
                  </a:lnTo>
                  <a:lnTo>
                    <a:pt x="1346835" y="1502093"/>
                  </a:lnTo>
                  <a:lnTo>
                    <a:pt x="1343025" y="1497330"/>
                  </a:lnTo>
                  <a:lnTo>
                    <a:pt x="1339215" y="1492568"/>
                  </a:lnTo>
                  <a:lnTo>
                    <a:pt x="1335405" y="1487805"/>
                  </a:lnTo>
                  <a:lnTo>
                    <a:pt x="1331595" y="1483043"/>
                  </a:lnTo>
                  <a:lnTo>
                    <a:pt x="1326833" y="1478280"/>
                  </a:lnTo>
                  <a:lnTo>
                    <a:pt x="1323975" y="1476375"/>
                  </a:lnTo>
                  <a:lnTo>
                    <a:pt x="1319213" y="1471613"/>
                  </a:lnTo>
                  <a:lnTo>
                    <a:pt x="1314450" y="1467803"/>
                  </a:lnTo>
                  <a:lnTo>
                    <a:pt x="1303973" y="1460183"/>
                  </a:lnTo>
                  <a:lnTo>
                    <a:pt x="1292543" y="1453515"/>
                  </a:lnTo>
                  <a:lnTo>
                    <a:pt x="1281113" y="1447800"/>
                  </a:lnTo>
                  <a:lnTo>
                    <a:pt x="1270635" y="1442085"/>
                  </a:lnTo>
                  <a:lnTo>
                    <a:pt x="1270635" y="1442085"/>
                  </a:lnTo>
                  <a:close/>
                  <a:moveTo>
                    <a:pt x="1282065" y="1024890"/>
                  </a:moveTo>
                  <a:lnTo>
                    <a:pt x="1282065" y="1036320"/>
                  </a:lnTo>
                  <a:lnTo>
                    <a:pt x="1282065" y="1048703"/>
                  </a:lnTo>
                  <a:lnTo>
                    <a:pt x="1282065" y="1060133"/>
                  </a:lnTo>
                  <a:lnTo>
                    <a:pt x="1281113" y="1071563"/>
                  </a:lnTo>
                  <a:lnTo>
                    <a:pt x="1282065" y="1082993"/>
                  </a:lnTo>
                  <a:lnTo>
                    <a:pt x="1282065" y="1094423"/>
                  </a:lnTo>
                  <a:lnTo>
                    <a:pt x="1281113" y="1105853"/>
                  </a:lnTo>
                  <a:lnTo>
                    <a:pt x="1281113" y="1117283"/>
                  </a:lnTo>
                  <a:lnTo>
                    <a:pt x="1292543" y="1121093"/>
                  </a:lnTo>
                  <a:lnTo>
                    <a:pt x="1303020" y="1125855"/>
                  </a:lnTo>
                  <a:lnTo>
                    <a:pt x="1307783" y="1128713"/>
                  </a:lnTo>
                  <a:lnTo>
                    <a:pt x="1312545" y="1131570"/>
                  </a:lnTo>
                  <a:lnTo>
                    <a:pt x="1317308" y="1134428"/>
                  </a:lnTo>
                  <a:lnTo>
                    <a:pt x="1321118" y="1138238"/>
                  </a:lnTo>
                  <a:lnTo>
                    <a:pt x="1324928" y="1142048"/>
                  </a:lnTo>
                  <a:lnTo>
                    <a:pt x="1327785" y="1145858"/>
                  </a:lnTo>
                  <a:lnTo>
                    <a:pt x="1330643" y="1150620"/>
                  </a:lnTo>
                  <a:lnTo>
                    <a:pt x="1332548" y="1155383"/>
                  </a:lnTo>
                  <a:lnTo>
                    <a:pt x="1333500" y="1160145"/>
                  </a:lnTo>
                  <a:lnTo>
                    <a:pt x="1334453" y="1165860"/>
                  </a:lnTo>
                  <a:lnTo>
                    <a:pt x="1334453" y="1172528"/>
                  </a:lnTo>
                  <a:lnTo>
                    <a:pt x="1334453" y="1179195"/>
                  </a:lnTo>
                  <a:lnTo>
                    <a:pt x="1333500" y="1186815"/>
                  </a:lnTo>
                  <a:lnTo>
                    <a:pt x="1331595" y="1193483"/>
                  </a:lnTo>
                  <a:lnTo>
                    <a:pt x="1327785" y="1199198"/>
                  </a:lnTo>
                  <a:lnTo>
                    <a:pt x="1323023" y="1204913"/>
                  </a:lnTo>
                  <a:lnTo>
                    <a:pt x="1317308" y="1210628"/>
                  </a:lnTo>
                  <a:lnTo>
                    <a:pt x="1310640" y="1215390"/>
                  </a:lnTo>
                  <a:lnTo>
                    <a:pt x="1303020" y="1220153"/>
                  </a:lnTo>
                  <a:lnTo>
                    <a:pt x="1294448" y="1223963"/>
                  </a:lnTo>
                  <a:lnTo>
                    <a:pt x="1284923" y="1227773"/>
                  </a:lnTo>
                  <a:lnTo>
                    <a:pt x="1275398" y="1231583"/>
                  </a:lnTo>
                  <a:lnTo>
                    <a:pt x="1265873" y="1235393"/>
                  </a:lnTo>
                  <a:lnTo>
                    <a:pt x="1255395" y="1239203"/>
                  </a:lnTo>
                  <a:lnTo>
                    <a:pt x="1233488" y="1245870"/>
                  </a:lnTo>
                  <a:lnTo>
                    <a:pt x="1210628" y="1252538"/>
                  </a:lnTo>
                  <a:lnTo>
                    <a:pt x="1199198" y="1256348"/>
                  </a:lnTo>
                  <a:lnTo>
                    <a:pt x="1187768" y="1260158"/>
                  </a:lnTo>
                  <a:lnTo>
                    <a:pt x="1177290" y="1263968"/>
                  </a:lnTo>
                  <a:lnTo>
                    <a:pt x="1166813" y="1268730"/>
                  </a:lnTo>
                  <a:lnTo>
                    <a:pt x="1156335" y="1273493"/>
                  </a:lnTo>
                  <a:lnTo>
                    <a:pt x="1146810" y="1278255"/>
                  </a:lnTo>
                  <a:lnTo>
                    <a:pt x="1137285" y="1283970"/>
                  </a:lnTo>
                  <a:lnTo>
                    <a:pt x="1128713" y="1290638"/>
                  </a:lnTo>
                  <a:lnTo>
                    <a:pt x="1121093" y="1297305"/>
                  </a:lnTo>
                  <a:lnTo>
                    <a:pt x="1114425" y="1304925"/>
                  </a:lnTo>
                  <a:lnTo>
                    <a:pt x="1108710" y="1313498"/>
                  </a:lnTo>
                  <a:lnTo>
                    <a:pt x="1103948" y="1322070"/>
                  </a:lnTo>
                  <a:lnTo>
                    <a:pt x="1100138" y="1332548"/>
                  </a:lnTo>
                  <a:lnTo>
                    <a:pt x="1097280" y="1343025"/>
                  </a:lnTo>
                  <a:lnTo>
                    <a:pt x="1096328" y="1354455"/>
                  </a:lnTo>
                  <a:lnTo>
                    <a:pt x="1096328" y="1365885"/>
                  </a:lnTo>
                  <a:lnTo>
                    <a:pt x="1097280" y="1370648"/>
                  </a:lnTo>
                  <a:lnTo>
                    <a:pt x="1097280" y="1374458"/>
                  </a:lnTo>
                  <a:lnTo>
                    <a:pt x="1098233" y="1378268"/>
                  </a:lnTo>
                  <a:lnTo>
                    <a:pt x="1099185" y="1382078"/>
                  </a:lnTo>
                  <a:lnTo>
                    <a:pt x="1100138" y="1385888"/>
                  </a:lnTo>
                  <a:lnTo>
                    <a:pt x="1101090" y="1389698"/>
                  </a:lnTo>
                  <a:lnTo>
                    <a:pt x="1102043" y="1393508"/>
                  </a:lnTo>
                  <a:lnTo>
                    <a:pt x="1103948" y="1396365"/>
                  </a:lnTo>
                  <a:lnTo>
                    <a:pt x="1107758" y="1402080"/>
                  </a:lnTo>
                  <a:lnTo>
                    <a:pt x="1112520" y="1407795"/>
                  </a:lnTo>
                  <a:lnTo>
                    <a:pt x="1117283" y="1412558"/>
                  </a:lnTo>
                  <a:lnTo>
                    <a:pt x="1122998" y="1418273"/>
                  </a:lnTo>
                  <a:lnTo>
                    <a:pt x="1134428" y="1427798"/>
                  </a:lnTo>
                  <a:lnTo>
                    <a:pt x="1145858" y="1436370"/>
                  </a:lnTo>
                  <a:lnTo>
                    <a:pt x="1157288" y="1443990"/>
                  </a:lnTo>
                  <a:lnTo>
                    <a:pt x="1167765" y="1451610"/>
                  </a:lnTo>
                  <a:lnTo>
                    <a:pt x="1166813" y="1441133"/>
                  </a:lnTo>
                  <a:lnTo>
                    <a:pt x="1166813" y="1430655"/>
                  </a:lnTo>
                  <a:lnTo>
                    <a:pt x="1165860" y="1420178"/>
                  </a:lnTo>
                  <a:lnTo>
                    <a:pt x="1165860" y="1409700"/>
                  </a:lnTo>
                  <a:lnTo>
                    <a:pt x="1165860" y="1399223"/>
                  </a:lnTo>
                  <a:lnTo>
                    <a:pt x="1165860" y="1388745"/>
                  </a:lnTo>
                  <a:lnTo>
                    <a:pt x="1164908" y="1378268"/>
                  </a:lnTo>
                  <a:lnTo>
                    <a:pt x="1164908" y="1367790"/>
                  </a:lnTo>
                  <a:lnTo>
                    <a:pt x="1164908" y="1364933"/>
                  </a:lnTo>
                  <a:lnTo>
                    <a:pt x="1165860" y="1362075"/>
                  </a:lnTo>
                  <a:lnTo>
                    <a:pt x="1166813" y="1359218"/>
                  </a:lnTo>
                  <a:lnTo>
                    <a:pt x="1167765" y="1356360"/>
                  </a:lnTo>
                  <a:lnTo>
                    <a:pt x="1169670" y="1354455"/>
                  </a:lnTo>
                  <a:lnTo>
                    <a:pt x="1171575" y="1351598"/>
                  </a:lnTo>
                  <a:lnTo>
                    <a:pt x="1173480" y="1349693"/>
                  </a:lnTo>
                  <a:lnTo>
                    <a:pt x="1175385" y="1347788"/>
                  </a:lnTo>
                  <a:lnTo>
                    <a:pt x="1181100" y="1343025"/>
                  </a:lnTo>
                  <a:lnTo>
                    <a:pt x="1187768" y="1339215"/>
                  </a:lnTo>
                  <a:lnTo>
                    <a:pt x="1194435" y="1335405"/>
                  </a:lnTo>
                  <a:lnTo>
                    <a:pt x="1203008" y="1331595"/>
                  </a:lnTo>
                  <a:lnTo>
                    <a:pt x="1211580" y="1327785"/>
                  </a:lnTo>
                  <a:lnTo>
                    <a:pt x="1221105" y="1323975"/>
                  </a:lnTo>
                  <a:lnTo>
                    <a:pt x="1230630" y="1320165"/>
                  </a:lnTo>
                  <a:lnTo>
                    <a:pt x="1241108" y="1316355"/>
                  </a:lnTo>
                  <a:lnTo>
                    <a:pt x="1262063" y="1309688"/>
                  </a:lnTo>
                  <a:lnTo>
                    <a:pt x="1283018" y="1303020"/>
                  </a:lnTo>
                  <a:lnTo>
                    <a:pt x="1298258" y="1298258"/>
                  </a:lnTo>
                  <a:lnTo>
                    <a:pt x="1313498" y="1293495"/>
                  </a:lnTo>
                  <a:lnTo>
                    <a:pt x="1328738" y="1288733"/>
                  </a:lnTo>
                  <a:lnTo>
                    <a:pt x="1343025" y="1283018"/>
                  </a:lnTo>
                  <a:lnTo>
                    <a:pt x="1349693" y="1280160"/>
                  </a:lnTo>
                  <a:lnTo>
                    <a:pt x="1356360" y="1277303"/>
                  </a:lnTo>
                  <a:lnTo>
                    <a:pt x="1363028" y="1273493"/>
                  </a:lnTo>
                  <a:lnTo>
                    <a:pt x="1368743" y="1269683"/>
                  </a:lnTo>
                  <a:lnTo>
                    <a:pt x="1374458" y="1265873"/>
                  </a:lnTo>
                  <a:lnTo>
                    <a:pt x="1380173" y="1262063"/>
                  </a:lnTo>
                  <a:lnTo>
                    <a:pt x="1385888" y="1258253"/>
                  </a:lnTo>
                  <a:lnTo>
                    <a:pt x="1390650" y="1253490"/>
                  </a:lnTo>
                  <a:lnTo>
                    <a:pt x="1395413" y="1248728"/>
                  </a:lnTo>
                  <a:lnTo>
                    <a:pt x="1400175" y="1243965"/>
                  </a:lnTo>
                  <a:lnTo>
                    <a:pt x="1404938" y="1239203"/>
                  </a:lnTo>
                  <a:lnTo>
                    <a:pt x="1408748" y="1234440"/>
                  </a:lnTo>
                  <a:lnTo>
                    <a:pt x="1412558" y="1228725"/>
                  </a:lnTo>
                  <a:lnTo>
                    <a:pt x="1416368" y="1223010"/>
                  </a:lnTo>
                  <a:lnTo>
                    <a:pt x="1419225" y="1217295"/>
                  </a:lnTo>
                  <a:lnTo>
                    <a:pt x="1422083" y="1211580"/>
                  </a:lnTo>
                  <a:lnTo>
                    <a:pt x="1423988" y="1204913"/>
                  </a:lnTo>
                  <a:lnTo>
                    <a:pt x="1425893" y="1198245"/>
                  </a:lnTo>
                  <a:lnTo>
                    <a:pt x="1426845" y="1191578"/>
                  </a:lnTo>
                  <a:lnTo>
                    <a:pt x="1427798" y="1183958"/>
                  </a:lnTo>
                  <a:lnTo>
                    <a:pt x="1428750" y="1177290"/>
                  </a:lnTo>
                  <a:lnTo>
                    <a:pt x="1428750" y="1169670"/>
                  </a:lnTo>
                  <a:lnTo>
                    <a:pt x="1428750" y="1162050"/>
                  </a:lnTo>
                  <a:lnTo>
                    <a:pt x="1427798" y="1153478"/>
                  </a:lnTo>
                  <a:lnTo>
                    <a:pt x="1427798" y="1147763"/>
                  </a:lnTo>
                  <a:lnTo>
                    <a:pt x="1426845" y="1142048"/>
                  </a:lnTo>
                  <a:lnTo>
                    <a:pt x="1425893" y="1136333"/>
                  </a:lnTo>
                  <a:lnTo>
                    <a:pt x="1424940" y="1130618"/>
                  </a:lnTo>
                  <a:lnTo>
                    <a:pt x="1423035" y="1124903"/>
                  </a:lnTo>
                  <a:lnTo>
                    <a:pt x="1421130" y="1119188"/>
                  </a:lnTo>
                  <a:lnTo>
                    <a:pt x="1419225" y="1113473"/>
                  </a:lnTo>
                  <a:lnTo>
                    <a:pt x="1416368" y="1108710"/>
                  </a:lnTo>
                  <a:lnTo>
                    <a:pt x="1413510" y="1103948"/>
                  </a:lnTo>
                  <a:lnTo>
                    <a:pt x="1409700" y="1099185"/>
                  </a:lnTo>
                  <a:lnTo>
                    <a:pt x="1405890" y="1094423"/>
                  </a:lnTo>
                  <a:lnTo>
                    <a:pt x="1402080" y="1089660"/>
                  </a:lnTo>
                  <a:lnTo>
                    <a:pt x="1398270" y="1084898"/>
                  </a:lnTo>
                  <a:lnTo>
                    <a:pt x="1393508" y="1080135"/>
                  </a:lnTo>
                  <a:lnTo>
                    <a:pt x="1388745" y="1076325"/>
                  </a:lnTo>
                  <a:lnTo>
                    <a:pt x="1383983" y="1072515"/>
                  </a:lnTo>
                  <a:lnTo>
                    <a:pt x="1373505" y="1064895"/>
                  </a:lnTo>
                  <a:lnTo>
                    <a:pt x="1363028" y="1058228"/>
                  </a:lnTo>
                  <a:lnTo>
                    <a:pt x="1351598" y="1051560"/>
                  </a:lnTo>
                  <a:lnTo>
                    <a:pt x="1339215" y="1044893"/>
                  </a:lnTo>
                  <a:lnTo>
                    <a:pt x="1325880" y="1039178"/>
                  </a:lnTo>
                  <a:lnTo>
                    <a:pt x="1312545" y="1033463"/>
                  </a:lnTo>
                  <a:lnTo>
                    <a:pt x="1298258" y="1027748"/>
                  </a:lnTo>
                  <a:lnTo>
                    <a:pt x="1282065" y="1024890"/>
                  </a:lnTo>
                  <a:lnTo>
                    <a:pt x="1282065" y="1024890"/>
                  </a:lnTo>
                  <a:close/>
                  <a:moveTo>
                    <a:pt x="1297305" y="300038"/>
                  </a:moveTo>
                  <a:lnTo>
                    <a:pt x="1295400" y="344805"/>
                  </a:lnTo>
                  <a:lnTo>
                    <a:pt x="1294448" y="343853"/>
                  </a:lnTo>
                  <a:lnTo>
                    <a:pt x="1294448" y="353378"/>
                  </a:lnTo>
                  <a:lnTo>
                    <a:pt x="1292543" y="395288"/>
                  </a:lnTo>
                  <a:lnTo>
                    <a:pt x="1311593" y="399098"/>
                  </a:lnTo>
                  <a:lnTo>
                    <a:pt x="1329690" y="403860"/>
                  </a:lnTo>
                  <a:lnTo>
                    <a:pt x="1338263" y="406718"/>
                  </a:lnTo>
                  <a:lnTo>
                    <a:pt x="1345883" y="409575"/>
                  </a:lnTo>
                  <a:lnTo>
                    <a:pt x="1353503" y="412433"/>
                  </a:lnTo>
                  <a:lnTo>
                    <a:pt x="1361123" y="415290"/>
                  </a:lnTo>
                  <a:lnTo>
                    <a:pt x="1368743" y="418148"/>
                  </a:lnTo>
                  <a:lnTo>
                    <a:pt x="1375410" y="421005"/>
                  </a:lnTo>
                  <a:lnTo>
                    <a:pt x="1382078" y="423863"/>
                  </a:lnTo>
                  <a:lnTo>
                    <a:pt x="1388745" y="427673"/>
                  </a:lnTo>
                  <a:lnTo>
                    <a:pt x="1394460" y="431483"/>
                  </a:lnTo>
                  <a:lnTo>
                    <a:pt x="1400175" y="435293"/>
                  </a:lnTo>
                  <a:lnTo>
                    <a:pt x="1405890" y="439103"/>
                  </a:lnTo>
                  <a:lnTo>
                    <a:pt x="1410653" y="442913"/>
                  </a:lnTo>
                  <a:lnTo>
                    <a:pt x="1415415" y="447675"/>
                  </a:lnTo>
                  <a:lnTo>
                    <a:pt x="1420178" y="451485"/>
                  </a:lnTo>
                  <a:lnTo>
                    <a:pt x="1423988" y="456248"/>
                  </a:lnTo>
                  <a:lnTo>
                    <a:pt x="1427798" y="461010"/>
                  </a:lnTo>
                  <a:lnTo>
                    <a:pt x="1431608" y="465773"/>
                  </a:lnTo>
                  <a:lnTo>
                    <a:pt x="1434465" y="470535"/>
                  </a:lnTo>
                  <a:lnTo>
                    <a:pt x="1437323" y="475298"/>
                  </a:lnTo>
                  <a:lnTo>
                    <a:pt x="1440180" y="481013"/>
                  </a:lnTo>
                  <a:lnTo>
                    <a:pt x="1442085" y="485775"/>
                  </a:lnTo>
                  <a:lnTo>
                    <a:pt x="1443990" y="491490"/>
                  </a:lnTo>
                  <a:lnTo>
                    <a:pt x="1444943" y="497205"/>
                  </a:lnTo>
                  <a:lnTo>
                    <a:pt x="1445895" y="502920"/>
                  </a:lnTo>
                  <a:lnTo>
                    <a:pt x="1446848" y="508635"/>
                  </a:lnTo>
                  <a:lnTo>
                    <a:pt x="1446848" y="514350"/>
                  </a:lnTo>
                  <a:lnTo>
                    <a:pt x="1446848" y="520065"/>
                  </a:lnTo>
                  <a:lnTo>
                    <a:pt x="1446848" y="526733"/>
                  </a:lnTo>
                  <a:lnTo>
                    <a:pt x="1446848" y="534353"/>
                  </a:lnTo>
                  <a:lnTo>
                    <a:pt x="1445895" y="541020"/>
                  </a:lnTo>
                  <a:lnTo>
                    <a:pt x="1444943" y="548640"/>
                  </a:lnTo>
                  <a:lnTo>
                    <a:pt x="1443990" y="555308"/>
                  </a:lnTo>
                  <a:lnTo>
                    <a:pt x="1426845" y="547688"/>
                  </a:lnTo>
                  <a:lnTo>
                    <a:pt x="1408748" y="541020"/>
                  </a:lnTo>
                  <a:lnTo>
                    <a:pt x="1390650" y="534353"/>
                  </a:lnTo>
                  <a:lnTo>
                    <a:pt x="1372553" y="528638"/>
                  </a:lnTo>
                  <a:lnTo>
                    <a:pt x="1353503" y="523875"/>
                  </a:lnTo>
                  <a:lnTo>
                    <a:pt x="1334453" y="519113"/>
                  </a:lnTo>
                  <a:lnTo>
                    <a:pt x="1315403" y="515303"/>
                  </a:lnTo>
                  <a:lnTo>
                    <a:pt x="1296353" y="512445"/>
                  </a:lnTo>
                  <a:lnTo>
                    <a:pt x="1296353" y="541020"/>
                  </a:lnTo>
                  <a:lnTo>
                    <a:pt x="1314450" y="543878"/>
                  </a:lnTo>
                  <a:lnTo>
                    <a:pt x="1331595" y="547688"/>
                  </a:lnTo>
                  <a:lnTo>
                    <a:pt x="1348740" y="552450"/>
                  </a:lnTo>
                  <a:lnTo>
                    <a:pt x="1365885" y="557213"/>
                  </a:lnTo>
                  <a:lnTo>
                    <a:pt x="1383030" y="562928"/>
                  </a:lnTo>
                  <a:lnTo>
                    <a:pt x="1399223" y="568643"/>
                  </a:lnTo>
                  <a:lnTo>
                    <a:pt x="1416368" y="575310"/>
                  </a:lnTo>
                  <a:lnTo>
                    <a:pt x="1432560" y="581978"/>
                  </a:lnTo>
                  <a:lnTo>
                    <a:pt x="1429703" y="586740"/>
                  </a:lnTo>
                  <a:lnTo>
                    <a:pt x="1425893" y="591503"/>
                  </a:lnTo>
                  <a:lnTo>
                    <a:pt x="1422083" y="596265"/>
                  </a:lnTo>
                  <a:lnTo>
                    <a:pt x="1418273" y="601028"/>
                  </a:lnTo>
                  <a:lnTo>
                    <a:pt x="1414463" y="604838"/>
                  </a:lnTo>
                  <a:lnTo>
                    <a:pt x="1409700" y="608648"/>
                  </a:lnTo>
                  <a:lnTo>
                    <a:pt x="1404938" y="612458"/>
                  </a:lnTo>
                  <a:lnTo>
                    <a:pt x="1400175" y="616268"/>
                  </a:lnTo>
                  <a:lnTo>
                    <a:pt x="1395413" y="620078"/>
                  </a:lnTo>
                  <a:lnTo>
                    <a:pt x="1389698" y="623888"/>
                  </a:lnTo>
                  <a:lnTo>
                    <a:pt x="1384935" y="627698"/>
                  </a:lnTo>
                  <a:lnTo>
                    <a:pt x="1379220" y="630555"/>
                  </a:lnTo>
                  <a:lnTo>
                    <a:pt x="1366838" y="637223"/>
                  </a:lnTo>
                  <a:lnTo>
                    <a:pt x="1353503" y="642938"/>
                  </a:lnTo>
                  <a:lnTo>
                    <a:pt x="1340168" y="648653"/>
                  </a:lnTo>
                  <a:lnTo>
                    <a:pt x="1324928" y="654368"/>
                  </a:lnTo>
                  <a:lnTo>
                    <a:pt x="1309688" y="659130"/>
                  </a:lnTo>
                  <a:lnTo>
                    <a:pt x="1293495" y="663893"/>
                  </a:lnTo>
                  <a:lnTo>
                    <a:pt x="1277303" y="668655"/>
                  </a:lnTo>
                  <a:lnTo>
                    <a:pt x="1260158" y="673418"/>
                  </a:lnTo>
                  <a:lnTo>
                    <a:pt x="1242060" y="677228"/>
                  </a:lnTo>
                  <a:lnTo>
                    <a:pt x="1223010" y="681990"/>
                  </a:lnTo>
                  <a:lnTo>
                    <a:pt x="1202055" y="686753"/>
                  </a:lnTo>
                  <a:lnTo>
                    <a:pt x="1180148" y="691515"/>
                  </a:lnTo>
                  <a:lnTo>
                    <a:pt x="1169670" y="694373"/>
                  </a:lnTo>
                  <a:lnTo>
                    <a:pt x="1159193" y="697230"/>
                  </a:lnTo>
                  <a:lnTo>
                    <a:pt x="1147763" y="701040"/>
                  </a:lnTo>
                  <a:lnTo>
                    <a:pt x="1136333" y="704850"/>
                  </a:lnTo>
                  <a:lnTo>
                    <a:pt x="1125855" y="708660"/>
                  </a:lnTo>
                  <a:lnTo>
                    <a:pt x="1115378" y="713423"/>
                  </a:lnTo>
                  <a:lnTo>
                    <a:pt x="1104900" y="718185"/>
                  </a:lnTo>
                  <a:lnTo>
                    <a:pt x="1094423" y="722948"/>
                  </a:lnTo>
                  <a:lnTo>
                    <a:pt x="1083945" y="727710"/>
                  </a:lnTo>
                  <a:lnTo>
                    <a:pt x="1073468" y="733425"/>
                  </a:lnTo>
                  <a:lnTo>
                    <a:pt x="1062990" y="739140"/>
                  </a:lnTo>
                  <a:lnTo>
                    <a:pt x="1053465" y="744855"/>
                  </a:lnTo>
                  <a:lnTo>
                    <a:pt x="1043940" y="751523"/>
                  </a:lnTo>
                  <a:lnTo>
                    <a:pt x="1035368" y="758190"/>
                  </a:lnTo>
                  <a:lnTo>
                    <a:pt x="1026795" y="765810"/>
                  </a:lnTo>
                  <a:lnTo>
                    <a:pt x="1019175" y="773430"/>
                  </a:lnTo>
                  <a:lnTo>
                    <a:pt x="1011555" y="782003"/>
                  </a:lnTo>
                  <a:lnTo>
                    <a:pt x="1004888" y="790575"/>
                  </a:lnTo>
                  <a:lnTo>
                    <a:pt x="998220" y="800100"/>
                  </a:lnTo>
                  <a:lnTo>
                    <a:pt x="992505" y="809625"/>
                  </a:lnTo>
                  <a:lnTo>
                    <a:pt x="987743" y="820103"/>
                  </a:lnTo>
                  <a:lnTo>
                    <a:pt x="982980" y="830580"/>
                  </a:lnTo>
                  <a:lnTo>
                    <a:pt x="979170" y="841058"/>
                  </a:lnTo>
                  <a:lnTo>
                    <a:pt x="976313" y="852488"/>
                  </a:lnTo>
                  <a:lnTo>
                    <a:pt x="974408" y="863918"/>
                  </a:lnTo>
                  <a:lnTo>
                    <a:pt x="972503" y="876300"/>
                  </a:lnTo>
                  <a:lnTo>
                    <a:pt x="972503" y="889635"/>
                  </a:lnTo>
                  <a:lnTo>
                    <a:pt x="972503" y="902970"/>
                  </a:lnTo>
                  <a:lnTo>
                    <a:pt x="973455" y="914400"/>
                  </a:lnTo>
                  <a:lnTo>
                    <a:pt x="975360" y="924878"/>
                  </a:lnTo>
                  <a:lnTo>
                    <a:pt x="977265" y="935355"/>
                  </a:lnTo>
                  <a:lnTo>
                    <a:pt x="980123" y="945833"/>
                  </a:lnTo>
                  <a:lnTo>
                    <a:pt x="983933" y="955358"/>
                  </a:lnTo>
                  <a:lnTo>
                    <a:pt x="987743" y="964883"/>
                  </a:lnTo>
                  <a:lnTo>
                    <a:pt x="992505" y="973455"/>
                  </a:lnTo>
                  <a:lnTo>
                    <a:pt x="997268" y="982028"/>
                  </a:lnTo>
                  <a:lnTo>
                    <a:pt x="1002030" y="989648"/>
                  </a:lnTo>
                  <a:lnTo>
                    <a:pt x="1007745" y="997268"/>
                  </a:lnTo>
                  <a:lnTo>
                    <a:pt x="1013460" y="1004888"/>
                  </a:lnTo>
                  <a:lnTo>
                    <a:pt x="1019175" y="1011555"/>
                  </a:lnTo>
                  <a:lnTo>
                    <a:pt x="1025843" y="1018223"/>
                  </a:lnTo>
                  <a:lnTo>
                    <a:pt x="1032510" y="1023938"/>
                  </a:lnTo>
                  <a:lnTo>
                    <a:pt x="1039178" y="1029653"/>
                  </a:lnTo>
                  <a:lnTo>
                    <a:pt x="1045845" y="1035368"/>
                  </a:lnTo>
                  <a:lnTo>
                    <a:pt x="1053465" y="1041083"/>
                  </a:lnTo>
                  <a:lnTo>
                    <a:pt x="1061085" y="1045845"/>
                  </a:lnTo>
                  <a:lnTo>
                    <a:pt x="1068705" y="1050608"/>
                  </a:lnTo>
                  <a:lnTo>
                    <a:pt x="1076325" y="1055370"/>
                  </a:lnTo>
                  <a:lnTo>
                    <a:pt x="1083945" y="1059180"/>
                  </a:lnTo>
                  <a:lnTo>
                    <a:pt x="1091565" y="1062990"/>
                  </a:lnTo>
                  <a:lnTo>
                    <a:pt x="1099185" y="1066800"/>
                  </a:lnTo>
                  <a:lnTo>
                    <a:pt x="1106805" y="1069658"/>
                  </a:lnTo>
                  <a:lnTo>
                    <a:pt x="1122045" y="1075373"/>
                  </a:lnTo>
                  <a:lnTo>
                    <a:pt x="1136333" y="1080135"/>
                  </a:lnTo>
                  <a:lnTo>
                    <a:pt x="1149668" y="1083945"/>
                  </a:lnTo>
                  <a:lnTo>
                    <a:pt x="1162050" y="1087755"/>
                  </a:lnTo>
                  <a:lnTo>
                    <a:pt x="1161098" y="1075373"/>
                  </a:lnTo>
                  <a:lnTo>
                    <a:pt x="1161098" y="1062990"/>
                  </a:lnTo>
                  <a:lnTo>
                    <a:pt x="1161098" y="1050608"/>
                  </a:lnTo>
                  <a:lnTo>
                    <a:pt x="1161098" y="1038225"/>
                  </a:lnTo>
                  <a:lnTo>
                    <a:pt x="1160145" y="1025843"/>
                  </a:lnTo>
                  <a:lnTo>
                    <a:pt x="1160145" y="1011555"/>
                  </a:lnTo>
                  <a:lnTo>
                    <a:pt x="1160145" y="999173"/>
                  </a:lnTo>
                  <a:lnTo>
                    <a:pt x="1159193" y="986790"/>
                  </a:lnTo>
                  <a:lnTo>
                    <a:pt x="1152525" y="982980"/>
                  </a:lnTo>
                  <a:lnTo>
                    <a:pt x="1145858" y="979170"/>
                  </a:lnTo>
                  <a:lnTo>
                    <a:pt x="1139190" y="975360"/>
                  </a:lnTo>
                  <a:lnTo>
                    <a:pt x="1132523" y="971550"/>
                  </a:lnTo>
                  <a:lnTo>
                    <a:pt x="1126808" y="966788"/>
                  </a:lnTo>
                  <a:lnTo>
                    <a:pt x="1121093" y="962025"/>
                  </a:lnTo>
                  <a:lnTo>
                    <a:pt x="1115378" y="957263"/>
                  </a:lnTo>
                  <a:lnTo>
                    <a:pt x="1110615" y="951548"/>
                  </a:lnTo>
                  <a:lnTo>
                    <a:pt x="1105853" y="945833"/>
                  </a:lnTo>
                  <a:lnTo>
                    <a:pt x="1102043" y="939165"/>
                  </a:lnTo>
                  <a:lnTo>
                    <a:pt x="1098233" y="932498"/>
                  </a:lnTo>
                  <a:lnTo>
                    <a:pt x="1095375" y="924878"/>
                  </a:lnTo>
                  <a:lnTo>
                    <a:pt x="1094423" y="921068"/>
                  </a:lnTo>
                  <a:lnTo>
                    <a:pt x="1093470" y="917258"/>
                  </a:lnTo>
                  <a:lnTo>
                    <a:pt x="1092518" y="912495"/>
                  </a:lnTo>
                  <a:lnTo>
                    <a:pt x="1091565" y="907733"/>
                  </a:lnTo>
                  <a:lnTo>
                    <a:pt x="1091565" y="902970"/>
                  </a:lnTo>
                  <a:lnTo>
                    <a:pt x="1091565" y="898208"/>
                  </a:lnTo>
                  <a:lnTo>
                    <a:pt x="1091565" y="893445"/>
                  </a:lnTo>
                  <a:lnTo>
                    <a:pt x="1091565" y="888683"/>
                  </a:lnTo>
                  <a:lnTo>
                    <a:pt x="1092518" y="881063"/>
                  </a:lnTo>
                  <a:lnTo>
                    <a:pt x="1093470" y="874395"/>
                  </a:lnTo>
                  <a:lnTo>
                    <a:pt x="1096328" y="867728"/>
                  </a:lnTo>
                  <a:lnTo>
                    <a:pt x="1099185" y="862013"/>
                  </a:lnTo>
                  <a:lnTo>
                    <a:pt x="1102995" y="856298"/>
                  </a:lnTo>
                  <a:lnTo>
                    <a:pt x="1106805" y="850583"/>
                  </a:lnTo>
                  <a:lnTo>
                    <a:pt x="1111568" y="845820"/>
                  </a:lnTo>
                  <a:lnTo>
                    <a:pt x="1117283" y="841058"/>
                  </a:lnTo>
                  <a:lnTo>
                    <a:pt x="1122998" y="836295"/>
                  </a:lnTo>
                  <a:lnTo>
                    <a:pt x="1129665" y="831533"/>
                  </a:lnTo>
                  <a:lnTo>
                    <a:pt x="1136333" y="826770"/>
                  </a:lnTo>
                  <a:lnTo>
                    <a:pt x="1143953" y="822960"/>
                  </a:lnTo>
                  <a:lnTo>
                    <a:pt x="1152525" y="818198"/>
                  </a:lnTo>
                  <a:lnTo>
                    <a:pt x="1161098" y="814388"/>
                  </a:lnTo>
                  <a:lnTo>
                    <a:pt x="1170623" y="810578"/>
                  </a:lnTo>
                  <a:lnTo>
                    <a:pt x="1180148" y="806768"/>
                  </a:lnTo>
                  <a:lnTo>
                    <a:pt x="1200150" y="800100"/>
                  </a:lnTo>
                  <a:lnTo>
                    <a:pt x="1220153" y="794385"/>
                  </a:lnTo>
                  <a:lnTo>
                    <a:pt x="1242060" y="788670"/>
                  </a:lnTo>
                  <a:lnTo>
                    <a:pt x="1263968" y="782955"/>
                  </a:lnTo>
                  <a:lnTo>
                    <a:pt x="1308735" y="771525"/>
                  </a:lnTo>
                  <a:lnTo>
                    <a:pt x="1353503" y="759143"/>
                  </a:lnTo>
                  <a:lnTo>
                    <a:pt x="1370648" y="753428"/>
                  </a:lnTo>
                  <a:lnTo>
                    <a:pt x="1386840" y="747713"/>
                  </a:lnTo>
                  <a:lnTo>
                    <a:pt x="1402080" y="741998"/>
                  </a:lnTo>
                  <a:lnTo>
                    <a:pt x="1416368" y="736283"/>
                  </a:lnTo>
                  <a:lnTo>
                    <a:pt x="1430655" y="730568"/>
                  </a:lnTo>
                  <a:lnTo>
                    <a:pt x="1443038" y="724853"/>
                  </a:lnTo>
                  <a:lnTo>
                    <a:pt x="1455420" y="718185"/>
                  </a:lnTo>
                  <a:lnTo>
                    <a:pt x="1465898" y="712470"/>
                  </a:lnTo>
                  <a:lnTo>
                    <a:pt x="1476375" y="705803"/>
                  </a:lnTo>
                  <a:lnTo>
                    <a:pt x="1485900" y="699135"/>
                  </a:lnTo>
                  <a:lnTo>
                    <a:pt x="1494473" y="692468"/>
                  </a:lnTo>
                  <a:lnTo>
                    <a:pt x="1503045" y="685800"/>
                  </a:lnTo>
                  <a:lnTo>
                    <a:pt x="1510665" y="679133"/>
                  </a:lnTo>
                  <a:lnTo>
                    <a:pt x="1517333" y="671513"/>
                  </a:lnTo>
                  <a:lnTo>
                    <a:pt x="1523048" y="663893"/>
                  </a:lnTo>
                  <a:lnTo>
                    <a:pt x="1528763" y="656273"/>
                  </a:lnTo>
                  <a:lnTo>
                    <a:pt x="1533525" y="661035"/>
                  </a:lnTo>
                  <a:lnTo>
                    <a:pt x="1539240" y="665798"/>
                  </a:lnTo>
                  <a:lnTo>
                    <a:pt x="1544003" y="670560"/>
                  </a:lnTo>
                  <a:lnTo>
                    <a:pt x="1548765" y="675323"/>
                  </a:lnTo>
                  <a:lnTo>
                    <a:pt x="1547813" y="676275"/>
                  </a:lnTo>
                  <a:lnTo>
                    <a:pt x="1548765" y="676275"/>
                  </a:lnTo>
                  <a:lnTo>
                    <a:pt x="1549718" y="676275"/>
                  </a:lnTo>
                  <a:lnTo>
                    <a:pt x="1554480" y="681038"/>
                  </a:lnTo>
                  <a:lnTo>
                    <a:pt x="1457325" y="769620"/>
                  </a:lnTo>
                  <a:lnTo>
                    <a:pt x="1450658" y="763905"/>
                  </a:lnTo>
                  <a:lnTo>
                    <a:pt x="1443990" y="758190"/>
                  </a:lnTo>
                  <a:lnTo>
                    <a:pt x="1437323" y="752475"/>
                  </a:lnTo>
                  <a:lnTo>
                    <a:pt x="1430655" y="747713"/>
                  </a:lnTo>
                  <a:lnTo>
                    <a:pt x="1400175" y="757238"/>
                  </a:lnTo>
                  <a:lnTo>
                    <a:pt x="1410653" y="763905"/>
                  </a:lnTo>
                  <a:lnTo>
                    <a:pt x="1420178" y="771525"/>
                  </a:lnTo>
                  <a:lnTo>
                    <a:pt x="1429703" y="779145"/>
                  </a:lnTo>
                  <a:lnTo>
                    <a:pt x="1439228" y="787718"/>
                  </a:lnTo>
                  <a:lnTo>
                    <a:pt x="1401128" y="826770"/>
                  </a:lnTo>
                  <a:lnTo>
                    <a:pt x="1399223" y="824865"/>
                  </a:lnTo>
                  <a:lnTo>
                    <a:pt x="1357313" y="831533"/>
                  </a:lnTo>
                  <a:lnTo>
                    <a:pt x="1349693" y="842010"/>
                  </a:lnTo>
                  <a:lnTo>
                    <a:pt x="1340168" y="842010"/>
                  </a:lnTo>
                  <a:lnTo>
                    <a:pt x="1362075" y="819150"/>
                  </a:lnTo>
                  <a:lnTo>
                    <a:pt x="1355408" y="816293"/>
                  </a:lnTo>
                  <a:lnTo>
                    <a:pt x="1332548" y="845820"/>
                  </a:lnTo>
                  <a:lnTo>
                    <a:pt x="1337310" y="845820"/>
                  </a:lnTo>
                  <a:lnTo>
                    <a:pt x="1337310" y="856298"/>
                  </a:lnTo>
                  <a:lnTo>
                    <a:pt x="1343978" y="860108"/>
                  </a:lnTo>
                  <a:lnTo>
                    <a:pt x="1347788" y="870585"/>
                  </a:lnTo>
                  <a:lnTo>
                    <a:pt x="1335405" y="870585"/>
                  </a:lnTo>
                  <a:lnTo>
                    <a:pt x="1321118" y="870585"/>
                  </a:lnTo>
                  <a:lnTo>
                    <a:pt x="1285875" y="853440"/>
                  </a:lnTo>
                  <a:lnTo>
                    <a:pt x="1282065" y="998220"/>
                  </a:lnTo>
                  <a:lnTo>
                    <a:pt x="1313498" y="1008698"/>
                  </a:lnTo>
                  <a:lnTo>
                    <a:pt x="1344930" y="1022985"/>
                  </a:lnTo>
                  <a:lnTo>
                    <a:pt x="1373505" y="1037273"/>
                  </a:lnTo>
                  <a:lnTo>
                    <a:pt x="1398270" y="1058228"/>
                  </a:lnTo>
                  <a:lnTo>
                    <a:pt x="1423035" y="1079183"/>
                  </a:lnTo>
                  <a:lnTo>
                    <a:pt x="1440180" y="1106805"/>
                  </a:lnTo>
                  <a:lnTo>
                    <a:pt x="1450658" y="1138238"/>
                  </a:lnTo>
                  <a:lnTo>
                    <a:pt x="1454468" y="1156335"/>
                  </a:lnTo>
                  <a:lnTo>
                    <a:pt x="1454468" y="1173480"/>
                  </a:lnTo>
                  <a:lnTo>
                    <a:pt x="1450658" y="1208723"/>
                  </a:lnTo>
                  <a:lnTo>
                    <a:pt x="1440180" y="1237298"/>
                  </a:lnTo>
                  <a:lnTo>
                    <a:pt x="1419225" y="1265873"/>
                  </a:lnTo>
                  <a:lnTo>
                    <a:pt x="1394460" y="1286828"/>
                  </a:lnTo>
                  <a:lnTo>
                    <a:pt x="1390650" y="1290638"/>
                  </a:lnTo>
                  <a:lnTo>
                    <a:pt x="1378268" y="1298258"/>
                  </a:lnTo>
                  <a:lnTo>
                    <a:pt x="1369695" y="1303020"/>
                  </a:lnTo>
                  <a:lnTo>
                    <a:pt x="1361123" y="1307783"/>
                  </a:lnTo>
                  <a:lnTo>
                    <a:pt x="1352550" y="1311593"/>
                  </a:lnTo>
                  <a:lnTo>
                    <a:pt x="1343025" y="1315403"/>
                  </a:lnTo>
                  <a:lnTo>
                    <a:pt x="1334453" y="1319213"/>
                  </a:lnTo>
                  <a:lnTo>
                    <a:pt x="1286828" y="1333500"/>
                  </a:lnTo>
                  <a:lnTo>
                    <a:pt x="1282065" y="1334453"/>
                  </a:lnTo>
                  <a:lnTo>
                    <a:pt x="1276350" y="1335405"/>
                  </a:lnTo>
                  <a:lnTo>
                    <a:pt x="1276350" y="1337310"/>
                  </a:lnTo>
                  <a:lnTo>
                    <a:pt x="1274445" y="1337310"/>
                  </a:lnTo>
                  <a:lnTo>
                    <a:pt x="1270635" y="1414463"/>
                  </a:lnTo>
                  <a:lnTo>
                    <a:pt x="1295400" y="1424940"/>
                  </a:lnTo>
                  <a:lnTo>
                    <a:pt x="1320165" y="1439228"/>
                  </a:lnTo>
                  <a:lnTo>
                    <a:pt x="1341120" y="1457325"/>
                  </a:lnTo>
                  <a:lnTo>
                    <a:pt x="1362075" y="1478280"/>
                  </a:lnTo>
                  <a:lnTo>
                    <a:pt x="1367790" y="1487805"/>
                  </a:lnTo>
                  <a:lnTo>
                    <a:pt x="1379220" y="1509713"/>
                  </a:lnTo>
                  <a:lnTo>
                    <a:pt x="1389698" y="1534478"/>
                  </a:lnTo>
                  <a:lnTo>
                    <a:pt x="1396365" y="1569720"/>
                  </a:lnTo>
                  <a:lnTo>
                    <a:pt x="1396365" y="1612583"/>
                  </a:lnTo>
                  <a:lnTo>
                    <a:pt x="1396365" y="1633538"/>
                  </a:lnTo>
                  <a:lnTo>
                    <a:pt x="1389698" y="1644015"/>
                  </a:lnTo>
                  <a:lnTo>
                    <a:pt x="1382078" y="1650683"/>
                  </a:lnTo>
                  <a:lnTo>
                    <a:pt x="1382078" y="1650683"/>
                  </a:lnTo>
                  <a:lnTo>
                    <a:pt x="1383030" y="1651635"/>
                  </a:lnTo>
                  <a:lnTo>
                    <a:pt x="1367790" y="1655445"/>
                  </a:lnTo>
                  <a:lnTo>
                    <a:pt x="1353503" y="1659255"/>
                  </a:lnTo>
                  <a:lnTo>
                    <a:pt x="1338263" y="1662113"/>
                  </a:lnTo>
                  <a:lnTo>
                    <a:pt x="1323023" y="1664970"/>
                  </a:lnTo>
                  <a:lnTo>
                    <a:pt x="1307783" y="1666875"/>
                  </a:lnTo>
                  <a:lnTo>
                    <a:pt x="1292543" y="1668780"/>
                  </a:lnTo>
                  <a:lnTo>
                    <a:pt x="1277303" y="1669733"/>
                  </a:lnTo>
                  <a:lnTo>
                    <a:pt x="1262063" y="1670685"/>
                  </a:lnTo>
                  <a:lnTo>
                    <a:pt x="1261110" y="1700213"/>
                  </a:lnTo>
                  <a:lnTo>
                    <a:pt x="1276350" y="1699260"/>
                  </a:lnTo>
                  <a:lnTo>
                    <a:pt x="1291590" y="1697355"/>
                  </a:lnTo>
                  <a:lnTo>
                    <a:pt x="1306830" y="1695450"/>
                  </a:lnTo>
                  <a:lnTo>
                    <a:pt x="1322070" y="1693545"/>
                  </a:lnTo>
                  <a:lnTo>
                    <a:pt x="1337310" y="1691640"/>
                  </a:lnTo>
                  <a:lnTo>
                    <a:pt x="1352550" y="1688783"/>
                  </a:lnTo>
                  <a:lnTo>
                    <a:pt x="1367790" y="1685925"/>
                  </a:lnTo>
                  <a:lnTo>
                    <a:pt x="1383030" y="1682115"/>
                  </a:lnTo>
                  <a:lnTo>
                    <a:pt x="1397318" y="1678305"/>
                  </a:lnTo>
                  <a:lnTo>
                    <a:pt x="1412558" y="1674495"/>
                  </a:lnTo>
                  <a:lnTo>
                    <a:pt x="1426845" y="1669733"/>
                  </a:lnTo>
                  <a:lnTo>
                    <a:pt x="1441133" y="1664970"/>
                  </a:lnTo>
                  <a:lnTo>
                    <a:pt x="1455420" y="1659255"/>
                  </a:lnTo>
                  <a:lnTo>
                    <a:pt x="1469708" y="1654493"/>
                  </a:lnTo>
                  <a:lnTo>
                    <a:pt x="1483995" y="1648778"/>
                  </a:lnTo>
                  <a:lnTo>
                    <a:pt x="1497330" y="1643063"/>
                  </a:lnTo>
                  <a:lnTo>
                    <a:pt x="1510665" y="1637348"/>
                  </a:lnTo>
                  <a:lnTo>
                    <a:pt x="1524000" y="1630680"/>
                  </a:lnTo>
                  <a:lnTo>
                    <a:pt x="1537335" y="1624013"/>
                  </a:lnTo>
                  <a:lnTo>
                    <a:pt x="1550670" y="1616393"/>
                  </a:lnTo>
                  <a:lnTo>
                    <a:pt x="1564005" y="1609725"/>
                  </a:lnTo>
                  <a:lnTo>
                    <a:pt x="1576388" y="1602105"/>
                  </a:lnTo>
                  <a:lnTo>
                    <a:pt x="1588770" y="1594485"/>
                  </a:lnTo>
                  <a:lnTo>
                    <a:pt x="1601153" y="1585913"/>
                  </a:lnTo>
                  <a:lnTo>
                    <a:pt x="1612583" y="1577340"/>
                  </a:lnTo>
                  <a:lnTo>
                    <a:pt x="1624965" y="1568768"/>
                  </a:lnTo>
                  <a:lnTo>
                    <a:pt x="1636395" y="1560195"/>
                  </a:lnTo>
                  <a:lnTo>
                    <a:pt x="1647825" y="1550670"/>
                  </a:lnTo>
                  <a:lnTo>
                    <a:pt x="1659255" y="1541145"/>
                  </a:lnTo>
                  <a:lnTo>
                    <a:pt x="1670685" y="1531620"/>
                  </a:lnTo>
                  <a:lnTo>
                    <a:pt x="1681163" y="1522095"/>
                  </a:lnTo>
                  <a:lnTo>
                    <a:pt x="1691640" y="1511618"/>
                  </a:lnTo>
                  <a:lnTo>
                    <a:pt x="1788795" y="1608773"/>
                  </a:lnTo>
                  <a:lnTo>
                    <a:pt x="1774508" y="1622108"/>
                  </a:lnTo>
                  <a:lnTo>
                    <a:pt x="1760220" y="1635443"/>
                  </a:lnTo>
                  <a:lnTo>
                    <a:pt x="1745933" y="1647825"/>
                  </a:lnTo>
                  <a:lnTo>
                    <a:pt x="1730693" y="1660208"/>
                  </a:lnTo>
                  <a:lnTo>
                    <a:pt x="1715453" y="1671638"/>
                  </a:lnTo>
                  <a:lnTo>
                    <a:pt x="1700213" y="1683068"/>
                  </a:lnTo>
                  <a:lnTo>
                    <a:pt x="1684973" y="1694498"/>
                  </a:lnTo>
                  <a:lnTo>
                    <a:pt x="1669733" y="1704975"/>
                  </a:lnTo>
                  <a:lnTo>
                    <a:pt x="1653540" y="1715453"/>
                  </a:lnTo>
                  <a:lnTo>
                    <a:pt x="1637348" y="1724978"/>
                  </a:lnTo>
                  <a:lnTo>
                    <a:pt x="1621155" y="1734503"/>
                  </a:lnTo>
                  <a:lnTo>
                    <a:pt x="1604010" y="1744028"/>
                  </a:lnTo>
                  <a:lnTo>
                    <a:pt x="1586865" y="1752600"/>
                  </a:lnTo>
                  <a:lnTo>
                    <a:pt x="1569720" y="1761173"/>
                  </a:lnTo>
                  <a:lnTo>
                    <a:pt x="1552575" y="1769745"/>
                  </a:lnTo>
                  <a:lnTo>
                    <a:pt x="1534478" y="1777365"/>
                  </a:lnTo>
                  <a:lnTo>
                    <a:pt x="1516380" y="1784985"/>
                  </a:lnTo>
                  <a:lnTo>
                    <a:pt x="1498283" y="1791653"/>
                  </a:lnTo>
                  <a:lnTo>
                    <a:pt x="1479233" y="1798320"/>
                  </a:lnTo>
                  <a:lnTo>
                    <a:pt x="1460183" y="1804035"/>
                  </a:lnTo>
                  <a:lnTo>
                    <a:pt x="1441133" y="1808798"/>
                  </a:lnTo>
                  <a:lnTo>
                    <a:pt x="1422083" y="1813560"/>
                  </a:lnTo>
                  <a:lnTo>
                    <a:pt x="1403033" y="1818323"/>
                  </a:lnTo>
                  <a:lnTo>
                    <a:pt x="1383030" y="1822133"/>
                  </a:lnTo>
                  <a:lnTo>
                    <a:pt x="1363028" y="1825943"/>
                  </a:lnTo>
                  <a:lnTo>
                    <a:pt x="1343025" y="1828800"/>
                  </a:lnTo>
                  <a:lnTo>
                    <a:pt x="1323023" y="1831658"/>
                  </a:lnTo>
                  <a:lnTo>
                    <a:pt x="1303020" y="1833563"/>
                  </a:lnTo>
                  <a:lnTo>
                    <a:pt x="1283018" y="1835468"/>
                  </a:lnTo>
                  <a:lnTo>
                    <a:pt x="1262063" y="1836420"/>
                  </a:lnTo>
                  <a:lnTo>
                    <a:pt x="1242060" y="1837373"/>
                  </a:lnTo>
                  <a:lnTo>
                    <a:pt x="1221105" y="1837373"/>
                  </a:lnTo>
                  <a:lnTo>
                    <a:pt x="1201103" y="1837373"/>
                  </a:lnTo>
                  <a:lnTo>
                    <a:pt x="1181100" y="1836420"/>
                  </a:lnTo>
                  <a:lnTo>
                    <a:pt x="1161098" y="1835468"/>
                  </a:lnTo>
                  <a:lnTo>
                    <a:pt x="1141095" y="1833563"/>
                  </a:lnTo>
                  <a:lnTo>
                    <a:pt x="1121093" y="1831658"/>
                  </a:lnTo>
                  <a:lnTo>
                    <a:pt x="1101090" y="1828800"/>
                  </a:lnTo>
                  <a:lnTo>
                    <a:pt x="1081088" y="1825943"/>
                  </a:lnTo>
                  <a:lnTo>
                    <a:pt x="1062038" y="1822133"/>
                  </a:lnTo>
                  <a:lnTo>
                    <a:pt x="1042035" y="1817370"/>
                  </a:lnTo>
                  <a:lnTo>
                    <a:pt x="1022985" y="1812608"/>
                  </a:lnTo>
                  <a:lnTo>
                    <a:pt x="1003935" y="1807845"/>
                  </a:lnTo>
                  <a:lnTo>
                    <a:pt x="984885" y="1802130"/>
                  </a:lnTo>
                  <a:lnTo>
                    <a:pt x="966788" y="1796415"/>
                  </a:lnTo>
                  <a:lnTo>
                    <a:pt x="947738" y="1789748"/>
                  </a:lnTo>
                  <a:lnTo>
                    <a:pt x="929640" y="1783080"/>
                  </a:lnTo>
                  <a:lnTo>
                    <a:pt x="911543" y="1775460"/>
                  </a:lnTo>
                  <a:lnTo>
                    <a:pt x="893445" y="1767840"/>
                  </a:lnTo>
                  <a:lnTo>
                    <a:pt x="876300" y="1760220"/>
                  </a:lnTo>
                  <a:lnTo>
                    <a:pt x="859155" y="1751648"/>
                  </a:lnTo>
                  <a:lnTo>
                    <a:pt x="842010" y="1743075"/>
                  </a:lnTo>
                  <a:lnTo>
                    <a:pt x="824865" y="1733550"/>
                  </a:lnTo>
                  <a:lnTo>
                    <a:pt x="808673" y="1724025"/>
                  </a:lnTo>
                  <a:lnTo>
                    <a:pt x="792480" y="1714500"/>
                  </a:lnTo>
                  <a:lnTo>
                    <a:pt x="776288" y="1704023"/>
                  </a:lnTo>
                  <a:lnTo>
                    <a:pt x="760095" y="1693545"/>
                  </a:lnTo>
                  <a:lnTo>
                    <a:pt x="744855" y="1683068"/>
                  </a:lnTo>
                  <a:lnTo>
                    <a:pt x="729615" y="1671638"/>
                  </a:lnTo>
                  <a:lnTo>
                    <a:pt x="714375" y="1660208"/>
                  </a:lnTo>
                  <a:lnTo>
                    <a:pt x="699135" y="1647825"/>
                  </a:lnTo>
                  <a:lnTo>
                    <a:pt x="683895" y="1635443"/>
                  </a:lnTo>
                  <a:lnTo>
                    <a:pt x="669608" y="1622108"/>
                  </a:lnTo>
                  <a:lnTo>
                    <a:pt x="655320" y="1608773"/>
                  </a:lnTo>
                  <a:lnTo>
                    <a:pt x="753428" y="1514475"/>
                  </a:lnTo>
                  <a:lnTo>
                    <a:pt x="763905" y="1524000"/>
                  </a:lnTo>
                  <a:lnTo>
                    <a:pt x="774383" y="1533525"/>
                  </a:lnTo>
                  <a:lnTo>
                    <a:pt x="784860" y="1543050"/>
                  </a:lnTo>
                  <a:lnTo>
                    <a:pt x="795338" y="1551623"/>
                  </a:lnTo>
                  <a:lnTo>
                    <a:pt x="805815" y="1560195"/>
                  </a:lnTo>
                  <a:lnTo>
                    <a:pt x="817245" y="1568768"/>
                  </a:lnTo>
                  <a:lnTo>
                    <a:pt x="827723" y="1577340"/>
                  </a:lnTo>
                  <a:lnTo>
                    <a:pt x="839153" y="1584960"/>
                  </a:lnTo>
                  <a:lnTo>
                    <a:pt x="850583" y="1592580"/>
                  </a:lnTo>
                  <a:lnTo>
                    <a:pt x="862965" y="1600200"/>
                  </a:lnTo>
                  <a:lnTo>
                    <a:pt x="874395" y="1607820"/>
                  </a:lnTo>
                  <a:lnTo>
                    <a:pt x="886778" y="1614488"/>
                  </a:lnTo>
                  <a:lnTo>
                    <a:pt x="899160" y="1621155"/>
                  </a:lnTo>
                  <a:lnTo>
                    <a:pt x="911543" y="1627823"/>
                  </a:lnTo>
                  <a:lnTo>
                    <a:pt x="923925" y="1633538"/>
                  </a:lnTo>
                  <a:lnTo>
                    <a:pt x="936308" y="1639253"/>
                  </a:lnTo>
                  <a:lnTo>
                    <a:pt x="949643" y="1644968"/>
                  </a:lnTo>
                  <a:lnTo>
                    <a:pt x="962978" y="1650683"/>
                  </a:lnTo>
                  <a:lnTo>
                    <a:pt x="976313" y="1656398"/>
                  </a:lnTo>
                  <a:lnTo>
                    <a:pt x="989648" y="1661160"/>
                  </a:lnTo>
                  <a:lnTo>
                    <a:pt x="1002983" y="1665923"/>
                  </a:lnTo>
                  <a:lnTo>
                    <a:pt x="1016318" y="1670685"/>
                  </a:lnTo>
                  <a:lnTo>
                    <a:pt x="1029653" y="1675448"/>
                  </a:lnTo>
                  <a:lnTo>
                    <a:pt x="1043940" y="1679258"/>
                  </a:lnTo>
                  <a:lnTo>
                    <a:pt x="1058228" y="1683068"/>
                  </a:lnTo>
                  <a:lnTo>
                    <a:pt x="1072515" y="1685925"/>
                  </a:lnTo>
                  <a:lnTo>
                    <a:pt x="1086803" y="1688783"/>
                  </a:lnTo>
                  <a:lnTo>
                    <a:pt x="1101090" y="1691640"/>
                  </a:lnTo>
                  <a:lnTo>
                    <a:pt x="1115378" y="1694498"/>
                  </a:lnTo>
                  <a:lnTo>
                    <a:pt x="1129665" y="1696403"/>
                  </a:lnTo>
                  <a:lnTo>
                    <a:pt x="1143953" y="1698308"/>
                  </a:lnTo>
                  <a:lnTo>
                    <a:pt x="1159193" y="1700213"/>
                  </a:lnTo>
                  <a:lnTo>
                    <a:pt x="1159193" y="1670685"/>
                  </a:lnTo>
                  <a:lnTo>
                    <a:pt x="1145858" y="1669733"/>
                  </a:lnTo>
                  <a:lnTo>
                    <a:pt x="1131570" y="1667828"/>
                  </a:lnTo>
                  <a:lnTo>
                    <a:pt x="1118235" y="1665923"/>
                  </a:lnTo>
                  <a:lnTo>
                    <a:pt x="1103948" y="1663065"/>
                  </a:lnTo>
                  <a:lnTo>
                    <a:pt x="1090613" y="1660208"/>
                  </a:lnTo>
                  <a:lnTo>
                    <a:pt x="1077278" y="1657350"/>
                  </a:lnTo>
                  <a:lnTo>
                    <a:pt x="1063943" y="1654493"/>
                  </a:lnTo>
                  <a:lnTo>
                    <a:pt x="1050608" y="1650683"/>
                  </a:lnTo>
                  <a:lnTo>
                    <a:pt x="1037273" y="1646873"/>
                  </a:lnTo>
                  <a:lnTo>
                    <a:pt x="1023938" y="1643063"/>
                  </a:lnTo>
                  <a:lnTo>
                    <a:pt x="1011555" y="1638300"/>
                  </a:lnTo>
                  <a:lnTo>
                    <a:pt x="999173" y="1633538"/>
                  </a:lnTo>
                  <a:lnTo>
                    <a:pt x="986790" y="1628775"/>
                  </a:lnTo>
                  <a:lnTo>
                    <a:pt x="974408" y="1624013"/>
                  </a:lnTo>
                  <a:lnTo>
                    <a:pt x="962025" y="1618298"/>
                  </a:lnTo>
                  <a:lnTo>
                    <a:pt x="949643" y="1612583"/>
                  </a:lnTo>
                  <a:lnTo>
                    <a:pt x="937260" y="1606868"/>
                  </a:lnTo>
                  <a:lnTo>
                    <a:pt x="925830" y="1601153"/>
                  </a:lnTo>
                  <a:lnTo>
                    <a:pt x="914400" y="1595438"/>
                  </a:lnTo>
                  <a:lnTo>
                    <a:pt x="902970" y="1588770"/>
                  </a:lnTo>
                  <a:lnTo>
                    <a:pt x="891540" y="1582103"/>
                  </a:lnTo>
                  <a:lnTo>
                    <a:pt x="880110" y="1575435"/>
                  </a:lnTo>
                  <a:lnTo>
                    <a:pt x="868680" y="1568768"/>
                  </a:lnTo>
                  <a:lnTo>
                    <a:pt x="858203" y="1561148"/>
                  </a:lnTo>
                  <a:lnTo>
                    <a:pt x="847725" y="1553528"/>
                  </a:lnTo>
                  <a:lnTo>
                    <a:pt x="837248" y="1545908"/>
                  </a:lnTo>
                  <a:lnTo>
                    <a:pt x="826770" y="1537335"/>
                  </a:lnTo>
                  <a:lnTo>
                    <a:pt x="816293" y="1528763"/>
                  </a:lnTo>
                  <a:lnTo>
                    <a:pt x="805815" y="1520190"/>
                  </a:lnTo>
                  <a:lnTo>
                    <a:pt x="795338" y="1511618"/>
                  </a:lnTo>
                  <a:lnTo>
                    <a:pt x="785813" y="1503045"/>
                  </a:lnTo>
                  <a:lnTo>
                    <a:pt x="776288" y="1494473"/>
                  </a:lnTo>
                  <a:lnTo>
                    <a:pt x="801053" y="1469708"/>
                  </a:lnTo>
                  <a:lnTo>
                    <a:pt x="802958" y="1470660"/>
                  </a:lnTo>
                  <a:lnTo>
                    <a:pt x="839153" y="1473518"/>
                  </a:lnTo>
                  <a:lnTo>
                    <a:pt x="857250" y="1452563"/>
                  </a:lnTo>
                  <a:lnTo>
                    <a:pt x="906780" y="1456373"/>
                  </a:lnTo>
                  <a:lnTo>
                    <a:pt x="914400" y="1438275"/>
                  </a:lnTo>
                  <a:lnTo>
                    <a:pt x="914400" y="1431608"/>
                  </a:lnTo>
                  <a:lnTo>
                    <a:pt x="916305" y="1432560"/>
                  </a:lnTo>
                  <a:lnTo>
                    <a:pt x="916305" y="1431608"/>
                  </a:lnTo>
                  <a:lnTo>
                    <a:pt x="916305" y="1431608"/>
                  </a:lnTo>
                  <a:lnTo>
                    <a:pt x="929640" y="1441133"/>
                  </a:lnTo>
                  <a:lnTo>
                    <a:pt x="942975" y="1450658"/>
                  </a:lnTo>
                  <a:lnTo>
                    <a:pt x="957263" y="1459230"/>
                  </a:lnTo>
                  <a:lnTo>
                    <a:pt x="971550" y="1467803"/>
                  </a:lnTo>
                  <a:lnTo>
                    <a:pt x="986790" y="1475423"/>
                  </a:lnTo>
                  <a:lnTo>
                    <a:pt x="1002030" y="1483043"/>
                  </a:lnTo>
                  <a:lnTo>
                    <a:pt x="1017270" y="1489710"/>
                  </a:lnTo>
                  <a:lnTo>
                    <a:pt x="1032510" y="1496378"/>
                  </a:lnTo>
                  <a:lnTo>
                    <a:pt x="1047750" y="1502093"/>
                  </a:lnTo>
                  <a:lnTo>
                    <a:pt x="1062990" y="1507808"/>
                  </a:lnTo>
                  <a:lnTo>
                    <a:pt x="1079183" y="1512570"/>
                  </a:lnTo>
                  <a:lnTo>
                    <a:pt x="1095375" y="1517333"/>
                  </a:lnTo>
                  <a:lnTo>
                    <a:pt x="1111568" y="1522095"/>
                  </a:lnTo>
                  <a:lnTo>
                    <a:pt x="1128713" y="1525905"/>
                  </a:lnTo>
                  <a:lnTo>
                    <a:pt x="1145858" y="1528763"/>
                  </a:lnTo>
                  <a:lnTo>
                    <a:pt x="1163003" y="1531620"/>
                  </a:lnTo>
                  <a:lnTo>
                    <a:pt x="1163003" y="1501140"/>
                  </a:lnTo>
                  <a:lnTo>
                    <a:pt x="1143953" y="1498283"/>
                  </a:lnTo>
                  <a:lnTo>
                    <a:pt x="1124903" y="1494473"/>
                  </a:lnTo>
                  <a:lnTo>
                    <a:pt x="1105853" y="1489710"/>
                  </a:lnTo>
                  <a:lnTo>
                    <a:pt x="1087755" y="1484948"/>
                  </a:lnTo>
                  <a:lnTo>
                    <a:pt x="1069658" y="1479233"/>
                  </a:lnTo>
                  <a:lnTo>
                    <a:pt x="1051560" y="1472565"/>
                  </a:lnTo>
                  <a:lnTo>
                    <a:pt x="1034415" y="1465898"/>
                  </a:lnTo>
                  <a:lnTo>
                    <a:pt x="1017270" y="1458278"/>
                  </a:lnTo>
                  <a:lnTo>
                    <a:pt x="1001078" y="1449705"/>
                  </a:lnTo>
                  <a:lnTo>
                    <a:pt x="984885" y="1441133"/>
                  </a:lnTo>
                  <a:lnTo>
                    <a:pt x="969645" y="1431608"/>
                  </a:lnTo>
                  <a:lnTo>
                    <a:pt x="954405" y="1421130"/>
                  </a:lnTo>
                  <a:lnTo>
                    <a:pt x="939165" y="1410653"/>
                  </a:lnTo>
                  <a:lnTo>
                    <a:pt x="924878" y="1399223"/>
                  </a:lnTo>
                  <a:lnTo>
                    <a:pt x="910590" y="1387793"/>
                  </a:lnTo>
                  <a:lnTo>
                    <a:pt x="897255" y="1375410"/>
                  </a:lnTo>
                  <a:lnTo>
                    <a:pt x="995363" y="1277303"/>
                  </a:lnTo>
                  <a:lnTo>
                    <a:pt x="1003935" y="1284923"/>
                  </a:lnTo>
                  <a:lnTo>
                    <a:pt x="1012508" y="1292543"/>
                  </a:lnTo>
                  <a:lnTo>
                    <a:pt x="1022033" y="1299210"/>
                  </a:lnTo>
                  <a:lnTo>
                    <a:pt x="1031558" y="1305878"/>
                  </a:lnTo>
                  <a:lnTo>
                    <a:pt x="1041083" y="1312545"/>
                  </a:lnTo>
                  <a:lnTo>
                    <a:pt x="1051560" y="1318260"/>
                  </a:lnTo>
                  <a:lnTo>
                    <a:pt x="1062038" y="1323975"/>
                  </a:lnTo>
                  <a:lnTo>
                    <a:pt x="1072515" y="1329690"/>
                  </a:lnTo>
                  <a:lnTo>
                    <a:pt x="1072515" y="1327785"/>
                  </a:lnTo>
                  <a:lnTo>
                    <a:pt x="1076325" y="1313498"/>
                  </a:lnTo>
                  <a:lnTo>
                    <a:pt x="1081088" y="1303973"/>
                  </a:lnTo>
                  <a:lnTo>
                    <a:pt x="1071563" y="1299210"/>
                  </a:lnTo>
                  <a:lnTo>
                    <a:pt x="1062038" y="1294448"/>
                  </a:lnTo>
                  <a:lnTo>
                    <a:pt x="1053465" y="1289685"/>
                  </a:lnTo>
                  <a:lnTo>
                    <a:pt x="1044893" y="1283970"/>
                  </a:lnTo>
                  <a:lnTo>
                    <a:pt x="1036320" y="1278255"/>
                  </a:lnTo>
                  <a:lnTo>
                    <a:pt x="1027748" y="1271588"/>
                  </a:lnTo>
                  <a:lnTo>
                    <a:pt x="1019175" y="1264920"/>
                  </a:lnTo>
                  <a:lnTo>
                    <a:pt x="1011555" y="1258253"/>
                  </a:lnTo>
                  <a:lnTo>
                    <a:pt x="1110615" y="1159193"/>
                  </a:lnTo>
                  <a:lnTo>
                    <a:pt x="1116330" y="1163955"/>
                  </a:lnTo>
                  <a:lnTo>
                    <a:pt x="1122045" y="1168718"/>
                  </a:lnTo>
                  <a:lnTo>
                    <a:pt x="1128713" y="1172528"/>
                  </a:lnTo>
                  <a:lnTo>
                    <a:pt x="1134428" y="1176338"/>
                  </a:lnTo>
                  <a:lnTo>
                    <a:pt x="1141095" y="1180148"/>
                  </a:lnTo>
                  <a:lnTo>
                    <a:pt x="1147763" y="1183958"/>
                  </a:lnTo>
                  <a:lnTo>
                    <a:pt x="1154430" y="1186815"/>
                  </a:lnTo>
                  <a:lnTo>
                    <a:pt x="1161098" y="1189673"/>
                  </a:lnTo>
                  <a:lnTo>
                    <a:pt x="1161098" y="1161098"/>
                  </a:lnTo>
                  <a:lnTo>
                    <a:pt x="1152525" y="1157288"/>
                  </a:lnTo>
                  <a:lnTo>
                    <a:pt x="1143953" y="1152525"/>
                  </a:lnTo>
                  <a:lnTo>
                    <a:pt x="1135380" y="1147763"/>
                  </a:lnTo>
                  <a:lnTo>
                    <a:pt x="1127760" y="1142048"/>
                  </a:lnTo>
                  <a:lnTo>
                    <a:pt x="1157288" y="1112520"/>
                  </a:lnTo>
                  <a:lnTo>
                    <a:pt x="1126808" y="1102043"/>
                  </a:lnTo>
                  <a:lnTo>
                    <a:pt x="1106805" y="1122045"/>
                  </a:lnTo>
                  <a:lnTo>
                    <a:pt x="1101090" y="1114425"/>
                  </a:lnTo>
                  <a:lnTo>
                    <a:pt x="1095375" y="1105853"/>
                  </a:lnTo>
                  <a:lnTo>
                    <a:pt x="1089660" y="1097280"/>
                  </a:lnTo>
                  <a:lnTo>
                    <a:pt x="1084898" y="1087755"/>
                  </a:lnTo>
                  <a:lnTo>
                    <a:pt x="1064895" y="1081088"/>
                  </a:lnTo>
                  <a:lnTo>
                    <a:pt x="1061085" y="1079183"/>
                  </a:lnTo>
                  <a:lnTo>
                    <a:pt x="1059180" y="1078230"/>
                  </a:lnTo>
                  <a:lnTo>
                    <a:pt x="1034415" y="1063943"/>
                  </a:lnTo>
                  <a:lnTo>
                    <a:pt x="1013460" y="1049655"/>
                  </a:lnTo>
                  <a:lnTo>
                    <a:pt x="995363" y="1031558"/>
                  </a:lnTo>
                  <a:lnTo>
                    <a:pt x="978218" y="1014413"/>
                  </a:lnTo>
                  <a:lnTo>
                    <a:pt x="967740" y="993458"/>
                  </a:lnTo>
                  <a:lnTo>
                    <a:pt x="957263" y="972503"/>
                  </a:lnTo>
                  <a:lnTo>
                    <a:pt x="950595" y="947738"/>
                  </a:lnTo>
                  <a:lnTo>
                    <a:pt x="942975" y="922973"/>
                  </a:lnTo>
                  <a:lnTo>
                    <a:pt x="942975" y="894398"/>
                  </a:lnTo>
                  <a:lnTo>
                    <a:pt x="945833" y="862013"/>
                  </a:lnTo>
                  <a:lnTo>
                    <a:pt x="951548" y="832485"/>
                  </a:lnTo>
                  <a:lnTo>
                    <a:pt x="953453" y="824865"/>
                  </a:lnTo>
                  <a:lnTo>
                    <a:pt x="969645" y="788670"/>
                  </a:lnTo>
                  <a:lnTo>
                    <a:pt x="975360" y="778193"/>
                  </a:lnTo>
                  <a:lnTo>
                    <a:pt x="973455" y="780098"/>
                  </a:lnTo>
                  <a:lnTo>
                    <a:pt x="975360" y="775335"/>
                  </a:lnTo>
                  <a:lnTo>
                    <a:pt x="986790" y="761048"/>
                  </a:lnTo>
                  <a:lnTo>
                    <a:pt x="891540" y="665798"/>
                  </a:lnTo>
                  <a:lnTo>
                    <a:pt x="904875" y="653415"/>
                  </a:lnTo>
                  <a:lnTo>
                    <a:pt x="919163" y="641985"/>
                  </a:lnTo>
                  <a:lnTo>
                    <a:pt x="933450" y="631508"/>
                  </a:lnTo>
                  <a:lnTo>
                    <a:pt x="948690" y="621030"/>
                  </a:lnTo>
                  <a:lnTo>
                    <a:pt x="963930" y="610553"/>
                  </a:lnTo>
                  <a:lnTo>
                    <a:pt x="979170" y="601028"/>
                  </a:lnTo>
                  <a:lnTo>
                    <a:pt x="994410" y="592455"/>
                  </a:lnTo>
                  <a:lnTo>
                    <a:pt x="1009650" y="583883"/>
                  </a:lnTo>
                  <a:lnTo>
                    <a:pt x="1025843" y="576263"/>
                  </a:lnTo>
                  <a:lnTo>
                    <a:pt x="1042035" y="569595"/>
                  </a:lnTo>
                  <a:lnTo>
                    <a:pt x="1059180" y="562928"/>
                  </a:lnTo>
                  <a:lnTo>
                    <a:pt x="1076325" y="557213"/>
                  </a:lnTo>
                  <a:lnTo>
                    <a:pt x="1093470" y="551498"/>
                  </a:lnTo>
                  <a:lnTo>
                    <a:pt x="1111568" y="546735"/>
                  </a:lnTo>
                  <a:lnTo>
                    <a:pt x="1129665" y="542925"/>
                  </a:lnTo>
                  <a:lnTo>
                    <a:pt x="1148715" y="539115"/>
                  </a:lnTo>
                  <a:lnTo>
                    <a:pt x="1148715" y="509588"/>
                  </a:lnTo>
                  <a:lnTo>
                    <a:pt x="1128713" y="513398"/>
                  </a:lnTo>
                  <a:lnTo>
                    <a:pt x="1108710" y="517208"/>
                  </a:lnTo>
                  <a:lnTo>
                    <a:pt x="1089660" y="521970"/>
                  </a:lnTo>
                  <a:lnTo>
                    <a:pt x="1070610" y="527685"/>
                  </a:lnTo>
                  <a:lnTo>
                    <a:pt x="1051560" y="533400"/>
                  </a:lnTo>
                  <a:lnTo>
                    <a:pt x="1033463" y="540068"/>
                  </a:lnTo>
                  <a:lnTo>
                    <a:pt x="1015365" y="547688"/>
                  </a:lnTo>
                  <a:lnTo>
                    <a:pt x="997268" y="555308"/>
                  </a:lnTo>
                  <a:lnTo>
                    <a:pt x="980123" y="564833"/>
                  </a:lnTo>
                  <a:lnTo>
                    <a:pt x="962978" y="574358"/>
                  </a:lnTo>
                  <a:lnTo>
                    <a:pt x="946785" y="584835"/>
                  </a:lnTo>
                  <a:lnTo>
                    <a:pt x="930593" y="595313"/>
                  </a:lnTo>
                  <a:lnTo>
                    <a:pt x="915353" y="606743"/>
                  </a:lnTo>
                  <a:lnTo>
                    <a:pt x="900113" y="618173"/>
                  </a:lnTo>
                  <a:lnTo>
                    <a:pt x="884873" y="630555"/>
                  </a:lnTo>
                  <a:lnTo>
                    <a:pt x="870585" y="643890"/>
                  </a:lnTo>
                  <a:lnTo>
                    <a:pt x="857250" y="631508"/>
                  </a:lnTo>
                  <a:lnTo>
                    <a:pt x="842963" y="658178"/>
                  </a:lnTo>
                  <a:lnTo>
                    <a:pt x="850583" y="666750"/>
                  </a:lnTo>
                  <a:lnTo>
                    <a:pt x="842963" y="675323"/>
                  </a:lnTo>
                  <a:lnTo>
                    <a:pt x="835343" y="683895"/>
                  </a:lnTo>
                  <a:lnTo>
                    <a:pt x="827723" y="692468"/>
                  </a:lnTo>
                  <a:lnTo>
                    <a:pt x="820103" y="701040"/>
                  </a:lnTo>
                  <a:lnTo>
                    <a:pt x="813435" y="710565"/>
                  </a:lnTo>
                  <a:lnTo>
                    <a:pt x="806768" y="720090"/>
                  </a:lnTo>
                  <a:lnTo>
                    <a:pt x="800100" y="729615"/>
                  </a:lnTo>
                  <a:lnTo>
                    <a:pt x="793433" y="739140"/>
                  </a:lnTo>
                  <a:lnTo>
                    <a:pt x="786765" y="748665"/>
                  </a:lnTo>
                  <a:lnTo>
                    <a:pt x="781050" y="758190"/>
                  </a:lnTo>
                  <a:lnTo>
                    <a:pt x="775335" y="768668"/>
                  </a:lnTo>
                  <a:lnTo>
                    <a:pt x="769620" y="779145"/>
                  </a:lnTo>
                  <a:lnTo>
                    <a:pt x="764858" y="789623"/>
                  </a:lnTo>
                  <a:lnTo>
                    <a:pt x="760095" y="799148"/>
                  </a:lnTo>
                  <a:lnTo>
                    <a:pt x="754380" y="809625"/>
                  </a:lnTo>
                  <a:lnTo>
                    <a:pt x="749618" y="820103"/>
                  </a:lnTo>
                  <a:lnTo>
                    <a:pt x="744855" y="830580"/>
                  </a:lnTo>
                  <a:lnTo>
                    <a:pt x="740093" y="841058"/>
                  </a:lnTo>
                  <a:lnTo>
                    <a:pt x="736283" y="852488"/>
                  </a:lnTo>
                  <a:lnTo>
                    <a:pt x="733425" y="863918"/>
                  </a:lnTo>
                  <a:lnTo>
                    <a:pt x="729615" y="875348"/>
                  </a:lnTo>
                  <a:lnTo>
                    <a:pt x="726758" y="886778"/>
                  </a:lnTo>
                  <a:lnTo>
                    <a:pt x="723900" y="899160"/>
                  </a:lnTo>
                  <a:lnTo>
                    <a:pt x="721043" y="910590"/>
                  </a:lnTo>
                  <a:lnTo>
                    <a:pt x="718185" y="922020"/>
                  </a:lnTo>
                  <a:lnTo>
                    <a:pt x="716280" y="933450"/>
                  </a:lnTo>
                  <a:lnTo>
                    <a:pt x="714375" y="945833"/>
                  </a:lnTo>
                  <a:lnTo>
                    <a:pt x="712470" y="958215"/>
                  </a:lnTo>
                  <a:lnTo>
                    <a:pt x="711518" y="969645"/>
                  </a:lnTo>
                  <a:lnTo>
                    <a:pt x="710565" y="982028"/>
                  </a:lnTo>
                  <a:lnTo>
                    <a:pt x="709613" y="994410"/>
                  </a:lnTo>
                  <a:lnTo>
                    <a:pt x="709613" y="1006793"/>
                  </a:lnTo>
                  <a:lnTo>
                    <a:pt x="570548" y="1006793"/>
                  </a:lnTo>
                  <a:lnTo>
                    <a:pt x="570548" y="990600"/>
                  </a:lnTo>
                  <a:lnTo>
                    <a:pt x="571500" y="975360"/>
                  </a:lnTo>
                  <a:lnTo>
                    <a:pt x="572453" y="960120"/>
                  </a:lnTo>
                  <a:lnTo>
                    <a:pt x="574358" y="944880"/>
                  </a:lnTo>
                  <a:lnTo>
                    <a:pt x="576263" y="929640"/>
                  </a:lnTo>
                  <a:lnTo>
                    <a:pt x="579120" y="914400"/>
                  </a:lnTo>
                  <a:lnTo>
                    <a:pt x="581978" y="899160"/>
                  </a:lnTo>
                  <a:lnTo>
                    <a:pt x="584835" y="883920"/>
                  </a:lnTo>
                  <a:lnTo>
                    <a:pt x="588645" y="868680"/>
                  </a:lnTo>
                  <a:lnTo>
                    <a:pt x="592455" y="853440"/>
                  </a:lnTo>
                  <a:lnTo>
                    <a:pt x="596265" y="838200"/>
                  </a:lnTo>
                  <a:lnTo>
                    <a:pt x="601028" y="823913"/>
                  </a:lnTo>
                  <a:lnTo>
                    <a:pt x="605790" y="809625"/>
                  </a:lnTo>
                  <a:lnTo>
                    <a:pt x="611505" y="795338"/>
                  </a:lnTo>
                  <a:lnTo>
                    <a:pt x="616268" y="781050"/>
                  </a:lnTo>
                  <a:lnTo>
                    <a:pt x="621983" y="766763"/>
                  </a:lnTo>
                  <a:lnTo>
                    <a:pt x="627698" y="752475"/>
                  </a:lnTo>
                  <a:lnTo>
                    <a:pt x="633413" y="739140"/>
                  </a:lnTo>
                  <a:lnTo>
                    <a:pt x="640080" y="725805"/>
                  </a:lnTo>
                  <a:lnTo>
                    <a:pt x="646748" y="712470"/>
                  </a:lnTo>
                  <a:lnTo>
                    <a:pt x="653415" y="699135"/>
                  </a:lnTo>
                  <a:lnTo>
                    <a:pt x="661035" y="685800"/>
                  </a:lnTo>
                  <a:lnTo>
                    <a:pt x="668655" y="673418"/>
                  </a:lnTo>
                  <a:lnTo>
                    <a:pt x="677228" y="661035"/>
                  </a:lnTo>
                  <a:lnTo>
                    <a:pt x="685800" y="648653"/>
                  </a:lnTo>
                  <a:lnTo>
                    <a:pt x="694373" y="636270"/>
                  </a:lnTo>
                  <a:lnTo>
                    <a:pt x="702945" y="624840"/>
                  </a:lnTo>
                  <a:lnTo>
                    <a:pt x="712470" y="613410"/>
                  </a:lnTo>
                  <a:lnTo>
                    <a:pt x="721995" y="601980"/>
                  </a:lnTo>
                  <a:lnTo>
                    <a:pt x="731520" y="590550"/>
                  </a:lnTo>
                  <a:lnTo>
                    <a:pt x="741045" y="580073"/>
                  </a:lnTo>
                  <a:lnTo>
                    <a:pt x="751523" y="569595"/>
                  </a:lnTo>
                  <a:lnTo>
                    <a:pt x="795338" y="614363"/>
                  </a:lnTo>
                  <a:lnTo>
                    <a:pt x="826770" y="603885"/>
                  </a:lnTo>
                  <a:lnTo>
                    <a:pt x="772478" y="548640"/>
                  </a:lnTo>
                  <a:lnTo>
                    <a:pt x="783908" y="538163"/>
                  </a:lnTo>
                  <a:lnTo>
                    <a:pt x="795338" y="527685"/>
                  </a:lnTo>
                  <a:lnTo>
                    <a:pt x="807720" y="517208"/>
                  </a:lnTo>
                  <a:lnTo>
                    <a:pt x="820103" y="506730"/>
                  </a:lnTo>
                  <a:lnTo>
                    <a:pt x="832485" y="497205"/>
                  </a:lnTo>
                  <a:lnTo>
                    <a:pt x="844868" y="487680"/>
                  </a:lnTo>
                  <a:lnTo>
                    <a:pt x="858203" y="478155"/>
                  </a:lnTo>
                  <a:lnTo>
                    <a:pt x="871538" y="469583"/>
                  </a:lnTo>
                  <a:lnTo>
                    <a:pt x="894398" y="421958"/>
                  </a:lnTo>
                  <a:lnTo>
                    <a:pt x="876300" y="434340"/>
                  </a:lnTo>
                  <a:lnTo>
                    <a:pt x="857250" y="445770"/>
                  </a:lnTo>
                  <a:lnTo>
                    <a:pt x="838200" y="458153"/>
                  </a:lnTo>
                  <a:lnTo>
                    <a:pt x="820103" y="470535"/>
                  </a:lnTo>
                  <a:lnTo>
                    <a:pt x="802958" y="483870"/>
                  </a:lnTo>
                  <a:lnTo>
                    <a:pt x="785813" y="498158"/>
                  </a:lnTo>
                  <a:lnTo>
                    <a:pt x="769620" y="512445"/>
                  </a:lnTo>
                  <a:lnTo>
                    <a:pt x="752475" y="527685"/>
                  </a:lnTo>
                  <a:lnTo>
                    <a:pt x="656273" y="430530"/>
                  </a:lnTo>
                  <a:lnTo>
                    <a:pt x="667703" y="419100"/>
                  </a:lnTo>
                  <a:lnTo>
                    <a:pt x="680085" y="408623"/>
                  </a:lnTo>
                  <a:lnTo>
                    <a:pt x="692468" y="398145"/>
                  </a:lnTo>
                  <a:lnTo>
                    <a:pt x="704850" y="387668"/>
                  </a:lnTo>
                  <a:lnTo>
                    <a:pt x="718185" y="377190"/>
                  </a:lnTo>
                  <a:lnTo>
                    <a:pt x="731520" y="366713"/>
                  </a:lnTo>
                  <a:lnTo>
                    <a:pt x="744855" y="356235"/>
                  </a:lnTo>
                  <a:lnTo>
                    <a:pt x="758190" y="346710"/>
                  </a:lnTo>
                  <a:lnTo>
                    <a:pt x="771525" y="337185"/>
                  </a:lnTo>
                  <a:lnTo>
                    <a:pt x="785813" y="328613"/>
                  </a:lnTo>
                  <a:lnTo>
                    <a:pt x="800100" y="320040"/>
                  </a:lnTo>
                  <a:lnTo>
                    <a:pt x="814388" y="311468"/>
                  </a:lnTo>
                  <a:lnTo>
                    <a:pt x="829628" y="302895"/>
                  </a:lnTo>
                  <a:lnTo>
                    <a:pt x="843915" y="295275"/>
                  </a:lnTo>
                  <a:lnTo>
                    <a:pt x="859155" y="287655"/>
                  </a:lnTo>
                  <a:lnTo>
                    <a:pt x="874395" y="280035"/>
                  </a:lnTo>
                  <a:lnTo>
                    <a:pt x="889635" y="273368"/>
                  </a:lnTo>
                  <a:lnTo>
                    <a:pt x="904875" y="266700"/>
                  </a:lnTo>
                  <a:lnTo>
                    <a:pt x="920115" y="260033"/>
                  </a:lnTo>
                  <a:lnTo>
                    <a:pt x="935355" y="254318"/>
                  </a:lnTo>
                  <a:lnTo>
                    <a:pt x="950595" y="248603"/>
                  </a:lnTo>
                  <a:lnTo>
                    <a:pt x="966788" y="243840"/>
                  </a:lnTo>
                  <a:lnTo>
                    <a:pt x="982980" y="239078"/>
                  </a:lnTo>
                  <a:lnTo>
                    <a:pt x="999173" y="234315"/>
                  </a:lnTo>
                  <a:lnTo>
                    <a:pt x="1015365" y="229553"/>
                  </a:lnTo>
                  <a:lnTo>
                    <a:pt x="1031558" y="224790"/>
                  </a:lnTo>
                  <a:lnTo>
                    <a:pt x="1047750" y="220980"/>
                  </a:lnTo>
                  <a:lnTo>
                    <a:pt x="1064895" y="217170"/>
                  </a:lnTo>
                  <a:lnTo>
                    <a:pt x="1081088" y="214313"/>
                  </a:lnTo>
                  <a:lnTo>
                    <a:pt x="1098233" y="211455"/>
                  </a:lnTo>
                  <a:lnTo>
                    <a:pt x="1115378" y="209550"/>
                  </a:lnTo>
                  <a:lnTo>
                    <a:pt x="1132523" y="207645"/>
                  </a:lnTo>
                  <a:lnTo>
                    <a:pt x="1132523" y="178118"/>
                  </a:lnTo>
                  <a:lnTo>
                    <a:pt x="1092518" y="182880"/>
                  </a:lnTo>
                  <a:lnTo>
                    <a:pt x="1053465" y="189548"/>
                  </a:lnTo>
                  <a:lnTo>
                    <a:pt x="1014413" y="198120"/>
                  </a:lnTo>
                  <a:lnTo>
                    <a:pt x="977265" y="208598"/>
                  </a:lnTo>
                  <a:lnTo>
                    <a:pt x="940118" y="220028"/>
                  </a:lnTo>
                  <a:lnTo>
                    <a:pt x="903923" y="234315"/>
                  </a:lnTo>
                  <a:lnTo>
                    <a:pt x="868680" y="249555"/>
                  </a:lnTo>
                  <a:lnTo>
                    <a:pt x="835343" y="266700"/>
                  </a:lnTo>
                  <a:lnTo>
                    <a:pt x="802005" y="284798"/>
                  </a:lnTo>
                  <a:lnTo>
                    <a:pt x="769620" y="304800"/>
                  </a:lnTo>
                  <a:lnTo>
                    <a:pt x="738188" y="325755"/>
                  </a:lnTo>
                  <a:lnTo>
                    <a:pt x="707708" y="348615"/>
                  </a:lnTo>
                  <a:lnTo>
                    <a:pt x="678180" y="372428"/>
                  </a:lnTo>
                  <a:lnTo>
                    <a:pt x="649605" y="398145"/>
                  </a:lnTo>
                  <a:lnTo>
                    <a:pt x="622935" y="423863"/>
                  </a:lnTo>
                  <a:lnTo>
                    <a:pt x="596265" y="451485"/>
                  </a:lnTo>
                  <a:lnTo>
                    <a:pt x="571500" y="480060"/>
                  </a:lnTo>
                  <a:lnTo>
                    <a:pt x="547688" y="509588"/>
                  </a:lnTo>
                  <a:lnTo>
                    <a:pt x="523875" y="541020"/>
                  </a:lnTo>
                  <a:lnTo>
                    <a:pt x="502920" y="573405"/>
                  </a:lnTo>
                  <a:lnTo>
                    <a:pt x="482918" y="605790"/>
                  </a:lnTo>
                  <a:lnTo>
                    <a:pt x="464820" y="640080"/>
                  </a:lnTo>
                  <a:lnTo>
                    <a:pt x="448628" y="675323"/>
                  </a:lnTo>
                  <a:lnTo>
                    <a:pt x="433388" y="711518"/>
                  </a:lnTo>
                  <a:lnTo>
                    <a:pt x="420053" y="747713"/>
                  </a:lnTo>
                  <a:lnTo>
                    <a:pt x="408623" y="784860"/>
                  </a:lnTo>
                  <a:lnTo>
                    <a:pt x="398145" y="822960"/>
                  </a:lnTo>
                  <a:lnTo>
                    <a:pt x="389573" y="862013"/>
                  </a:lnTo>
                  <a:lnTo>
                    <a:pt x="382905" y="901065"/>
                  </a:lnTo>
                  <a:lnTo>
                    <a:pt x="378143" y="941070"/>
                  </a:lnTo>
                  <a:lnTo>
                    <a:pt x="375285" y="982028"/>
                  </a:lnTo>
                  <a:lnTo>
                    <a:pt x="374333" y="1022985"/>
                  </a:lnTo>
                  <a:lnTo>
                    <a:pt x="375285" y="1066800"/>
                  </a:lnTo>
                  <a:lnTo>
                    <a:pt x="378143" y="1109663"/>
                  </a:lnTo>
                  <a:lnTo>
                    <a:pt x="383858" y="1152525"/>
                  </a:lnTo>
                  <a:lnTo>
                    <a:pt x="391478" y="1193483"/>
                  </a:lnTo>
                  <a:lnTo>
                    <a:pt x="401003" y="1234440"/>
                  </a:lnTo>
                  <a:lnTo>
                    <a:pt x="412433" y="1275398"/>
                  </a:lnTo>
                  <a:lnTo>
                    <a:pt x="425768" y="1314450"/>
                  </a:lnTo>
                  <a:lnTo>
                    <a:pt x="441008" y="1352550"/>
                  </a:lnTo>
                  <a:lnTo>
                    <a:pt x="458153" y="1389698"/>
                  </a:lnTo>
                  <a:lnTo>
                    <a:pt x="477203" y="1425893"/>
                  </a:lnTo>
                  <a:lnTo>
                    <a:pt x="498158" y="1461135"/>
                  </a:lnTo>
                  <a:lnTo>
                    <a:pt x="520065" y="1495425"/>
                  </a:lnTo>
                  <a:lnTo>
                    <a:pt x="543878" y="1528763"/>
                  </a:lnTo>
                  <a:lnTo>
                    <a:pt x="568643" y="1560195"/>
                  </a:lnTo>
                  <a:lnTo>
                    <a:pt x="595313" y="1590675"/>
                  </a:lnTo>
                  <a:lnTo>
                    <a:pt x="623888" y="1620203"/>
                  </a:lnTo>
                  <a:lnTo>
                    <a:pt x="653415" y="1647825"/>
                  </a:lnTo>
                  <a:lnTo>
                    <a:pt x="684848" y="1674495"/>
                  </a:lnTo>
                  <a:lnTo>
                    <a:pt x="716280" y="1700213"/>
                  </a:lnTo>
                  <a:lnTo>
                    <a:pt x="749618" y="1724025"/>
                  </a:lnTo>
                  <a:lnTo>
                    <a:pt x="783908" y="1745933"/>
                  </a:lnTo>
                  <a:lnTo>
                    <a:pt x="819150" y="1766888"/>
                  </a:lnTo>
                  <a:lnTo>
                    <a:pt x="855345" y="1785938"/>
                  </a:lnTo>
                  <a:lnTo>
                    <a:pt x="892493" y="1803083"/>
                  </a:lnTo>
                  <a:lnTo>
                    <a:pt x="930593" y="1818323"/>
                  </a:lnTo>
                  <a:lnTo>
                    <a:pt x="969645" y="1831658"/>
                  </a:lnTo>
                  <a:lnTo>
                    <a:pt x="1009650" y="1843088"/>
                  </a:lnTo>
                  <a:lnTo>
                    <a:pt x="1050608" y="1852613"/>
                  </a:lnTo>
                  <a:lnTo>
                    <a:pt x="1091565" y="1860233"/>
                  </a:lnTo>
                  <a:lnTo>
                    <a:pt x="1134428" y="1864995"/>
                  </a:lnTo>
                  <a:lnTo>
                    <a:pt x="1177290" y="1868805"/>
                  </a:lnTo>
                  <a:lnTo>
                    <a:pt x="1221105" y="1869758"/>
                  </a:lnTo>
                  <a:lnTo>
                    <a:pt x="1264920" y="1868805"/>
                  </a:lnTo>
                  <a:lnTo>
                    <a:pt x="1307783" y="1864995"/>
                  </a:lnTo>
                  <a:lnTo>
                    <a:pt x="1349693" y="1860233"/>
                  </a:lnTo>
                  <a:lnTo>
                    <a:pt x="1391603" y="1852613"/>
                  </a:lnTo>
                  <a:lnTo>
                    <a:pt x="1432560" y="1843088"/>
                  </a:lnTo>
                  <a:lnTo>
                    <a:pt x="1472565" y="1831658"/>
                  </a:lnTo>
                  <a:lnTo>
                    <a:pt x="1512570" y="1818323"/>
                  </a:lnTo>
                  <a:lnTo>
                    <a:pt x="1550670" y="1803083"/>
                  </a:lnTo>
                  <a:lnTo>
                    <a:pt x="1587818" y="1785938"/>
                  </a:lnTo>
                  <a:lnTo>
                    <a:pt x="1624965" y="1766888"/>
                  </a:lnTo>
                  <a:lnTo>
                    <a:pt x="1660208" y="1745933"/>
                  </a:lnTo>
                  <a:lnTo>
                    <a:pt x="1694498" y="1724025"/>
                  </a:lnTo>
                  <a:lnTo>
                    <a:pt x="1727835" y="1700213"/>
                  </a:lnTo>
                  <a:lnTo>
                    <a:pt x="1760220" y="1674495"/>
                  </a:lnTo>
                  <a:lnTo>
                    <a:pt x="1790700" y="1647825"/>
                  </a:lnTo>
                  <a:lnTo>
                    <a:pt x="1820228" y="1620203"/>
                  </a:lnTo>
                  <a:lnTo>
                    <a:pt x="1847850" y="1590675"/>
                  </a:lnTo>
                  <a:lnTo>
                    <a:pt x="1874520" y="1560195"/>
                  </a:lnTo>
                  <a:lnTo>
                    <a:pt x="1900238" y="1528763"/>
                  </a:lnTo>
                  <a:lnTo>
                    <a:pt x="1924050" y="1495425"/>
                  </a:lnTo>
                  <a:lnTo>
                    <a:pt x="1945958" y="1461135"/>
                  </a:lnTo>
                  <a:lnTo>
                    <a:pt x="1965960" y="1425893"/>
                  </a:lnTo>
                  <a:lnTo>
                    <a:pt x="1985010" y="1389698"/>
                  </a:lnTo>
                  <a:lnTo>
                    <a:pt x="2002155" y="1352550"/>
                  </a:lnTo>
                  <a:lnTo>
                    <a:pt x="2017395" y="1314450"/>
                  </a:lnTo>
                  <a:lnTo>
                    <a:pt x="2030730" y="1275398"/>
                  </a:lnTo>
                  <a:lnTo>
                    <a:pt x="2042160" y="1234440"/>
                  </a:lnTo>
                  <a:lnTo>
                    <a:pt x="2051685" y="1193483"/>
                  </a:lnTo>
                  <a:lnTo>
                    <a:pt x="2059305" y="1152525"/>
                  </a:lnTo>
                  <a:lnTo>
                    <a:pt x="2065020" y="1109663"/>
                  </a:lnTo>
                  <a:lnTo>
                    <a:pt x="2068830" y="1066800"/>
                  </a:lnTo>
                  <a:lnTo>
                    <a:pt x="2069783" y="1022985"/>
                  </a:lnTo>
                  <a:lnTo>
                    <a:pt x="2068830" y="982028"/>
                  </a:lnTo>
                  <a:lnTo>
                    <a:pt x="2065973" y="942023"/>
                  </a:lnTo>
                  <a:lnTo>
                    <a:pt x="2061210" y="902018"/>
                  </a:lnTo>
                  <a:lnTo>
                    <a:pt x="2054543" y="862965"/>
                  </a:lnTo>
                  <a:lnTo>
                    <a:pt x="2045970" y="823913"/>
                  </a:lnTo>
                  <a:lnTo>
                    <a:pt x="2035493" y="785813"/>
                  </a:lnTo>
                  <a:lnTo>
                    <a:pt x="2024063" y="748665"/>
                  </a:lnTo>
                  <a:lnTo>
                    <a:pt x="2010728" y="712470"/>
                  </a:lnTo>
                  <a:lnTo>
                    <a:pt x="1995488" y="676275"/>
                  </a:lnTo>
                  <a:lnTo>
                    <a:pt x="1979295" y="641033"/>
                  </a:lnTo>
                  <a:lnTo>
                    <a:pt x="1961198" y="606743"/>
                  </a:lnTo>
                  <a:lnTo>
                    <a:pt x="1941195" y="573405"/>
                  </a:lnTo>
                  <a:lnTo>
                    <a:pt x="1920240" y="541973"/>
                  </a:lnTo>
                  <a:lnTo>
                    <a:pt x="1898333" y="511493"/>
                  </a:lnTo>
                  <a:lnTo>
                    <a:pt x="1874520" y="481013"/>
                  </a:lnTo>
                  <a:lnTo>
                    <a:pt x="1848803" y="452438"/>
                  </a:lnTo>
                  <a:lnTo>
                    <a:pt x="1823085" y="424815"/>
                  </a:lnTo>
                  <a:lnTo>
                    <a:pt x="1795463" y="399098"/>
                  </a:lnTo>
                  <a:lnTo>
                    <a:pt x="1766888" y="373380"/>
                  </a:lnTo>
                  <a:lnTo>
                    <a:pt x="1736408" y="349568"/>
                  </a:lnTo>
                  <a:lnTo>
                    <a:pt x="1704975" y="323850"/>
                  </a:lnTo>
                  <a:lnTo>
                    <a:pt x="1672590" y="302895"/>
                  </a:lnTo>
                  <a:lnTo>
                    <a:pt x="1640205" y="282893"/>
                  </a:lnTo>
                  <a:lnTo>
                    <a:pt x="1605915" y="264795"/>
                  </a:lnTo>
                  <a:lnTo>
                    <a:pt x="1570673" y="247650"/>
                  </a:lnTo>
                  <a:lnTo>
                    <a:pt x="1534478" y="232410"/>
                  </a:lnTo>
                  <a:lnTo>
                    <a:pt x="1498283" y="219075"/>
                  </a:lnTo>
                  <a:lnTo>
                    <a:pt x="1461135" y="206693"/>
                  </a:lnTo>
                  <a:lnTo>
                    <a:pt x="1423035" y="196215"/>
                  </a:lnTo>
                  <a:lnTo>
                    <a:pt x="1384935" y="187643"/>
                  </a:lnTo>
                  <a:lnTo>
                    <a:pt x="1344930" y="180975"/>
                  </a:lnTo>
                  <a:lnTo>
                    <a:pt x="1304925" y="176213"/>
                  </a:lnTo>
                  <a:lnTo>
                    <a:pt x="1304925" y="205740"/>
                  </a:lnTo>
                  <a:lnTo>
                    <a:pt x="1322070" y="207645"/>
                  </a:lnTo>
                  <a:lnTo>
                    <a:pt x="1339215" y="210503"/>
                  </a:lnTo>
                  <a:lnTo>
                    <a:pt x="1356360" y="213360"/>
                  </a:lnTo>
                  <a:lnTo>
                    <a:pt x="1373505" y="216218"/>
                  </a:lnTo>
                  <a:lnTo>
                    <a:pt x="1390650" y="220028"/>
                  </a:lnTo>
                  <a:lnTo>
                    <a:pt x="1407795" y="223838"/>
                  </a:lnTo>
                  <a:lnTo>
                    <a:pt x="1424940" y="227648"/>
                  </a:lnTo>
                  <a:lnTo>
                    <a:pt x="1441133" y="232410"/>
                  </a:lnTo>
                  <a:lnTo>
                    <a:pt x="1457325" y="237173"/>
                  </a:lnTo>
                  <a:lnTo>
                    <a:pt x="1473518" y="242888"/>
                  </a:lnTo>
                  <a:lnTo>
                    <a:pt x="1489710" y="248603"/>
                  </a:lnTo>
                  <a:lnTo>
                    <a:pt x="1505903" y="254318"/>
                  </a:lnTo>
                  <a:lnTo>
                    <a:pt x="1522095" y="260033"/>
                  </a:lnTo>
                  <a:lnTo>
                    <a:pt x="1537335" y="266700"/>
                  </a:lnTo>
                  <a:lnTo>
                    <a:pt x="1552575" y="273368"/>
                  </a:lnTo>
                  <a:lnTo>
                    <a:pt x="1567815" y="280035"/>
                  </a:lnTo>
                  <a:lnTo>
                    <a:pt x="1583055" y="287655"/>
                  </a:lnTo>
                  <a:lnTo>
                    <a:pt x="1598295" y="295275"/>
                  </a:lnTo>
                  <a:lnTo>
                    <a:pt x="1613535" y="302895"/>
                  </a:lnTo>
                  <a:lnTo>
                    <a:pt x="1628775" y="311468"/>
                  </a:lnTo>
                  <a:lnTo>
                    <a:pt x="1643063" y="320040"/>
                  </a:lnTo>
                  <a:lnTo>
                    <a:pt x="1657350" y="329565"/>
                  </a:lnTo>
                  <a:lnTo>
                    <a:pt x="1671638" y="339090"/>
                  </a:lnTo>
                  <a:lnTo>
                    <a:pt x="1685925" y="348615"/>
                  </a:lnTo>
                  <a:lnTo>
                    <a:pt x="1700213" y="358140"/>
                  </a:lnTo>
                  <a:lnTo>
                    <a:pt x="1713548" y="368618"/>
                  </a:lnTo>
                  <a:lnTo>
                    <a:pt x="1726883" y="379095"/>
                  </a:lnTo>
                  <a:lnTo>
                    <a:pt x="1740218" y="389573"/>
                  </a:lnTo>
                  <a:lnTo>
                    <a:pt x="1752600" y="400050"/>
                  </a:lnTo>
                  <a:lnTo>
                    <a:pt x="1764983" y="410528"/>
                  </a:lnTo>
                  <a:lnTo>
                    <a:pt x="1777365" y="421958"/>
                  </a:lnTo>
                  <a:lnTo>
                    <a:pt x="1789748" y="433388"/>
                  </a:lnTo>
                  <a:lnTo>
                    <a:pt x="1696403" y="525780"/>
                  </a:lnTo>
                  <a:lnTo>
                    <a:pt x="1699260" y="511493"/>
                  </a:lnTo>
                  <a:lnTo>
                    <a:pt x="1688783" y="507683"/>
                  </a:lnTo>
                  <a:lnTo>
                    <a:pt x="1671638" y="503873"/>
                  </a:lnTo>
                  <a:lnTo>
                    <a:pt x="1675448" y="493395"/>
                  </a:lnTo>
                  <a:lnTo>
                    <a:pt x="1664970" y="454343"/>
                  </a:lnTo>
                  <a:lnTo>
                    <a:pt x="1640205" y="429578"/>
                  </a:lnTo>
                  <a:lnTo>
                    <a:pt x="1569720" y="390525"/>
                  </a:lnTo>
                  <a:lnTo>
                    <a:pt x="1563053" y="398145"/>
                  </a:lnTo>
                  <a:lnTo>
                    <a:pt x="1548765" y="401955"/>
                  </a:lnTo>
                  <a:lnTo>
                    <a:pt x="1566863" y="430530"/>
                  </a:lnTo>
                  <a:lnTo>
                    <a:pt x="1567815" y="433388"/>
                  </a:lnTo>
                  <a:lnTo>
                    <a:pt x="1556385" y="426720"/>
                  </a:lnTo>
                  <a:lnTo>
                    <a:pt x="1544955" y="421005"/>
                  </a:lnTo>
                  <a:lnTo>
                    <a:pt x="1533525" y="414338"/>
                  </a:lnTo>
                  <a:lnTo>
                    <a:pt x="1522095" y="408623"/>
                  </a:lnTo>
                  <a:lnTo>
                    <a:pt x="1516380" y="402908"/>
                  </a:lnTo>
                  <a:lnTo>
                    <a:pt x="1511618" y="397193"/>
                  </a:lnTo>
                  <a:lnTo>
                    <a:pt x="1505903" y="391478"/>
                  </a:lnTo>
                  <a:lnTo>
                    <a:pt x="1501140" y="385763"/>
                  </a:lnTo>
                  <a:lnTo>
                    <a:pt x="1495425" y="380048"/>
                  </a:lnTo>
                  <a:lnTo>
                    <a:pt x="1489710" y="375285"/>
                  </a:lnTo>
                  <a:lnTo>
                    <a:pt x="1483043" y="369570"/>
                  </a:lnTo>
                  <a:lnTo>
                    <a:pt x="1477328" y="364808"/>
                  </a:lnTo>
                  <a:lnTo>
                    <a:pt x="1463993" y="355283"/>
                  </a:lnTo>
                  <a:lnTo>
                    <a:pt x="1449705" y="346710"/>
                  </a:lnTo>
                  <a:lnTo>
                    <a:pt x="1435418" y="338138"/>
                  </a:lnTo>
                  <a:lnTo>
                    <a:pt x="1420178" y="331470"/>
                  </a:lnTo>
                  <a:lnTo>
                    <a:pt x="1404938" y="324803"/>
                  </a:lnTo>
                  <a:lnTo>
                    <a:pt x="1389698" y="319088"/>
                  </a:lnTo>
                  <a:lnTo>
                    <a:pt x="1374458" y="313373"/>
                  </a:lnTo>
                  <a:lnTo>
                    <a:pt x="1359218" y="308610"/>
                  </a:lnTo>
                  <a:lnTo>
                    <a:pt x="1343978" y="304800"/>
                  </a:lnTo>
                  <a:lnTo>
                    <a:pt x="1327785" y="301943"/>
                  </a:lnTo>
                  <a:lnTo>
                    <a:pt x="1312545" y="300038"/>
                  </a:lnTo>
                  <a:lnTo>
                    <a:pt x="1297305" y="300038"/>
                  </a:lnTo>
                  <a:lnTo>
                    <a:pt x="1297305" y="300038"/>
                  </a:lnTo>
                  <a:close/>
                  <a:moveTo>
                    <a:pt x="1543050" y="619125"/>
                  </a:moveTo>
                  <a:lnTo>
                    <a:pt x="1546860" y="608648"/>
                  </a:lnTo>
                  <a:lnTo>
                    <a:pt x="1549718" y="598170"/>
                  </a:lnTo>
                  <a:lnTo>
                    <a:pt x="1552575" y="587693"/>
                  </a:lnTo>
                  <a:lnTo>
                    <a:pt x="1554480" y="576263"/>
                  </a:lnTo>
                  <a:lnTo>
                    <a:pt x="1556385" y="564833"/>
                  </a:lnTo>
                  <a:lnTo>
                    <a:pt x="1557338" y="552450"/>
                  </a:lnTo>
                  <a:lnTo>
                    <a:pt x="1558290" y="540068"/>
                  </a:lnTo>
                  <a:lnTo>
                    <a:pt x="1559243" y="526733"/>
                  </a:lnTo>
                  <a:lnTo>
                    <a:pt x="1559243" y="517208"/>
                  </a:lnTo>
                  <a:lnTo>
                    <a:pt x="1559243" y="508635"/>
                  </a:lnTo>
                  <a:lnTo>
                    <a:pt x="1558290" y="500063"/>
                  </a:lnTo>
                  <a:lnTo>
                    <a:pt x="1557338" y="491490"/>
                  </a:lnTo>
                  <a:lnTo>
                    <a:pt x="1555433" y="482918"/>
                  </a:lnTo>
                  <a:lnTo>
                    <a:pt x="1553528" y="474345"/>
                  </a:lnTo>
                  <a:lnTo>
                    <a:pt x="1550670" y="465773"/>
                  </a:lnTo>
                  <a:lnTo>
                    <a:pt x="1547813" y="458153"/>
                  </a:lnTo>
                  <a:lnTo>
                    <a:pt x="1555433" y="462915"/>
                  </a:lnTo>
                  <a:lnTo>
                    <a:pt x="1564005" y="467678"/>
                  </a:lnTo>
                  <a:lnTo>
                    <a:pt x="1571625" y="472440"/>
                  </a:lnTo>
                  <a:lnTo>
                    <a:pt x="1579245" y="477203"/>
                  </a:lnTo>
                  <a:lnTo>
                    <a:pt x="1583055" y="495300"/>
                  </a:lnTo>
                  <a:lnTo>
                    <a:pt x="1586865" y="526733"/>
                  </a:lnTo>
                  <a:lnTo>
                    <a:pt x="1586865" y="544830"/>
                  </a:lnTo>
                  <a:lnTo>
                    <a:pt x="1623060" y="590550"/>
                  </a:lnTo>
                  <a:lnTo>
                    <a:pt x="1604963" y="594360"/>
                  </a:lnTo>
                  <a:lnTo>
                    <a:pt x="1616393" y="608648"/>
                  </a:lnTo>
                  <a:lnTo>
                    <a:pt x="1584960" y="639128"/>
                  </a:lnTo>
                  <a:lnTo>
                    <a:pt x="1573530" y="618173"/>
                  </a:lnTo>
                  <a:lnTo>
                    <a:pt x="1564958" y="638175"/>
                  </a:lnTo>
                  <a:lnTo>
                    <a:pt x="1559243" y="633413"/>
                  </a:lnTo>
                  <a:lnTo>
                    <a:pt x="1553528" y="628650"/>
                  </a:lnTo>
                  <a:lnTo>
                    <a:pt x="1547813" y="623888"/>
                  </a:lnTo>
                  <a:lnTo>
                    <a:pt x="1543050" y="619125"/>
                  </a:lnTo>
                  <a:lnTo>
                    <a:pt x="1543050" y="619125"/>
                  </a:lnTo>
                  <a:close/>
                  <a:moveTo>
                    <a:pt x="1140143" y="318135"/>
                  </a:moveTo>
                  <a:lnTo>
                    <a:pt x="1129665" y="322898"/>
                  </a:lnTo>
                  <a:lnTo>
                    <a:pt x="1119188" y="327660"/>
                  </a:lnTo>
                  <a:lnTo>
                    <a:pt x="1108710" y="332423"/>
                  </a:lnTo>
                  <a:lnTo>
                    <a:pt x="1098233" y="337185"/>
                  </a:lnTo>
                  <a:lnTo>
                    <a:pt x="1087755" y="341948"/>
                  </a:lnTo>
                  <a:lnTo>
                    <a:pt x="1077278" y="346710"/>
                  </a:lnTo>
                  <a:lnTo>
                    <a:pt x="1066800" y="351473"/>
                  </a:lnTo>
                  <a:lnTo>
                    <a:pt x="1056323" y="356235"/>
                  </a:lnTo>
                  <a:lnTo>
                    <a:pt x="1046798" y="358140"/>
                  </a:lnTo>
                  <a:lnTo>
                    <a:pt x="1038225" y="360045"/>
                  </a:lnTo>
                  <a:lnTo>
                    <a:pt x="1029653" y="361950"/>
                  </a:lnTo>
                  <a:lnTo>
                    <a:pt x="1021080" y="364808"/>
                  </a:lnTo>
                  <a:lnTo>
                    <a:pt x="1012508" y="367665"/>
                  </a:lnTo>
                  <a:lnTo>
                    <a:pt x="1004888" y="370523"/>
                  </a:lnTo>
                  <a:lnTo>
                    <a:pt x="997268" y="374333"/>
                  </a:lnTo>
                  <a:lnTo>
                    <a:pt x="989648" y="378143"/>
                  </a:lnTo>
                  <a:lnTo>
                    <a:pt x="982028" y="382905"/>
                  </a:lnTo>
                  <a:lnTo>
                    <a:pt x="974408" y="387668"/>
                  </a:lnTo>
                  <a:lnTo>
                    <a:pt x="967740" y="392430"/>
                  </a:lnTo>
                  <a:lnTo>
                    <a:pt x="961073" y="397193"/>
                  </a:lnTo>
                  <a:lnTo>
                    <a:pt x="954405" y="402908"/>
                  </a:lnTo>
                  <a:lnTo>
                    <a:pt x="947738" y="408623"/>
                  </a:lnTo>
                  <a:lnTo>
                    <a:pt x="942023" y="414338"/>
                  </a:lnTo>
                  <a:lnTo>
                    <a:pt x="936308" y="420053"/>
                  </a:lnTo>
                  <a:lnTo>
                    <a:pt x="930593" y="426720"/>
                  </a:lnTo>
                  <a:lnTo>
                    <a:pt x="923925" y="428625"/>
                  </a:lnTo>
                  <a:lnTo>
                    <a:pt x="919163" y="436245"/>
                  </a:lnTo>
                  <a:lnTo>
                    <a:pt x="914400" y="443865"/>
                  </a:lnTo>
                  <a:lnTo>
                    <a:pt x="909638" y="451485"/>
                  </a:lnTo>
                  <a:lnTo>
                    <a:pt x="904875" y="460058"/>
                  </a:lnTo>
                  <a:lnTo>
                    <a:pt x="900113" y="468630"/>
                  </a:lnTo>
                  <a:lnTo>
                    <a:pt x="895350" y="476250"/>
                  </a:lnTo>
                  <a:lnTo>
                    <a:pt x="891540" y="485775"/>
                  </a:lnTo>
                  <a:lnTo>
                    <a:pt x="887730" y="495300"/>
                  </a:lnTo>
                  <a:lnTo>
                    <a:pt x="883920" y="504825"/>
                  </a:lnTo>
                  <a:lnTo>
                    <a:pt x="880110" y="515303"/>
                  </a:lnTo>
                  <a:lnTo>
                    <a:pt x="877253" y="525780"/>
                  </a:lnTo>
                  <a:lnTo>
                    <a:pt x="874395" y="536258"/>
                  </a:lnTo>
                  <a:lnTo>
                    <a:pt x="871538" y="546735"/>
                  </a:lnTo>
                  <a:lnTo>
                    <a:pt x="868680" y="558165"/>
                  </a:lnTo>
                  <a:lnTo>
                    <a:pt x="868680" y="558165"/>
                  </a:lnTo>
                  <a:lnTo>
                    <a:pt x="868680" y="558165"/>
                  </a:lnTo>
                  <a:lnTo>
                    <a:pt x="868680" y="560070"/>
                  </a:lnTo>
                  <a:lnTo>
                    <a:pt x="868680" y="562928"/>
                  </a:lnTo>
                  <a:lnTo>
                    <a:pt x="866775" y="562928"/>
                  </a:lnTo>
                  <a:lnTo>
                    <a:pt x="865823" y="571500"/>
                  </a:lnTo>
                  <a:lnTo>
                    <a:pt x="863918" y="578168"/>
                  </a:lnTo>
                  <a:lnTo>
                    <a:pt x="861060" y="584835"/>
                  </a:lnTo>
                  <a:lnTo>
                    <a:pt x="857250" y="589598"/>
                  </a:lnTo>
                  <a:lnTo>
                    <a:pt x="853440" y="595313"/>
                  </a:lnTo>
                  <a:lnTo>
                    <a:pt x="849630" y="600075"/>
                  </a:lnTo>
                  <a:lnTo>
                    <a:pt x="844868" y="603885"/>
                  </a:lnTo>
                  <a:lnTo>
                    <a:pt x="840105" y="607695"/>
                  </a:lnTo>
                  <a:lnTo>
                    <a:pt x="834390" y="610553"/>
                  </a:lnTo>
                  <a:lnTo>
                    <a:pt x="828675" y="613410"/>
                  </a:lnTo>
                  <a:lnTo>
                    <a:pt x="822960" y="615315"/>
                  </a:lnTo>
                  <a:lnTo>
                    <a:pt x="819150" y="617220"/>
                  </a:lnTo>
                  <a:lnTo>
                    <a:pt x="812483" y="619125"/>
                  </a:lnTo>
                  <a:lnTo>
                    <a:pt x="805815" y="620078"/>
                  </a:lnTo>
                  <a:lnTo>
                    <a:pt x="799148" y="620078"/>
                  </a:lnTo>
                  <a:lnTo>
                    <a:pt x="792480" y="620078"/>
                  </a:lnTo>
                  <a:lnTo>
                    <a:pt x="796290" y="621030"/>
                  </a:lnTo>
                  <a:lnTo>
                    <a:pt x="801053" y="621983"/>
                  </a:lnTo>
                  <a:lnTo>
                    <a:pt x="806768" y="621983"/>
                  </a:lnTo>
                  <a:lnTo>
                    <a:pt x="812483" y="621983"/>
                  </a:lnTo>
                  <a:lnTo>
                    <a:pt x="818198" y="621983"/>
                  </a:lnTo>
                  <a:lnTo>
                    <a:pt x="824865" y="621030"/>
                  </a:lnTo>
                  <a:lnTo>
                    <a:pt x="832485" y="619125"/>
                  </a:lnTo>
                  <a:lnTo>
                    <a:pt x="841058" y="616268"/>
                  </a:lnTo>
                  <a:lnTo>
                    <a:pt x="837248" y="625793"/>
                  </a:lnTo>
                  <a:lnTo>
                    <a:pt x="834390" y="635318"/>
                  </a:lnTo>
                  <a:lnTo>
                    <a:pt x="833438" y="638175"/>
                  </a:lnTo>
                  <a:lnTo>
                    <a:pt x="832485" y="642938"/>
                  </a:lnTo>
                  <a:lnTo>
                    <a:pt x="831533" y="647700"/>
                  </a:lnTo>
                  <a:lnTo>
                    <a:pt x="831533" y="652463"/>
                  </a:lnTo>
                  <a:lnTo>
                    <a:pt x="834390" y="645795"/>
                  </a:lnTo>
                  <a:lnTo>
                    <a:pt x="837248" y="639128"/>
                  </a:lnTo>
                  <a:lnTo>
                    <a:pt x="840105" y="632460"/>
                  </a:lnTo>
                  <a:lnTo>
                    <a:pt x="843915" y="626745"/>
                  </a:lnTo>
                  <a:lnTo>
                    <a:pt x="846773" y="621030"/>
                  </a:lnTo>
                  <a:lnTo>
                    <a:pt x="850583" y="615315"/>
                  </a:lnTo>
                  <a:lnTo>
                    <a:pt x="854393" y="609600"/>
                  </a:lnTo>
                  <a:lnTo>
                    <a:pt x="858203" y="604838"/>
                  </a:lnTo>
                  <a:lnTo>
                    <a:pt x="862013" y="600075"/>
                  </a:lnTo>
                  <a:lnTo>
                    <a:pt x="865823" y="595313"/>
                  </a:lnTo>
                  <a:lnTo>
                    <a:pt x="869633" y="591503"/>
                  </a:lnTo>
                  <a:lnTo>
                    <a:pt x="873443" y="588645"/>
                  </a:lnTo>
                  <a:lnTo>
                    <a:pt x="878205" y="585788"/>
                  </a:lnTo>
                  <a:lnTo>
                    <a:pt x="882015" y="583883"/>
                  </a:lnTo>
                  <a:lnTo>
                    <a:pt x="886778" y="581978"/>
                  </a:lnTo>
                  <a:lnTo>
                    <a:pt x="891540" y="581025"/>
                  </a:lnTo>
                  <a:lnTo>
                    <a:pt x="893445" y="581025"/>
                  </a:lnTo>
                  <a:lnTo>
                    <a:pt x="924878" y="571500"/>
                  </a:lnTo>
                  <a:lnTo>
                    <a:pt x="936308" y="565785"/>
                  </a:lnTo>
                  <a:lnTo>
                    <a:pt x="947738" y="560070"/>
                  </a:lnTo>
                  <a:lnTo>
                    <a:pt x="959168" y="554355"/>
                  </a:lnTo>
                  <a:lnTo>
                    <a:pt x="969645" y="548640"/>
                  </a:lnTo>
                  <a:lnTo>
                    <a:pt x="981075" y="541973"/>
                  </a:lnTo>
                  <a:lnTo>
                    <a:pt x="991553" y="535305"/>
                  </a:lnTo>
                  <a:lnTo>
                    <a:pt x="1002030" y="528638"/>
                  </a:lnTo>
                  <a:lnTo>
                    <a:pt x="1012508" y="521970"/>
                  </a:lnTo>
                  <a:lnTo>
                    <a:pt x="1022985" y="514350"/>
                  </a:lnTo>
                  <a:lnTo>
                    <a:pt x="1032510" y="506730"/>
                  </a:lnTo>
                  <a:lnTo>
                    <a:pt x="1042035" y="498158"/>
                  </a:lnTo>
                  <a:lnTo>
                    <a:pt x="1051560" y="489585"/>
                  </a:lnTo>
                  <a:lnTo>
                    <a:pt x="1061085" y="481013"/>
                  </a:lnTo>
                  <a:lnTo>
                    <a:pt x="1070610" y="471488"/>
                  </a:lnTo>
                  <a:lnTo>
                    <a:pt x="1079183" y="461963"/>
                  </a:lnTo>
                  <a:lnTo>
                    <a:pt x="1087755" y="451485"/>
                  </a:lnTo>
                  <a:lnTo>
                    <a:pt x="1144905" y="416243"/>
                  </a:lnTo>
                  <a:lnTo>
                    <a:pt x="1140143" y="318135"/>
                  </a:lnTo>
                  <a:lnTo>
                    <a:pt x="1140143" y="318135"/>
                  </a:lnTo>
                  <a:close/>
                  <a:moveTo>
                    <a:pt x="953453" y="466725"/>
                  </a:moveTo>
                  <a:lnTo>
                    <a:pt x="966788" y="441008"/>
                  </a:lnTo>
                  <a:lnTo>
                    <a:pt x="986790" y="441008"/>
                  </a:lnTo>
                  <a:lnTo>
                    <a:pt x="975360" y="462915"/>
                  </a:lnTo>
                  <a:lnTo>
                    <a:pt x="953453" y="466725"/>
                  </a:lnTo>
                  <a:lnTo>
                    <a:pt x="953453" y="466725"/>
                  </a:lnTo>
                  <a:close/>
                  <a:moveTo>
                    <a:pt x="1222058" y="0"/>
                  </a:moveTo>
                  <a:lnTo>
                    <a:pt x="1204913" y="0"/>
                  </a:lnTo>
                  <a:lnTo>
                    <a:pt x="1186815" y="6668"/>
                  </a:lnTo>
                  <a:lnTo>
                    <a:pt x="1176338" y="13335"/>
                  </a:lnTo>
                  <a:lnTo>
                    <a:pt x="1165860" y="23813"/>
                  </a:lnTo>
                  <a:lnTo>
                    <a:pt x="1158240" y="38100"/>
                  </a:lnTo>
                  <a:lnTo>
                    <a:pt x="1154430" y="52388"/>
                  </a:lnTo>
                  <a:lnTo>
                    <a:pt x="1152525" y="84773"/>
                  </a:lnTo>
                  <a:lnTo>
                    <a:pt x="1152525" y="120015"/>
                  </a:lnTo>
                  <a:lnTo>
                    <a:pt x="1159193" y="155258"/>
                  </a:lnTo>
                  <a:lnTo>
                    <a:pt x="1169670" y="211455"/>
                  </a:lnTo>
                  <a:lnTo>
                    <a:pt x="1180148" y="657225"/>
                  </a:lnTo>
                  <a:lnTo>
                    <a:pt x="1225868" y="646748"/>
                  </a:lnTo>
                  <a:lnTo>
                    <a:pt x="1261110" y="640080"/>
                  </a:lnTo>
                  <a:lnTo>
                    <a:pt x="1271588" y="212408"/>
                  </a:lnTo>
                  <a:lnTo>
                    <a:pt x="1282065" y="156210"/>
                  </a:lnTo>
                  <a:lnTo>
                    <a:pt x="1285875" y="120968"/>
                  </a:lnTo>
                  <a:lnTo>
                    <a:pt x="1289685" y="85725"/>
                  </a:lnTo>
                  <a:lnTo>
                    <a:pt x="1289685" y="53340"/>
                  </a:lnTo>
                  <a:lnTo>
                    <a:pt x="1282065" y="35243"/>
                  </a:lnTo>
                  <a:lnTo>
                    <a:pt x="1278255" y="24765"/>
                  </a:lnTo>
                  <a:lnTo>
                    <a:pt x="1267778" y="14288"/>
                  </a:lnTo>
                  <a:lnTo>
                    <a:pt x="1257300" y="7620"/>
                  </a:lnTo>
                  <a:lnTo>
                    <a:pt x="1240155" y="0"/>
                  </a:lnTo>
                  <a:lnTo>
                    <a:pt x="1222058" y="0"/>
                  </a:lnTo>
                  <a:lnTo>
                    <a:pt x="1222058" y="0"/>
                  </a:lnTo>
                  <a:close/>
                  <a:moveTo>
                    <a:pt x="1386840" y="280035"/>
                  </a:moveTo>
                  <a:lnTo>
                    <a:pt x="1394460" y="272415"/>
                  </a:lnTo>
                  <a:lnTo>
                    <a:pt x="1379220" y="264795"/>
                  </a:lnTo>
                  <a:lnTo>
                    <a:pt x="1335405" y="264795"/>
                  </a:lnTo>
                  <a:lnTo>
                    <a:pt x="1324928" y="272415"/>
                  </a:lnTo>
                  <a:lnTo>
                    <a:pt x="1299210" y="268605"/>
                  </a:lnTo>
                  <a:lnTo>
                    <a:pt x="1299210" y="276225"/>
                  </a:lnTo>
                  <a:lnTo>
                    <a:pt x="1343025" y="280035"/>
                  </a:lnTo>
                  <a:lnTo>
                    <a:pt x="1364933" y="280035"/>
                  </a:lnTo>
                  <a:lnTo>
                    <a:pt x="1386840" y="280035"/>
                  </a:lnTo>
                  <a:lnTo>
                    <a:pt x="1386840" y="280035"/>
                  </a:lnTo>
                  <a:close/>
                  <a:moveTo>
                    <a:pt x="1303973" y="1173480"/>
                  </a:moveTo>
                  <a:lnTo>
                    <a:pt x="1303973" y="1169670"/>
                  </a:lnTo>
                  <a:lnTo>
                    <a:pt x="1296353" y="1163003"/>
                  </a:lnTo>
                  <a:lnTo>
                    <a:pt x="1281113" y="1152525"/>
                  </a:lnTo>
                  <a:lnTo>
                    <a:pt x="1277303" y="1152525"/>
                  </a:lnTo>
                  <a:lnTo>
                    <a:pt x="1277303" y="1202055"/>
                  </a:lnTo>
                  <a:lnTo>
                    <a:pt x="1295400" y="1187768"/>
                  </a:lnTo>
                  <a:lnTo>
                    <a:pt x="1303020" y="1181100"/>
                  </a:lnTo>
                  <a:lnTo>
                    <a:pt x="1303020" y="1173480"/>
                  </a:lnTo>
                  <a:lnTo>
                    <a:pt x="1303973" y="1173480"/>
                  </a:lnTo>
                  <a:close/>
                  <a:moveTo>
                    <a:pt x="1830705" y="715328"/>
                  </a:moveTo>
                  <a:lnTo>
                    <a:pt x="1830705" y="715328"/>
                  </a:lnTo>
                  <a:lnTo>
                    <a:pt x="1836420" y="717233"/>
                  </a:lnTo>
                  <a:lnTo>
                    <a:pt x="1840230" y="710565"/>
                  </a:lnTo>
                  <a:lnTo>
                    <a:pt x="1815465" y="668655"/>
                  </a:lnTo>
                  <a:lnTo>
                    <a:pt x="1786890" y="625793"/>
                  </a:lnTo>
                  <a:lnTo>
                    <a:pt x="1763078" y="606743"/>
                  </a:lnTo>
                  <a:lnTo>
                    <a:pt x="1751648" y="592455"/>
                  </a:lnTo>
                  <a:lnTo>
                    <a:pt x="1740218" y="578168"/>
                  </a:lnTo>
                  <a:lnTo>
                    <a:pt x="1727835" y="564833"/>
                  </a:lnTo>
                  <a:lnTo>
                    <a:pt x="1715453" y="551498"/>
                  </a:lnTo>
                  <a:lnTo>
                    <a:pt x="1812608" y="454343"/>
                  </a:lnTo>
                  <a:lnTo>
                    <a:pt x="1825943" y="467678"/>
                  </a:lnTo>
                  <a:lnTo>
                    <a:pt x="1838325" y="481965"/>
                  </a:lnTo>
                  <a:lnTo>
                    <a:pt x="1850708" y="496253"/>
                  </a:lnTo>
                  <a:lnTo>
                    <a:pt x="1862138" y="510540"/>
                  </a:lnTo>
                  <a:lnTo>
                    <a:pt x="1873568" y="525780"/>
                  </a:lnTo>
                  <a:lnTo>
                    <a:pt x="1884998" y="541020"/>
                  </a:lnTo>
                  <a:lnTo>
                    <a:pt x="1895475" y="556260"/>
                  </a:lnTo>
                  <a:lnTo>
                    <a:pt x="1905953" y="571500"/>
                  </a:lnTo>
                  <a:lnTo>
                    <a:pt x="1916430" y="586740"/>
                  </a:lnTo>
                  <a:lnTo>
                    <a:pt x="1925955" y="602933"/>
                  </a:lnTo>
                  <a:lnTo>
                    <a:pt x="1935480" y="619125"/>
                  </a:lnTo>
                  <a:lnTo>
                    <a:pt x="1945005" y="635318"/>
                  </a:lnTo>
                  <a:lnTo>
                    <a:pt x="1953578" y="651510"/>
                  </a:lnTo>
                  <a:lnTo>
                    <a:pt x="1962150" y="668655"/>
                  </a:lnTo>
                  <a:lnTo>
                    <a:pt x="1969770" y="685800"/>
                  </a:lnTo>
                  <a:lnTo>
                    <a:pt x="1977390" y="702945"/>
                  </a:lnTo>
                  <a:lnTo>
                    <a:pt x="1985010" y="721043"/>
                  </a:lnTo>
                  <a:lnTo>
                    <a:pt x="1991678" y="739140"/>
                  </a:lnTo>
                  <a:lnTo>
                    <a:pt x="1997393" y="757238"/>
                  </a:lnTo>
                  <a:lnTo>
                    <a:pt x="2003108" y="775335"/>
                  </a:lnTo>
                  <a:lnTo>
                    <a:pt x="2008823" y="794385"/>
                  </a:lnTo>
                  <a:lnTo>
                    <a:pt x="2013585" y="812483"/>
                  </a:lnTo>
                  <a:lnTo>
                    <a:pt x="2018348" y="831533"/>
                  </a:lnTo>
                  <a:lnTo>
                    <a:pt x="2023110" y="850583"/>
                  </a:lnTo>
                  <a:lnTo>
                    <a:pt x="2026920" y="869633"/>
                  </a:lnTo>
                  <a:lnTo>
                    <a:pt x="2030730" y="888683"/>
                  </a:lnTo>
                  <a:lnTo>
                    <a:pt x="2033588" y="907733"/>
                  </a:lnTo>
                  <a:lnTo>
                    <a:pt x="2035493" y="927735"/>
                  </a:lnTo>
                  <a:lnTo>
                    <a:pt x="2037398" y="947738"/>
                  </a:lnTo>
                  <a:lnTo>
                    <a:pt x="2038350" y="967740"/>
                  </a:lnTo>
                  <a:lnTo>
                    <a:pt x="2039303" y="987743"/>
                  </a:lnTo>
                  <a:lnTo>
                    <a:pt x="2039303" y="1007745"/>
                  </a:lnTo>
                  <a:lnTo>
                    <a:pt x="1902143" y="1007745"/>
                  </a:lnTo>
                  <a:lnTo>
                    <a:pt x="1901190" y="987743"/>
                  </a:lnTo>
                  <a:lnTo>
                    <a:pt x="1900238" y="967740"/>
                  </a:lnTo>
                  <a:lnTo>
                    <a:pt x="1898333" y="948690"/>
                  </a:lnTo>
                  <a:lnTo>
                    <a:pt x="1896428" y="929640"/>
                  </a:lnTo>
                  <a:lnTo>
                    <a:pt x="1893570" y="910590"/>
                  </a:lnTo>
                  <a:lnTo>
                    <a:pt x="1889760" y="891540"/>
                  </a:lnTo>
                  <a:lnTo>
                    <a:pt x="1885950" y="872490"/>
                  </a:lnTo>
                  <a:lnTo>
                    <a:pt x="1881188" y="854393"/>
                  </a:lnTo>
                  <a:lnTo>
                    <a:pt x="1876425" y="836295"/>
                  </a:lnTo>
                  <a:lnTo>
                    <a:pt x="1871663" y="818198"/>
                  </a:lnTo>
                  <a:lnTo>
                    <a:pt x="1865948" y="800100"/>
                  </a:lnTo>
                  <a:lnTo>
                    <a:pt x="1859280" y="782955"/>
                  </a:lnTo>
                  <a:lnTo>
                    <a:pt x="1852613" y="765810"/>
                  </a:lnTo>
                  <a:lnTo>
                    <a:pt x="1844993" y="748665"/>
                  </a:lnTo>
                  <a:lnTo>
                    <a:pt x="1837373" y="731520"/>
                  </a:lnTo>
                  <a:lnTo>
                    <a:pt x="1830705" y="715328"/>
                  </a:lnTo>
                  <a:lnTo>
                    <a:pt x="1830705" y="715328"/>
                  </a:lnTo>
                  <a:close/>
                  <a:moveTo>
                    <a:pt x="1635443" y="633413"/>
                  </a:moveTo>
                  <a:lnTo>
                    <a:pt x="1635443" y="633413"/>
                  </a:lnTo>
                  <a:lnTo>
                    <a:pt x="1635443" y="633413"/>
                  </a:lnTo>
                  <a:lnTo>
                    <a:pt x="1669733" y="638175"/>
                  </a:lnTo>
                  <a:lnTo>
                    <a:pt x="1676400" y="648653"/>
                  </a:lnTo>
                  <a:lnTo>
                    <a:pt x="1672590" y="662940"/>
                  </a:lnTo>
                  <a:lnTo>
                    <a:pt x="1718310" y="691515"/>
                  </a:lnTo>
                  <a:lnTo>
                    <a:pt x="1725930" y="687705"/>
                  </a:lnTo>
                  <a:lnTo>
                    <a:pt x="1784985" y="758190"/>
                  </a:lnTo>
                  <a:lnTo>
                    <a:pt x="1808798" y="747713"/>
                  </a:lnTo>
                  <a:lnTo>
                    <a:pt x="1809750" y="746760"/>
                  </a:lnTo>
                  <a:lnTo>
                    <a:pt x="1810703" y="745808"/>
                  </a:lnTo>
                  <a:lnTo>
                    <a:pt x="1817370" y="761048"/>
                  </a:lnTo>
                  <a:lnTo>
                    <a:pt x="1824038" y="776288"/>
                  </a:lnTo>
                  <a:lnTo>
                    <a:pt x="1829753" y="791528"/>
                  </a:lnTo>
                  <a:lnTo>
                    <a:pt x="1835468" y="806768"/>
                  </a:lnTo>
                  <a:lnTo>
                    <a:pt x="1840230" y="822960"/>
                  </a:lnTo>
                  <a:lnTo>
                    <a:pt x="1844993" y="838200"/>
                  </a:lnTo>
                  <a:lnTo>
                    <a:pt x="1849755" y="854393"/>
                  </a:lnTo>
                  <a:lnTo>
                    <a:pt x="1853565" y="870585"/>
                  </a:lnTo>
                  <a:lnTo>
                    <a:pt x="1857375" y="886778"/>
                  </a:lnTo>
                  <a:lnTo>
                    <a:pt x="1861185" y="902970"/>
                  </a:lnTo>
                  <a:lnTo>
                    <a:pt x="1864043" y="920115"/>
                  </a:lnTo>
                  <a:lnTo>
                    <a:pt x="1866900" y="937260"/>
                  </a:lnTo>
                  <a:lnTo>
                    <a:pt x="1868805" y="954405"/>
                  </a:lnTo>
                  <a:lnTo>
                    <a:pt x="1870710" y="971550"/>
                  </a:lnTo>
                  <a:lnTo>
                    <a:pt x="1871663" y="988695"/>
                  </a:lnTo>
                  <a:lnTo>
                    <a:pt x="1872615" y="1006793"/>
                  </a:lnTo>
                  <a:lnTo>
                    <a:pt x="1735455" y="1006793"/>
                  </a:lnTo>
                  <a:lnTo>
                    <a:pt x="1734503" y="993458"/>
                  </a:lnTo>
                  <a:lnTo>
                    <a:pt x="1733550" y="980123"/>
                  </a:lnTo>
                  <a:lnTo>
                    <a:pt x="1732598" y="966788"/>
                  </a:lnTo>
                  <a:lnTo>
                    <a:pt x="1730693" y="953453"/>
                  </a:lnTo>
                  <a:lnTo>
                    <a:pt x="1728788" y="940118"/>
                  </a:lnTo>
                  <a:lnTo>
                    <a:pt x="1726883" y="926783"/>
                  </a:lnTo>
                  <a:lnTo>
                    <a:pt x="1724025" y="913448"/>
                  </a:lnTo>
                  <a:lnTo>
                    <a:pt x="1721168" y="901065"/>
                  </a:lnTo>
                  <a:lnTo>
                    <a:pt x="1725930" y="897255"/>
                  </a:lnTo>
                  <a:lnTo>
                    <a:pt x="1732598" y="855345"/>
                  </a:lnTo>
                  <a:lnTo>
                    <a:pt x="1725930" y="805815"/>
                  </a:lnTo>
                  <a:lnTo>
                    <a:pt x="1711643" y="752475"/>
                  </a:lnTo>
                  <a:lnTo>
                    <a:pt x="1672590" y="696278"/>
                  </a:lnTo>
                  <a:lnTo>
                    <a:pt x="1679258" y="700088"/>
                  </a:lnTo>
                  <a:lnTo>
                    <a:pt x="1685925" y="696278"/>
                  </a:lnTo>
                  <a:lnTo>
                    <a:pt x="1654493" y="675323"/>
                  </a:lnTo>
                  <a:lnTo>
                    <a:pt x="1650683" y="681990"/>
                  </a:lnTo>
                  <a:lnTo>
                    <a:pt x="1682115" y="727710"/>
                  </a:lnTo>
                  <a:lnTo>
                    <a:pt x="1700213" y="762953"/>
                  </a:lnTo>
                  <a:lnTo>
                    <a:pt x="1714500" y="798195"/>
                  </a:lnTo>
                  <a:lnTo>
                    <a:pt x="1718310" y="822960"/>
                  </a:lnTo>
                  <a:lnTo>
                    <a:pt x="1725930" y="864870"/>
                  </a:lnTo>
                  <a:lnTo>
                    <a:pt x="1711643" y="864870"/>
                  </a:lnTo>
                  <a:lnTo>
                    <a:pt x="1707833" y="854393"/>
                  </a:lnTo>
                  <a:lnTo>
                    <a:pt x="1704023" y="843915"/>
                  </a:lnTo>
                  <a:lnTo>
                    <a:pt x="1700213" y="833438"/>
                  </a:lnTo>
                  <a:lnTo>
                    <a:pt x="1696403" y="823913"/>
                  </a:lnTo>
                  <a:lnTo>
                    <a:pt x="1700213" y="818198"/>
                  </a:lnTo>
                  <a:lnTo>
                    <a:pt x="1689735" y="803910"/>
                  </a:lnTo>
                  <a:lnTo>
                    <a:pt x="1689735" y="785813"/>
                  </a:lnTo>
                  <a:lnTo>
                    <a:pt x="1679258" y="775335"/>
                  </a:lnTo>
                  <a:lnTo>
                    <a:pt x="1674495" y="775335"/>
                  </a:lnTo>
                  <a:lnTo>
                    <a:pt x="1671638" y="770573"/>
                  </a:lnTo>
                  <a:lnTo>
                    <a:pt x="1668780" y="766763"/>
                  </a:lnTo>
                  <a:lnTo>
                    <a:pt x="1665923" y="762000"/>
                  </a:lnTo>
                  <a:lnTo>
                    <a:pt x="1663065" y="757238"/>
                  </a:lnTo>
                  <a:lnTo>
                    <a:pt x="1664018" y="757238"/>
                  </a:lnTo>
                  <a:lnTo>
                    <a:pt x="1667828" y="757238"/>
                  </a:lnTo>
                  <a:lnTo>
                    <a:pt x="1664018" y="746760"/>
                  </a:lnTo>
                  <a:lnTo>
                    <a:pt x="1670685" y="742950"/>
                  </a:lnTo>
                  <a:lnTo>
                    <a:pt x="1666875" y="736283"/>
                  </a:lnTo>
                  <a:lnTo>
                    <a:pt x="1653540" y="742950"/>
                  </a:lnTo>
                  <a:lnTo>
                    <a:pt x="1653540" y="741998"/>
                  </a:lnTo>
                  <a:lnTo>
                    <a:pt x="1660208" y="721995"/>
                  </a:lnTo>
                  <a:lnTo>
                    <a:pt x="1649730" y="718185"/>
                  </a:lnTo>
                  <a:lnTo>
                    <a:pt x="1644968" y="727710"/>
                  </a:lnTo>
                  <a:lnTo>
                    <a:pt x="1633538" y="711518"/>
                  </a:lnTo>
                  <a:lnTo>
                    <a:pt x="1621155" y="696278"/>
                  </a:lnTo>
                  <a:lnTo>
                    <a:pt x="1608773" y="681038"/>
                  </a:lnTo>
                  <a:lnTo>
                    <a:pt x="1595438" y="666750"/>
                  </a:lnTo>
                  <a:lnTo>
                    <a:pt x="1635443" y="633413"/>
                  </a:lnTo>
                  <a:lnTo>
                    <a:pt x="1635443" y="633413"/>
                  </a:lnTo>
                  <a:close/>
                  <a:moveTo>
                    <a:pt x="1575435" y="690563"/>
                  </a:moveTo>
                  <a:lnTo>
                    <a:pt x="1577340" y="692468"/>
                  </a:lnTo>
                  <a:lnTo>
                    <a:pt x="1578293" y="691515"/>
                  </a:lnTo>
                  <a:lnTo>
                    <a:pt x="1596390" y="714375"/>
                  </a:lnTo>
                  <a:lnTo>
                    <a:pt x="1597343" y="713423"/>
                  </a:lnTo>
                  <a:lnTo>
                    <a:pt x="1608773" y="727710"/>
                  </a:lnTo>
                  <a:lnTo>
                    <a:pt x="1619250" y="742950"/>
                  </a:lnTo>
                  <a:lnTo>
                    <a:pt x="1628775" y="758190"/>
                  </a:lnTo>
                  <a:lnTo>
                    <a:pt x="1638300" y="773430"/>
                  </a:lnTo>
                  <a:lnTo>
                    <a:pt x="1636395" y="774383"/>
                  </a:lnTo>
                  <a:lnTo>
                    <a:pt x="1636395" y="774383"/>
                  </a:lnTo>
                  <a:lnTo>
                    <a:pt x="1623060" y="778193"/>
                  </a:lnTo>
                  <a:lnTo>
                    <a:pt x="1623060" y="800100"/>
                  </a:lnTo>
                  <a:lnTo>
                    <a:pt x="1662113" y="824865"/>
                  </a:lnTo>
                  <a:lnTo>
                    <a:pt x="1663065" y="824865"/>
                  </a:lnTo>
                  <a:lnTo>
                    <a:pt x="1664970" y="824865"/>
                  </a:lnTo>
                  <a:lnTo>
                    <a:pt x="1670685" y="839153"/>
                  </a:lnTo>
                  <a:lnTo>
                    <a:pt x="1676400" y="853440"/>
                  </a:lnTo>
                  <a:lnTo>
                    <a:pt x="1682115" y="867728"/>
                  </a:lnTo>
                  <a:lnTo>
                    <a:pt x="1686878" y="882968"/>
                  </a:lnTo>
                  <a:lnTo>
                    <a:pt x="1684020" y="884873"/>
                  </a:lnTo>
                  <a:lnTo>
                    <a:pt x="1684020" y="884873"/>
                  </a:lnTo>
                  <a:lnTo>
                    <a:pt x="1680210" y="895350"/>
                  </a:lnTo>
                  <a:lnTo>
                    <a:pt x="1665923" y="902018"/>
                  </a:lnTo>
                  <a:lnTo>
                    <a:pt x="1662113" y="923925"/>
                  </a:lnTo>
                  <a:lnTo>
                    <a:pt x="1651635" y="927735"/>
                  </a:lnTo>
                  <a:lnTo>
                    <a:pt x="1644968" y="938213"/>
                  </a:lnTo>
                  <a:lnTo>
                    <a:pt x="1638300" y="933450"/>
                  </a:lnTo>
                  <a:lnTo>
                    <a:pt x="1624013" y="933450"/>
                  </a:lnTo>
                  <a:lnTo>
                    <a:pt x="1630680" y="922973"/>
                  </a:lnTo>
                  <a:lnTo>
                    <a:pt x="1637348" y="894398"/>
                  </a:lnTo>
                  <a:lnTo>
                    <a:pt x="1647825" y="887730"/>
                  </a:lnTo>
                  <a:lnTo>
                    <a:pt x="1619250" y="862965"/>
                  </a:lnTo>
                  <a:lnTo>
                    <a:pt x="1598295" y="869633"/>
                  </a:lnTo>
                  <a:lnTo>
                    <a:pt x="1594485" y="887730"/>
                  </a:lnTo>
                  <a:lnTo>
                    <a:pt x="1583055" y="902018"/>
                  </a:lnTo>
                  <a:lnTo>
                    <a:pt x="1568768" y="891540"/>
                  </a:lnTo>
                  <a:lnTo>
                    <a:pt x="1564958" y="881063"/>
                  </a:lnTo>
                  <a:lnTo>
                    <a:pt x="1571625" y="877253"/>
                  </a:lnTo>
                  <a:lnTo>
                    <a:pt x="1575435" y="883920"/>
                  </a:lnTo>
                  <a:lnTo>
                    <a:pt x="1582103" y="880110"/>
                  </a:lnTo>
                  <a:lnTo>
                    <a:pt x="1578293" y="869633"/>
                  </a:lnTo>
                  <a:lnTo>
                    <a:pt x="1567815" y="869633"/>
                  </a:lnTo>
                  <a:lnTo>
                    <a:pt x="1567815" y="874395"/>
                  </a:lnTo>
                  <a:lnTo>
                    <a:pt x="1564005" y="874395"/>
                  </a:lnTo>
                  <a:lnTo>
                    <a:pt x="1532573" y="838200"/>
                  </a:lnTo>
                  <a:lnTo>
                    <a:pt x="1522095" y="831533"/>
                  </a:lnTo>
                  <a:lnTo>
                    <a:pt x="1525905" y="827723"/>
                  </a:lnTo>
                  <a:lnTo>
                    <a:pt x="1536383" y="823913"/>
                  </a:lnTo>
                  <a:lnTo>
                    <a:pt x="1525905" y="820103"/>
                  </a:lnTo>
                  <a:lnTo>
                    <a:pt x="1515428" y="823913"/>
                  </a:lnTo>
                  <a:lnTo>
                    <a:pt x="1523048" y="830580"/>
                  </a:lnTo>
                  <a:lnTo>
                    <a:pt x="1507808" y="830580"/>
                  </a:lnTo>
                  <a:lnTo>
                    <a:pt x="1500188" y="820103"/>
                  </a:lnTo>
                  <a:lnTo>
                    <a:pt x="1495425" y="809625"/>
                  </a:lnTo>
                  <a:lnTo>
                    <a:pt x="1486853" y="799148"/>
                  </a:lnTo>
                  <a:lnTo>
                    <a:pt x="1478280" y="789623"/>
                  </a:lnTo>
                  <a:lnTo>
                    <a:pt x="1575435" y="690563"/>
                  </a:lnTo>
                  <a:lnTo>
                    <a:pt x="1575435" y="690563"/>
                  </a:lnTo>
                  <a:close/>
                  <a:moveTo>
                    <a:pt x="1484948" y="841058"/>
                  </a:moveTo>
                  <a:lnTo>
                    <a:pt x="1483043" y="841058"/>
                  </a:lnTo>
                  <a:lnTo>
                    <a:pt x="1483043" y="842010"/>
                  </a:lnTo>
                  <a:lnTo>
                    <a:pt x="1479233" y="859155"/>
                  </a:lnTo>
                  <a:lnTo>
                    <a:pt x="1464945" y="848678"/>
                  </a:lnTo>
                  <a:lnTo>
                    <a:pt x="1454468" y="852488"/>
                  </a:lnTo>
                  <a:lnTo>
                    <a:pt x="1461135" y="862965"/>
                  </a:lnTo>
                  <a:lnTo>
                    <a:pt x="1464945" y="862965"/>
                  </a:lnTo>
                  <a:lnTo>
                    <a:pt x="1461135" y="877253"/>
                  </a:lnTo>
                  <a:lnTo>
                    <a:pt x="1454468" y="869633"/>
                  </a:lnTo>
                  <a:lnTo>
                    <a:pt x="1440180" y="865823"/>
                  </a:lnTo>
                  <a:lnTo>
                    <a:pt x="1450658" y="862013"/>
                  </a:lnTo>
                  <a:lnTo>
                    <a:pt x="1450658" y="858203"/>
                  </a:lnTo>
                  <a:lnTo>
                    <a:pt x="1440180" y="851535"/>
                  </a:lnTo>
                  <a:lnTo>
                    <a:pt x="1443990" y="823913"/>
                  </a:lnTo>
                  <a:lnTo>
                    <a:pt x="1443990" y="823913"/>
                  </a:lnTo>
                  <a:lnTo>
                    <a:pt x="1459230" y="808673"/>
                  </a:lnTo>
                  <a:lnTo>
                    <a:pt x="1465898" y="816293"/>
                  </a:lnTo>
                  <a:lnTo>
                    <a:pt x="1471613" y="823913"/>
                  </a:lnTo>
                  <a:lnTo>
                    <a:pt x="1477328" y="832485"/>
                  </a:lnTo>
                  <a:lnTo>
                    <a:pt x="1484948" y="841058"/>
                  </a:lnTo>
                  <a:lnTo>
                    <a:pt x="1484948" y="841058"/>
                  </a:lnTo>
                  <a:close/>
                  <a:moveTo>
                    <a:pt x="1548765" y="1585913"/>
                  </a:moveTo>
                  <a:lnTo>
                    <a:pt x="1562100" y="1559243"/>
                  </a:lnTo>
                  <a:lnTo>
                    <a:pt x="1554480" y="1544955"/>
                  </a:lnTo>
                  <a:lnTo>
                    <a:pt x="1575435" y="1527810"/>
                  </a:lnTo>
                  <a:lnTo>
                    <a:pt x="1575435" y="1517333"/>
                  </a:lnTo>
                  <a:lnTo>
                    <a:pt x="1558290" y="1506855"/>
                  </a:lnTo>
                  <a:lnTo>
                    <a:pt x="1571625" y="1482090"/>
                  </a:lnTo>
                  <a:lnTo>
                    <a:pt x="1592580" y="1453515"/>
                  </a:lnTo>
                  <a:lnTo>
                    <a:pt x="1571625" y="1432560"/>
                  </a:lnTo>
                  <a:lnTo>
                    <a:pt x="1558290" y="1432560"/>
                  </a:lnTo>
                  <a:lnTo>
                    <a:pt x="1548765" y="1420178"/>
                  </a:lnTo>
                  <a:lnTo>
                    <a:pt x="1556385" y="1414463"/>
                  </a:lnTo>
                  <a:lnTo>
                    <a:pt x="1564005" y="1407795"/>
                  </a:lnTo>
                  <a:lnTo>
                    <a:pt x="1570673" y="1402080"/>
                  </a:lnTo>
                  <a:lnTo>
                    <a:pt x="1577340" y="1395413"/>
                  </a:lnTo>
                  <a:lnTo>
                    <a:pt x="1626870" y="1445895"/>
                  </a:lnTo>
                  <a:lnTo>
                    <a:pt x="1626870" y="1454468"/>
                  </a:lnTo>
                  <a:lnTo>
                    <a:pt x="1626870" y="1454468"/>
                  </a:lnTo>
                  <a:lnTo>
                    <a:pt x="1636395" y="1455420"/>
                  </a:lnTo>
                  <a:lnTo>
                    <a:pt x="1673543" y="1493520"/>
                  </a:lnTo>
                  <a:lnTo>
                    <a:pt x="1659255" y="1506855"/>
                  </a:lnTo>
                  <a:lnTo>
                    <a:pt x="1644968" y="1520190"/>
                  </a:lnTo>
                  <a:lnTo>
                    <a:pt x="1629728" y="1532573"/>
                  </a:lnTo>
                  <a:lnTo>
                    <a:pt x="1614488" y="1544955"/>
                  </a:lnTo>
                  <a:lnTo>
                    <a:pt x="1598295" y="1556385"/>
                  </a:lnTo>
                  <a:lnTo>
                    <a:pt x="1582103" y="1567815"/>
                  </a:lnTo>
                  <a:lnTo>
                    <a:pt x="1565910" y="1578293"/>
                  </a:lnTo>
                  <a:lnTo>
                    <a:pt x="1548765" y="1585913"/>
                  </a:lnTo>
                  <a:lnTo>
                    <a:pt x="1548765" y="1585913"/>
                  </a:lnTo>
                  <a:close/>
                  <a:moveTo>
                    <a:pt x="1560195" y="1335405"/>
                  </a:moveTo>
                  <a:lnTo>
                    <a:pt x="1564958" y="1323023"/>
                  </a:lnTo>
                  <a:lnTo>
                    <a:pt x="1550670" y="1280160"/>
                  </a:lnTo>
                  <a:lnTo>
                    <a:pt x="1533525" y="1308735"/>
                  </a:lnTo>
                  <a:lnTo>
                    <a:pt x="1520190" y="1295400"/>
                  </a:lnTo>
                  <a:lnTo>
                    <a:pt x="1525905" y="1287780"/>
                  </a:lnTo>
                  <a:lnTo>
                    <a:pt x="1540193" y="1263015"/>
                  </a:lnTo>
                  <a:lnTo>
                    <a:pt x="1533525" y="1256348"/>
                  </a:lnTo>
                  <a:lnTo>
                    <a:pt x="1544003" y="1235393"/>
                  </a:lnTo>
                  <a:lnTo>
                    <a:pt x="1540193" y="1218248"/>
                  </a:lnTo>
                  <a:lnTo>
                    <a:pt x="1536383" y="1200150"/>
                  </a:lnTo>
                  <a:lnTo>
                    <a:pt x="1522095" y="1196340"/>
                  </a:lnTo>
                  <a:lnTo>
                    <a:pt x="1518285" y="1206818"/>
                  </a:lnTo>
                  <a:lnTo>
                    <a:pt x="1514475" y="1204913"/>
                  </a:lnTo>
                  <a:lnTo>
                    <a:pt x="1522095" y="1192530"/>
                  </a:lnTo>
                  <a:lnTo>
                    <a:pt x="1528763" y="1180148"/>
                  </a:lnTo>
                  <a:lnTo>
                    <a:pt x="1534478" y="1166813"/>
                  </a:lnTo>
                  <a:lnTo>
                    <a:pt x="1540193" y="1153478"/>
                  </a:lnTo>
                  <a:lnTo>
                    <a:pt x="1552575" y="1147763"/>
                  </a:lnTo>
                  <a:lnTo>
                    <a:pt x="1560195" y="1140143"/>
                  </a:lnTo>
                  <a:lnTo>
                    <a:pt x="1564005" y="1143953"/>
                  </a:lnTo>
                  <a:lnTo>
                    <a:pt x="1570673" y="1133475"/>
                  </a:lnTo>
                  <a:lnTo>
                    <a:pt x="1564005" y="1126808"/>
                  </a:lnTo>
                  <a:lnTo>
                    <a:pt x="1570673" y="1122998"/>
                  </a:lnTo>
                  <a:lnTo>
                    <a:pt x="1581150" y="1126808"/>
                  </a:lnTo>
                  <a:lnTo>
                    <a:pt x="1602105" y="1126808"/>
                  </a:lnTo>
                  <a:lnTo>
                    <a:pt x="1616393" y="1122998"/>
                  </a:lnTo>
                  <a:lnTo>
                    <a:pt x="1651635" y="1112520"/>
                  </a:lnTo>
                  <a:lnTo>
                    <a:pt x="1644968" y="1102043"/>
                  </a:lnTo>
                  <a:lnTo>
                    <a:pt x="1641158" y="1087755"/>
                  </a:lnTo>
                  <a:lnTo>
                    <a:pt x="1659255" y="1094423"/>
                  </a:lnTo>
                  <a:lnTo>
                    <a:pt x="1665923" y="1090613"/>
                  </a:lnTo>
                  <a:lnTo>
                    <a:pt x="1662113" y="1076325"/>
                  </a:lnTo>
                  <a:lnTo>
                    <a:pt x="1641158" y="1083945"/>
                  </a:lnTo>
                  <a:lnTo>
                    <a:pt x="1616393" y="1080135"/>
                  </a:lnTo>
                  <a:lnTo>
                    <a:pt x="1599248" y="1041083"/>
                  </a:lnTo>
                  <a:lnTo>
                    <a:pt x="1600200" y="1041083"/>
                  </a:lnTo>
                  <a:lnTo>
                    <a:pt x="1600200" y="1041083"/>
                  </a:lnTo>
                  <a:lnTo>
                    <a:pt x="1598295" y="1038225"/>
                  </a:lnTo>
                  <a:lnTo>
                    <a:pt x="1706880" y="1038225"/>
                  </a:lnTo>
                  <a:lnTo>
                    <a:pt x="1705928" y="1049655"/>
                  </a:lnTo>
                  <a:lnTo>
                    <a:pt x="1704975" y="1061085"/>
                  </a:lnTo>
                  <a:lnTo>
                    <a:pt x="1704023" y="1072515"/>
                  </a:lnTo>
                  <a:lnTo>
                    <a:pt x="1703070" y="1083945"/>
                  </a:lnTo>
                  <a:lnTo>
                    <a:pt x="1702118" y="1094423"/>
                  </a:lnTo>
                  <a:lnTo>
                    <a:pt x="1700213" y="1104900"/>
                  </a:lnTo>
                  <a:lnTo>
                    <a:pt x="1698308" y="1115378"/>
                  </a:lnTo>
                  <a:lnTo>
                    <a:pt x="1696403" y="1125855"/>
                  </a:lnTo>
                  <a:lnTo>
                    <a:pt x="1693545" y="1136333"/>
                  </a:lnTo>
                  <a:lnTo>
                    <a:pt x="1690688" y="1146810"/>
                  </a:lnTo>
                  <a:lnTo>
                    <a:pt x="1687830" y="1157288"/>
                  </a:lnTo>
                  <a:lnTo>
                    <a:pt x="1684973" y="1167765"/>
                  </a:lnTo>
                  <a:lnTo>
                    <a:pt x="1681163" y="1177290"/>
                  </a:lnTo>
                  <a:lnTo>
                    <a:pt x="1677353" y="1187768"/>
                  </a:lnTo>
                  <a:lnTo>
                    <a:pt x="1673543" y="1198245"/>
                  </a:lnTo>
                  <a:lnTo>
                    <a:pt x="1669733" y="1208723"/>
                  </a:lnTo>
                  <a:lnTo>
                    <a:pt x="1664970" y="1218248"/>
                  </a:lnTo>
                  <a:lnTo>
                    <a:pt x="1661160" y="1227773"/>
                  </a:lnTo>
                  <a:lnTo>
                    <a:pt x="1656398" y="1237298"/>
                  </a:lnTo>
                  <a:lnTo>
                    <a:pt x="1651635" y="1246823"/>
                  </a:lnTo>
                  <a:lnTo>
                    <a:pt x="1646873" y="1256348"/>
                  </a:lnTo>
                  <a:lnTo>
                    <a:pt x="1642110" y="1265873"/>
                  </a:lnTo>
                  <a:lnTo>
                    <a:pt x="1636395" y="1275398"/>
                  </a:lnTo>
                  <a:lnTo>
                    <a:pt x="1630680" y="1284923"/>
                  </a:lnTo>
                  <a:lnTo>
                    <a:pt x="1624965" y="1293495"/>
                  </a:lnTo>
                  <a:lnTo>
                    <a:pt x="1619250" y="1302068"/>
                  </a:lnTo>
                  <a:lnTo>
                    <a:pt x="1613535" y="1310640"/>
                  </a:lnTo>
                  <a:lnTo>
                    <a:pt x="1606868" y="1319213"/>
                  </a:lnTo>
                  <a:lnTo>
                    <a:pt x="1600200" y="1327785"/>
                  </a:lnTo>
                  <a:lnTo>
                    <a:pt x="1593533" y="1336358"/>
                  </a:lnTo>
                  <a:lnTo>
                    <a:pt x="1586865" y="1344930"/>
                  </a:lnTo>
                  <a:lnTo>
                    <a:pt x="1579245" y="1352550"/>
                  </a:lnTo>
                  <a:lnTo>
                    <a:pt x="1560195" y="1335405"/>
                  </a:lnTo>
                  <a:lnTo>
                    <a:pt x="1560195" y="1335405"/>
                  </a:lnTo>
                  <a:close/>
                  <a:moveTo>
                    <a:pt x="1503045" y="1320165"/>
                  </a:moveTo>
                  <a:lnTo>
                    <a:pt x="1496378" y="1321118"/>
                  </a:lnTo>
                  <a:lnTo>
                    <a:pt x="1497330" y="1322070"/>
                  </a:lnTo>
                  <a:lnTo>
                    <a:pt x="1493520" y="1325880"/>
                  </a:lnTo>
                  <a:lnTo>
                    <a:pt x="1462088" y="1319213"/>
                  </a:lnTo>
                  <a:lnTo>
                    <a:pt x="1455420" y="1323023"/>
                  </a:lnTo>
                  <a:lnTo>
                    <a:pt x="1437323" y="1308735"/>
                  </a:lnTo>
                  <a:lnTo>
                    <a:pt x="1423035" y="1304925"/>
                  </a:lnTo>
                  <a:lnTo>
                    <a:pt x="1443038" y="1288733"/>
                  </a:lnTo>
                  <a:lnTo>
                    <a:pt x="1443038" y="1286828"/>
                  </a:lnTo>
                  <a:lnTo>
                    <a:pt x="1460183" y="1278255"/>
                  </a:lnTo>
                  <a:lnTo>
                    <a:pt x="1503045" y="1320165"/>
                  </a:lnTo>
                  <a:lnTo>
                    <a:pt x="1503045" y="1320165"/>
                  </a:lnTo>
                  <a:close/>
                  <a:moveTo>
                    <a:pt x="1582103" y="1006793"/>
                  </a:moveTo>
                  <a:lnTo>
                    <a:pt x="1582103" y="1000125"/>
                  </a:lnTo>
                  <a:lnTo>
                    <a:pt x="1596390" y="989648"/>
                  </a:lnTo>
                  <a:lnTo>
                    <a:pt x="1596390" y="982980"/>
                  </a:lnTo>
                  <a:lnTo>
                    <a:pt x="1603058" y="979170"/>
                  </a:lnTo>
                  <a:lnTo>
                    <a:pt x="1620203" y="975360"/>
                  </a:lnTo>
                  <a:lnTo>
                    <a:pt x="1620203" y="967740"/>
                  </a:lnTo>
                  <a:lnTo>
                    <a:pt x="1605915" y="961073"/>
                  </a:lnTo>
                  <a:lnTo>
                    <a:pt x="1630680" y="946785"/>
                  </a:lnTo>
                  <a:lnTo>
                    <a:pt x="1654493" y="942975"/>
                  </a:lnTo>
                  <a:lnTo>
                    <a:pt x="1662113" y="928688"/>
                  </a:lnTo>
                  <a:lnTo>
                    <a:pt x="1676400" y="922020"/>
                  </a:lnTo>
                  <a:lnTo>
                    <a:pt x="1683068" y="907733"/>
                  </a:lnTo>
                  <a:lnTo>
                    <a:pt x="1686878" y="889635"/>
                  </a:lnTo>
                  <a:lnTo>
                    <a:pt x="1686878" y="891540"/>
                  </a:lnTo>
                  <a:lnTo>
                    <a:pt x="1686878" y="890588"/>
                  </a:lnTo>
                  <a:lnTo>
                    <a:pt x="1687830" y="889635"/>
                  </a:lnTo>
                  <a:lnTo>
                    <a:pt x="1688783" y="894398"/>
                  </a:lnTo>
                  <a:lnTo>
                    <a:pt x="1689735" y="899160"/>
                  </a:lnTo>
                  <a:lnTo>
                    <a:pt x="1690688" y="903923"/>
                  </a:lnTo>
                  <a:lnTo>
                    <a:pt x="1691640" y="908685"/>
                  </a:lnTo>
                  <a:lnTo>
                    <a:pt x="1687830" y="913448"/>
                  </a:lnTo>
                  <a:lnTo>
                    <a:pt x="1687830" y="913448"/>
                  </a:lnTo>
                  <a:lnTo>
                    <a:pt x="1678305" y="949643"/>
                  </a:lnTo>
                  <a:lnTo>
                    <a:pt x="1674495" y="963930"/>
                  </a:lnTo>
                  <a:lnTo>
                    <a:pt x="1689735" y="945833"/>
                  </a:lnTo>
                  <a:lnTo>
                    <a:pt x="1696403" y="935355"/>
                  </a:lnTo>
                  <a:lnTo>
                    <a:pt x="1697355" y="943928"/>
                  </a:lnTo>
                  <a:lnTo>
                    <a:pt x="1698308" y="952500"/>
                  </a:lnTo>
                  <a:lnTo>
                    <a:pt x="1699260" y="962025"/>
                  </a:lnTo>
                  <a:lnTo>
                    <a:pt x="1700213" y="970598"/>
                  </a:lnTo>
                  <a:lnTo>
                    <a:pt x="1701165" y="979170"/>
                  </a:lnTo>
                  <a:lnTo>
                    <a:pt x="1701165" y="987743"/>
                  </a:lnTo>
                  <a:lnTo>
                    <a:pt x="1701165" y="997268"/>
                  </a:lnTo>
                  <a:lnTo>
                    <a:pt x="1701165" y="1006793"/>
                  </a:lnTo>
                  <a:lnTo>
                    <a:pt x="1582103" y="1006793"/>
                  </a:lnTo>
                  <a:lnTo>
                    <a:pt x="1582103" y="1006793"/>
                  </a:lnTo>
                  <a:close/>
                  <a:moveTo>
                    <a:pt x="1417320" y="776288"/>
                  </a:moveTo>
                  <a:lnTo>
                    <a:pt x="1415415" y="778193"/>
                  </a:lnTo>
                  <a:lnTo>
                    <a:pt x="1404938" y="784860"/>
                  </a:lnTo>
                  <a:lnTo>
                    <a:pt x="1398270" y="795338"/>
                  </a:lnTo>
                  <a:lnTo>
                    <a:pt x="1391603" y="788670"/>
                  </a:lnTo>
                  <a:lnTo>
                    <a:pt x="1370648" y="795338"/>
                  </a:lnTo>
                  <a:lnTo>
                    <a:pt x="1377315" y="805815"/>
                  </a:lnTo>
                  <a:lnTo>
                    <a:pt x="1391603" y="798195"/>
                  </a:lnTo>
                  <a:lnTo>
                    <a:pt x="1402080" y="802005"/>
                  </a:lnTo>
                  <a:lnTo>
                    <a:pt x="1402080" y="795338"/>
                  </a:lnTo>
                  <a:lnTo>
                    <a:pt x="1408748" y="791528"/>
                  </a:lnTo>
                  <a:lnTo>
                    <a:pt x="1412558" y="787718"/>
                  </a:lnTo>
                  <a:lnTo>
                    <a:pt x="1423035" y="783908"/>
                  </a:lnTo>
                  <a:lnTo>
                    <a:pt x="1431608" y="783908"/>
                  </a:lnTo>
                  <a:lnTo>
                    <a:pt x="1417320" y="776288"/>
                  </a:lnTo>
                  <a:lnTo>
                    <a:pt x="1417320" y="776288"/>
                  </a:lnTo>
                  <a:close/>
                  <a:moveTo>
                    <a:pt x="1674495" y="1448753"/>
                  </a:moveTo>
                  <a:lnTo>
                    <a:pt x="1680210" y="1441133"/>
                  </a:lnTo>
                  <a:lnTo>
                    <a:pt x="1669733" y="1388745"/>
                  </a:lnTo>
                  <a:lnTo>
                    <a:pt x="1663065" y="1384935"/>
                  </a:lnTo>
                  <a:lnTo>
                    <a:pt x="1666875" y="1377315"/>
                  </a:lnTo>
                  <a:lnTo>
                    <a:pt x="1645920" y="1370648"/>
                  </a:lnTo>
                  <a:lnTo>
                    <a:pt x="1639253" y="1388745"/>
                  </a:lnTo>
                  <a:lnTo>
                    <a:pt x="1639253" y="1413510"/>
                  </a:lnTo>
                  <a:lnTo>
                    <a:pt x="1598295" y="1372553"/>
                  </a:lnTo>
                  <a:lnTo>
                    <a:pt x="1605915" y="1363980"/>
                  </a:lnTo>
                  <a:lnTo>
                    <a:pt x="1613535" y="1355408"/>
                  </a:lnTo>
                  <a:lnTo>
                    <a:pt x="1620203" y="1346835"/>
                  </a:lnTo>
                  <a:lnTo>
                    <a:pt x="1627823" y="1337310"/>
                  </a:lnTo>
                  <a:lnTo>
                    <a:pt x="1634490" y="1328738"/>
                  </a:lnTo>
                  <a:lnTo>
                    <a:pt x="1641158" y="1319213"/>
                  </a:lnTo>
                  <a:lnTo>
                    <a:pt x="1647825" y="1309688"/>
                  </a:lnTo>
                  <a:lnTo>
                    <a:pt x="1654493" y="1300163"/>
                  </a:lnTo>
                  <a:lnTo>
                    <a:pt x="1660208" y="1290638"/>
                  </a:lnTo>
                  <a:lnTo>
                    <a:pt x="1665923" y="1281113"/>
                  </a:lnTo>
                  <a:lnTo>
                    <a:pt x="1671638" y="1270635"/>
                  </a:lnTo>
                  <a:lnTo>
                    <a:pt x="1677353" y="1260158"/>
                  </a:lnTo>
                  <a:lnTo>
                    <a:pt x="1683068" y="1249680"/>
                  </a:lnTo>
                  <a:lnTo>
                    <a:pt x="1687830" y="1239203"/>
                  </a:lnTo>
                  <a:lnTo>
                    <a:pt x="1692593" y="1228725"/>
                  </a:lnTo>
                  <a:lnTo>
                    <a:pt x="1697355" y="1218248"/>
                  </a:lnTo>
                  <a:lnTo>
                    <a:pt x="1702118" y="1207770"/>
                  </a:lnTo>
                  <a:lnTo>
                    <a:pt x="1706880" y="1197293"/>
                  </a:lnTo>
                  <a:lnTo>
                    <a:pt x="1710690" y="1186815"/>
                  </a:lnTo>
                  <a:lnTo>
                    <a:pt x="1714500" y="1176338"/>
                  </a:lnTo>
                  <a:lnTo>
                    <a:pt x="1718310" y="1164908"/>
                  </a:lnTo>
                  <a:lnTo>
                    <a:pt x="1721168" y="1153478"/>
                  </a:lnTo>
                  <a:lnTo>
                    <a:pt x="1724025" y="1142048"/>
                  </a:lnTo>
                  <a:lnTo>
                    <a:pt x="1726883" y="1130618"/>
                  </a:lnTo>
                  <a:lnTo>
                    <a:pt x="1728788" y="1119188"/>
                  </a:lnTo>
                  <a:lnTo>
                    <a:pt x="1730693" y="1107758"/>
                  </a:lnTo>
                  <a:lnTo>
                    <a:pt x="1732598" y="1096328"/>
                  </a:lnTo>
                  <a:lnTo>
                    <a:pt x="1734503" y="1084898"/>
                  </a:lnTo>
                  <a:lnTo>
                    <a:pt x="1735455" y="1072515"/>
                  </a:lnTo>
                  <a:lnTo>
                    <a:pt x="1736408" y="1061085"/>
                  </a:lnTo>
                  <a:lnTo>
                    <a:pt x="1736408" y="1048703"/>
                  </a:lnTo>
                  <a:lnTo>
                    <a:pt x="1737360" y="1036320"/>
                  </a:lnTo>
                  <a:lnTo>
                    <a:pt x="1874520" y="1036320"/>
                  </a:lnTo>
                  <a:lnTo>
                    <a:pt x="1873568" y="1052513"/>
                  </a:lnTo>
                  <a:lnTo>
                    <a:pt x="1872615" y="1067753"/>
                  </a:lnTo>
                  <a:lnTo>
                    <a:pt x="1871663" y="1082993"/>
                  </a:lnTo>
                  <a:lnTo>
                    <a:pt x="1869758" y="1098233"/>
                  </a:lnTo>
                  <a:lnTo>
                    <a:pt x="1867853" y="1113473"/>
                  </a:lnTo>
                  <a:lnTo>
                    <a:pt x="1864995" y="1128713"/>
                  </a:lnTo>
                  <a:lnTo>
                    <a:pt x="1862138" y="1143953"/>
                  </a:lnTo>
                  <a:lnTo>
                    <a:pt x="1859280" y="1159193"/>
                  </a:lnTo>
                  <a:lnTo>
                    <a:pt x="1855470" y="1174433"/>
                  </a:lnTo>
                  <a:lnTo>
                    <a:pt x="1851660" y="1189673"/>
                  </a:lnTo>
                  <a:lnTo>
                    <a:pt x="1847850" y="1203960"/>
                  </a:lnTo>
                  <a:lnTo>
                    <a:pt x="1843088" y="1218248"/>
                  </a:lnTo>
                  <a:lnTo>
                    <a:pt x="1838325" y="1232535"/>
                  </a:lnTo>
                  <a:lnTo>
                    <a:pt x="1833563" y="1246823"/>
                  </a:lnTo>
                  <a:lnTo>
                    <a:pt x="1828800" y="1261110"/>
                  </a:lnTo>
                  <a:lnTo>
                    <a:pt x="1823085" y="1275398"/>
                  </a:lnTo>
                  <a:lnTo>
                    <a:pt x="1817370" y="1288733"/>
                  </a:lnTo>
                  <a:lnTo>
                    <a:pt x="1810703" y="1302068"/>
                  </a:lnTo>
                  <a:lnTo>
                    <a:pt x="1804035" y="1315403"/>
                  </a:lnTo>
                  <a:lnTo>
                    <a:pt x="1797368" y="1328738"/>
                  </a:lnTo>
                  <a:lnTo>
                    <a:pt x="1790700" y="1342073"/>
                  </a:lnTo>
                  <a:lnTo>
                    <a:pt x="1783080" y="1354455"/>
                  </a:lnTo>
                  <a:lnTo>
                    <a:pt x="1775460" y="1366838"/>
                  </a:lnTo>
                  <a:lnTo>
                    <a:pt x="1767840" y="1379220"/>
                  </a:lnTo>
                  <a:lnTo>
                    <a:pt x="1759268" y="1391603"/>
                  </a:lnTo>
                  <a:lnTo>
                    <a:pt x="1750695" y="1403985"/>
                  </a:lnTo>
                  <a:lnTo>
                    <a:pt x="1741170" y="1415415"/>
                  </a:lnTo>
                  <a:lnTo>
                    <a:pt x="1732598" y="1426845"/>
                  </a:lnTo>
                  <a:lnTo>
                    <a:pt x="1723073" y="1438275"/>
                  </a:lnTo>
                  <a:lnTo>
                    <a:pt x="1713548" y="1448753"/>
                  </a:lnTo>
                  <a:lnTo>
                    <a:pt x="1704023" y="1460183"/>
                  </a:lnTo>
                  <a:lnTo>
                    <a:pt x="1694498" y="1470660"/>
                  </a:lnTo>
                  <a:lnTo>
                    <a:pt x="1674495" y="1448753"/>
                  </a:lnTo>
                  <a:lnTo>
                    <a:pt x="1674495" y="1448753"/>
                  </a:lnTo>
                  <a:close/>
                  <a:moveTo>
                    <a:pt x="776288" y="1039178"/>
                  </a:moveTo>
                  <a:lnTo>
                    <a:pt x="776288" y="1039178"/>
                  </a:lnTo>
                  <a:lnTo>
                    <a:pt x="765810" y="1074420"/>
                  </a:lnTo>
                  <a:lnTo>
                    <a:pt x="780098" y="1084898"/>
                  </a:lnTo>
                  <a:lnTo>
                    <a:pt x="765810" y="1105853"/>
                  </a:lnTo>
                  <a:lnTo>
                    <a:pt x="744855" y="1105853"/>
                  </a:lnTo>
                  <a:lnTo>
                    <a:pt x="743903" y="1097280"/>
                  </a:lnTo>
                  <a:lnTo>
                    <a:pt x="742950" y="1088708"/>
                  </a:lnTo>
                  <a:lnTo>
                    <a:pt x="741998" y="1080135"/>
                  </a:lnTo>
                  <a:lnTo>
                    <a:pt x="741045" y="1071563"/>
                  </a:lnTo>
                  <a:lnTo>
                    <a:pt x="740093" y="1062038"/>
                  </a:lnTo>
                  <a:lnTo>
                    <a:pt x="740093" y="1053465"/>
                  </a:lnTo>
                  <a:lnTo>
                    <a:pt x="739140" y="1044893"/>
                  </a:lnTo>
                  <a:lnTo>
                    <a:pt x="738188" y="1035368"/>
                  </a:lnTo>
                  <a:lnTo>
                    <a:pt x="780098" y="1035368"/>
                  </a:lnTo>
                  <a:lnTo>
                    <a:pt x="776288" y="1039178"/>
                  </a:lnTo>
                  <a:lnTo>
                    <a:pt x="776288" y="1039178"/>
                  </a:lnTo>
                  <a:close/>
                  <a:moveTo>
                    <a:pt x="711518" y="1080135"/>
                  </a:moveTo>
                  <a:lnTo>
                    <a:pt x="709613" y="1080135"/>
                  </a:lnTo>
                  <a:lnTo>
                    <a:pt x="709613" y="1081088"/>
                  </a:lnTo>
                  <a:lnTo>
                    <a:pt x="691515" y="1084898"/>
                  </a:lnTo>
                  <a:lnTo>
                    <a:pt x="687705" y="1102043"/>
                  </a:lnTo>
                  <a:lnTo>
                    <a:pt x="652463" y="1144905"/>
                  </a:lnTo>
                  <a:lnTo>
                    <a:pt x="656273" y="1207770"/>
                  </a:lnTo>
                  <a:lnTo>
                    <a:pt x="617220" y="1218248"/>
                  </a:lnTo>
                  <a:lnTo>
                    <a:pt x="601028" y="1218248"/>
                  </a:lnTo>
                  <a:lnTo>
                    <a:pt x="594360" y="1196340"/>
                  </a:lnTo>
                  <a:lnTo>
                    <a:pt x="588645" y="1174433"/>
                  </a:lnTo>
                  <a:lnTo>
                    <a:pt x="582930" y="1152525"/>
                  </a:lnTo>
                  <a:lnTo>
                    <a:pt x="579120" y="1129665"/>
                  </a:lnTo>
                  <a:lnTo>
                    <a:pt x="575310" y="1106805"/>
                  </a:lnTo>
                  <a:lnTo>
                    <a:pt x="572453" y="1083945"/>
                  </a:lnTo>
                  <a:lnTo>
                    <a:pt x="571500" y="1072515"/>
                  </a:lnTo>
                  <a:lnTo>
                    <a:pt x="570548" y="1061085"/>
                  </a:lnTo>
                  <a:lnTo>
                    <a:pt x="571500" y="1047750"/>
                  </a:lnTo>
                  <a:lnTo>
                    <a:pt x="571500" y="1035368"/>
                  </a:lnTo>
                  <a:lnTo>
                    <a:pt x="708660" y="1035368"/>
                  </a:lnTo>
                  <a:lnTo>
                    <a:pt x="708660" y="1046798"/>
                  </a:lnTo>
                  <a:lnTo>
                    <a:pt x="709613" y="1057275"/>
                  </a:lnTo>
                  <a:lnTo>
                    <a:pt x="710565" y="1068705"/>
                  </a:lnTo>
                  <a:lnTo>
                    <a:pt x="711518" y="1080135"/>
                  </a:lnTo>
                  <a:lnTo>
                    <a:pt x="711518" y="1080135"/>
                  </a:lnTo>
                  <a:close/>
                  <a:moveTo>
                    <a:pt x="571500" y="1219200"/>
                  </a:moveTo>
                  <a:lnTo>
                    <a:pt x="567690" y="1219200"/>
                  </a:lnTo>
                  <a:lnTo>
                    <a:pt x="567690" y="1219200"/>
                  </a:lnTo>
                  <a:lnTo>
                    <a:pt x="567690" y="1221105"/>
                  </a:lnTo>
                  <a:lnTo>
                    <a:pt x="559118" y="1221105"/>
                  </a:lnTo>
                  <a:lnTo>
                    <a:pt x="552450" y="1210628"/>
                  </a:lnTo>
                  <a:lnTo>
                    <a:pt x="514350" y="1206818"/>
                  </a:lnTo>
                  <a:lnTo>
                    <a:pt x="524828" y="1223963"/>
                  </a:lnTo>
                  <a:lnTo>
                    <a:pt x="490538" y="1217295"/>
                  </a:lnTo>
                  <a:lnTo>
                    <a:pt x="501015" y="1206818"/>
                  </a:lnTo>
                  <a:lnTo>
                    <a:pt x="490538" y="1200150"/>
                  </a:lnTo>
                  <a:lnTo>
                    <a:pt x="466725" y="1210628"/>
                  </a:lnTo>
                  <a:lnTo>
                    <a:pt x="456248" y="1227773"/>
                  </a:lnTo>
                  <a:lnTo>
                    <a:pt x="460058" y="1265873"/>
                  </a:lnTo>
                  <a:lnTo>
                    <a:pt x="491490" y="1338263"/>
                  </a:lnTo>
                  <a:lnTo>
                    <a:pt x="505778" y="1359218"/>
                  </a:lnTo>
                  <a:lnTo>
                    <a:pt x="512445" y="1363028"/>
                  </a:lnTo>
                  <a:lnTo>
                    <a:pt x="491490" y="1321118"/>
                  </a:lnTo>
                  <a:lnTo>
                    <a:pt x="484823" y="1300163"/>
                  </a:lnTo>
                  <a:lnTo>
                    <a:pt x="491490" y="1293495"/>
                  </a:lnTo>
                  <a:lnTo>
                    <a:pt x="487680" y="1283018"/>
                  </a:lnTo>
                  <a:lnTo>
                    <a:pt x="501968" y="1283018"/>
                  </a:lnTo>
                  <a:lnTo>
                    <a:pt x="521970" y="1313498"/>
                  </a:lnTo>
                  <a:lnTo>
                    <a:pt x="525780" y="1317308"/>
                  </a:lnTo>
                  <a:lnTo>
                    <a:pt x="525780" y="1293495"/>
                  </a:lnTo>
                  <a:lnTo>
                    <a:pt x="533400" y="1300163"/>
                  </a:lnTo>
                  <a:lnTo>
                    <a:pt x="537210" y="1310640"/>
                  </a:lnTo>
                  <a:lnTo>
                    <a:pt x="557213" y="1318260"/>
                  </a:lnTo>
                  <a:lnTo>
                    <a:pt x="567690" y="1310640"/>
                  </a:lnTo>
                  <a:lnTo>
                    <a:pt x="572453" y="1310640"/>
                  </a:lnTo>
                  <a:lnTo>
                    <a:pt x="572453" y="1329690"/>
                  </a:lnTo>
                  <a:lnTo>
                    <a:pt x="579120" y="1343978"/>
                  </a:lnTo>
                  <a:lnTo>
                    <a:pt x="593408" y="1343978"/>
                  </a:lnTo>
                  <a:lnTo>
                    <a:pt x="618173" y="1392555"/>
                  </a:lnTo>
                  <a:lnTo>
                    <a:pt x="632460" y="1396365"/>
                  </a:lnTo>
                  <a:lnTo>
                    <a:pt x="639128" y="1375410"/>
                  </a:lnTo>
                  <a:lnTo>
                    <a:pt x="639128" y="1372553"/>
                  </a:lnTo>
                  <a:lnTo>
                    <a:pt x="639128" y="1372553"/>
                  </a:lnTo>
                  <a:lnTo>
                    <a:pt x="639128" y="1371600"/>
                  </a:lnTo>
                  <a:lnTo>
                    <a:pt x="648653" y="1387793"/>
                  </a:lnTo>
                  <a:lnTo>
                    <a:pt x="659130" y="1403985"/>
                  </a:lnTo>
                  <a:lnTo>
                    <a:pt x="669608" y="1419225"/>
                  </a:lnTo>
                  <a:lnTo>
                    <a:pt x="681038" y="1434465"/>
                  </a:lnTo>
                  <a:lnTo>
                    <a:pt x="692468" y="1449705"/>
                  </a:lnTo>
                  <a:lnTo>
                    <a:pt x="704850" y="1463993"/>
                  </a:lnTo>
                  <a:lnTo>
                    <a:pt x="718185" y="1478280"/>
                  </a:lnTo>
                  <a:lnTo>
                    <a:pt x="731520" y="1492568"/>
                  </a:lnTo>
                  <a:lnTo>
                    <a:pt x="635318" y="1588770"/>
                  </a:lnTo>
                  <a:lnTo>
                    <a:pt x="621983" y="1575435"/>
                  </a:lnTo>
                  <a:lnTo>
                    <a:pt x="609600" y="1561148"/>
                  </a:lnTo>
                  <a:lnTo>
                    <a:pt x="597218" y="1546860"/>
                  </a:lnTo>
                  <a:lnTo>
                    <a:pt x="584835" y="1532573"/>
                  </a:lnTo>
                  <a:lnTo>
                    <a:pt x="573405" y="1517333"/>
                  </a:lnTo>
                  <a:lnTo>
                    <a:pt x="561975" y="1502093"/>
                  </a:lnTo>
                  <a:lnTo>
                    <a:pt x="551498" y="1486853"/>
                  </a:lnTo>
                  <a:lnTo>
                    <a:pt x="541020" y="1471613"/>
                  </a:lnTo>
                  <a:lnTo>
                    <a:pt x="530543" y="1456373"/>
                  </a:lnTo>
                  <a:lnTo>
                    <a:pt x="521018" y="1440180"/>
                  </a:lnTo>
                  <a:lnTo>
                    <a:pt x="511493" y="1423988"/>
                  </a:lnTo>
                  <a:lnTo>
                    <a:pt x="501968" y="1407795"/>
                  </a:lnTo>
                  <a:lnTo>
                    <a:pt x="493395" y="1390650"/>
                  </a:lnTo>
                  <a:lnTo>
                    <a:pt x="484823" y="1373505"/>
                  </a:lnTo>
                  <a:lnTo>
                    <a:pt x="476250" y="1356360"/>
                  </a:lnTo>
                  <a:lnTo>
                    <a:pt x="468630" y="1339215"/>
                  </a:lnTo>
                  <a:lnTo>
                    <a:pt x="461010" y="1321118"/>
                  </a:lnTo>
                  <a:lnTo>
                    <a:pt x="454343" y="1303020"/>
                  </a:lnTo>
                  <a:lnTo>
                    <a:pt x="448628" y="1284923"/>
                  </a:lnTo>
                  <a:lnTo>
                    <a:pt x="442913" y="1266825"/>
                  </a:lnTo>
                  <a:lnTo>
                    <a:pt x="437198" y="1247775"/>
                  </a:lnTo>
                  <a:lnTo>
                    <a:pt x="432435" y="1229678"/>
                  </a:lnTo>
                  <a:lnTo>
                    <a:pt x="427673" y="1210628"/>
                  </a:lnTo>
                  <a:lnTo>
                    <a:pt x="422910" y="1191578"/>
                  </a:lnTo>
                  <a:lnTo>
                    <a:pt x="419100" y="1172528"/>
                  </a:lnTo>
                  <a:lnTo>
                    <a:pt x="415290" y="1153478"/>
                  </a:lnTo>
                  <a:lnTo>
                    <a:pt x="412433" y="1133475"/>
                  </a:lnTo>
                  <a:lnTo>
                    <a:pt x="410528" y="1113473"/>
                  </a:lnTo>
                  <a:lnTo>
                    <a:pt x="408623" y="1093470"/>
                  </a:lnTo>
                  <a:lnTo>
                    <a:pt x="406718" y="1073468"/>
                  </a:lnTo>
                  <a:lnTo>
                    <a:pt x="405765" y="1053465"/>
                  </a:lnTo>
                  <a:lnTo>
                    <a:pt x="404813" y="1033463"/>
                  </a:lnTo>
                  <a:lnTo>
                    <a:pt x="542925" y="1033463"/>
                  </a:lnTo>
                  <a:lnTo>
                    <a:pt x="543878" y="1057275"/>
                  </a:lnTo>
                  <a:lnTo>
                    <a:pt x="545783" y="1081088"/>
                  </a:lnTo>
                  <a:lnTo>
                    <a:pt x="548640" y="1103948"/>
                  </a:lnTo>
                  <a:lnTo>
                    <a:pt x="551498" y="1126808"/>
                  </a:lnTo>
                  <a:lnTo>
                    <a:pt x="556260" y="1149668"/>
                  </a:lnTo>
                  <a:lnTo>
                    <a:pt x="561023" y="1172528"/>
                  </a:lnTo>
                  <a:lnTo>
                    <a:pt x="565785" y="1194435"/>
                  </a:lnTo>
                  <a:lnTo>
                    <a:pt x="571500" y="1219200"/>
                  </a:lnTo>
                  <a:lnTo>
                    <a:pt x="571500" y="1219200"/>
                  </a:lnTo>
                  <a:close/>
                  <a:moveTo>
                    <a:pt x="724853" y="1441133"/>
                  </a:moveTo>
                  <a:lnTo>
                    <a:pt x="738188" y="1431608"/>
                  </a:lnTo>
                  <a:lnTo>
                    <a:pt x="769620" y="1448753"/>
                  </a:lnTo>
                  <a:lnTo>
                    <a:pt x="774383" y="1451610"/>
                  </a:lnTo>
                  <a:lnTo>
                    <a:pt x="753428" y="1472565"/>
                  </a:lnTo>
                  <a:lnTo>
                    <a:pt x="745808" y="1464945"/>
                  </a:lnTo>
                  <a:lnTo>
                    <a:pt x="738188" y="1457325"/>
                  </a:lnTo>
                  <a:lnTo>
                    <a:pt x="731520" y="1449705"/>
                  </a:lnTo>
                  <a:lnTo>
                    <a:pt x="724853" y="1441133"/>
                  </a:lnTo>
                  <a:lnTo>
                    <a:pt x="724853" y="1441133"/>
                  </a:lnTo>
                  <a:close/>
                  <a:moveTo>
                    <a:pt x="843915" y="1323975"/>
                  </a:moveTo>
                  <a:lnTo>
                    <a:pt x="847725" y="1290638"/>
                  </a:lnTo>
                  <a:lnTo>
                    <a:pt x="833438" y="1259205"/>
                  </a:lnTo>
                  <a:lnTo>
                    <a:pt x="829628" y="1205865"/>
                  </a:lnTo>
                  <a:lnTo>
                    <a:pt x="812483" y="1174433"/>
                  </a:lnTo>
                  <a:lnTo>
                    <a:pt x="816293" y="1153478"/>
                  </a:lnTo>
                  <a:lnTo>
                    <a:pt x="795338" y="1114425"/>
                  </a:lnTo>
                  <a:lnTo>
                    <a:pt x="778193" y="1106805"/>
                  </a:lnTo>
                  <a:lnTo>
                    <a:pt x="784860" y="1085850"/>
                  </a:lnTo>
                  <a:lnTo>
                    <a:pt x="778193" y="1067753"/>
                  </a:lnTo>
                  <a:lnTo>
                    <a:pt x="784860" y="1049655"/>
                  </a:lnTo>
                  <a:lnTo>
                    <a:pt x="805815" y="1049655"/>
                  </a:lnTo>
                  <a:lnTo>
                    <a:pt x="812483" y="1040130"/>
                  </a:lnTo>
                  <a:lnTo>
                    <a:pt x="812483" y="1039178"/>
                  </a:lnTo>
                  <a:lnTo>
                    <a:pt x="814388" y="1035368"/>
                  </a:lnTo>
                  <a:lnTo>
                    <a:pt x="842010" y="1035368"/>
                  </a:lnTo>
                  <a:lnTo>
                    <a:pt x="843915" y="1039178"/>
                  </a:lnTo>
                  <a:lnTo>
                    <a:pt x="843915" y="1039178"/>
                  </a:lnTo>
                  <a:lnTo>
                    <a:pt x="843915" y="1039178"/>
                  </a:lnTo>
                  <a:lnTo>
                    <a:pt x="843915" y="1039178"/>
                  </a:lnTo>
                  <a:lnTo>
                    <a:pt x="843915" y="1039178"/>
                  </a:lnTo>
                  <a:lnTo>
                    <a:pt x="846773" y="1049655"/>
                  </a:lnTo>
                  <a:lnTo>
                    <a:pt x="843915" y="1081088"/>
                  </a:lnTo>
                  <a:lnTo>
                    <a:pt x="837248" y="1087755"/>
                  </a:lnTo>
                  <a:lnTo>
                    <a:pt x="850583" y="1112520"/>
                  </a:lnTo>
                  <a:lnTo>
                    <a:pt x="843915" y="1119188"/>
                  </a:lnTo>
                  <a:lnTo>
                    <a:pt x="837248" y="1112520"/>
                  </a:lnTo>
                  <a:lnTo>
                    <a:pt x="834390" y="1112520"/>
                  </a:lnTo>
                  <a:lnTo>
                    <a:pt x="841058" y="1129665"/>
                  </a:lnTo>
                  <a:lnTo>
                    <a:pt x="850583" y="1147763"/>
                  </a:lnTo>
                  <a:lnTo>
                    <a:pt x="853440" y="1147763"/>
                  </a:lnTo>
                  <a:lnTo>
                    <a:pt x="856298" y="1129665"/>
                  </a:lnTo>
                  <a:lnTo>
                    <a:pt x="849630" y="1125855"/>
                  </a:lnTo>
                  <a:lnTo>
                    <a:pt x="849630" y="1114425"/>
                  </a:lnTo>
                  <a:lnTo>
                    <a:pt x="849630" y="1092518"/>
                  </a:lnTo>
                  <a:lnTo>
                    <a:pt x="857250" y="1049655"/>
                  </a:lnTo>
                  <a:lnTo>
                    <a:pt x="855345" y="1044893"/>
                  </a:lnTo>
                  <a:lnTo>
                    <a:pt x="849630" y="1036320"/>
                  </a:lnTo>
                  <a:lnTo>
                    <a:pt x="851535" y="1036320"/>
                  </a:lnTo>
                  <a:lnTo>
                    <a:pt x="850583" y="1033463"/>
                  </a:lnTo>
                  <a:lnTo>
                    <a:pt x="878205" y="1033463"/>
                  </a:lnTo>
                  <a:lnTo>
                    <a:pt x="879158" y="1049655"/>
                  </a:lnTo>
                  <a:lnTo>
                    <a:pt x="881063" y="1064895"/>
                  </a:lnTo>
                  <a:lnTo>
                    <a:pt x="882968" y="1080135"/>
                  </a:lnTo>
                  <a:lnTo>
                    <a:pt x="886778" y="1095375"/>
                  </a:lnTo>
                  <a:lnTo>
                    <a:pt x="890588" y="1110615"/>
                  </a:lnTo>
                  <a:lnTo>
                    <a:pt x="895350" y="1125855"/>
                  </a:lnTo>
                  <a:lnTo>
                    <a:pt x="901065" y="1140143"/>
                  </a:lnTo>
                  <a:lnTo>
                    <a:pt x="906780" y="1154430"/>
                  </a:lnTo>
                  <a:lnTo>
                    <a:pt x="912495" y="1168718"/>
                  </a:lnTo>
                  <a:lnTo>
                    <a:pt x="919163" y="1182053"/>
                  </a:lnTo>
                  <a:lnTo>
                    <a:pt x="926783" y="1195388"/>
                  </a:lnTo>
                  <a:lnTo>
                    <a:pt x="934403" y="1208723"/>
                  </a:lnTo>
                  <a:lnTo>
                    <a:pt x="942975" y="1221105"/>
                  </a:lnTo>
                  <a:lnTo>
                    <a:pt x="952500" y="1232535"/>
                  </a:lnTo>
                  <a:lnTo>
                    <a:pt x="962025" y="1243965"/>
                  </a:lnTo>
                  <a:lnTo>
                    <a:pt x="971550" y="1254443"/>
                  </a:lnTo>
                  <a:lnTo>
                    <a:pt x="872490" y="1353503"/>
                  </a:lnTo>
                  <a:lnTo>
                    <a:pt x="865823" y="1345883"/>
                  </a:lnTo>
                  <a:lnTo>
                    <a:pt x="859155" y="1338263"/>
                  </a:lnTo>
                  <a:lnTo>
                    <a:pt x="852488" y="1330643"/>
                  </a:lnTo>
                  <a:lnTo>
                    <a:pt x="843915" y="1323975"/>
                  </a:lnTo>
                  <a:lnTo>
                    <a:pt x="843915" y="1323975"/>
                  </a:lnTo>
                  <a:close/>
                  <a:moveTo>
                    <a:pt x="837248" y="1006793"/>
                  </a:moveTo>
                  <a:lnTo>
                    <a:pt x="825818" y="989648"/>
                  </a:lnTo>
                  <a:lnTo>
                    <a:pt x="825818" y="964883"/>
                  </a:lnTo>
                  <a:lnTo>
                    <a:pt x="843915" y="954405"/>
                  </a:lnTo>
                  <a:lnTo>
                    <a:pt x="872490" y="958215"/>
                  </a:lnTo>
                  <a:lnTo>
                    <a:pt x="879158" y="964883"/>
                  </a:lnTo>
                  <a:lnTo>
                    <a:pt x="879158" y="966788"/>
                  </a:lnTo>
                  <a:lnTo>
                    <a:pt x="881063" y="973455"/>
                  </a:lnTo>
                  <a:lnTo>
                    <a:pt x="880110" y="982028"/>
                  </a:lnTo>
                  <a:lnTo>
                    <a:pt x="879158" y="989648"/>
                  </a:lnTo>
                  <a:lnTo>
                    <a:pt x="878205" y="998220"/>
                  </a:lnTo>
                  <a:lnTo>
                    <a:pt x="878205" y="1006793"/>
                  </a:lnTo>
                  <a:lnTo>
                    <a:pt x="837248" y="1006793"/>
                  </a:lnTo>
                  <a:lnTo>
                    <a:pt x="837248" y="1006793"/>
                  </a:lnTo>
                  <a:close/>
                  <a:moveTo>
                    <a:pt x="907733" y="1059180"/>
                  </a:moveTo>
                  <a:lnTo>
                    <a:pt x="909638" y="1062990"/>
                  </a:lnTo>
                  <a:lnTo>
                    <a:pt x="922973" y="1078230"/>
                  </a:lnTo>
                  <a:lnTo>
                    <a:pt x="943928" y="1078230"/>
                  </a:lnTo>
                  <a:lnTo>
                    <a:pt x="968693" y="1095375"/>
                  </a:lnTo>
                  <a:lnTo>
                    <a:pt x="976313" y="1091565"/>
                  </a:lnTo>
                  <a:lnTo>
                    <a:pt x="993458" y="1105853"/>
                  </a:lnTo>
                  <a:lnTo>
                    <a:pt x="982980" y="1113473"/>
                  </a:lnTo>
                  <a:lnTo>
                    <a:pt x="1003935" y="1123950"/>
                  </a:lnTo>
                  <a:lnTo>
                    <a:pt x="1003935" y="1109663"/>
                  </a:lnTo>
                  <a:lnTo>
                    <a:pt x="1014413" y="1092518"/>
                  </a:lnTo>
                  <a:lnTo>
                    <a:pt x="1024890" y="1106805"/>
                  </a:lnTo>
                  <a:lnTo>
                    <a:pt x="1039178" y="1121093"/>
                  </a:lnTo>
                  <a:lnTo>
                    <a:pt x="1018223" y="1127760"/>
                  </a:lnTo>
                  <a:lnTo>
                    <a:pt x="1024890" y="1145858"/>
                  </a:lnTo>
                  <a:lnTo>
                    <a:pt x="1039178" y="1138238"/>
                  </a:lnTo>
                  <a:lnTo>
                    <a:pt x="1039178" y="1131570"/>
                  </a:lnTo>
                  <a:lnTo>
                    <a:pt x="1049655" y="1124903"/>
                  </a:lnTo>
                  <a:lnTo>
                    <a:pt x="1056323" y="1093470"/>
                  </a:lnTo>
                  <a:lnTo>
                    <a:pt x="1057275" y="1096328"/>
                  </a:lnTo>
                  <a:lnTo>
                    <a:pt x="1057275" y="1093470"/>
                  </a:lnTo>
                  <a:lnTo>
                    <a:pt x="1059180" y="1090613"/>
                  </a:lnTo>
                  <a:lnTo>
                    <a:pt x="1062038" y="1097280"/>
                  </a:lnTo>
                  <a:lnTo>
                    <a:pt x="1064895" y="1103948"/>
                  </a:lnTo>
                  <a:lnTo>
                    <a:pt x="1068705" y="1109663"/>
                  </a:lnTo>
                  <a:lnTo>
                    <a:pt x="1072515" y="1115378"/>
                  </a:lnTo>
                  <a:lnTo>
                    <a:pt x="1076325" y="1121093"/>
                  </a:lnTo>
                  <a:lnTo>
                    <a:pt x="1081088" y="1126808"/>
                  </a:lnTo>
                  <a:lnTo>
                    <a:pt x="1085850" y="1131570"/>
                  </a:lnTo>
                  <a:lnTo>
                    <a:pt x="1090613" y="1137285"/>
                  </a:lnTo>
                  <a:lnTo>
                    <a:pt x="990600" y="1237298"/>
                  </a:lnTo>
                  <a:lnTo>
                    <a:pt x="982028" y="1227773"/>
                  </a:lnTo>
                  <a:lnTo>
                    <a:pt x="974408" y="1218248"/>
                  </a:lnTo>
                  <a:lnTo>
                    <a:pt x="966788" y="1207770"/>
                  </a:lnTo>
                  <a:lnTo>
                    <a:pt x="960120" y="1197293"/>
                  </a:lnTo>
                  <a:lnTo>
                    <a:pt x="953453" y="1186815"/>
                  </a:lnTo>
                  <a:lnTo>
                    <a:pt x="946785" y="1176338"/>
                  </a:lnTo>
                  <a:lnTo>
                    <a:pt x="941070" y="1165860"/>
                  </a:lnTo>
                  <a:lnTo>
                    <a:pt x="935355" y="1155383"/>
                  </a:lnTo>
                  <a:lnTo>
                    <a:pt x="930593" y="1143953"/>
                  </a:lnTo>
                  <a:lnTo>
                    <a:pt x="925830" y="1132523"/>
                  </a:lnTo>
                  <a:lnTo>
                    <a:pt x="921068" y="1121093"/>
                  </a:lnTo>
                  <a:lnTo>
                    <a:pt x="917258" y="1108710"/>
                  </a:lnTo>
                  <a:lnTo>
                    <a:pt x="913448" y="1096328"/>
                  </a:lnTo>
                  <a:lnTo>
                    <a:pt x="910590" y="1083945"/>
                  </a:lnTo>
                  <a:lnTo>
                    <a:pt x="907733" y="1071563"/>
                  </a:lnTo>
                  <a:lnTo>
                    <a:pt x="907733" y="1059180"/>
                  </a:lnTo>
                  <a:lnTo>
                    <a:pt x="907733" y="1059180"/>
                  </a:lnTo>
                  <a:close/>
                  <a:moveTo>
                    <a:pt x="967740" y="784860"/>
                  </a:moveTo>
                  <a:lnTo>
                    <a:pt x="962978" y="788670"/>
                  </a:lnTo>
                  <a:lnTo>
                    <a:pt x="962978" y="788670"/>
                  </a:lnTo>
                  <a:lnTo>
                    <a:pt x="934403" y="823913"/>
                  </a:lnTo>
                  <a:lnTo>
                    <a:pt x="909638" y="862965"/>
                  </a:lnTo>
                  <a:lnTo>
                    <a:pt x="902970" y="862965"/>
                  </a:lnTo>
                  <a:lnTo>
                    <a:pt x="890588" y="865823"/>
                  </a:lnTo>
                  <a:lnTo>
                    <a:pt x="883920" y="865823"/>
                  </a:lnTo>
                  <a:lnTo>
                    <a:pt x="870585" y="880110"/>
                  </a:lnTo>
                  <a:lnTo>
                    <a:pt x="887730" y="876300"/>
                  </a:lnTo>
                  <a:lnTo>
                    <a:pt x="904875" y="872490"/>
                  </a:lnTo>
                  <a:lnTo>
                    <a:pt x="901065" y="879158"/>
                  </a:lnTo>
                  <a:lnTo>
                    <a:pt x="887730" y="885825"/>
                  </a:lnTo>
                  <a:lnTo>
                    <a:pt x="881063" y="885825"/>
                  </a:lnTo>
                  <a:lnTo>
                    <a:pt x="860108" y="902970"/>
                  </a:lnTo>
                  <a:lnTo>
                    <a:pt x="840105" y="899160"/>
                  </a:lnTo>
                  <a:lnTo>
                    <a:pt x="809625" y="954405"/>
                  </a:lnTo>
                  <a:lnTo>
                    <a:pt x="816293" y="967740"/>
                  </a:lnTo>
                  <a:lnTo>
                    <a:pt x="799148" y="984885"/>
                  </a:lnTo>
                  <a:lnTo>
                    <a:pt x="799148" y="1004888"/>
                  </a:lnTo>
                  <a:lnTo>
                    <a:pt x="739140" y="1004888"/>
                  </a:lnTo>
                  <a:lnTo>
                    <a:pt x="739140" y="993458"/>
                  </a:lnTo>
                  <a:lnTo>
                    <a:pt x="740093" y="982028"/>
                  </a:lnTo>
                  <a:lnTo>
                    <a:pt x="741045" y="970598"/>
                  </a:lnTo>
                  <a:lnTo>
                    <a:pt x="741998" y="959168"/>
                  </a:lnTo>
                  <a:lnTo>
                    <a:pt x="743903" y="948690"/>
                  </a:lnTo>
                  <a:lnTo>
                    <a:pt x="745808" y="937260"/>
                  </a:lnTo>
                  <a:lnTo>
                    <a:pt x="747713" y="926783"/>
                  </a:lnTo>
                  <a:lnTo>
                    <a:pt x="750570" y="915353"/>
                  </a:lnTo>
                  <a:lnTo>
                    <a:pt x="752475" y="904875"/>
                  </a:lnTo>
                  <a:lnTo>
                    <a:pt x="755333" y="894398"/>
                  </a:lnTo>
                  <a:lnTo>
                    <a:pt x="758190" y="883920"/>
                  </a:lnTo>
                  <a:lnTo>
                    <a:pt x="761048" y="873443"/>
                  </a:lnTo>
                  <a:lnTo>
                    <a:pt x="764858" y="862965"/>
                  </a:lnTo>
                  <a:lnTo>
                    <a:pt x="768668" y="853440"/>
                  </a:lnTo>
                  <a:lnTo>
                    <a:pt x="772478" y="842963"/>
                  </a:lnTo>
                  <a:lnTo>
                    <a:pt x="776288" y="833438"/>
                  </a:lnTo>
                  <a:lnTo>
                    <a:pt x="780098" y="823913"/>
                  </a:lnTo>
                  <a:lnTo>
                    <a:pt x="784860" y="813435"/>
                  </a:lnTo>
                  <a:lnTo>
                    <a:pt x="789623" y="803910"/>
                  </a:lnTo>
                  <a:lnTo>
                    <a:pt x="794385" y="794385"/>
                  </a:lnTo>
                  <a:lnTo>
                    <a:pt x="799148" y="784860"/>
                  </a:lnTo>
                  <a:lnTo>
                    <a:pt x="803910" y="775335"/>
                  </a:lnTo>
                  <a:lnTo>
                    <a:pt x="809625" y="765810"/>
                  </a:lnTo>
                  <a:lnTo>
                    <a:pt x="815340" y="756285"/>
                  </a:lnTo>
                  <a:lnTo>
                    <a:pt x="821055" y="746760"/>
                  </a:lnTo>
                  <a:lnTo>
                    <a:pt x="826770" y="738188"/>
                  </a:lnTo>
                  <a:lnTo>
                    <a:pt x="833438" y="729615"/>
                  </a:lnTo>
                  <a:lnTo>
                    <a:pt x="840105" y="721043"/>
                  </a:lnTo>
                  <a:lnTo>
                    <a:pt x="846773" y="712470"/>
                  </a:lnTo>
                  <a:lnTo>
                    <a:pt x="853440" y="703898"/>
                  </a:lnTo>
                  <a:lnTo>
                    <a:pt x="860108" y="695325"/>
                  </a:lnTo>
                  <a:lnTo>
                    <a:pt x="867728" y="687705"/>
                  </a:lnTo>
                  <a:lnTo>
                    <a:pt x="967740" y="784860"/>
                  </a:lnTo>
                  <a:lnTo>
                    <a:pt x="967740" y="784860"/>
                  </a:lnTo>
                  <a:close/>
                  <a:moveTo>
                    <a:pt x="1634490" y="403860"/>
                  </a:moveTo>
                  <a:lnTo>
                    <a:pt x="1627823" y="389573"/>
                  </a:lnTo>
                  <a:lnTo>
                    <a:pt x="1609725" y="379095"/>
                  </a:lnTo>
                  <a:lnTo>
                    <a:pt x="1595438" y="393383"/>
                  </a:lnTo>
                  <a:lnTo>
                    <a:pt x="1612583" y="401003"/>
                  </a:lnTo>
                  <a:lnTo>
                    <a:pt x="1633538" y="415290"/>
                  </a:lnTo>
                  <a:lnTo>
                    <a:pt x="1633538" y="403860"/>
                  </a:lnTo>
                  <a:lnTo>
                    <a:pt x="1634490" y="403860"/>
                  </a:lnTo>
                  <a:close/>
                  <a:moveTo>
                    <a:pt x="1553528" y="796290"/>
                  </a:moveTo>
                  <a:lnTo>
                    <a:pt x="1553528" y="806768"/>
                  </a:lnTo>
                  <a:lnTo>
                    <a:pt x="1578293" y="799148"/>
                  </a:lnTo>
                  <a:lnTo>
                    <a:pt x="1584960" y="784860"/>
                  </a:lnTo>
                  <a:lnTo>
                    <a:pt x="1567815" y="763905"/>
                  </a:lnTo>
                  <a:lnTo>
                    <a:pt x="1574483" y="749618"/>
                  </a:lnTo>
                  <a:lnTo>
                    <a:pt x="1599248" y="763905"/>
                  </a:lnTo>
                  <a:lnTo>
                    <a:pt x="1603058" y="760095"/>
                  </a:lnTo>
                  <a:lnTo>
                    <a:pt x="1599248" y="760095"/>
                  </a:lnTo>
                  <a:lnTo>
                    <a:pt x="1592580" y="749618"/>
                  </a:lnTo>
                  <a:lnTo>
                    <a:pt x="1603058" y="742950"/>
                  </a:lnTo>
                  <a:lnTo>
                    <a:pt x="1592580" y="732473"/>
                  </a:lnTo>
                  <a:lnTo>
                    <a:pt x="1571625" y="742950"/>
                  </a:lnTo>
                  <a:lnTo>
                    <a:pt x="1564958" y="757238"/>
                  </a:lnTo>
                  <a:lnTo>
                    <a:pt x="1561148" y="767715"/>
                  </a:lnTo>
                  <a:lnTo>
                    <a:pt x="1571625" y="782003"/>
                  </a:lnTo>
                  <a:lnTo>
                    <a:pt x="1567815" y="788670"/>
                  </a:lnTo>
                  <a:lnTo>
                    <a:pt x="1553528" y="796290"/>
                  </a:lnTo>
                  <a:lnTo>
                    <a:pt x="1553528" y="796290"/>
                  </a:lnTo>
                  <a:close/>
                  <a:moveTo>
                    <a:pt x="547688" y="1421130"/>
                  </a:moveTo>
                  <a:lnTo>
                    <a:pt x="547688" y="1413510"/>
                  </a:lnTo>
                  <a:lnTo>
                    <a:pt x="537210" y="1385888"/>
                  </a:lnTo>
                  <a:lnTo>
                    <a:pt x="522923" y="1382078"/>
                  </a:lnTo>
                  <a:lnTo>
                    <a:pt x="547688" y="1421130"/>
                  </a:lnTo>
                  <a:lnTo>
                    <a:pt x="547688" y="1421130"/>
                  </a:lnTo>
                  <a:close/>
                  <a:moveTo>
                    <a:pt x="1116330" y="898208"/>
                  </a:moveTo>
                  <a:lnTo>
                    <a:pt x="1120140" y="912495"/>
                  </a:lnTo>
                  <a:lnTo>
                    <a:pt x="1126808" y="926783"/>
                  </a:lnTo>
                  <a:lnTo>
                    <a:pt x="1137285" y="941070"/>
                  </a:lnTo>
                  <a:lnTo>
                    <a:pt x="1155383" y="951548"/>
                  </a:lnTo>
                  <a:lnTo>
                    <a:pt x="1155383" y="941070"/>
                  </a:lnTo>
                  <a:lnTo>
                    <a:pt x="1141095" y="923925"/>
                  </a:lnTo>
                  <a:lnTo>
                    <a:pt x="1148715" y="909638"/>
                  </a:lnTo>
                  <a:lnTo>
                    <a:pt x="1155383" y="905828"/>
                  </a:lnTo>
                  <a:lnTo>
                    <a:pt x="1155383" y="845820"/>
                  </a:lnTo>
                  <a:lnTo>
                    <a:pt x="1151573" y="845820"/>
                  </a:lnTo>
                  <a:lnTo>
                    <a:pt x="1137285" y="856298"/>
                  </a:lnTo>
                  <a:lnTo>
                    <a:pt x="1126808" y="866775"/>
                  </a:lnTo>
                  <a:lnTo>
                    <a:pt x="1120140" y="881063"/>
                  </a:lnTo>
                  <a:lnTo>
                    <a:pt x="1116330" y="898208"/>
                  </a:lnTo>
                  <a:lnTo>
                    <a:pt x="1116330" y="898208"/>
                  </a:lnTo>
                  <a:close/>
                  <a:moveTo>
                    <a:pt x="822008" y="639128"/>
                  </a:moveTo>
                  <a:lnTo>
                    <a:pt x="812483" y="628650"/>
                  </a:lnTo>
                  <a:lnTo>
                    <a:pt x="832485" y="624840"/>
                  </a:lnTo>
                  <a:lnTo>
                    <a:pt x="822008" y="639128"/>
                  </a:lnTo>
                  <a:lnTo>
                    <a:pt x="822008" y="639128"/>
                  </a:lnTo>
                  <a:close/>
                  <a:moveTo>
                    <a:pt x="2039303" y="1035368"/>
                  </a:moveTo>
                  <a:lnTo>
                    <a:pt x="1902143" y="1035368"/>
                  </a:lnTo>
                  <a:lnTo>
                    <a:pt x="1901190" y="1051560"/>
                  </a:lnTo>
                  <a:lnTo>
                    <a:pt x="1900238" y="1067753"/>
                  </a:lnTo>
                  <a:lnTo>
                    <a:pt x="1899285" y="1083945"/>
                  </a:lnTo>
                  <a:lnTo>
                    <a:pt x="1897380" y="1100138"/>
                  </a:lnTo>
                  <a:lnTo>
                    <a:pt x="1895475" y="1115378"/>
                  </a:lnTo>
                  <a:lnTo>
                    <a:pt x="1893570" y="1131570"/>
                  </a:lnTo>
                  <a:lnTo>
                    <a:pt x="1890713" y="1146810"/>
                  </a:lnTo>
                  <a:lnTo>
                    <a:pt x="1887855" y="1162050"/>
                  </a:lnTo>
                  <a:lnTo>
                    <a:pt x="1884045" y="1177290"/>
                  </a:lnTo>
                  <a:lnTo>
                    <a:pt x="1880235" y="1193483"/>
                  </a:lnTo>
                  <a:lnTo>
                    <a:pt x="1875473" y="1208723"/>
                  </a:lnTo>
                  <a:lnTo>
                    <a:pt x="1870710" y="1223963"/>
                  </a:lnTo>
                  <a:lnTo>
                    <a:pt x="1865948" y="1239203"/>
                  </a:lnTo>
                  <a:lnTo>
                    <a:pt x="1860233" y="1253490"/>
                  </a:lnTo>
                  <a:lnTo>
                    <a:pt x="1854518" y="1268730"/>
                  </a:lnTo>
                  <a:lnTo>
                    <a:pt x="1848803" y="1283018"/>
                  </a:lnTo>
                  <a:lnTo>
                    <a:pt x="1843088" y="1297305"/>
                  </a:lnTo>
                  <a:lnTo>
                    <a:pt x="1836420" y="1311593"/>
                  </a:lnTo>
                  <a:lnTo>
                    <a:pt x="1829753" y="1325880"/>
                  </a:lnTo>
                  <a:lnTo>
                    <a:pt x="1823085" y="1340168"/>
                  </a:lnTo>
                  <a:lnTo>
                    <a:pt x="1815465" y="1353503"/>
                  </a:lnTo>
                  <a:lnTo>
                    <a:pt x="1807845" y="1366838"/>
                  </a:lnTo>
                  <a:lnTo>
                    <a:pt x="1800225" y="1380173"/>
                  </a:lnTo>
                  <a:lnTo>
                    <a:pt x="1791653" y="1393508"/>
                  </a:lnTo>
                  <a:lnTo>
                    <a:pt x="1783080" y="1405890"/>
                  </a:lnTo>
                  <a:lnTo>
                    <a:pt x="1773555" y="1418273"/>
                  </a:lnTo>
                  <a:lnTo>
                    <a:pt x="1764030" y="1430655"/>
                  </a:lnTo>
                  <a:lnTo>
                    <a:pt x="1754505" y="1443038"/>
                  </a:lnTo>
                  <a:lnTo>
                    <a:pt x="1744028" y="1455420"/>
                  </a:lnTo>
                  <a:lnTo>
                    <a:pt x="1734503" y="1466850"/>
                  </a:lnTo>
                  <a:lnTo>
                    <a:pt x="1724025" y="1478280"/>
                  </a:lnTo>
                  <a:lnTo>
                    <a:pt x="1717358" y="1489710"/>
                  </a:lnTo>
                  <a:lnTo>
                    <a:pt x="1810703" y="1585913"/>
                  </a:lnTo>
                  <a:lnTo>
                    <a:pt x="1824038" y="1572578"/>
                  </a:lnTo>
                  <a:lnTo>
                    <a:pt x="1836420" y="1558290"/>
                  </a:lnTo>
                  <a:lnTo>
                    <a:pt x="1848803" y="1544003"/>
                  </a:lnTo>
                  <a:lnTo>
                    <a:pt x="1860233" y="1529715"/>
                  </a:lnTo>
                  <a:lnTo>
                    <a:pt x="1871663" y="1515428"/>
                  </a:lnTo>
                  <a:lnTo>
                    <a:pt x="1882140" y="1500188"/>
                  </a:lnTo>
                  <a:lnTo>
                    <a:pt x="1892618" y="1484948"/>
                  </a:lnTo>
                  <a:lnTo>
                    <a:pt x="1903095" y="1469708"/>
                  </a:lnTo>
                  <a:lnTo>
                    <a:pt x="1913573" y="1453515"/>
                  </a:lnTo>
                  <a:lnTo>
                    <a:pt x="1924050" y="1438275"/>
                  </a:lnTo>
                  <a:lnTo>
                    <a:pt x="1933575" y="1422083"/>
                  </a:lnTo>
                  <a:lnTo>
                    <a:pt x="1942148" y="1405890"/>
                  </a:lnTo>
                  <a:lnTo>
                    <a:pt x="1950720" y="1388745"/>
                  </a:lnTo>
                  <a:lnTo>
                    <a:pt x="1959293" y="1372553"/>
                  </a:lnTo>
                  <a:lnTo>
                    <a:pt x="1967865" y="1355408"/>
                  </a:lnTo>
                  <a:lnTo>
                    <a:pt x="1975485" y="1338263"/>
                  </a:lnTo>
                  <a:lnTo>
                    <a:pt x="1982153" y="1321118"/>
                  </a:lnTo>
                  <a:lnTo>
                    <a:pt x="1988820" y="1303973"/>
                  </a:lnTo>
                  <a:lnTo>
                    <a:pt x="1994535" y="1285875"/>
                  </a:lnTo>
                  <a:lnTo>
                    <a:pt x="2000250" y="1267778"/>
                  </a:lnTo>
                  <a:lnTo>
                    <a:pt x="2005965" y="1249680"/>
                  </a:lnTo>
                  <a:lnTo>
                    <a:pt x="2011680" y="1230630"/>
                  </a:lnTo>
                  <a:lnTo>
                    <a:pt x="2016443" y="1211580"/>
                  </a:lnTo>
                  <a:lnTo>
                    <a:pt x="2021205" y="1192530"/>
                  </a:lnTo>
                  <a:lnTo>
                    <a:pt x="2025015" y="1173480"/>
                  </a:lnTo>
                  <a:lnTo>
                    <a:pt x="2028825" y="1154430"/>
                  </a:lnTo>
                  <a:lnTo>
                    <a:pt x="2031683" y="1134428"/>
                  </a:lnTo>
                  <a:lnTo>
                    <a:pt x="2034540" y="1115378"/>
                  </a:lnTo>
                  <a:lnTo>
                    <a:pt x="2036445" y="1095375"/>
                  </a:lnTo>
                  <a:lnTo>
                    <a:pt x="2037398" y="1075373"/>
                  </a:lnTo>
                  <a:lnTo>
                    <a:pt x="2038350" y="1055370"/>
                  </a:lnTo>
                  <a:lnTo>
                    <a:pt x="2039303" y="1035368"/>
                  </a:lnTo>
                  <a:lnTo>
                    <a:pt x="2039303" y="1035368"/>
                  </a:lnTo>
                  <a:close/>
                </a:path>
              </a:pathLst>
            </a:custGeom>
            <a:solidFill>
              <a:srgbClr val="009A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092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73E37261-8766-AD6B-DB50-A89C3EBA77A6}"/>
                </a:ext>
              </a:extLst>
            </p:cNvPr>
            <p:cNvSpPr/>
            <p:nvPr userDrawn="1"/>
          </p:nvSpPr>
          <p:spPr>
            <a:xfrm>
              <a:off x="16321405" y="830928"/>
              <a:ext cx="19050" cy="2150745"/>
            </a:xfrm>
            <a:custGeom>
              <a:avLst/>
              <a:gdLst>
                <a:gd name="connsiteX0" fmla="*/ 0 w 19050"/>
                <a:gd name="connsiteY0" fmla="*/ 0 h 2150745"/>
                <a:gd name="connsiteX1" fmla="*/ 19050 w 19050"/>
                <a:gd name="connsiteY1" fmla="*/ 0 h 2150745"/>
                <a:gd name="connsiteX2" fmla="*/ 19050 w 19050"/>
                <a:gd name="connsiteY2" fmla="*/ 2150745 h 2150745"/>
                <a:gd name="connsiteX3" fmla="*/ 0 w 19050"/>
                <a:gd name="connsiteY3" fmla="*/ 2150745 h 2150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2150745">
                  <a:moveTo>
                    <a:pt x="0" y="0"/>
                  </a:moveTo>
                  <a:lnTo>
                    <a:pt x="19050" y="0"/>
                  </a:lnTo>
                  <a:lnTo>
                    <a:pt x="19050" y="2150745"/>
                  </a:lnTo>
                  <a:lnTo>
                    <a:pt x="0" y="2150745"/>
                  </a:lnTo>
                  <a:close/>
                </a:path>
              </a:pathLst>
            </a:custGeom>
            <a:solidFill>
              <a:srgbClr val="009A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092"/>
            </a:p>
          </p:txBody>
        </p:sp>
      </p:grpSp>
    </p:spTree>
    <p:extLst>
      <p:ext uri="{BB962C8B-B14F-4D97-AF65-F5344CB8AC3E}">
        <p14:creationId xmlns:p14="http://schemas.microsoft.com/office/powerpoint/2010/main" val="204775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O/MI4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884F1C4-3C2A-994B-CA3D-00641641D071}"/>
              </a:ext>
            </a:extLst>
          </p:cNvPr>
          <p:cNvGrpSpPr/>
          <p:nvPr userDrawn="1"/>
        </p:nvGrpSpPr>
        <p:grpSpPr>
          <a:xfrm>
            <a:off x="6841535" y="2773717"/>
            <a:ext cx="3852211" cy="1310567"/>
            <a:chOff x="9459638" y="4574064"/>
            <a:chExt cx="6352136" cy="2161222"/>
          </a:xfrm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CDDE3331-DA96-1C26-BFD9-945E4284F7C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3093974" y="4989036"/>
              <a:ext cx="2717800" cy="1320800"/>
            </a:xfrm>
            <a:prstGeom prst="rect">
              <a:avLst/>
            </a:prstGeom>
          </p:spPr>
        </p:pic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9C6822F7-7A5B-E487-B495-CFE916BB4A05}"/>
                </a:ext>
              </a:extLst>
            </p:cNvPr>
            <p:cNvSpPr/>
            <p:nvPr/>
          </p:nvSpPr>
          <p:spPr>
            <a:xfrm>
              <a:off x="12488862" y="4574064"/>
              <a:ext cx="19050" cy="2150745"/>
            </a:xfrm>
            <a:custGeom>
              <a:avLst/>
              <a:gdLst>
                <a:gd name="connsiteX0" fmla="*/ 0 w 19050"/>
                <a:gd name="connsiteY0" fmla="*/ 0 h 2150745"/>
                <a:gd name="connsiteX1" fmla="*/ 19050 w 19050"/>
                <a:gd name="connsiteY1" fmla="*/ 0 h 2150745"/>
                <a:gd name="connsiteX2" fmla="*/ 19050 w 19050"/>
                <a:gd name="connsiteY2" fmla="*/ 2150745 h 2150745"/>
                <a:gd name="connsiteX3" fmla="*/ 0 w 19050"/>
                <a:gd name="connsiteY3" fmla="*/ 2150745 h 2150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2150745">
                  <a:moveTo>
                    <a:pt x="0" y="0"/>
                  </a:moveTo>
                  <a:lnTo>
                    <a:pt x="19050" y="0"/>
                  </a:lnTo>
                  <a:lnTo>
                    <a:pt x="19050" y="2150745"/>
                  </a:lnTo>
                  <a:lnTo>
                    <a:pt x="0" y="2150745"/>
                  </a:lnTo>
                  <a:close/>
                </a:path>
              </a:pathLst>
            </a:custGeom>
            <a:solidFill>
              <a:srgbClr val="009A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092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BD36B5D6-1856-B068-019D-84920168DFD6}"/>
                </a:ext>
              </a:extLst>
            </p:cNvPr>
            <p:cNvSpPr/>
            <p:nvPr/>
          </p:nvSpPr>
          <p:spPr>
            <a:xfrm>
              <a:off x="9459638" y="4574064"/>
              <a:ext cx="2443162" cy="2161222"/>
            </a:xfrm>
            <a:custGeom>
              <a:avLst/>
              <a:gdLst>
                <a:gd name="connsiteX0" fmla="*/ 404813 w 2443162"/>
                <a:gd name="connsiteY0" fmla="*/ 1006793 h 2161222"/>
                <a:gd name="connsiteX1" fmla="*/ 536258 w 2443162"/>
                <a:gd name="connsiteY1" fmla="*/ 1006793 h 2161222"/>
                <a:gd name="connsiteX2" fmla="*/ 541973 w 2443162"/>
                <a:gd name="connsiteY2" fmla="*/ 989648 h 2161222"/>
                <a:gd name="connsiteX3" fmla="*/ 542925 w 2443162"/>
                <a:gd name="connsiteY3" fmla="*/ 973455 h 2161222"/>
                <a:gd name="connsiteX4" fmla="*/ 543878 w 2443162"/>
                <a:gd name="connsiteY4" fmla="*/ 957263 h 2161222"/>
                <a:gd name="connsiteX5" fmla="*/ 545783 w 2443162"/>
                <a:gd name="connsiteY5" fmla="*/ 941070 h 2161222"/>
                <a:gd name="connsiteX6" fmla="*/ 547688 w 2443162"/>
                <a:gd name="connsiteY6" fmla="*/ 924878 h 2161222"/>
                <a:gd name="connsiteX7" fmla="*/ 549593 w 2443162"/>
                <a:gd name="connsiteY7" fmla="*/ 909638 h 2161222"/>
                <a:gd name="connsiteX8" fmla="*/ 552450 w 2443162"/>
                <a:gd name="connsiteY8" fmla="*/ 893445 h 2161222"/>
                <a:gd name="connsiteX9" fmla="*/ 555308 w 2443162"/>
                <a:gd name="connsiteY9" fmla="*/ 878205 h 2161222"/>
                <a:gd name="connsiteX10" fmla="*/ 559118 w 2443162"/>
                <a:gd name="connsiteY10" fmla="*/ 862013 h 2161222"/>
                <a:gd name="connsiteX11" fmla="*/ 562928 w 2443162"/>
                <a:gd name="connsiteY11" fmla="*/ 846773 h 2161222"/>
                <a:gd name="connsiteX12" fmla="*/ 566738 w 2443162"/>
                <a:gd name="connsiteY12" fmla="*/ 831533 h 2161222"/>
                <a:gd name="connsiteX13" fmla="*/ 576263 w 2443162"/>
                <a:gd name="connsiteY13" fmla="*/ 801053 h 2161222"/>
                <a:gd name="connsiteX14" fmla="*/ 581978 w 2443162"/>
                <a:gd name="connsiteY14" fmla="*/ 785813 h 2161222"/>
                <a:gd name="connsiteX15" fmla="*/ 587693 w 2443162"/>
                <a:gd name="connsiteY15" fmla="*/ 770573 h 2161222"/>
                <a:gd name="connsiteX16" fmla="*/ 593408 w 2443162"/>
                <a:gd name="connsiteY16" fmla="*/ 756285 h 2161222"/>
                <a:gd name="connsiteX17" fmla="*/ 600075 w 2443162"/>
                <a:gd name="connsiteY17" fmla="*/ 741998 h 2161222"/>
                <a:gd name="connsiteX18" fmla="*/ 606743 w 2443162"/>
                <a:gd name="connsiteY18" fmla="*/ 727710 h 2161222"/>
                <a:gd name="connsiteX19" fmla="*/ 613410 w 2443162"/>
                <a:gd name="connsiteY19" fmla="*/ 713423 h 2161222"/>
                <a:gd name="connsiteX20" fmla="*/ 620078 w 2443162"/>
                <a:gd name="connsiteY20" fmla="*/ 699135 h 2161222"/>
                <a:gd name="connsiteX21" fmla="*/ 627698 w 2443162"/>
                <a:gd name="connsiteY21" fmla="*/ 684848 h 2161222"/>
                <a:gd name="connsiteX22" fmla="*/ 635318 w 2443162"/>
                <a:gd name="connsiteY22" fmla="*/ 671513 h 2161222"/>
                <a:gd name="connsiteX23" fmla="*/ 643890 w 2443162"/>
                <a:gd name="connsiteY23" fmla="*/ 658178 h 2161222"/>
                <a:gd name="connsiteX24" fmla="*/ 652463 w 2443162"/>
                <a:gd name="connsiteY24" fmla="*/ 644843 h 2161222"/>
                <a:gd name="connsiteX25" fmla="*/ 661035 w 2443162"/>
                <a:gd name="connsiteY25" fmla="*/ 631508 h 2161222"/>
                <a:gd name="connsiteX26" fmla="*/ 670560 w 2443162"/>
                <a:gd name="connsiteY26" fmla="*/ 619125 h 2161222"/>
                <a:gd name="connsiteX27" fmla="*/ 680085 w 2443162"/>
                <a:gd name="connsiteY27" fmla="*/ 606743 h 2161222"/>
                <a:gd name="connsiteX28" fmla="*/ 689610 w 2443162"/>
                <a:gd name="connsiteY28" fmla="*/ 594360 h 2161222"/>
                <a:gd name="connsiteX29" fmla="*/ 700088 w 2443162"/>
                <a:gd name="connsiteY29" fmla="*/ 582930 h 2161222"/>
                <a:gd name="connsiteX30" fmla="*/ 710565 w 2443162"/>
                <a:gd name="connsiteY30" fmla="*/ 571500 h 2161222"/>
                <a:gd name="connsiteX31" fmla="*/ 721043 w 2443162"/>
                <a:gd name="connsiteY31" fmla="*/ 560070 h 2161222"/>
                <a:gd name="connsiteX32" fmla="*/ 731520 w 2443162"/>
                <a:gd name="connsiteY32" fmla="*/ 548640 h 2161222"/>
                <a:gd name="connsiteX33" fmla="*/ 635318 w 2443162"/>
                <a:gd name="connsiteY33" fmla="*/ 451485 h 2161222"/>
                <a:gd name="connsiteX34" fmla="*/ 621983 w 2443162"/>
                <a:gd name="connsiteY34" fmla="*/ 464820 h 2161222"/>
                <a:gd name="connsiteX35" fmla="*/ 609600 w 2443162"/>
                <a:gd name="connsiteY35" fmla="*/ 479108 h 2161222"/>
                <a:gd name="connsiteX36" fmla="*/ 597218 w 2443162"/>
                <a:gd name="connsiteY36" fmla="*/ 493395 h 2161222"/>
                <a:gd name="connsiteX37" fmla="*/ 585788 w 2443162"/>
                <a:gd name="connsiteY37" fmla="*/ 507683 h 2161222"/>
                <a:gd name="connsiteX38" fmla="*/ 574358 w 2443162"/>
                <a:gd name="connsiteY38" fmla="*/ 522923 h 2161222"/>
                <a:gd name="connsiteX39" fmla="*/ 562928 w 2443162"/>
                <a:gd name="connsiteY39" fmla="*/ 538163 h 2161222"/>
                <a:gd name="connsiteX40" fmla="*/ 552450 w 2443162"/>
                <a:gd name="connsiteY40" fmla="*/ 553403 h 2161222"/>
                <a:gd name="connsiteX41" fmla="*/ 541973 w 2443162"/>
                <a:gd name="connsiteY41" fmla="*/ 568643 h 2161222"/>
                <a:gd name="connsiteX42" fmla="*/ 532448 w 2443162"/>
                <a:gd name="connsiteY42" fmla="*/ 583883 h 2161222"/>
                <a:gd name="connsiteX43" fmla="*/ 521970 w 2443162"/>
                <a:gd name="connsiteY43" fmla="*/ 600075 h 2161222"/>
                <a:gd name="connsiteX44" fmla="*/ 512445 w 2443162"/>
                <a:gd name="connsiteY44" fmla="*/ 616268 h 2161222"/>
                <a:gd name="connsiteX45" fmla="*/ 502920 w 2443162"/>
                <a:gd name="connsiteY45" fmla="*/ 632460 h 2161222"/>
                <a:gd name="connsiteX46" fmla="*/ 494348 w 2443162"/>
                <a:gd name="connsiteY46" fmla="*/ 649605 h 2161222"/>
                <a:gd name="connsiteX47" fmla="*/ 485775 w 2443162"/>
                <a:gd name="connsiteY47" fmla="*/ 666750 h 2161222"/>
                <a:gd name="connsiteX48" fmla="*/ 477203 w 2443162"/>
                <a:gd name="connsiteY48" fmla="*/ 683895 h 2161222"/>
                <a:gd name="connsiteX49" fmla="*/ 469583 w 2443162"/>
                <a:gd name="connsiteY49" fmla="*/ 701040 h 2161222"/>
                <a:gd name="connsiteX50" fmla="*/ 461963 w 2443162"/>
                <a:gd name="connsiteY50" fmla="*/ 719138 h 2161222"/>
                <a:gd name="connsiteX51" fmla="*/ 455295 w 2443162"/>
                <a:gd name="connsiteY51" fmla="*/ 737235 h 2161222"/>
                <a:gd name="connsiteX52" fmla="*/ 448628 w 2443162"/>
                <a:gd name="connsiteY52" fmla="*/ 755333 h 2161222"/>
                <a:gd name="connsiteX53" fmla="*/ 442913 w 2443162"/>
                <a:gd name="connsiteY53" fmla="*/ 773430 h 2161222"/>
                <a:gd name="connsiteX54" fmla="*/ 437198 w 2443162"/>
                <a:gd name="connsiteY54" fmla="*/ 792480 h 2161222"/>
                <a:gd name="connsiteX55" fmla="*/ 431483 w 2443162"/>
                <a:gd name="connsiteY55" fmla="*/ 811530 h 2161222"/>
                <a:gd name="connsiteX56" fmla="*/ 426720 w 2443162"/>
                <a:gd name="connsiteY56" fmla="*/ 830580 h 2161222"/>
                <a:gd name="connsiteX57" fmla="*/ 421958 w 2443162"/>
                <a:gd name="connsiteY57" fmla="*/ 849630 h 2161222"/>
                <a:gd name="connsiteX58" fmla="*/ 418148 w 2443162"/>
                <a:gd name="connsiteY58" fmla="*/ 868680 h 2161222"/>
                <a:gd name="connsiteX59" fmla="*/ 414338 w 2443162"/>
                <a:gd name="connsiteY59" fmla="*/ 888683 h 2161222"/>
                <a:gd name="connsiteX60" fmla="*/ 411480 w 2443162"/>
                <a:gd name="connsiteY60" fmla="*/ 907733 h 2161222"/>
                <a:gd name="connsiteX61" fmla="*/ 408623 w 2443162"/>
                <a:gd name="connsiteY61" fmla="*/ 927735 h 2161222"/>
                <a:gd name="connsiteX62" fmla="*/ 406718 w 2443162"/>
                <a:gd name="connsiteY62" fmla="*/ 947738 h 2161222"/>
                <a:gd name="connsiteX63" fmla="*/ 404813 w 2443162"/>
                <a:gd name="connsiteY63" fmla="*/ 967740 h 2161222"/>
                <a:gd name="connsiteX64" fmla="*/ 403860 w 2443162"/>
                <a:gd name="connsiteY64" fmla="*/ 987743 h 2161222"/>
                <a:gd name="connsiteX65" fmla="*/ 404813 w 2443162"/>
                <a:gd name="connsiteY65" fmla="*/ 1006793 h 2161222"/>
                <a:gd name="connsiteX66" fmla="*/ 404813 w 2443162"/>
                <a:gd name="connsiteY66" fmla="*/ 1006793 h 2161222"/>
                <a:gd name="connsiteX67" fmla="*/ 1229678 w 2443162"/>
                <a:gd name="connsiteY67" fmla="*/ 1350645 h 2161222"/>
                <a:gd name="connsiteX68" fmla="*/ 1208723 w 2443162"/>
                <a:gd name="connsiteY68" fmla="*/ 1358265 h 2161222"/>
                <a:gd name="connsiteX69" fmla="*/ 1198245 w 2443162"/>
                <a:gd name="connsiteY69" fmla="*/ 1362075 h 2161222"/>
                <a:gd name="connsiteX70" fmla="*/ 1194435 w 2443162"/>
                <a:gd name="connsiteY70" fmla="*/ 1365885 h 2161222"/>
                <a:gd name="connsiteX71" fmla="*/ 1198245 w 2443162"/>
                <a:gd name="connsiteY71" fmla="*/ 1744028 h 2161222"/>
                <a:gd name="connsiteX72" fmla="*/ 1202055 w 2443162"/>
                <a:gd name="connsiteY72" fmla="*/ 1768793 h 2161222"/>
                <a:gd name="connsiteX73" fmla="*/ 1205865 w 2443162"/>
                <a:gd name="connsiteY73" fmla="*/ 1786890 h 2161222"/>
                <a:gd name="connsiteX74" fmla="*/ 1212533 w 2443162"/>
                <a:gd name="connsiteY74" fmla="*/ 1797368 h 2161222"/>
                <a:gd name="connsiteX75" fmla="*/ 1219200 w 2443162"/>
                <a:gd name="connsiteY75" fmla="*/ 1801178 h 2161222"/>
                <a:gd name="connsiteX76" fmla="*/ 1226820 w 2443162"/>
                <a:gd name="connsiteY76" fmla="*/ 1797368 h 2161222"/>
                <a:gd name="connsiteX77" fmla="*/ 1233488 w 2443162"/>
                <a:gd name="connsiteY77" fmla="*/ 1786890 h 2161222"/>
                <a:gd name="connsiteX78" fmla="*/ 1237298 w 2443162"/>
                <a:gd name="connsiteY78" fmla="*/ 1768793 h 2161222"/>
                <a:gd name="connsiteX79" fmla="*/ 1237298 w 2443162"/>
                <a:gd name="connsiteY79" fmla="*/ 1743075 h 2161222"/>
                <a:gd name="connsiteX80" fmla="*/ 1247775 w 2443162"/>
                <a:gd name="connsiteY80" fmla="*/ 1343025 h 2161222"/>
                <a:gd name="connsiteX81" fmla="*/ 1229678 w 2443162"/>
                <a:gd name="connsiteY81" fmla="*/ 1350645 h 2161222"/>
                <a:gd name="connsiteX82" fmla="*/ 1229678 w 2443162"/>
                <a:gd name="connsiteY82" fmla="*/ 1350645 h 2161222"/>
                <a:gd name="connsiteX83" fmla="*/ 1190625 w 2443162"/>
                <a:gd name="connsiteY83" fmla="*/ 1226820 h 2161222"/>
                <a:gd name="connsiteX84" fmla="*/ 1226820 w 2443162"/>
                <a:gd name="connsiteY84" fmla="*/ 1216343 h 2161222"/>
                <a:gd name="connsiteX85" fmla="*/ 1247775 w 2443162"/>
                <a:gd name="connsiteY85" fmla="*/ 1209675 h 2161222"/>
                <a:gd name="connsiteX86" fmla="*/ 1258253 w 2443162"/>
                <a:gd name="connsiteY86" fmla="*/ 806768 h 2161222"/>
                <a:gd name="connsiteX87" fmla="*/ 1215390 w 2443162"/>
                <a:gd name="connsiteY87" fmla="*/ 817245 h 2161222"/>
                <a:gd name="connsiteX88" fmla="*/ 1183958 w 2443162"/>
                <a:gd name="connsiteY88" fmla="*/ 827723 h 2161222"/>
                <a:gd name="connsiteX89" fmla="*/ 1190625 w 2443162"/>
                <a:gd name="connsiteY89" fmla="*/ 1226820 h 2161222"/>
                <a:gd name="connsiteX90" fmla="*/ 1190625 w 2443162"/>
                <a:gd name="connsiteY90" fmla="*/ 1226820 h 2161222"/>
                <a:gd name="connsiteX91" fmla="*/ 471488 w 2443162"/>
                <a:gd name="connsiteY91" fmla="*/ 374333 h 2161222"/>
                <a:gd name="connsiteX92" fmla="*/ 485775 w 2443162"/>
                <a:gd name="connsiteY92" fmla="*/ 352425 h 2161222"/>
                <a:gd name="connsiteX93" fmla="*/ 501015 w 2443162"/>
                <a:gd name="connsiteY93" fmla="*/ 328613 h 2161222"/>
                <a:gd name="connsiteX94" fmla="*/ 517208 w 2443162"/>
                <a:gd name="connsiteY94" fmla="*/ 304800 h 2161222"/>
                <a:gd name="connsiteX95" fmla="*/ 533400 w 2443162"/>
                <a:gd name="connsiteY95" fmla="*/ 280988 h 2161222"/>
                <a:gd name="connsiteX96" fmla="*/ 549593 w 2443162"/>
                <a:gd name="connsiteY96" fmla="*/ 259080 h 2161222"/>
                <a:gd name="connsiteX97" fmla="*/ 564833 w 2443162"/>
                <a:gd name="connsiteY97" fmla="*/ 238125 h 2161222"/>
                <a:gd name="connsiteX98" fmla="*/ 572453 w 2443162"/>
                <a:gd name="connsiteY98" fmla="*/ 229553 h 2161222"/>
                <a:gd name="connsiteX99" fmla="*/ 580073 w 2443162"/>
                <a:gd name="connsiteY99" fmla="*/ 220980 h 2161222"/>
                <a:gd name="connsiteX100" fmla="*/ 586740 w 2443162"/>
                <a:gd name="connsiteY100" fmla="*/ 214313 h 2161222"/>
                <a:gd name="connsiteX101" fmla="*/ 592455 w 2443162"/>
                <a:gd name="connsiteY101" fmla="*/ 208598 h 2161222"/>
                <a:gd name="connsiteX102" fmla="*/ 577215 w 2443162"/>
                <a:gd name="connsiteY102" fmla="*/ 212408 h 2161222"/>
                <a:gd name="connsiteX103" fmla="*/ 561975 w 2443162"/>
                <a:gd name="connsiteY103" fmla="*/ 217170 h 2161222"/>
                <a:gd name="connsiteX104" fmla="*/ 547688 w 2443162"/>
                <a:gd name="connsiteY104" fmla="*/ 221933 h 2161222"/>
                <a:gd name="connsiteX105" fmla="*/ 533400 w 2443162"/>
                <a:gd name="connsiteY105" fmla="*/ 226695 h 2161222"/>
                <a:gd name="connsiteX106" fmla="*/ 519113 w 2443162"/>
                <a:gd name="connsiteY106" fmla="*/ 232410 h 2161222"/>
                <a:gd name="connsiteX107" fmla="*/ 505778 w 2443162"/>
                <a:gd name="connsiteY107" fmla="*/ 239078 h 2161222"/>
                <a:gd name="connsiteX108" fmla="*/ 492443 w 2443162"/>
                <a:gd name="connsiteY108" fmla="*/ 245745 h 2161222"/>
                <a:gd name="connsiteX109" fmla="*/ 479108 w 2443162"/>
                <a:gd name="connsiteY109" fmla="*/ 253365 h 2161222"/>
                <a:gd name="connsiteX110" fmla="*/ 466725 w 2443162"/>
                <a:gd name="connsiteY110" fmla="*/ 260985 h 2161222"/>
                <a:gd name="connsiteX111" fmla="*/ 454343 w 2443162"/>
                <a:gd name="connsiteY111" fmla="*/ 269558 h 2161222"/>
                <a:gd name="connsiteX112" fmla="*/ 441960 w 2443162"/>
                <a:gd name="connsiteY112" fmla="*/ 278130 h 2161222"/>
                <a:gd name="connsiteX113" fmla="*/ 430530 w 2443162"/>
                <a:gd name="connsiteY113" fmla="*/ 287655 h 2161222"/>
                <a:gd name="connsiteX114" fmla="*/ 419100 w 2443162"/>
                <a:gd name="connsiteY114" fmla="*/ 298133 h 2161222"/>
                <a:gd name="connsiteX115" fmla="*/ 407670 w 2443162"/>
                <a:gd name="connsiteY115" fmla="*/ 308610 h 2161222"/>
                <a:gd name="connsiteX116" fmla="*/ 397193 w 2443162"/>
                <a:gd name="connsiteY116" fmla="*/ 319088 h 2161222"/>
                <a:gd name="connsiteX117" fmla="*/ 386715 w 2443162"/>
                <a:gd name="connsiteY117" fmla="*/ 329565 h 2161222"/>
                <a:gd name="connsiteX118" fmla="*/ 377190 w 2443162"/>
                <a:gd name="connsiteY118" fmla="*/ 340995 h 2161222"/>
                <a:gd name="connsiteX119" fmla="*/ 367665 w 2443162"/>
                <a:gd name="connsiteY119" fmla="*/ 352425 h 2161222"/>
                <a:gd name="connsiteX120" fmla="*/ 358140 w 2443162"/>
                <a:gd name="connsiteY120" fmla="*/ 363855 h 2161222"/>
                <a:gd name="connsiteX121" fmla="*/ 349568 w 2443162"/>
                <a:gd name="connsiteY121" fmla="*/ 376238 h 2161222"/>
                <a:gd name="connsiteX122" fmla="*/ 340995 w 2443162"/>
                <a:gd name="connsiteY122" fmla="*/ 388620 h 2161222"/>
                <a:gd name="connsiteX123" fmla="*/ 333375 w 2443162"/>
                <a:gd name="connsiteY123" fmla="*/ 401955 h 2161222"/>
                <a:gd name="connsiteX124" fmla="*/ 325755 w 2443162"/>
                <a:gd name="connsiteY124" fmla="*/ 415290 h 2161222"/>
                <a:gd name="connsiteX125" fmla="*/ 320040 w 2443162"/>
                <a:gd name="connsiteY125" fmla="*/ 428625 h 2161222"/>
                <a:gd name="connsiteX126" fmla="*/ 313373 w 2443162"/>
                <a:gd name="connsiteY126" fmla="*/ 441960 h 2161222"/>
                <a:gd name="connsiteX127" fmla="*/ 307658 w 2443162"/>
                <a:gd name="connsiteY127" fmla="*/ 456248 h 2161222"/>
                <a:gd name="connsiteX128" fmla="*/ 301943 w 2443162"/>
                <a:gd name="connsiteY128" fmla="*/ 470535 h 2161222"/>
                <a:gd name="connsiteX129" fmla="*/ 295275 w 2443162"/>
                <a:gd name="connsiteY129" fmla="*/ 483870 h 2161222"/>
                <a:gd name="connsiteX130" fmla="*/ 290513 w 2443162"/>
                <a:gd name="connsiteY130" fmla="*/ 498158 h 2161222"/>
                <a:gd name="connsiteX131" fmla="*/ 285750 w 2443162"/>
                <a:gd name="connsiteY131" fmla="*/ 513398 h 2161222"/>
                <a:gd name="connsiteX132" fmla="*/ 281940 w 2443162"/>
                <a:gd name="connsiteY132" fmla="*/ 528638 h 2161222"/>
                <a:gd name="connsiteX133" fmla="*/ 279083 w 2443162"/>
                <a:gd name="connsiteY133" fmla="*/ 542925 h 2161222"/>
                <a:gd name="connsiteX134" fmla="*/ 291465 w 2443162"/>
                <a:gd name="connsiteY134" fmla="*/ 530543 h 2161222"/>
                <a:gd name="connsiteX135" fmla="*/ 304800 w 2443162"/>
                <a:gd name="connsiteY135" fmla="*/ 519113 h 2161222"/>
                <a:gd name="connsiteX136" fmla="*/ 318135 w 2443162"/>
                <a:gd name="connsiteY136" fmla="*/ 507683 h 2161222"/>
                <a:gd name="connsiteX137" fmla="*/ 332423 w 2443162"/>
                <a:gd name="connsiteY137" fmla="*/ 497205 h 2161222"/>
                <a:gd name="connsiteX138" fmla="*/ 360045 w 2443162"/>
                <a:gd name="connsiteY138" fmla="*/ 476250 h 2161222"/>
                <a:gd name="connsiteX139" fmla="*/ 386715 w 2443162"/>
                <a:gd name="connsiteY139" fmla="*/ 455295 h 2161222"/>
                <a:gd name="connsiteX140" fmla="*/ 400050 w 2443162"/>
                <a:gd name="connsiteY140" fmla="*/ 445770 h 2161222"/>
                <a:gd name="connsiteX141" fmla="*/ 412433 w 2443162"/>
                <a:gd name="connsiteY141" fmla="*/ 435293 h 2161222"/>
                <a:gd name="connsiteX142" fmla="*/ 423863 w 2443162"/>
                <a:gd name="connsiteY142" fmla="*/ 424815 h 2161222"/>
                <a:gd name="connsiteX143" fmla="*/ 435293 w 2443162"/>
                <a:gd name="connsiteY143" fmla="*/ 415290 h 2161222"/>
                <a:gd name="connsiteX144" fmla="*/ 445770 w 2443162"/>
                <a:gd name="connsiteY144" fmla="*/ 404813 h 2161222"/>
                <a:gd name="connsiteX145" fmla="*/ 455295 w 2443162"/>
                <a:gd name="connsiteY145" fmla="*/ 394335 h 2161222"/>
                <a:gd name="connsiteX146" fmla="*/ 460058 w 2443162"/>
                <a:gd name="connsiteY146" fmla="*/ 389573 h 2161222"/>
                <a:gd name="connsiteX147" fmla="*/ 464820 w 2443162"/>
                <a:gd name="connsiteY147" fmla="*/ 384810 h 2161222"/>
                <a:gd name="connsiteX148" fmla="*/ 468630 w 2443162"/>
                <a:gd name="connsiteY148" fmla="*/ 379095 h 2161222"/>
                <a:gd name="connsiteX149" fmla="*/ 471488 w 2443162"/>
                <a:gd name="connsiteY149" fmla="*/ 374333 h 2161222"/>
                <a:gd name="connsiteX150" fmla="*/ 471488 w 2443162"/>
                <a:gd name="connsiteY150" fmla="*/ 374333 h 2161222"/>
                <a:gd name="connsiteX151" fmla="*/ 390525 w 2443162"/>
                <a:gd name="connsiteY151" fmla="*/ 633413 h 2161222"/>
                <a:gd name="connsiteX152" fmla="*/ 385763 w 2443162"/>
                <a:gd name="connsiteY152" fmla="*/ 641033 h 2161222"/>
                <a:gd name="connsiteX153" fmla="*/ 380048 w 2443162"/>
                <a:gd name="connsiteY153" fmla="*/ 648653 h 2161222"/>
                <a:gd name="connsiteX154" fmla="*/ 372428 w 2443162"/>
                <a:gd name="connsiteY154" fmla="*/ 657225 h 2161222"/>
                <a:gd name="connsiteX155" fmla="*/ 364808 w 2443162"/>
                <a:gd name="connsiteY155" fmla="*/ 664845 h 2161222"/>
                <a:gd name="connsiteX156" fmla="*/ 356235 w 2443162"/>
                <a:gd name="connsiteY156" fmla="*/ 673418 h 2161222"/>
                <a:gd name="connsiteX157" fmla="*/ 347663 w 2443162"/>
                <a:gd name="connsiteY157" fmla="*/ 681990 h 2161222"/>
                <a:gd name="connsiteX158" fmla="*/ 337185 w 2443162"/>
                <a:gd name="connsiteY158" fmla="*/ 690563 h 2161222"/>
                <a:gd name="connsiteX159" fmla="*/ 326708 w 2443162"/>
                <a:gd name="connsiteY159" fmla="*/ 699135 h 2161222"/>
                <a:gd name="connsiteX160" fmla="*/ 304800 w 2443162"/>
                <a:gd name="connsiteY160" fmla="*/ 717233 h 2161222"/>
                <a:gd name="connsiteX161" fmla="*/ 282893 w 2443162"/>
                <a:gd name="connsiteY161" fmla="*/ 737235 h 2161222"/>
                <a:gd name="connsiteX162" fmla="*/ 271463 w 2443162"/>
                <a:gd name="connsiteY162" fmla="*/ 747713 h 2161222"/>
                <a:gd name="connsiteX163" fmla="*/ 260033 w 2443162"/>
                <a:gd name="connsiteY163" fmla="*/ 758190 h 2161222"/>
                <a:gd name="connsiteX164" fmla="*/ 248603 w 2443162"/>
                <a:gd name="connsiteY164" fmla="*/ 769620 h 2161222"/>
                <a:gd name="connsiteX165" fmla="*/ 238125 w 2443162"/>
                <a:gd name="connsiteY165" fmla="*/ 782003 h 2161222"/>
                <a:gd name="connsiteX166" fmla="*/ 232410 w 2443162"/>
                <a:gd name="connsiteY166" fmla="*/ 788670 h 2161222"/>
                <a:gd name="connsiteX167" fmla="*/ 226695 w 2443162"/>
                <a:gd name="connsiteY167" fmla="*/ 797243 h 2161222"/>
                <a:gd name="connsiteX168" fmla="*/ 220980 w 2443162"/>
                <a:gd name="connsiteY168" fmla="*/ 806768 h 2161222"/>
                <a:gd name="connsiteX169" fmla="*/ 215265 w 2443162"/>
                <a:gd name="connsiteY169" fmla="*/ 816293 h 2161222"/>
                <a:gd name="connsiteX170" fmla="*/ 209550 w 2443162"/>
                <a:gd name="connsiteY170" fmla="*/ 826770 h 2161222"/>
                <a:gd name="connsiteX171" fmla="*/ 203835 w 2443162"/>
                <a:gd name="connsiteY171" fmla="*/ 838200 h 2161222"/>
                <a:gd name="connsiteX172" fmla="*/ 198120 w 2443162"/>
                <a:gd name="connsiteY172" fmla="*/ 849630 h 2161222"/>
                <a:gd name="connsiteX173" fmla="*/ 192405 w 2443162"/>
                <a:gd name="connsiteY173" fmla="*/ 861060 h 2161222"/>
                <a:gd name="connsiteX174" fmla="*/ 187643 w 2443162"/>
                <a:gd name="connsiteY174" fmla="*/ 873443 h 2161222"/>
                <a:gd name="connsiteX175" fmla="*/ 180975 w 2443162"/>
                <a:gd name="connsiteY175" fmla="*/ 884873 h 2161222"/>
                <a:gd name="connsiteX176" fmla="*/ 176213 w 2443162"/>
                <a:gd name="connsiteY176" fmla="*/ 897255 h 2161222"/>
                <a:gd name="connsiteX177" fmla="*/ 172403 w 2443162"/>
                <a:gd name="connsiteY177" fmla="*/ 909638 h 2161222"/>
                <a:gd name="connsiteX178" fmla="*/ 168593 w 2443162"/>
                <a:gd name="connsiteY178" fmla="*/ 922020 h 2161222"/>
                <a:gd name="connsiteX179" fmla="*/ 165735 w 2443162"/>
                <a:gd name="connsiteY179" fmla="*/ 933450 h 2161222"/>
                <a:gd name="connsiteX180" fmla="*/ 162878 w 2443162"/>
                <a:gd name="connsiteY180" fmla="*/ 944880 h 2161222"/>
                <a:gd name="connsiteX181" fmla="*/ 160020 w 2443162"/>
                <a:gd name="connsiteY181" fmla="*/ 956310 h 2161222"/>
                <a:gd name="connsiteX182" fmla="*/ 149543 w 2443162"/>
                <a:gd name="connsiteY182" fmla="*/ 860108 h 2161222"/>
                <a:gd name="connsiteX183" fmla="*/ 146685 w 2443162"/>
                <a:gd name="connsiteY183" fmla="*/ 841058 h 2161222"/>
                <a:gd name="connsiteX184" fmla="*/ 142875 w 2443162"/>
                <a:gd name="connsiteY184" fmla="*/ 822008 h 2161222"/>
                <a:gd name="connsiteX185" fmla="*/ 140018 w 2443162"/>
                <a:gd name="connsiteY185" fmla="*/ 802958 h 2161222"/>
                <a:gd name="connsiteX186" fmla="*/ 137160 w 2443162"/>
                <a:gd name="connsiteY186" fmla="*/ 782955 h 2161222"/>
                <a:gd name="connsiteX187" fmla="*/ 133350 w 2443162"/>
                <a:gd name="connsiteY187" fmla="*/ 763905 h 2161222"/>
                <a:gd name="connsiteX188" fmla="*/ 130493 w 2443162"/>
                <a:gd name="connsiteY188" fmla="*/ 743903 h 2161222"/>
                <a:gd name="connsiteX189" fmla="*/ 128588 w 2443162"/>
                <a:gd name="connsiteY189" fmla="*/ 723900 h 2161222"/>
                <a:gd name="connsiteX190" fmla="*/ 126683 w 2443162"/>
                <a:gd name="connsiteY190" fmla="*/ 703898 h 2161222"/>
                <a:gd name="connsiteX191" fmla="*/ 125730 w 2443162"/>
                <a:gd name="connsiteY191" fmla="*/ 683895 h 2161222"/>
                <a:gd name="connsiteX192" fmla="*/ 125730 w 2443162"/>
                <a:gd name="connsiteY192" fmla="*/ 663893 h 2161222"/>
                <a:gd name="connsiteX193" fmla="*/ 125730 w 2443162"/>
                <a:gd name="connsiteY193" fmla="*/ 643890 h 2161222"/>
                <a:gd name="connsiteX194" fmla="*/ 126683 w 2443162"/>
                <a:gd name="connsiteY194" fmla="*/ 623888 h 2161222"/>
                <a:gd name="connsiteX195" fmla="*/ 126683 w 2443162"/>
                <a:gd name="connsiteY195" fmla="*/ 614363 h 2161222"/>
                <a:gd name="connsiteX196" fmla="*/ 127635 w 2443162"/>
                <a:gd name="connsiteY196" fmla="*/ 603885 h 2161222"/>
                <a:gd name="connsiteX197" fmla="*/ 128588 w 2443162"/>
                <a:gd name="connsiteY197" fmla="*/ 594360 h 2161222"/>
                <a:gd name="connsiteX198" fmla="*/ 130493 w 2443162"/>
                <a:gd name="connsiteY198" fmla="*/ 584835 h 2161222"/>
                <a:gd name="connsiteX199" fmla="*/ 131445 w 2443162"/>
                <a:gd name="connsiteY199" fmla="*/ 575310 h 2161222"/>
                <a:gd name="connsiteX200" fmla="*/ 133350 w 2443162"/>
                <a:gd name="connsiteY200" fmla="*/ 565785 h 2161222"/>
                <a:gd name="connsiteX201" fmla="*/ 135255 w 2443162"/>
                <a:gd name="connsiteY201" fmla="*/ 556260 h 2161222"/>
                <a:gd name="connsiteX202" fmla="*/ 138113 w 2443162"/>
                <a:gd name="connsiteY202" fmla="*/ 546735 h 2161222"/>
                <a:gd name="connsiteX203" fmla="*/ 123825 w 2443162"/>
                <a:gd name="connsiteY203" fmla="*/ 570548 h 2161222"/>
                <a:gd name="connsiteX204" fmla="*/ 109538 w 2443162"/>
                <a:gd name="connsiteY204" fmla="*/ 596265 h 2161222"/>
                <a:gd name="connsiteX205" fmla="*/ 101918 w 2443162"/>
                <a:gd name="connsiteY205" fmla="*/ 609600 h 2161222"/>
                <a:gd name="connsiteX206" fmla="*/ 95250 w 2443162"/>
                <a:gd name="connsiteY206" fmla="*/ 622935 h 2161222"/>
                <a:gd name="connsiteX207" fmla="*/ 88583 w 2443162"/>
                <a:gd name="connsiteY207" fmla="*/ 636270 h 2161222"/>
                <a:gd name="connsiteX208" fmla="*/ 82868 w 2443162"/>
                <a:gd name="connsiteY208" fmla="*/ 649605 h 2161222"/>
                <a:gd name="connsiteX209" fmla="*/ 77153 w 2443162"/>
                <a:gd name="connsiteY209" fmla="*/ 662940 h 2161222"/>
                <a:gd name="connsiteX210" fmla="*/ 72390 w 2443162"/>
                <a:gd name="connsiteY210" fmla="*/ 676275 h 2161222"/>
                <a:gd name="connsiteX211" fmla="*/ 67628 w 2443162"/>
                <a:gd name="connsiteY211" fmla="*/ 690563 h 2161222"/>
                <a:gd name="connsiteX212" fmla="*/ 64770 w 2443162"/>
                <a:gd name="connsiteY212" fmla="*/ 704850 h 2161222"/>
                <a:gd name="connsiteX213" fmla="*/ 61913 w 2443162"/>
                <a:gd name="connsiteY213" fmla="*/ 719138 h 2161222"/>
                <a:gd name="connsiteX214" fmla="*/ 60008 w 2443162"/>
                <a:gd name="connsiteY214" fmla="*/ 734378 h 2161222"/>
                <a:gd name="connsiteX215" fmla="*/ 59055 w 2443162"/>
                <a:gd name="connsiteY215" fmla="*/ 741998 h 2161222"/>
                <a:gd name="connsiteX216" fmla="*/ 58103 w 2443162"/>
                <a:gd name="connsiteY216" fmla="*/ 749618 h 2161222"/>
                <a:gd name="connsiteX217" fmla="*/ 58103 w 2443162"/>
                <a:gd name="connsiteY217" fmla="*/ 757238 h 2161222"/>
                <a:gd name="connsiteX218" fmla="*/ 58103 w 2443162"/>
                <a:gd name="connsiteY218" fmla="*/ 764858 h 2161222"/>
                <a:gd name="connsiteX219" fmla="*/ 58103 w 2443162"/>
                <a:gd name="connsiteY219" fmla="*/ 775335 h 2161222"/>
                <a:gd name="connsiteX220" fmla="*/ 59055 w 2443162"/>
                <a:gd name="connsiteY220" fmla="*/ 785813 h 2161222"/>
                <a:gd name="connsiteX221" fmla="*/ 60008 w 2443162"/>
                <a:gd name="connsiteY221" fmla="*/ 796290 h 2161222"/>
                <a:gd name="connsiteX222" fmla="*/ 60960 w 2443162"/>
                <a:gd name="connsiteY222" fmla="*/ 806768 h 2161222"/>
                <a:gd name="connsiteX223" fmla="*/ 61913 w 2443162"/>
                <a:gd name="connsiteY223" fmla="*/ 817245 h 2161222"/>
                <a:gd name="connsiteX224" fmla="*/ 63818 w 2443162"/>
                <a:gd name="connsiteY224" fmla="*/ 827723 h 2161222"/>
                <a:gd name="connsiteX225" fmla="*/ 65723 w 2443162"/>
                <a:gd name="connsiteY225" fmla="*/ 837248 h 2161222"/>
                <a:gd name="connsiteX226" fmla="*/ 68580 w 2443162"/>
                <a:gd name="connsiteY226" fmla="*/ 846773 h 2161222"/>
                <a:gd name="connsiteX227" fmla="*/ 71438 w 2443162"/>
                <a:gd name="connsiteY227" fmla="*/ 856298 h 2161222"/>
                <a:gd name="connsiteX228" fmla="*/ 74295 w 2443162"/>
                <a:gd name="connsiteY228" fmla="*/ 865823 h 2161222"/>
                <a:gd name="connsiteX229" fmla="*/ 77153 w 2443162"/>
                <a:gd name="connsiteY229" fmla="*/ 875348 h 2161222"/>
                <a:gd name="connsiteX230" fmla="*/ 80963 w 2443162"/>
                <a:gd name="connsiteY230" fmla="*/ 884873 h 2161222"/>
                <a:gd name="connsiteX231" fmla="*/ 87630 w 2443162"/>
                <a:gd name="connsiteY231" fmla="*/ 902970 h 2161222"/>
                <a:gd name="connsiteX232" fmla="*/ 95250 w 2443162"/>
                <a:gd name="connsiteY232" fmla="*/ 920115 h 2161222"/>
                <a:gd name="connsiteX233" fmla="*/ 111443 w 2443162"/>
                <a:gd name="connsiteY233" fmla="*/ 955358 h 2161222"/>
                <a:gd name="connsiteX234" fmla="*/ 128588 w 2443162"/>
                <a:gd name="connsiteY234" fmla="*/ 990600 h 2161222"/>
                <a:gd name="connsiteX235" fmla="*/ 136208 w 2443162"/>
                <a:gd name="connsiteY235" fmla="*/ 1008698 h 2161222"/>
                <a:gd name="connsiteX236" fmla="*/ 143828 w 2443162"/>
                <a:gd name="connsiteY236" fmla="*/ 1026795 h 2161222"/>
                <a:gd name="connsiteX237" fmla="*/ 150495 w 2443162"/>
                <a:gd name="connsiteY237" fmla="*/ 1044893 h 2161222"/>
                <a:gd name="connsiteX238" fmla="*/ 156210 w 2443162"/>
                <a:gd name="connsiteY238" fmla="*/ 1063943 h 2161222"/>
                <a:gd name="connsiteX239" fmla="*/ 157163 w 2443162"/>
                <a:gd name="connsiteY239" fmla="*/ 1058228 h 2161222"/>
                <a:gd name="connsiteX240" fmla="*/ 158115 w 2443162"/>
                <a:gd name="connsiteY240" fmla="*/ 1051560 h 2161222"/>
                <a:gd name="connsiteX241" fmla="*/ 160020 w 2443162"/>
                <a:gd name="connsiteY241" fmla="*/ 1044893 h 2161222"/>
                <a:gd name="connsiteX242" fmla="*/ 161925 w 2443162"/>
                <a:gd name="connsiteY242" fmla="*/ 1038225 h 2161222"/>
                <a:gd name="connsiteX243" fmla="*/ 164783 w 2443162"/>
                <a:gd name="connsiteY243" fmla="*/ 1031558 h 2161222"/>
                <a:gd name="connsiteX244" fmla="*/ 167640 w 2443162"/>
                <a:gd name="connsiteY244" fmla="*/ 1023938 h 2161222"/>
                <a:gd name="connsiteX245" fmla="*/ 171450 w 2443162"/>
                <a:gd name="connsiteY245" fmla="*/ 1016318 h 2161222"/>
                <a:gd name="connsiteX246" fmla="*/ 175260 w 2443162"/>
                <a:gd name="connsiteY246" fmla="*/ 1008698 h 2161222"/>
                <a:gd name="connsiteX247" fmla="*/ 182880 w 2443162"/>
                <a:gd name="connsiteY247" fmla="*/ 992505 h 2161222"/>
                <a:gd name="connsiteX248" fmla="*/ 191453 w 2443162"/>
                <a:gd name="connsiteY248" fmla="*/ 976313 h 2161222"/>
                <a:gd name="connsiteX249" fmla="*/ 200978 w 2443162"/>
                <a:gd name="connsiteY249" fmla="*/ 960120 h 2161222"/>
                <a:gd name="connsiteX250" fmla="*/ 211455 w 2443162"/>
                <a:gd name="connsiteY250" fmla="*/ 943928 h 2161222"/>
                <a:gd name="connsiteX251" fmla="*/ 221933 w 2443162"/>
                <a:gd name="connsiteY251" fmla="*/ 927735 h 2161222"/>
                <a:gd name="connsiteX252" fmla="*/ 232410 w 2443162"/>
                <a:gd name="connsiteY252" fmla="*/ 912495 h 2161222"/>
                <a:gd name="connsiteX253" fmla="*/ 242888 w 2443162"/>
                <a:gd name="connsiteY253" fmla="*/ 897255 h 2161222"/>
                <a:gd name="connsiteX254" fmla="*/ 253365 w 2443162"/>
                <a:gd name="connsiteY254" fmla="*/ 883920 h 2161222"/>
                <a:gd name="connsiteX255" fmla="*/ 263843 w 2443162"/>
                <a:gd name="connsiteY255" fmla="*/ 870585 h 2161222"/>
                <a:gd name="connsiteX256" fmla="*/ 273368 w 2443162"/>
                <a:gd name="connsiteY256" fmla="*/ 859155 h 2161222"/>
                <a:gd name="connsiteX257" fmla="*/ 281940 w 2443162"/>
                <a:gd name="connsiteY257" fmla="*/ 848678 h 2161222"/>
                <a:gd name="connsiteX258" fmla="*/ 290513 w 2443162"/>
                <a:gd name="connsiteY258" fmla="*/ 840105 h 2161222"/>
                <a:gd name="connsiteX259" fmla="*/ 301943 w 2443162"/>
                <a:gd name="connsiteY259" fmla="*/ 824865 h 2161222"/>
                <a:gd name="connsiteX260" fmla="*/ 312420 w 2443162"/>
                <a:gd name="connsiteY260" fmla="*/ 811530 h 2161222"/>
                <a:gd name="connsiteX261" fmla="*/ 321945 w 2443162"/>
                <a:gd name="connsiteY261" fmla="*/ 799148 h 2161222"/>
                <a:gd name="connsiteX262" fmla="*/ 329565 w 2443162"/>
                <a:gd name="connsiteY262" fmla="*/ 787718 h 2161222"/>
                <a:gd name="connsiteX263" fmla="*/ 336233 w 2443162"/>
                <a:gd name="connsiteY263" fmla="*/ 777240 h 2161222"/>
                <a:gd name="connsiteX264" fmla="*/ 341948 w 2443162"/>
                <a:gd name="connsiteY264" fmla="*/ 766763 h 2161222"/>
                <a:gd name="connsiteX265" fmla="*/ 347663 w 2443162"/>
                <a:gd name="connsiteY265" fmla="*/ 756285 h 2161222"/>
                <a:gd name="connsiteX266" fmla="*/ 352425 w 2443162"/>
                <a:gd name="connsiteY266" fmla="*/ 745808 h 2161222"/>
                <a:gd name="connsiteX267" fmla="*/ 357188 w 2443162"/>
                <a:gd name="connsiteY267" fmla="*/ 735330 h 2161222"/>
                <a:gd name="connsiteX268" fmla="*/ 361950 w 2443162"/>
                <a:gd name="connsiteY268" fmla="*/ 724853 h 2161222"/>
                <a:gd name="connsiteX269" fmla="*/ 366713 w 2443162"/>
                <a:gd name="connsiteY269" fmla="*/ 713423 h 2161222"/>
                <a:gd name="connsiteX270" fmla="*/ 371475 w 2443162"/>
                <a:gd name="connsiteY270" fmla="*/ 701040 h 2161222"/>
                <a:gd name="connsiteX271" fmla="*/ 381953 w 2443162"/>
                <a:gd name="connsiteY271" fmla="*/ 672465 h 2161222"/>
                <a:gd name="connsiteX272" fmla="*/ 390525 w 2443162"/>
                <a:gd name="connsiteY272" fmla="*/ 633413 h 2161222"/>
                <a:gd name="connsiteX273" fmla="*/ 390525 w 2443162"/>
                <a:gd name="connsiteY273" fmla="*/ 633413 h 2161222"/>
                <a:gd name="connsiteX274" fmla="*/ 310515 w 2443162"/>
                <a:gd name="connsiteY274" fmla="*/ 882968 h 2161222"/>
                <a:gd name="connsiteX275" fmla="*/ 295275 w 2443162"/>
                <a:gd name="connsiteY275" fmla="*/ 902970 h 2161222"/>
                <a:gd name="connsiteX276" fmla="*/ 280988 w 2443162"/>
                <a:gd name="connsiteY276" fmla="*/ 922973 h 2161222"/>
                <a:gd name="connsiteX277" fmla="*/ 266700 w 2443162"/>
                <a:gd name="connsiteY277" fmla="*/ 942023 h 2161222"/>
                <a:gd name="connsiteX278" fmla="*/ 253365 w 2443162"/>
                <a:gd name="connsiteY278" fmla="*/ 961073 h 2161222"/>
                <a:gd name="connsiteX279" fmla="*/ 240983 w 2443162"/>
                <a:gd name="connsiteY279" fmla="*/ 979170 h 2161222"/>
                <a:gd name="connsiteX280" fmla="*/ 229553 w 2443162"/>
                <a:gd name="connsiteY280" fmla="*/ 998220 h 2161222"/>
                <a:gd name="connsiteX281" fmla="*/ 224790 w 2443162"/>
                <a:gd name="connsiteY281" fmla="*/ 1007745 h 2161222"/>
                <a:gd name="connsiteX282" fmla="*/ 220028 w 2443162"/>
                <a:gd name="connsiteY282" fmla="*/ 1017270 h 2161222"/>
                <a:gd name="connsiteX283" fmla="*/ 215265 w 2443162"/>
                <a:gd name="connsiteY283" fmla="*/ 1026795 h 2161222"/>
                <a:gd name="connsiteX284" fmla="*/ 210503 w 2443162"/>
                <a:gd name="connsiteY284" fmla="*/ 1036320 h 2161222"/>
                <a:gd name="connsiteX285" fmla="*/ 205740 w 2443162"/>
                <a:gd name="connsiteY285" fmla="*/ 1045845 h 2161222"/>
                <a:gd name="connsiteX286" fmla="*/ 201930 w 2443162"/>
                <a:gd name="connsiteY286" fmla="*/ 1055370 h 2161222"/>
                <a:gd name="connsiteX287" fmla="*/ 198120 w 2443162"/>
                <a:gd name="connsiteY287" fmla="*/ 1064895 h 2161222"/>
                <a:gd name="connsiteX288" fmla="*/ 194310 w 2443162"/>
                <a:gd name="connsiteY288" fmla="*/ 1075373 h 2161222"/>
                <a:gd name="connsiteX289" fmla="*/ 191453 w 2443162"/>
                <a:gd name="connsiteY289" fmla="*/ 1085850 h 2161222"/>
                <a:gd name="connsiteX290" fmla="*/ 188595 w 2443162"/>
                <a:gd name="connsiteY290" fmla="*/ 1096328 h 2161222"/>
                <a:gd name="connsiteX291" fmla="*/ 186690 w 2443162"/>
                <a:gd name="connsiteY291" fmla="*/ 1106805 h 2161222"/>
                <a:gd name="connsiteX292" fmla="*/ 184785 w 2443162"/>
                <a:gd name="connsiteY292" fmla="*/ 1118235 h 2161222"/>
                <a:gd name="connsiteX293" fmla="*/ 182880 w 2443162"/>
                <a:gd name="connsiteY293" fmla="*/ 1129665 h 2161222"/>
                <a:gd name="connsiteX294" fmla="*/ 180975 w 2443162"/>
                <a:gd name="connsiteY294" fmla="*/ 1141095 h 2161222"/>
                <a:gd name="connsiteX295" fmla="*/ 180023 w 2443162"/>
                <a:gd name="connsiteY295" fmla="*/ 1153478 h 2161222"/>
                <a:gd name="connsiteX296" fmla="*/ 179070 w 2443162"/>
                <a:gd name="connsiteY296" fmla="*/ 1165860 h 2161222"/>
                <a:gd name="connsiteX297" fmla="*/ 179070 w 2443162"/>
                <a:gd name="connsiteY297" fmla="*/ 1179195 h 2161222"/>
                <a:gd name="connsiteX298" fmla="*/ 179070 w 2443162"/>
                <a:gd name="connsiteY298" fmla="*/ 1192530 h 2161222"/>
                <a:gd name="connsiteX299" fmla="*/ 179070 w 2443162"/>
                <a:gd name="connsiteY299" fmla="*/ 1206818 h 2161222"/>
                <a:gd name="connsiteX300" fmla="*/ 180023 w 2443162"/>
                <a:gd name="connsiteY300" fmla="*/ 1221105 h 2161222"/>
                <a:gd name="connsiteX301" fmla="*/ 177165 w 2443162"/>
                <a:gd name="connsiteY301" fmla="*/ 1208723 h 2161222"/>
                <a:gd name="connsiteX302" fmla="*/ 173355 w 2443162"/>
                <a:gd name="connsiteY302" fmla="*/ 1196340 h 2161222"/>
                <a:gd name="connsiteX303" fmla="*/ 169545 w 2443162"/>
                <a:gd name="connsiteY303" fmla="*/ 1183958 h 2161222"/>
                <a:gd name="connsiteX304" fmla="*/ 165735 w 2443162"/>
                <a:gd name="connsiteY304" fmla="*/ 1171575 h 2161222"/>
                <a:gd name="connsiteX305" fmla="*/ 160973 w 2443162"/>
                <a:gd name="connsiteY305" fmla="*/ 1159193 h 2161222"/>
                <a:gd name="connsiteX306" fmla="*/ 156210 w 2443162"/>
                <a:gd name="connsiteY306" fmla="*/ 1146810 h 2161222"/>
                <a:gd name="connsiteX307" fmla="*/ 150495 w 2443162"/>
                <a:gd name="connsiteY307" fmla="*/ 1134428 h 2161222"/>
                <a:gd name="connsiteX308" fmla="*/ 145733 w 2443162"/>
                <a:gd name="connsiteY308" fmla="*/ 1122045 h 2161222"/>
                <a:gd name="connsiteX309" fmla="*/ 133350 w 2443162"/>
                <a:gd name="connsiteY309" fmla="*/ 1097280 h 2161222"/>
                <a:gd name="connsiteX310" fmla="*/ 120968 w 2443162"/>
                <a:gd name="connsiteY310" fmla="*/ 1072515 h 2161222"/>
                <a:gd name="connsiteX311" fmla="*/ 107633 w 2443162"/>
                <a:gd name="connsiteY311" fmla="*/ 1047750 h 2161222"/>
                <a:gd name="connsiteX312" fmla="*/ 94298 w 2443162"/>
                <a:gd name="connsiteY312" fmla="*/ 1023938 h 2161222"/>
                <a:gd name="connsiteX313" fmla="*/ 81915 w 2443162"/>
                <a:gd name="connsiteY313" fmla="*/ 1000125 h 2161222"/>
                <a:gd name="connsiteX314" fmla="*/ 69533 w 2443162"/>
                <a:gd name="connsiteY314" fmla="*/ 976313 h 2161222"/>
                <a:gd name="connsiteX315" fmla="*/ 63818 w 2443162"/>
                <a:gd name="connsiteY315" fmla="*/ 964883 h 2161222"/>
                <a:gd name="connsiteX316" fmla="*/ 58103 w 2443162"/>
                <a:gd name="connsiteY316" fmla="*/ 953453 h 2161222"/>
                <a:gd name="connsiteX317" fmla="*/ 53340 w 2443162"/>
                <a:gd name="connsiteY317" fmla="*/ 942023 h 2161222"/>
                <a:gd name="connsiteX318" fmla="*/ 48578 w 2443162"/>
                <a:gd name="connsiteY318" fmla="*/ 930593 h 2161222"/>
                <a:gd name="connsiteX319" fmla="*/ 43815 w 2443162"/>
                <a:gd name="connsiteY319" fmla="*/ 919163 h 2161222"/>
                <a:gd name="connsiteX320" fmla="*/ 40005 w 2443162"/>
                <a:gd name="connsiteY320" fmla="*/ 907733 h 2161222"/>
                <a:gd name="connsiteX321" fmla="*/ 38100 w 2443162"/>
                <a:gd name="connsiteY321" fmla="*/ 899160 h 2161222"/>
                <a:gd name="connsiteX322" fmla="*/ 35243 w 2443162"/>
                <a:gd name="connsiteY322" fmla="*/ 887730 h 2161222"/>
                <a:gd name="connsiteX323" fmla="*/ 32385 w 2443162"/>
                <a:gd name="connsiteY323" fmla="*/ 876300 h 2161222"/>
                <a:gd name="connsiteX324" fmla="*/ 30480 w 2443162"/>
                <a:gd name="connsiteY324" fmla="*/ 865823 h 2161222"/>
                <a:gd name="connsiteX325" fmla="*/ 29528 w 2443162"/>
                <a:gd name="connsiteY325" fmla="*/ 855345 h 2161222"/>
                <a:gd name="connsiteX326" fmla="*/ 28575 w 2443162"/>
                <a:gd name="connsiteY326" fmla="*/ 843915 h 2161222"/>
                <a:gd name="connsiteX327" fmla="*/ 23813 w 2443162"/>
                <a:gd name="connsiteY327" fmla="*/ 867728 h 2161222"/>
                <a:gd name="connsiteX328" fmla="*/ 20003 w 2443162"/>
                <a:gd name="connsiteY328" fmla="*/ 890588 h 2161222"/>
                <a:gd name="connsiteX329" fmla="*/ 17145 w 2443162"/>
                <a:gd name="connsiteY329" fmla="*/ 912495 h 2161222"/>
                <a:gd name="connsiteX330" fmla="*/ 15240 w 2443162"/>
                <a:gd name="connsiteY330" fmla="*/ 933450 h 2161222"/>
                <a:gd name="connsiteX331" fmla="*/ 14288 w 2443162"/>
                <a:gd name="connsiteY331" fmla="*/ 952500 h 2161222"/>
                <a:gd name="connsiteX332" fmla="*/ 14288 w 2443162"/>
                <a:gd name="connsiteY332" fmla="*/ 971550 h 2161222"/>
                <a:gd name="connsiteX333" fmla="*/ 14288 w 2443162"/>
                <a:gd name="connsiteY333" fmla="*/ 989648 h 2161222"/>
                <a:gd name="connsiteX334" fmla="*/ 15240 w 2443162"/>
                <a:gd name="connsiteY334" fmla="*/ 1006793 h 2161222"/>
                <a:gd name="connsiteX335" fmla="*/ 17145 w 2443162"/>
                <a:gd name="connsiteY335" fmla="*/ 1022985 h 2161222"/>
                <a:gd name="connsiteX336" fmla="*/ 20003 w 2443162"/>
                <a:gd name="connsiteY336" fmla="*/ 1038225 h 2161222"/>
                <a:gd name="connsiteX337" fmla="*/ 23813 w 2443162"/>
                <a:gd name="connsiteY337" fmla="*/ 1052513 h 2161222"/>
                <a:gd name="connsiteX338" fmla="*/ 27623 w 2443162"/>
                <a:gd name="connsiteY338" fmla="*/ 1066800 h 2161222"/>
                <a:gd name="connsiteX339" fmla="*/ 32385 w 2443162"/>
                <a:gd name="connsiteY339" fmla="*/ 1081088 h 2161222"/>
                <a:gd name="connsiteX340" fmla="*/ 37148 w 2443162"/>
                <a:gd name="connsiteY340" fmla="*/ 1094423 h 2161222"/>
                <a:gd name="connsiteX341" fmla="*/ 42863 w 2443162"/>
                <a:gd name="connsiteY341" fmla="*/ 1107758 h 2161222"/>
                <a:gd name="connsiteX342" fmla="*/ 49530 w 2443162"/>
                <a:gd name="connsiteY342" fmla="*/ 1120140 h 2161222"/>
                <a:gd name="connsiteX343" fmla="*/ 56198 w 2443162"/>
                <a:gd name="connsiteY343" fmla="*/ 1132523 h 2161222"/>
                <a:gd name="connsiteX344" fmla="*/ 63818 w 2443162"/>
                <a:gd name="connsiteY344" fmla="*/ 1144905 h 2161222"/>
                <a:gd name="connsiteX345" fmla="*/ 71438 w 2443162"/>
                <a:gd name="connsiteY345" fmla="*/ 1157288 h 2161222"/>
                <a:gd name="connsiteX346" fmla="*/ 80010 w 2443162"/>
                <a:gd name="connsiteY346" fmla="*/ 1168718 h 2161222"/>
                <a:gd name="connsiteX347" fmla="*/ 88583 w 2443162"/>
                <a:gd name="connsiteY347" fmla="*/ 1181100 h 2161222"/>
                <a:gd name="connsiteX348" fmla="*/ 98108 w 2443162"/>
                <a:gd name="connsiteY348" fmla="*/ 1192530 h 2161222"/>
                <a:gd name="connsiteX349" fmla="*/ 107633 w 2443162"/>
                <a:gd name="connsiteY349" fmla="*/ 1204913 h 2161222"/>
                <a:gd name="connsiteX350" fmla="*/ 117158 w 2443162"/>
                <a:gd name="connsiteY350" fmla="*/ 1217295 h 2161222"/>
                <a:gd name="connsiteX351" fmla="*/ 138113 w 2443162"/>
                <a:gd name="connsiteY351" fmla="*/ 1242060 h 2161222"/>
                <a:gd name="connsiteX352" fmla="*/ 160020 w 2443162"/>
                <a:gd name="connsiteY352" fmla="*/ 1268730 h 2161222"/>
                <a:gd name="connsiteX353" fmla="*/ 171450 w 2443162"/>
                <a:gd name="connsiteY353" fmla="*/ 1283018 h 2161222"/>
                <a:gd name="connsiteX354" fmla="*/ 182880 w 2443162"/>
                <a:gd name="connsiteY354" fmla="*/ 1297305 h 2161222"/>
                <a:gd name="connsiteX355" fmla="*/ 195263 w 2443162"/>
                <a:gd name="connsiteY355" fmla="*/ 1312545 h 2161222"/>
                <a:gd name="connsiteX356" fmla="*/ 207645 w 2443162"/>
                <a:gd name="connsiteY356" fmla="*/ 1328738 h 2161222"/>
                <a:gd name="connsiteX357" fmla="*/ 206693 w 2443162"/>
                <a:gd name="connsiteY357" fmla="*/ 1317308 h 2161222"/>
                <a:gd name="connsiteX358" fmla="*/ 206693 w 2443162"/>
                <a:gd name="connsiteY358" fmla="*/ 1305878 h 2161222"/>
                <a:gd name="connsiteX359" fmla="*/ 206693 w 2443162"/>
                <a:gd name="connsiteY359" fmla="*/ 1294448 h 2161222"/>
                <a:gd name="connsiteX360" fmla="*/ 207645 w 2443162"/>
                <a:gd name="connsiteY360" fmla="*/ 1283018 h 2161222"/>
                <a:gd name="connsiteX361" fmla="*/ 209550 w 2443162"/>
                <a:gd name="connsiteY361" fmla="*/ 1270635 h 2161222"/>
                <a:gd name="connsiteX362" fmla="*/ 211455 w 2443162"/>
                <a:gd name="connsiteY362" fmla="*/ 1258253 h 2161222"/>
                <a:gd name="connsiteX363" fmla="*/ 214313 w 2443162"/>
                <a:gd name="connsiteY363" fmla="*/ 1245870 h 2161222"/>
                <a:gd name="connsiteX364" fmla="*/ 218123 w 2443162"/>
                <a:gd name="connsiteY364" fmla="*/ 1233488 h 2161222"/>
                <a:gd name="connsiteX365" fmla="*/ 221933 w 2443162"/>
                <a:gd name="connsiteY365" fmla="*/ 1221105 h 2161222"/>
                <a:gd name="connsiteX366" fmla="*/ 226695 w 2443162"/>
                <a:gd name="connsiteY366" fmla="*/ 1207770 h 2161222"/>
                <a:gd name="connsiteX367" fmla="*/ 231458 w 2443162"/>
                <a:gd name="connsiteY367" fmla="*/ 1194435 h 2161222"/>
                <a:gd name="connsiteX368" fmla="*/ 236220 w 2443162"/>
                <a:gd name="connsiteY368" fmla="*/ 1181100 h 2161222"/>
                <a:gd name="connsiteX369" fmla="*/ 246698 w 2443162"/>
                <a:gd name="connsiteY369" fmla="*/ 1154430 h 2161222"/>
                <a:gd name="connsiteX370" fmla="*/ 257175 w 2443162"/>
                <a:gd name="connsiteY370" fmla="*/ 1126808 h 2161222"/>
                <a:gd name="connsiteX371" fmla="*/ 268605 w 2443162"/>
                <a:gd name="connsiteY371" fmla="*/ 1099185 h 2161222"/>
                <a:gd name="connsiteX372" fmla="*/ 279083 w 2443162"/>
                <a:gd name="connsiteY372" fmla="*/ 1070610 h 2161222"/>
                <a:gd name="connsiteX373" fmla="*/ 283845 w 2443162"/>
                <a:gd name="connsiteY373" fmla="*/ 1056323 h 2161222"/>
                <a:gd name="connsiteX374" fmla="*/ 288608 w 2443162"/>
                <a:gd name="connsiteY374" fmla="*/ 1042035 h 2161222"/>
                <a:gd name="connsiteX375" fmla="*/ 293370 w 2443162"/>
                <a:gd name="connsiteY375" fmla="*/ 1026795 h 2161222"/>
                <a:gd name="connsiteX376" fmla="*/ 297180 w 2443162"/>
                <a:gd name="connsiteY376" fmla="*/ 1011555 h 2161222"/>
                <a:gd name="connsiteX377" fmla="*/ 300990 w 2443162"/>
                <a:gd name="connsiteY377" fmla="*/ 996315 h 2161222"/>
                <a:gd name="connsiteX378" fmla="*/ 303848 w 2443162"/>
                <a:gd name="connsiteY378" fmla="*/ 981075 h 2161222"/>
                <a:gd name="connsiteX379" fmla="*/ 306705 w 2443162"/>
                <a:gd name="connsiteY379" fmla="*/ 964883 h 2161222"/>
                <a:gd name="connsiteX380" fmla="*/ 308610 w 2443162"/>
                <a:gd name="connsiteY380" fmla="*/ 949643 h 2161222"/>
                <a:gd name="connsiteX381" fmla="*/ 309563 w 2443162"/>
                <a:gd name="connsiteY381" fmla="*/ 933450 h 2161222"/>
                <a:gd name="connsiteX382" fmla="*/ 310515 w 2443162"/>
                <a:gd name="connsiteY382" fmla="*/ 917258 h 2161222"/>
                <a:gd name="connsiteX383" fmla="*/ 310515 w 2443162"/>
                <a:gd name="connsiteY383" fmla="*/ 901065 h 2161222"/>
                <a:gd name="connsiteX384" fmla="*/ 310515 w 2443162"/>
                <a:gd name="connsiteY384" fmla="*/ 882968 h 2161222"/>
                <a:gd name="connsiteX385" fmla="*/ 310515 w 2443162"/>
                <a:gd name="connsiteY385" fmla="*/ 882968 h 2161222"/>
                <a:gd name="connsiteX386" fmla="*/ 332423 w 2443162"/>
                <a:gd name="connsiteY386" fmla="*/ 1591628 h 2161222"/>
                <a:gd name="connsiteX387" fmla="*/ 328613 w 2443162"/>
                <a:gd name="connsiteY387" fmla="*/ 1579245 h 2161222"/>
                <a:gd name="connsiteX388" fmla="*/ 325755 w 2443162"/>
                <a:gd name="connsiteY388" fmla="*/ 1566863 h 2161222"/>
                <a:gd name="connsiteX389" fmla="*/ 322898 w 2443162"/>
                <a:gd name="connsiteY389" fmla="*/ 1553528 h 2161222"/>
                <a:gd name="connsiteX390" fmla="*/ 320993 w 2443162"/>
                <a:gd name="connsiteY390" fmla="*/ 1540193 h 2161222"/>
                <a:gd name="connsiteX391" fmla="*/ 320040 w 2443162"/>
                <a:gd name="connsiteY391" fmla="*/ 1526858 h 2161222"/>
                <a:gd name="connsiteX392" fmla="*/ 319088 w 2443162"/>
                <a:gd name="connsiteY392" fmla="*/ 1512570 h 2161222"/>
                <a:gd name="connsiteX393" fmla="*/ 319088 w 2443162"/>
                <a:gd name="connsiteY393" fmla="*/ 1498283 h 2161222"/>
                <a:gd name="connsiteX394" fmla="*/ 319088 w 2443162"/>
                <a:gd name="connsiteY394" fmla="*/ 1482090 h 2161222"/>
                <a:gd name="connsiteX395" fmla="*/ 319088 w 2443162"/>
                <a:gd name="connsiteY395" fmla="*/ 1467803 h 2161222"/>
                <a:gd name="connsiteX396" fmla="*/ 320040 w 2443162"/>
                <a:gd name="connsiteY396" fmla="*/ 1453515 h 2161222"/>
                <a:gd name="connsiteX397" fmla="*/ 320993 w 2443162"/>
                <a:gd name="connsiteY397" fmla="*/ 1438275 h 2161222"/>
                <a:gd name="connsiteX398" fmla="*/ 321945 w 2443162"/>
                <a:gd name="connsiteY398" fmla="*/ 1423035 h 2161222"/>
                <a:gd name="connsiteX399" fmla="*/ 323850 w 2443162"/>
                <a:gd name="connsiteY399" fmla="*/ 1390650 h 2161222"/>
                <a:gd name="connsiteX400" fmla="*/ 326708 w 2443162"/>
                <a:gd name="connsiteY400" fmla="*/ 1359218 h 2161222"/>
                <a:gd name="connsiteX401" fmla="*/ 329565 w 2443162"/>
                <a:gd name="connsiteY401" fmla="*/ 1327785 h 2161222"/>
                <a:gd name="connsiteX402" fmla="*/ 331470 w 2443162"/>
                <a:gd name="connsiteY402" fmla="*/ 1296353 h 2161222"/>
                <a:gd name="connsiteX403" fmla="*/ 331470 w 2443162"/>
                <a:gd name="connsiteY403" fmla="*/ 1280160 h 2161222"/>
                <a:gd name="connsiteX404" fmla="*/ 331470 w 2443162"/>
                <a:gd name="connsiteY404" fmla="*/ 1264920 h 2161222"/>
                <a:gd name="connsiteX405" fmla="*/ 331470 w 2443162"/>
                <a:gd name="connsiteY405" fmla="*/ 1248728 h 2161222"/>
                <a:gd name="connsiteX406" fmla="*/ 331470 w 2443162"/>
                <a:gd name="connsiteY406" fmla="*/ 1233488 h 2161222"/>
                <a:gd name="connsiteX407" fmla="*/ 330518 w 2443162"/>
                <a:gd name="connsiteY407" fmla="*/ 1218248 h 2161222"/>
                <a:gd name="connsiteX408" fmla="*/ 328613 w 2443162"/>
                <a:gd name="connsiteY408" fmla="*/ 1203008 h 2161222"/>
                <a:gd name="connsiteX409" fmla="*/ 326708 w 2443162"/>
                <a:gd name="connsiteY409" fmla="*/ 1187768 h 2161222"/>
                <a:gd name="connsiteX410" fmla="*/ 323850 w 2443162"/>
                <a:gd name="connsiteY410" fmla="*/ 1172528 h 2161222"/>
                <a:gd name="connsiteX411" fmla="*/ 320040 w 2443162"/>
                <a:gd name="connsiteY411" fmla="*/ 1157288 h 2161222"/>
                <a:gd name="connsiteX412" fmla="*/ 314325 w 2443162"/>
                <a:gd name="connsiteY412" fmla="*/ 1143000 h 2161222"/>
                <a:gd name="connsiteX413" fmla="*/ 309563 w 2443162"/>
                <a:gd name="connsiteY413" fmla="*/ 1128713 h 2161222"/>
                <a:gd name="connsiteX414" fmla="*/ 303848 w 2443162"/>
                <a:gd name="connsiteY414" fmla="*/ 1114425 h 2161222"/>
                <a:gd name="connsiteX415" fmla="*/ 297180 w 2443162"/>
                <a:gd name="connsiteY415" fmla="*/ 1137285 h 2161222"/>
                <a:gd name="connsiteX416" fmla="*/ 290513 w 2443162"/>
                <a:gd name="connsiteY416" fmla="*/ 1159193 h 2161222"/>
                <a:gd name="connsiteX417" fmla="*/ 283845 w 2443162"/>
                <a:gd name="connsiteY417" fmla="*/ 1181100 h 2161222"/>
                <a:gd name="connsiteX418" fmla="*/ 277178 w 2443162"/>
                <a:gd name="connsiteY418" fmla="*/ 1202055 h 2161222"/>
                <a:gd name="connsiteX419" fmla="*/ 271463 w 2443162"/>
                <a:gd name="connsiteY419" fmla="*/ 1223963 h 2161222"/>
                <a:gd name="connsiteX420" fmla="*/ 265748 w 2443162"/>
                <a:gd name="connsiteY420" fmla="*/ 1244918 h 2161222"/>
                <a:gd name="connsiteX421" fmla="*/ 260985 w 2443162"/>
                <a:gd name="connsiteY421" fmla="*/ 1266825 h 2161222"/>
                <a:gd name="connsiteX422" fmla="*/ 257175 w 2443162"/>
                <a:gd name="connsiteY422" fmla="*/ 1288733 h 2161222"/>
                <a:gd name="connsiteX423" fmla="*/ 256223 w 2443162"/>
                <a:gd name="connsiteY423" fmla="*/ 1300163 h 2161222"/>
                <a:gd name="connsiteX424" fmla="*/ 255270 w 2443162"/>
                <a:gd name="connsiteY424" fmla="*/ 1311593 h 2161222"/>
                <a:gd name="connsiteX425" fmla="*/ 254318 w 2443162"/>
                <a:gd name="connsiteY425" fmla="*/ 1323023 h 2161222"/>
                <a:gd name="connsiteX426" fmla="*/ 253365 w 2443162"/>
                <a:gd name="connsiteY426" fmla="*/ 1334453 h 2161222"/>
                <a:gd name="connsiteX427" fmla="*/ 253365 w 2443162"/>
                <a:gd name="connsiteY427" fmla="*/ 1345883 h 2161222"/>
                <a:gd name="connsiteX428" fmla="*/ 253365 w 2443162"/>
                <a:gd name="connsiteY428" fmla="*/ 1358265 h 2161222"/>
                <a:gd name="connsiteX429" fmla="*/ 253365 w 2443162"/>
                <a:gd name="connsiteY429" fmla="*/ 1370648 h 2161222"/>
                <a:gd name="connsiteX430" fmla="*/ 254318 w 2443162"/>
                <a:gd name="connsiteY430" fmla="*/ 1383030 h 2161222"/>
                <a:gd name="connsiteX431" fmla="*/ 255270 w 2443162"/>
                <a:gd name="connsiteY431" fmla="*/ 1395413 h 2161222"/>
                <a:gd name="connsiteX432" fmla="*/ 256223 w 2443162"/>
                <a:gd name="connsiteY432" fmla="*/ 1407795 h 2161222"/>
                <a:gd name="connsiteX433" fmla="*/ 258128 w 2443162"/>
                <a:gd name="connsiteY433" fmla="*/ 1421130 h 2161222"/>
                <a:gd name="connsiteX434" fmla="*/ 260033 w 2443162"/>
                <a:gd name="connsiteY434" fmla="*/ 1434465 h 2161222"/>
                <a:gd name="connsiteX435" fmla="*/ 262890 w 2443162"/>
                <a:gd name="connsiteY435" fmla="*/ 1447800 h 2161222"/>
                <a:gd name="connsiteX436" fmla="*/ 265748 w 2443162"/>
                <a:gd name="connsiteY436" fmla="*/ 1462088 h 2161222"/>
                <a:gd name="connsiteX437" fmla="*/ 269558 w 2443162"/>
                <a:gd name="connsiteY437" fmla="*/ 1476375 h 2161222"/>
                <a:gd name="connsiteX438" fmla="*/ 273368 w 2443162"/>
                <a:gd name="connsiteY438" fmla="*/ 1490663 h 2161222"/>
                <a:gd name="connsiteX439" fmla="*/ 268605 w 2443162"/>
                <a:gd name="connsiteY439" fmla="*/ 1483043 h 2161222"/>
                <a:gd name="connsiteX440" fmla="*/ 261938 w 2443162"/>
                <a:gd name="connsiteY440" fmla="*/ 1471613 h 2161222"/>
                <a:gd name="connsiteX441" fmla="*/ 252413 w 2443162"/>
                <a:gd name="connsiteY441" fmla="*/ 1456373 h 2161222"/>
                <a:gd name="connsiteX442" fmla="*/ 240983 w 2443162"/>
                <a:gd name="connsiteY442" fmla="*/ 1439228 h 2161222"/>
                <a:gd name="connsiteX443" fmla="*/ 227648 w 2443162"/>
                <a:gd name="connsiteY443" fmla="*/ 1419225 h 2161222"/>
                <a:gd name="connsiteX444" fmla="*/ 211455 w 2443162"/>
                <a:gd name="connsiteY444" fmla="*/ 1397318 h 2161222"/>
                <a:gd name="connsiteX445" fmla="*/ 202883 w 2443162"/>
                <a:gd name="connsiteY445" fmla="*/ 1386840 h 2161222"/>
                <a:gd name="connsiteX446" fmla="*/ 193358 w 2443162"/>
                <a:gd name="connsiteY446" fmla="*/ 1375410 h 2161222"/>
                <a:gd name="connsiteX447" fmla="*/ 183833 w 2443162"/>
                <a:gd name="connsiteY447" fmla="*/ 1363980 h 2161222"/>
                <a:gd name="connsiteX448" fmla="*/ 173355 w 2443162"/>
                <a:gd name="connsiteY448" fmla="*/ 1352550 h 2161222"/>
                <a:gd name="connsiteX449" fmla="*/ 149543 w 2443162"/>
                <a:gd name="connsiteY449" fmla="*/ 1323975 h 2161222"/>
                <a:gd name="connsiteX450" fmla="*/ 124778 w 2443162"/>
                <a:gd name="connsiteY450" fmla="*/ 1295400 h 2161222"/>
                <a:gd name="connsiteX451" fmla="*/ 100013 w 2443162"/>
                <a:gd name="connsiteY451" fmla="*/ 1266825 h 2161222"/>
                <a:gd name="connsiteX452" fmla="*/ 76200 w 2443162"/>
                <a:gd name="connsiteY452" fmla="*/ 1238250 h 2161222"/>
                <a:gd name="connsiteX453" fmla="*/ 64770 w 2443162"/>
                <a:gd name="connsiteY453" fmla="*/ 1219200 h 2161222"/>
                <a:gd name="connsiteX454" fmla="*/ 53340 w 2443162"/>
                <a:gd name="connsiteY454" fmla="*/ 1204913 h 2161222"/>
                <a:gd name="connsiteX455" fmla="*/ 42863 w 2443162"/>
                <a:gd name="connsiteY455" fmla="*/ 1190625 h 2161222"/>
                <a:gd name="connsiteX456" fmla="*/ 32385 w 2443162"/>
                <a:gd name="connsiteY456" fmla="*/ 1176338 h 2161222"/>
                <a:gd name="connsiteX457" fmla="*/ 22860 w 2443162"/>
                <a:gd name="connsiteY457" fmla="*/ 1163003 h 2161222"/>
                <a:gd name="connsiteX458" fmla="*/ 14288 w 2443162"/>
                <a:gd name="connsiteY458" fmla="*/ 1149668 h 2161222"/>
                <a:gd name="connsiteX459" fmla="*/ 6668 w 2443162"/>
                <a:gd name="connsiteY459" fmla="*/ 1137285 h 2161222"/>
                <a:gd name="connsiteX460" fmla="*/ 0 w 2443162"/>
                <a:gd name="connsiteY460" fmla="*/ 1124903 h 2161222"/>
                <a:gd name="connsiteX461" fmla="*/ 953 w 2443162"/>
                <a:gd name="connsiteY461" fmla="*/ 1154430 h 2161222"/>
                <a:gd name="connsiteX462" fmla="*/ 2858 w 2443162"/>
                <a:gd name="connsiteY462" fmla="*/ 1182053 h 2161222"/>
                <a:gd name="connsiteX463" fmla="*/ 6668 w 2443162"/>
                <a:gd name="connsiteY463" fmla="*/ 1208723 h 2161222"/>
                <a:gd name="connsiteX464" fmla="*/ 12383 w 2443162"/>
                <a:gd name="connsiteY464" fmla="*/ 1234440 h 2161222"/>
                <a:gd name="connsiteX465" fmla="*/ 19050 w 2443162"/>
                <a:gd name="connsiteY465" fmla="*/ 1258253 h 2161222"/>
                <a:gd name="connsiteX466" fmla="*/ 26670 w 2443162"/>
                <a:gd name="connsiteY466" fmla="*/ 1281113 h 2161222"/>
                <a:gd name="connsiteX467" fmla="*/ 36195 w 2443162"/>
                <a:gd name="connsiteY467" fmla="*/ 1303020 h 2161222"/>
                <a:gd name="connsiteX468" fmla="*/ 46673 w 2443162"/>
                <a:gd name="connsiteY468" fmla="*/ 1323975 h 2161222"/>
                <a:gd name="connsiteX469" fmla="*/ 57150 w 2443162"/>
                <a:gd name="connsiteY469" fmla="*/ 1343025 h 2161222"/>
                <a:gd name="connsiteX470" fmla="*/ 69533 w 2443162"/>
                <a:gd name="connsiteY470" fmla="*/ 1362075 h 2161222"/>
                <a:gd name="connsiteX471" fmla="*/ 81915 w 2443162"/>
                <a:gd name="connsiteY471" fmla="*/ 1380173 h 2161222"/>
                <a:gd name="connsiteX472" fmla="*/ 95250 w 2443162"/>
                <a:gd name="connsiteY472" fmla="*/ 1396365 h 2161222"/>
                <a:gd name="connsiteX473" fmla="*/ 109538 w 2443162"/>
                <a:gd name="connsiteY473" fmla="*/ 1412558 h 2161222"/>
                <a:gd name="connsiteX474" fmla="*/ 123825 w 2443162"/>
                <a:gd name="connsiteY474" fmla="*/ 1427798 h 2161222"/>
                <a:gd name="connsiteX475" fmla="*/ 139065 w 2443162"/>
                <a:gd name="connsiteY475" fmla="*/ 1442085 h 2161222"/>
                <a:gd name="connsiteX476" fmla="*/ 154305 w 2443162"/>
                <a:gd name="connsiteY476" fmla="*/ 1455420 h 2161222"/>
                <a:gd name="connsiteX477" fmla="*/ 169545 w 2443162"/>
                <a:gd name="connsiteY477" fmla="*/ 1467803 h 2161222"/>
                <a:gd name="connsiteX478" fmla="*/ 184785 w 2443162"/>
                <a:gd name="connsiteY478" fmla="*/ 1480185 h 2161222"/>
                <a:gd name="connsiteX479" fmla="*/ 200025 w 2443162"/>
                <a:gd name="connsiteY479" fmla="*/ 1490663 h 2161222"/>
                <a:gd name="connsiteX480" fmla="*/ 215265 w 2443162"/>
                <a:gd name="connsiteY480" fmla="*/ 1501140 h 2161222"/>
                <a:gd name="connsiteX481" fmla="*/ 243840 w 2443162"/>
                <a:gd name="connsiteY481" fmla="*/ 1520190 h 2161222"/>
                <a:gd name="connsiteX482" fmla="*/ 269558 w 2443162"/>
                <a:gd name="connsiteY482" fmla="*/ 1537335 h 2161222"/>
                <a:gd name="connsiteX483" fmla="*/ 281940 w 2443162"/>
                <a:gd name="connsiteY483" fmla="*/ 1544955 h 2161222"/>
                <a:gd name="connsiteX484" fmla="*/ 292418 w 2443162"/>
                <a:gd name="connsiteY484" fmla="*/ 1552575 h 2161222"/>
                <a:gd name="connsiteX485" fmla="*/ 302895 w 2443162"/>
                <a:gd name="connsiteY485" fmla="*/ 1559243 h 2161222"/>
                <a:gd name="connsiteX486" fmla="*/ 311468 w 2443162"/>
                <a:gd name="connsiteY486" fmla="*/ 1565910 h 2161222"/>
                <a:gd name="connsiteX487" fmla="*/ 319088 w 2443162"/>
                <a:gd name="connsiteY487" fmla="*/ 1572578 h 2161222"/>
                <a:gd name="connsiteX488" fmla="*/ 325755 w 2443162"/>
                <a:gd name="connsiteY488" fmla="*/ 1578293 h 2161222"/>
                <a:gd name="connsiteX489" fmla="*/ 330518 w 2443162"/>
                <a:gd name="connsiteY489" fmla="*/ 1584008 h 2161222"/>
                <a:gd name="connsiteX490" fmla="*/ 332423 w 2443162"/>
                <a:gd name="connsiteY490" fmla="*/ 1591628 h 2161222"/>
                <a:gd name="connsiteX491" fmla="*/ 332423 w 2443162"/>
                <a:gd name="connsiteY491" fmla="*/ 1591628 h 2161222"/>
                <a:gd name="connsiteX492" fmla="*/ 177165 w 2443162"/>
                <a:gd name="connsiteY492" fmla="*/ 813435 h 2161222"/>
                <a:gd name="connsiteX493" fmla="*/ 182880 w 2443162"/>
                <a:gd name="connsiteY493" fmla="*/ 797243 h 2161222"/>
                <a:gd name="connsiteX494" fmla="*/ 189548 w 2443162"/>
                <a:gd name="connsiteY494" fmla="*/ 782003 h 2161222"/>
                <a:gd name="connsiteX495" fmla="*/ 197168 w 2443162"/>
                <a:gd name="connsiteY495" fmla="*/ 766763 h 2161222"/>
                <a:gd name="connsiteX496" fmla="*/ 205740 w 2443162"/>
                <a:gd name="connsiteY496" fmla="*/ 753428 h 2161222"/>
                <a:gd name="connsiteX497" fmla="*/ 215265 w 2443162"/>
                <a:gd name="connsiteY497" fmla="*/ 740093 h 2161222"/>
                <a:gd name="connsiteX498" fmla="*/ 224790 w 2443162"/>
                <a:gd name="connsiteY498" fmla="*/ 727710 h 2161222"/>
                <a:gd name="connsiteX499" fmla="*/ 235268 w 2443162"/>
                <a:gd name="connsiteY499" fmla="*/ 716280 h 2161222"/>
                <a:gd name="connsiteX500" fmla="*/ 245745 w 2443162"/>
                <a:gd name="connsiteY500" fmla="*/ 704850 h 2161222"/>
                <a:gd name="connsiteX501" fmla="*/ 256223 w 2443162"/>
                <a:gd name="connsiteY501" fmla="*/ 694373 h 2161222"/>
                <a:gd name="connsiteX502" fmla="*/ 267653 w 2443162"/>
                <a:gd name="connsiteY502" fmla="*/ 683895 h 2161222"/>
                <a:gd name="connsiteX503" fmla="*/ 279083 w 2443162"/>
                <a:gd name="connsiteY503" fmla="*/ 673418 h 2161222"/>
                <a:gd name="connsiteX504" fmla="*/ 290513 w 2443162"/>
                <a:gd name="connsiteY504" fmla="*/ 663893 h 2161222"/>
                <a:gd name="connsiteX505" fmla="*/ 315278 w 2443162"/>
                <a:gd name="connsiteY505" fmla="*/ 643890 h 2161222"/>
                <a:gd name="connsiteX506" fmla="*/ 340043 w 2443162"/>
                <a:gd name="connsiteY506" fmla="*/ 624840 h 2161222"/>
                <a:gd name="connsiteX507" fmla="*/ 352425 w 2443162"/>
                <a:gd name="connsiteY507" fmla="*/ 615315 h 2161222"/>
                <a:gd name="connsiteX508" fmla="*/ 364808 w 2443162"/>
                <a:gd name="connsiteY508" fmla="*/ 605790 h 2161222"/>
                <a:gd name="connsiteX509" fmla="*/ 377190 w 2443162"/>
                <a:gd name="connsiteY509" fmla="*/ 595313 h 2161222"/>
                <a:gd name="connsiteX510" fmla="*/ 389573 w 2443162"/>
                <a:gd name="connsiteY510" fmla="*/ 584835 h 2161222"/>
                <a:gd name="connsiteX511" fmla="*/ 401003 w 2443162"/>
                <a:gd name="connsiteY511" fmla="*/ 574358 h 2161222"/>
                <a:gd name="connsiteX512" fmla="*/ 412433 w 2443162"/>
                <a:gd name="connsiteY512" fmla="*/ 563880 h 2161222"/>
                <a:gd name="connsiteX513" fmla="*/ 423863 w 2443162"/>
                <a:gd name="connsiteY513" fmla="*/ 553403 h 2161222"/>
                <a:gd name="connsiteX514" fmla="*/ 434340 w 2443162"/>
                <a:gd name="connsiteY514" fmla="*/ 541973 h 2161222"/>
                <a:gd name="connsiteX515" fmla="*/ 444818 w 2443162"/>
                <a:gd name="connsiteY515" fmla="*/ 529590 h 2161222"/>
                <a:gd name="connsiteX516" fmla="*/ 455295 w 2443162"/>
                <a:gd name="connsiteY516" fmla="*/ 516255 h 2161222"/>
                <a:gd name="connsiteX517" fmla="*/ 464820 w 2443162"/>
                <a:gd name="connsiteY517" fmla="*/ 502920 h 2161222"/>
                <a:gd name="connsiteX518" fmla="*/ 473393 w 2443162"/>
                <a:gd name="connsiteY518" fmla="*/ 488633 h 2161222"/>
                <a:gd name="connsiteX519" fmla="*/ 481013 w 2443162"/>
                <a:gd name="connsiteY519" fmla="*/ 473393 h 2161222"/>
                <a:gd name="connsiteX520" fmla="*/ 487680 w 2443162"/>
                <a:gd name="connsiteY520" fmla="*/ 458153 h 2161222"/>
                <a:gd name="connsiteX521" fmla="*/ 493395 w 2443162"/>
                <a:gd name="connsiteY521" fmla="*/ 441008 h 2161222"/>
                <a:gd name="connsiteX522" fmla="*/ 499110 w 2443162"/>
                <a:gd name="connsiteY522" fmla="*/ 422910 h 2161222"/>
                <a:gd name="connsiteX523" fmla="*/ 486728 w 2443162"/>
                <a:gd name="connsiteY523" fmla="*/ 434340 h 2161222"/>
                <a:gd name="connsiteX524" fmla="*/ 476250 w 2443162"/>
                <a:gd name="connsiteY524" fmla="*/ 445770 h 2161222"/>
                <a:gd name="connsiteX525" fmla="*/ 462915 w 2443162"/>
                <a:gd name="connsiteY525" fmla="*/ 456248 h 2161222"/>
                <a:gd name="connsiteX526" fmla="*/ 449580 w 2443162"/>
                <a:gd name="connsiteY526" fmla="*/ 465773 h 2161222"/>
                <a:gd name="connsiteX527" fmla="*/ 436245 w 2443162"/>
                <a:gd name="connsiteY527" fmla="*/ 475298 h 2161222"/>
                <a:gd name="connsiteX528" fmla="*/ 421958 w 2443162"/>
                <a:gd name="connsiteY528" fmla="*/ 484823 h 2161222"/>
                <a:gd name="connsiteX529" fmla="*/ 408623 w 2443162"/>
                <a:gd name="connsiteY529" fmla="*/ 493395 h 2161222"/>
                <a:gd name="connsiteX530" fmla="*/ 394335 w 2443162"/>
                <a:gd name="connsiteY530" fmla="*/ 502920 h 2161222"/>
                <a:gd name="connsiteX531" fmla="*/ 366713 w 2443162"/>
                <a:gd name="connsiteY531" fmla="*/ 521018 h 2161222"/>
                <a:gd name="connsiteX532" fmla="*/ 339090 w 2443162"/>
                <a:gd name="connsiteY532" fmla="*/ 540068 h 2161222"/>
                <a:gd name="connsiteX533" fmla="*/ 324803 w 2443162"/>
                <a:gd name="connsiteY533" fmla="*/ 550545 h 2161222"/>
                <a:gd name="connsiteX534" fmla="*/ 311468 w 2443162"/>
                <a:gd name="connsiteY534" fmla="*/ 561023 h 2161222"/>
                <a:gd name="connsiteX535" fmla="*/ 298133 w 2443162"/>
                <a:gd name="connsiteY535" fmla="*/ 572453 h 2161222"/>
                <a:gd name="connsiteX536" fmla="*/ 285750 w 2443162"/>
                <a:gd name="connsiteY536" fmla="*/ 581978 h 2161222"/>
                <a:gd name="connsiteX537" fmla="*/ 274320 w 2443162"/>
                <a:gd name="connsiteY537" fmla="*/ 594360 h 2161222"/>
                <a:gd name="connsiteX538" fmla="*/ 263843 w 2443162"/>
                <a:gd name="connsiteY538" fmla="*/ 606743 h 2161222"/>
                <a:gd name="connsiteX539" fmla="*/ 254318 w 2443162"/>
                <a:gd name="connsiteY539" fmla="*/ 619125 h 2161222"/>
                <a:gd name="connsiteX540" fmla="*/ 245745 w 2443162"/>
                <a:gd name="connsiteY540" fmla="*/ 631508 h 2161222"/>
                <a:gd name="connsiteX541" fmla="*/ 237173 w 2443162"/>
                <a:gd name="connsiteY541" fmla="*/ 643890 h 2161222"/>
                <a:gd name="connsiteX542" fmla="*/ 228600 w 2443162"/>
                <a:gd name="connsiteY542" fmla="*/ 657225 h 2161222"/>
                <a:gd name="connsiteX543" fmla="*/ 220980 w 2443162"/>
                <a:gd name="connsiteY543" fmla="*/ 670560 h 2161222"/>
                <a:gd name="connsiteX544" fmla="*/ 214313 w 2443162"/>
                <a:gd name="connsiteY544" fmla="*/ 684848 h 2161222"/>
                <a:gd name="connsiteX545" fmla="*/ 220028 w 2443162"/>
                <a:gd name="connsiteY545" fmla="*/ 663893 h 2161222"/>
                <a:gd name="connsiteX546" fmla="*/ 225743 w 2443162"/>
                <a:gd name="connsiteY546" fmla="*/ 642938 h 2161222"/>
                <a:gd name="connsiteX547" fmla="*/ 231458 w 2443162"/>
                <a:gd name="connsiteY547" fmla="*/ 621983 h 2161222"/>
                <a:gd name="connsiteX548" fmla="*/ 236220 w 2443162"/>
                <a:gd name="connsiteY548" fmla="*/ 601028 h 2161222"/>
                <a:gd name="connsiteX549" fmla="*/ 240030 w 2443162"/>
                <a:gd name="connsiteY549" fmla="*/ 580073 h 2161222"/>
                <a:gd name="connsiteX550" fmla="*/ 242888 w 2443162"/>
                <a:gd name="connsiteY550" fmla="*/ 560070 h 2161222"/>
                <a:gd name="connsiteX551" fmla="*/ 243840 w 2443162"/>
                <a:gd name="connsiteY551" fmla="*/ 550545 h 2161222"/>
                <a:gd name="connsiteX552" fmla="*/ 244793 w 2443162"/>
                <a:gd name="connsiteY552" fmla="*/ 541020 h 2161222"/>
                <a:gd name="connsiteX553" fmla="*/ 244793 w 2443162"/>
                <a:gd name="connsiteY553" fmla="*/ 531495 h 2161222"/>
                <a:gd name="connsiteX554" fmla="*/ 244793 w 2443162"/>
                <a:gd name="connsiteY554" fmla="*/ 521970 h 2161222"/>
                <a:gd name="connsiteX555" fmla="*/ 247650 w 2443162"/>
                <a:gd name="connsiteY555" fmla="*/ 496253 h 2161222"/>
                <a:gd name="connsiteX556" fmla="*/ 249555 w 2443162"/>
                <a:gd name="connsiteY556" fmla="*/ 477203 h 2161222"/>
                <a:gd name="connsiteX557" fmla="*/ 251460 w 2443162"/>
                <a:gd name="connsiteY557" fmla="*/ 461963 h 2161222"/>
                <a:gd name="connsiteX558" fmla="*/ 254318 w 2443162"/>
                <a:gd name="connsiteY558" fmla="*/ 449580 h 2161222"/>
                <a:gd name="connsiteX559" fmla="*/ 255270 w 2443162"/>
                <a:gd name="connsiteY559" fmla="*/ 443865 h 2161222"/>
                <a:gd name="connsiteX560" fmla="*/ 257175 w 2443162"/>
                <a:gd name="connsiteY560" fmla="*/ 438150 h 2161222"/>
                <a:gd name="connsiteX561" fmla="*/ 259080 w 2443162"/>
                <a:gd name="connsiteY561" fmla="*/ 431483 h 2161222"/>
                <a:gd name="connsiteX562" fmla="*/ 261938 w 2443162"/>
                <a:gd name="connsiteY562" fmla="*/ 423863 h 2161222"/>
                <a:gd name="connsiteX563" fmla="*/ 269558 w 2443162"/>
                <a:gd name="connsiteY563" fmla="*/ 405765 h 2161222"/>
                <a:gd name="connsiteX564" fmla="*/ 280035 w 2443162"/>
                <a:gd name="connsiteY564" fmla="*/ 381953 h 2161222"/>
                <a:gd name="connsiteX565" fmla="*/ 283845 w 2443162"/>
                <a:gd name="connsiteY565" fmla="*/ 375285 h 2161222"/>
                <a:gd name="connsiteX566" fmla="*/ 290513 w 2443162"/>
                <a:gd name="connsiteY566" fmla="*/ 365760 h 2161222"/>
                <a:gd name="connsiteX567" fmla="*/ 296228 w 2443162"/>
                <a:gd name="connsiteY567" fmla="*/ 356235 h 2161222"/>
                <a:gd name="connsiteX568" fmla="*/ 300038 w 2443162"/>
                <a:gd name="connsiteY568" fmla="*/ 349568 h 2161222"/>
                <a:gd name="connsiteX569" fmla="*/ 292418 w 2443162"/>
                <a:gd name="connsiteY569" fmla="*/ 355283 h 2161222"/>
                <a:gd name="connsiteX570" fmla="*/ 285750 w 2443162"/>
                <a:gd name="connsiteY570" fmla="*/ 360998 h 2161222"/>
                <a:gd name="connsiteX571" fmla="*/ 279083 w 2443162"/>
                <a:gd name="connsiteY571" fmla="*/ 366713 h 2161222"/>
                <a:gd name="connsiteX572" fmla="*/ 272415 w 2443162"/>
                <a:gd name="connsiteY572" fmla="*/ 372428 h 2161222"/>
                <a:gd name="connsiteX573" fmla="*/ 266700 w 2443162"/>
                <a:gd name="connsiteY573" fmla="*/ 376238 h 2161222"/>
                <a:gd name="connsiteX574" fmla="*/ 260985 w 2443162"/>
                <a:gd name="connsiteY574" fmla="*/ 381953 h 2161222"/>
                <a:gd name="connsiteX575" fmla="*/ 255270 w 2443162"/>
                <a:gd name="connsiteY575" fmla="*/ 387668 h 2161222"/>
                <a:gd name="connsiteX576" fmla="*/ 249555 w 2443162"/>
                <a:gd name="connsiteY576" fmla="*/ 393383 h 2161222"/>
                <a:gd name="connsiteX577" fmla="*/ 243840 w 2443162"/>
                <a:gd name="connsiteY577" fmla="*/ 400050 h 2161222"/>
                <a:gd name="connsiteX578" fmla="*/ 238125 w 2443162"/>
                <a:gd name="connsiteY578" fmla="*/ 406718 h 2161222"/>
                <a:gd name="connsiteX579" fmla="*/ 233363 w 2443162"/>
                <a:gd name="connsiteY579" fmla="*/ 412433 h 2161222"/>
                <a:gd name="connsiteX580" fmla="*/ 228600 w 2443162"/>
                <a:gd name="connsiteY580" fmla="*/ 420053 h 2161222"/>
                <a:gd name="connsiteX581" fmla="*/ 223838 w 2443162"/>
                <a:gd name="connsiteY581" fmla="*/ 426720 h 2161222"/>
                <a:gd name="connsiteX582" fmla="*/ 219075 w 2443162"/>
                <a:gd name="connsiteY582" fmla="*/ 433388 h 2161222"/>
                <a:gd name="connsiteX583" fmla="*/ 214313 w 2443162"/>
                <a:gd name="connsiteY583" fmla="*/ 440055 h 2161222"/>
                <a:gd name="connsiteX584" fmla="*/ 210503 w 2443162"/>
                <a:gd name="connsiteY584" fmla="*/ 446723 h 2161222"/>
                <a:gd name="connsiteX585" fmla="*/ 206693 w 2443162"/>
                <a:gd name="connsiteY585" fmla="*/ 454343 h 2161222"/>
                <a:gd name="connsiteX586" fmla="*/ 202883 w 2443162"/>
                <a:gd name="connsiteY586" fmla="*/ 461010 h 2161222"/>
                <a:gd name="connsiteX587" fmla="*/ 199073 w 2443162"/>
                <a:gd name="connsiteY587" fmla="*/ 468630 h 2161222"/>
                <a:gd name="connsiteX588" fmla="*/ 196215 w 2443162"/>
                <a:gd name="connsiteY588" fmla="*/ 476250 h 2161222"/>
                <a:gd name="connsiteX589" fmla="*/ 190500 w 2443162"/>
                <a:gd name="connsiteY589" fmla="*/ 491490 h 2161222"/>
                <a:gd name="connsiteX590" fmla="*/ 184785 w 2443162"/>
                <a:gd name="connsiteY590" fmla="*/ 507683 h 2161222"/>
                <a:gd name="connsiteX591" fmla="*/ 180023 w 2443162"/>
                <a:gd name="connsiteY591" fmla="*/ 523875 h 2161222"/>
                <a:gd name="connsiteX592" fmla="*/ 176213 w 2443162"/>
                <a:gd name="connsiteY592" fmla="*/ 541020 h 2161222"/>
                <a:gd name="connsiteX593" fmla="*/ 171450 w 2443162"/>
                <a:gd name="connsiteY593" fmla="*/ 557213 h 2161222"/>
                <a:gd name="connsiteX594" fmla="*/ 168593 w 2443162"/>
                <a:gd name="connsiteY594" fmla="*/ 575310 h 2161222"/>
                <a:gd name="connsiteX595" fmla="*/ 167640 w 2443162"/>
                <a:gd name="connsiteY595" fmla="*/ 590550 h 2161222"/>
                <a:gd name="connsiteX596" fmla="*/ 166688 w 2443162"/>
                <a:gd name="connsiteY596" fmla="*/ 605790 h 2161222"/>
                <a:gd name="connsiteX597" fmla="*/ 166688 w 2443162"/>
                <a:gd name="connsiteY597" fmla="*/ 621030 h 2161222"/>
                <a:gd name="connsiteX598" fmla="*/ 165735 w 2443162"/>
                <a:gd name="connsiteY598" fmla="*/ 635318 h 2161222"/>
                <a:gd name="connsiteX599" fmla="*/ 165735 w 2443162"/>
                <a:gd name="connsiteY599" fmla="*/ 650558 h 2161222"/>
                <a:gd name="connsiteX600" fmla="*/ 165735 w 2443162"/>
                <a:gd name="connsiteY600" fmla="*/ 664845 h 2161222"/>
                <a:gd name="connsiteX601" fmla="*/ 165735 w 2443162"/>
                <a:gd name="connsiteY601" fmla="*/ 679133 h 2161222"/>
                <a:gd name="connsiteX602" fmla="*/ 166688 w 2443162"/>
                <a:gd name="connsiteY602" fmla="*/ 693420 h 2161222"/>
                <a:gd name="connsiteX603" fmla="*/ 168593 w 2443162"/>
                <a:gd name="connsiteY603" fmla="*/ 721995 h 2161222"/>
                <a:gd name="connsiteX604" fmla="*/ 171450 w 2443162"/>
                <a:gd name="connsiteY604" fmla="*/ 751523 h 2161222"/>
                <a:gd name="connsiteX605" fmla="*/ 174308 w 2443162"/>
                <a:gd name="connsiteY605" fmla="*/ 782003 h 2161222"/>
                <a:gd name="connsiteX606" fmla="*/ 177165 w 2443162"/>
                <a:gd name="connsiteY606" fmla="*/ 813435 h 2161222"/>
                <a:gd name="connsiteX607" fmla="*/ 177165 w 2443162"/>
                <a:gd name="connsiteY607" fmla="*/ 813435 h 2161222"/>
                <a:gd name="connsiteX608" fmla="*/ 520065 w 2443162"/>
                <a:gd name="connsiteY608" fmla="*/ 1794510 h 2161222"/>
                <a:gd name="connsiteX609" fmla="*/ 513398 w 2443162"/>
                <a:gd name="connsiteY609" fmla="*/ 1784033 h 2161222"/>
                <a:gd name="connsiteX610" fmla="*/ 506730 w 2443162"/>
                <a:gd name="connsiteY610" fmla="*/ 1772603 h 2161222"/>
                <a:gd name="connsiteX611" fmla="*/ 501015 w 2443162"/>
                <a:gd name="connsiteY611" fmla="*/ 1761173 h 2161222"/>
                <a:gd name="connsiteX612" fmla="*/ 495300 w 2443162"/>
                <a:gd name="connsiteY612" fmla="*/ 1748790 h 2161222"/>
                <a:gd name="connsiteX613" fmla="*/ 490538 w 2443162"/>
                <a:gd name="connsiteY613" fmla="*/ 1736408 h 2161222"/>
                <a:gd name="connsiteX614" fmla="*/ 485775 w 2443162"/>
                <a:gd name="connsiteY614" fmla="*/ 1724025 h 2161222"/>
                <a:gd name="connsiteX615" fmla="*/ 481965 w 2443162"/>
                <a:gd name="connsiteY615" fmla="*/ 1710690 h 2161222"/>
                <a:gd name="connsiteX616" fmla="*/ 478155 w 2443162"/>
                <a:gd name="connsiteY616" fmla="*/ 1697355 h 2161222"/>
                <a:gd name="connsiteX617" fmla="*/ 475298 w 2443162"/>
                <a:gd name="connsiteY617" fmla="*/ 1683068 h 2161222"/>
                <a:gd name="connsiteX618" fmla="*/ 471488 w 2443162"/>
                <a:gd name="connsiteY618" fmla="*/ 1668780 h 2161222"/>
                <a:gd name="connsiteX619" fmla="*/ 468630 w 2443162"/>
                <a:gd name="connsiteY619" fmla="*/ 1654493 h 2161222"/>
                <a:gd name="connsiteX620" fmla="*/ 465773 w 2443162"/>
                <a:gd name="connsiteY620" fmla="*/ 1640205 h 2161222"/>
                <a:gd name="connsiteX621" fmla="*/ 460058 w 2443162"/>
                <a:gd name="connsiteY621" fmla="*/ 1611630 h 2161222"/>
                <a:gd name="connsiteX622" fmla="*/ 454343 w 2443162"/>
                <a:gd name="connsiteY622" fmla="*/ 1582103 h 2161222"/>
                <a:gd name="connsiteX623" fmla="*/ 448628 w 2443162"/>
                <a:gd name="connsiteY623" fmla="*/ 1552575 h 2161222"/>
                <a:gd name="connsiteX624" fmla="*/ 441960 w 2443162"/>
                <a:gd name="connsiteY624" fmla="*/ 1523048 h 2161222"/>
                <a:gd name="connsiteX625" fmla="*/ 438150 w 2443162"/>
                <a:gd name="connsiteY625" fmla="*/ 1507808 h 2161222"/>
                <a:gd name="connsiteX626" fmla="*/ 434340 w 2443162"/>
                <a:gd name="connsiteY626" fmla="*/ 1493520 h 2161222"/>
                <a:gd name="connsiteX627" fmla="*/ 429578 w 2443162"/>
                <a:gd name="connsiteY627" fmla="*/ 1479233 h 2161222"/>
                <a:gd name="connsiteX628" fmla="*/ 424815 w 2443162"/>
                <a:gd name="connsiteY628" fmla="*/ 1464945 h 2161222"/>
                <a:gd name="connsiteX629" fmla="*/ 420053 w 2443162"/>
                <a:gd name="connsiteY629" fmla="*/ 1450658 h 2161222"/>
                <a:gd name="connsiteX630" fmla="*/ 414338 w 2443162"/>
                <a:gd name="connsiteY630" fmla="*/ 1436370 h 2161222"/>
                <a:gd name="connsiteX631" fmla="*/ 407670 w 2443162"/>
                <a:gd name="connsiteY631" fmla="*/ 1423035 h 2161222"/>
                <a:gd name="connsiteX632" fmla="*/ 401003 w 2443162"/>
                <a:gd name="connsiteY632" fmla="*/ 1409700 h 2161222"/>
                <a:gd name="connsiteX633" fmla="*/ 393383 w 2443162"/>
                <a:gd name="connsiteY633" fmla="*/ 1396365 h 2161222"/>
                <a:gd name="connsiteX634" fmla="*/ 384810 w 2443162"/>
                <a:gd name="connsiteY634" fmla="*/ 1383983 h 2161222"/>
                <a:gd name="connsiteX635" fmla="*/ 375285 w 2443162"/>
                <a:gd name="connsiteY635" fmla="*/ 1371600 h 2161222"/>
                <a:gd name="connsiteX636" fmla="*/ 365760 w 2443162"/>
                <a:gd name="connsiteY636" fmla="*/ 1360170 h 2161222"/>
                <a:gd name="connsiteX637" fmla="*/ 366713 w 2443162"/>
                <a:gd name="connsiteY637" fmla="*/ 1385888 h 2161222"/>
                <a:gd name="connsiteX638" fmla="*/ 367665 w 2443162"/>
                <a:gd name="connsiteY638" fmla="*/ 1410653 h 2161222"/>
                <a:gd name="connsiteX639" fmla="*/ 366713 w 2443162"/>
                <a:gd name="connsiteY639" fmla="*/ 1435418 h 2161222"/>
                <a:gd name="connsiteX640" fmla="*/ 366713 w 2443162"/>
                <a:gd name="connsiteY640" fmla="*/ 1458278 h 2161222"/>
                <a:gd name="connsiteX641" fmla="*/ 366713 w 2443162"/>
                <a:gd name="connsiteY641" fmla="*/ 1480185 h 2161222"/>
                <a:gd name="connsiteX642" fmla="*/ 366713 w 2443162"/>
                <a:gd name="connsiteY642" fmla="*/ 1502093 h 2161222"/>
                <a:gd name="connsiteX643" fmla="*/ 366713 w 2443162"/>
                <a:gd name="connsiteY643" fmla="*/ 1523048 h 2161222"/>
                <a:gd name="connsiteX644" fmla="*/ 366713 w 2443162"/>
                <a:gd name="connsiteY644" fmla="*/ 1543050 h 2161222"/>
                <a:gd name="connsiteX645" fmla="*/ 366713 w 2443162"/>
                <a:gd name="connsiteY645" fmla="*/ 1553528 h 2161222"/>
                <a:gd name="connsiteX646" fmla="*/ 367665 w 2443162"/>
                <a:gd name="connsiteY646" fmla="*/ 1563053 h 2161222"/>
                <a:gd name="connsiteX647" fmla="*/ 368618 w 2443162"/>
                <a:gd name="connsiteY647" fmla="*/ 1572578 h 2161222"/>
                <a:gd name="connsiteX648" fmla="*/ 369570 w 2443162"/>
                <a:gd name="connsiteY648" fmla="*/ 1582103 h 2161222"/>
                <a:gd name="connsiteX649" fmla="*/ 371475 w 2443162"/>
                <a:gd name="connsiteY649" fmla="*/ 1591628 h 2161222"/>
                <a:gd name="connsiteX650" fmla="*/ 373380 w 2443162"/>
                <a:gd name="connsiteY650" fmla="*/ 1601153 h 2161222"/>
                <a:gd name="connsiteX651" fmla="*/ 376238 w 2443162"/>
                <a:gd name="connsiteY651" fmla="*/ 1610678 h 2161222"/>
                <a:gd name="connsiteX652" fmla="*/ 379095 w 2443162"/>
                <a:gd name="connsiteY652" fmla="*/ 1620203 h 2161222"/>
                <a:gd name="connsiteX653" fmla="*/ 382905 w 2443162"/>
                <a:gd name="connsiteY653" fmla="*/ 1629728 h 2161222"/>
                <a:gd name="connsiteX654" fmla="*/ 386715 w 2443162"/>
                <a:gd name="connsiteY654" fmla="*/ 1639253 h 2161222"/>
                <a:gd name="connsiteX655" fmla="*/ 390525 w 2443162"/>
                <a:gd name="connsiteY655" fmla="*/ 1648778 h 2161222"/>
                <a:gd name="connsiteX656" fmla="*/ 395288 w 2443162"/>
                <a:gd name="connsiteY656" fmla="*/ 1658303 h 2161222"/>
                <a:gd name="connsiteX657" fmla="*/ 400050 w 2443162"/>
                <a:gd name="connsiteY657" fmla="*/ 1666875 h 2161222"/>
                <a:gd name="connsiteX658" fmla="*/ 405765 w 2443162"/>
                <a:gd name="connsiteY658" fmla="*/ 1676400 h 2161222"/>
                <a:gd name="connsiteX659" fmla="*/ 411480 w 2443162"/>
                <a:gd name="connsiteY659" fmla="*/ 1685925 h 2161222"/>
                <a:gd name="connsiteX660" fmla="*/ 418148 w 2443162"/>
                <a:gd name="connsiteY660" fmla="*/ 1694498 h 2161222"/>
                <a:gd name="connsiteX661" fmla="*/ 405765 w 2443162"/>
                <a:gd name="connsiteY661" fmla="*/ 1684020 h 2161222"/>
                <a:gd name="connsiteX662" fmla="*/ 392430 w 2443162"/>
                <a:gd name="connsiteY662" fmla="*/ 1672590 h 2161222"/>
                <a:gd name="connsiteX663" fmla="*/ 376238 w 2443162"/>
                <a:gd name="connsiteY663" fmla="*/ 1660208 h 2161222"/>
                <a:gd name="connsiteX664" fmla="*/ 359093 w 2443162"/>
                <a:gd name="connsiteY664" fmla="*/ 1646873 h 2161222"/>
                <a:gd name="connsiteX665" fmla="*/ 348615 w 2443162"/>
                <a:gd name="connsiteY665" fmla="*/ 1640205 h 2161222"/>
                <a:gd name="connsiteX666" fmla="*/ 338138 w 2443162"/>
                <a:gd name="connsiteY666" fmla="*/ 1633538 h 2161222"/>
                <a:gd name="connsiteX667" fmla="*/ 327660 w 2443162"/>
                <a:gd name="connsiteY667" fmla="*/ 1626870 h 2161222"/>
                <a:gd name="connsiteX668" fmla="*/ 316230 w 2443162"/>
                <a:gd name="connsiteY668" fmla="*/ 1620203 h 2161222"/>
                <a:gd name="connsiteX669" fmla="*/ 303848 w 2443162"/>
                <a:gd name="connsiteY669" fmla="*/ 1613535 h 2161222"/>
                <a:gd name="connsiteX670" fmla="*/ 290513 w 2443162"/>
                <a:gd name="connsiteY670" fmla="*/ 1607820 h 2161222"/>
                <a:gd name="connsiteX671" fmla="*/ 277178 w 2443162"/>
                <a:gd name="connsiteY671" fmla="*/ 1602105 h 2161222"/>
                <a:gd name="connsiteX672" fmla="*/ 262890 w 2443162"/>
                <a:gd name="connsiteY672" fmla="*/ 1596390 h 2161222"/>
                <a:gd name="connsiteX673" fmla="*/ 254318 w 2443162"/>
                <a:gd name="connsiteY673" fmla="*/ 1593533 h 2161222"/>
                <a:gd name="connsiteX674" fmla="*/ 245745 w 2443162"/>
                <a:gd name="connsiteY674" fmla="*/ 1589723 h 2161222"/>
                <a:gd name="connsiteX675" fmla="*/ 238125 w 2443162"/>
                <a:gd name="connsiteY675" fmla="*/ 1585913 h 2161222"/>
                <a:gd name="connsiteX676" fmla="*/ 230505 w 2443162"/>
                <a:gd name="connsiteY676" fmla="*/ 1581150 h 2161222"/>
                <a:gd name="connsiteX677" fmla="*/ 222885 w 2443162"/>
                <a:gd name="connsiteY677" fmla="*/ 1576388 h 2161222"/>
                <a:gd name="connsiteX678" fmla="*/ 215265 w 2443162"/>
                <a:gd name="connsiteY678" fmla="*/ 1571625 h 2161222"/>
                <a:gd name="connsiteX679" fmla="*/ 207645 w 2443162"/>
                <a:gd name="connsiteY679" fmla="*/ 1566863 h 2161222"/>
                <a:gd name="connsiteX680" fmla="*/ 200025 w 2443162"/>
                <a:gd name="connsiteY680" fmla="*/ 1562100 h 2161222"/>
                <a:gd name="connsiteX681" fmla="*/ 185738 w 2443162"/>
                <a:gd name="connsiteY681" fmla="*/ 1551623 h 2161222"/>
                <a:gd name="connsiteX682" fmla="*/ 172403 w 2443162"/>
                <a:gd name="connsiteY682" fmla="*/ 1541145 h 2161222"/>
                <a:gd name="connsiteX683" fmla="*/ 159068 w 2443162"/>
                <a:gd name="connsiteY683" fmla="*/ 1529715 h 2161222"/>
                <a:gd name="connsiteX684" fmla="*/ 146685 w 2443162"/>
                <a:gd name="connsiteY684" fmla="*/ 1518285 h 2161222"/>
                <a:gd name="connsiteX685" fmla="*/ 134303 w 2443162"/>
                <a:gd name="connsiteY685" fmla="*/ 1505903 h 2161222"/>
                <a:gd name="connsiteX686" fmla="*/ 122873 w 2443162"/>
                <a:gd name="connsiteY686" fmla="*/ 1494473 h 2161222"/>
                <a:gd name="connsiteX687" fmla="*/ 111443 w 2443162"/>
                <a:gd name="connsiteY687" fmla="*/ 1482090 h 2161222"/>
                <a:gd name="connsiteX688" fmla="*/ 100013 w 2443162"/>
                <a:gd name="connsiteY688" fmla="*/ 1470660 h 2161222"/>
                <a:gd name="connsiteX689" fmla="*/ 79058 w 2443162"/>
                <a:gd name="connsiteY689" fmla="*/ 1447800 h 2161222"/>
                <a:gd name="connsiteX690" fmla="*/ 59055 w 2443162"/>
                <a:gd name="connsiteY690" fmla="*/ 1426845 h 2161222"/>
                <a:gd name="connsiteX691" fmla="*/ 65723 w 2443162"/>
                <a:gd name="connsiteY691" fmla="*/ 1443038 h 2161222"/>
                <a:gd name="connsiteX692" fmla="*/ 75248 w 2443162"/>
                <a:gd name="connsiteY692" fmla="*/ 1473518 h 2161222"/>
                <a:gd name="connsiteX693" fmla="*/ 85725 w 2443162"/>
                <a:gd name="connsiteY693" fmla="*/ 1502093 h 2161222"/>
                <a:gd name="connsiteX694" fmla="*/ 97155 w 2443162"/>
                <a:gd name="connsiteY694" fmla="*/ 1528763 h 2161222"/>
                <a:gd name="connsiteX695" fmla="*/ 109538 w 2443162"/>
                <a:gd name="connsiteY695" fmla="*/ 1553528 h 2161222"/>
                <a:gd name="connsiteX696" fmla="*/ 122873 w 2443162"/>
                <a:gd name="connsiteY696" fmla="*/ 1575435 h 2161222"/>
                <a:gd name="connsiteX697" fmla="*/ 137160 w 2443162"/>
                <a:gd name="connsiteY697" fmla="*/ 1596390 h 2161222"/>
                <a:gd name="connsiteX698" fmla="*/ 152400 w 2443162"/>
                <a:gd name="connsiteY698" fmla="*/ 1615440 h 2161222"/>
                <a:gd name="connsiteX699" fmla="*/ 167640 w 2443162"/>
                <a:gd name="connsiteY699" fmla="*/ 1632585 h 2161222"/>
                <a:gd name="connsiteX700" fmla="*/ 183833 w 2443162"/>
                <a:gd name="connsiteY700" fmla="*/ 1648778 h 2161222"/>
                <a:gd name="connsiteX701" fmla="*/ 200025 w 2443162"/>
                <a:gd name="connsiteY701" fmla="*/ 1663065 h 2161222"/>
                <a:gd name="connsiteX702" fmla="*/ 217170 w 2443162"/>
                <a:gd name="connsiteY702" fmla="*/ 1676400 h 2161222"/>
                <a:gd name="connsiteX703" fmla="*/ 234315 w 2443162"/>
                <a:gd name="connsiteY703" fmla="*/ 1687830 h 2161222"/>
                <a:gd name="connsiteX704" fmla="*/ 251460 w 2443162"/>
                <a:gd name="connsiteY704" fmla="*/ 1698308 h 2161222"/>
                <a:gd name="connsiteX705" fmla="*/ 268605 w 2443162"/>
                <a:gd name="connsiteY705" fmla="*/ 1707833 h 2161222"/>
                <a:gd name="connsiteX706" fmla="*/ 286703 w 2443162"/>
                <a:gd name="connsiteY706" fmla="*/ 1716405 h 2161222"/>
                <a:gd name="connsiteX707" fmla="*/ 304800 w 2443162"/>
                <a:gd name="connsiteY707" fmla="*/ 1724025 h 2161222"/>
                <a:gd name="connsiteX708" fmla="*/ 321945 w 2443162"/>
                <a:gd name="connsiteY708" fmla="*/ 1730693 h 2161222"/>
                <a:gd name="connsiteX709" fmla="*/ 339090 w 2443162"/>
                <a:gd name="connsiteY709" fmla="*/ 1736408 h 2161222"/>
                <a:gd name="connsiteX710" fmla="*/ 356235 w 2443162"/>
                <a:gd name="connsiteY710" fmla="*/ 1742123 h 2161222"/>
                <a:gd name="connsiteX711" fmla="*/ 372428 w 2443162"/>
                <a:gd name="connsiteY711" fmla="*/ 1746885 h 2161222"/>
                <a:gd name="connsiteX712" fmla="*/ 404813 w 2443162"/>
                <a:gd name="connsiteY712" fmla="*/ 1755458 h 2161222"/>
                <a:gd name="connsiteX713" fmla="*/ 435293 w 2443162"/>
                <a:gd name="connsiteY713" fmla="*/ 1763078 h 2161222"/>
                <a:gd name="connsiteX714" fmla="*/ 449580 w 2443162"/>
                <a:gd name="connsiteY714" fmla="*/ 1766888 h 2161222"/>
                <a:gd name="connsiteX715" fmla="*/ 462915 w 2443162"/>
                <a:gd name="connsiteY715" fmla="*/ 1770698 h 2161222"/>
                <a:gd name="connsiteX716" fmla="*/ 475298 w 2443162"/>
                <a:gd name="connsiteY716" fmla="*/ 1774508 h 2161222"/>
                <a:gd name="connsiteX717" fmla="*/ 485775 w 2443162"/>
                <a:gd name="connsiteY717" fmla="*/ 1778318 h 2161222"/>
                <a:gd name="connsiteX718" fmla="*/ 496253 w 2443162"/>
                <a:gd name="connsiteY718" fmla="*/ 1783080 h 2161222"/>
                <a:gd name="connsiteX719" fmla="*/ 504825 w 2443162"/>
                <a:gd name="connsiteY719" fmla="*/ 1787843 h 2161222"/>
                <a:gd name="connsiteX720" fmla="*/ 512445 w 2443162"/>
                <a:gd name="connsiteY720" fmla="*/ 1792605 h 2161222"/>
                <a:gd name="connsiteX721" fmla="*/ 520065 w 2443162"/>
                <a:gd name="connsiteY721" fmla="*/ 1794510 h 2161222"/>
                <a:gd name="connsiteX722" fmla="*/ 520065 w 2443162"/>
                <a:gd name="connsiteY722" fmla="*/ 1794510 h 2161222"/>
                <a:gd name="connsiteX723" fmla="*/ 741045 w 2443162"/>
                <a:gd name="connsiteY723" fmla="*/ 1945958 h 2161222"/>
                <a:gd name="connsiteX724" fmla="*/ 736283 w 2443162"/>
                <a:gd name="connsiteY724" fmla="*/ 1939290 h 2161222"/>
                <a:gd name="connsiteX725" fmla="*/ 731520 w 2443162"/>
                <a:gd name="connsiteY725" fmla="*/ 1931670 h 2161222"/>
                <a:gd name="connsiteX726" fmla="*/ 726758 w 2443162"/>
                <a:gd name="connsiteY726" fmla="*/ 1923098 h 2161222"/>
                <a:gd name="connsiteX727" fmla="*/ 723900 w 2443162"/>
                <a:gd name="connsiteY727" fmla="*/ 1914525 h 2161222"/>
                <a:gd name="connsiteX728" fmla="*/ 715328 w 2443162"/>
                <a:gd name="connsiteY728" fmla="*/ 1894523 h 2161222"/>
                <a:gd name="connsiteX729" fmla="*/ 705803 w 2443162"/>
                <a:gd name="connsiteY729" fmla="*/ 1872615 h 2161222"/>
                <a:gd name="connsiteX730" fmla="*/ 696278 w 2443162"/>
                <a:gd name="connsiteY730" fmla="*/ 1848803 h 2161222"/>
                <a:gd name="connsiteX731" fmla="*/ 686753 w 2443162"/>
                <a:gd name="connsiteY731" fmla="*/ 1824038 h 2161222"/>
                <a:gd name="connsiteX732" fmla="*/ 675323 w 2443162"/>
                <a:gd name="connsiteY732" fmla="*/ 1798320 h 2161222"/>
                <a:gd name="connsiteX733" fmla="*/ 662940 w 2443162"/>
                <a:gd name="connsiteY733" fmla="*/ 1772603 h 2161222"/>
                <a:gd name="connsiteX734" fmla="*/ 656273 w 2443162"/>
                <a:gd name="connsiteY734" fmla="*/ 1759268 h 2161222"/>
                <a:gd name="connsiteX735" fmla="*/ 649605 w 2443162"/>
                <a:gd name="connsiteY735" fmla="*/ 1745933 h 2161222"/>
                <a:gd name="connsiteX736" fmla="*/ 641985 w 2443162"/>
                <a:gd name="connsiteY736" fmla="*/ 1732598 h 2161222"/>
                <a:gd name="connsiteX737" fmla="*/ 634365 w 2443162"/>
                <a:gd name="connsiteY737" fmla="*/ 1719263 h 2161222"/>
                <a:gd name="connsiteX738" fmla="*/ 625793 w 2443162"/>
                <a:gd name="connsiteY738" fmla="*/ 1705928 h 2161222"/>
                <a:gd name="connsiteX739" fmla="*/ 617220 w 2443162"/>
                <a:gd name="connsiteY739" fmla="*/ 1693545 h 2161222"/>
                <a:gd name="connsiteX740" fmla="*/ 607695 w 2443162"/>
                <a:gd name="connsiteY740" fmla="*/ 1680210 h 2161222"/>
                <a:gd name="connsiteX741" fmla="*/ 598170 w 2443162"/>
                <a:gd name="connsiteY741" fmla="*/ 1667828 h 2161222"/>
                <a:gd name="connsiteX742" fmla="*/ 587693 w 2443162"/>
                <a:gd name="connsiteY742" fmla="*/ 1655445 h 2161222"/>
                <a:gd name="connsiteX743" fmla="*/ 577215 w 2443162"/>
                <a:gd name="connsiteY743" fmla="*/ 1644015 h 2161222"/>
                <a:gd name="connsiteX744" fmla="*/ 565785 w 2443162"/>
                <a:gd name="connsiteY744" fmla="*/ 1632585 h 2161222"/>
                <a:gd name="connsiteX745" fmla="*/ 554355 w 2443162"/>
                <a:gd name="connsiteY745" fmla="*/ 1622108 h 2161222"/>
                <a:gd name="connsiteX746" fmla="*/ 541973 w 2443162"/>
                <a:gd name="connsiteY746" fmla="*/ 1611630 h 2161222"/>
                <a:gd name="connsiteX747" fmla="*/ 528638 w 2443162"/>
                <a:gd name="connsiteY747" fmla="*/ 1601153 h 2161222"/>
                <a:gd name="connsiteX748" fmla="*/ 515303 w 2443162"/>
                <a:gd name="connsiteY748" fmla="*/ 1591628 h 2161222"/>
                <a:gd name="connsiteX749" fmla="*/ 501015 w 2443162"/>
                <a:gd name="connsiteY749" fmla="*/ 1583055 h 2161222"/>
                <a:gd name="connsiteX750" fmla="*/ 515303 w 2443162"/>
                <a:gd name="connsiteY750" fmla="*/ 1630680 h 2161222"/>
                <a:gd name="connsiteX751" fmla="*/ 527685 w 2443162"/>
                <a:gd name="connsiteY751" fmla="*/ 1675448 h 2161222"/>
                <a:gd name="connsiteX752" fmla="*/ 533400 w 2443162"/>
                <a:gd name="connsiteY752" fmla="*/ 1696403 h 2161222"/>
                <a:gd name="connsiteX753" fmla="*/ 539115 w 2443162"/>
                <a:gd name="connsiteY753" fmla="*/ 1716405 h 2161222"/>
                <a:gd name="connsiteX754" fmla="*/ 545783 w 2443162"/>
                <a:gd name="connsiteY754" fmla="*/ 1736408 h 2161222"/>
                <a:gd name="connsiteX755" fmla="*/ 552450 w 2443162"/>
                <a:gd name="connsiteY755" fmla="*/ 1755458 h 2161222"/>
                <a:gd name="connsiteX756" fmla="*/ 556260 w 2443162"/>
                <a:gd name="connsiteY756" fmla="*/ 1764983 h 2161222"/>
                <a:gd name="connsiteX757" fmla="*/ 560070 w 2443162"/>
                <a:gd name="connsiteY757" fmla="*/ 1773555 h 2161222"/>
                <a:gd name="connsiteX758" fmla="*/ 564833 w 2443162"/>
                <a:gd name="connsiteY758" fmla="*/ 1782128 h 2161222"/>
                <a:gd name="connsiteX759" fmla="*/ 569595 w 2443162"/>
                <a:gd name="connsiteY759" fmla="*/ 1790700 h 2161222"/>
                <a:gd name="connsiteX760" fmla="*/ 574358 w 2443162"/>
                <a:gd name="connsiteY760" fmla="*/ 1799273 h 2161222"/>
                <a:gd name="connsiteX761" fmla="*/ 579120 w 2443162"/>
                <a:gd name="connsiteY761" fmla="*/ 1807845 h 2161222"/>
                <a:gd name="connsiteX762" fmla="*/ 583883 w 2443162"/>
                <a:gd name="connsiteY762" fmla="*/ 1816418 h 2161222"/>
                <a:gd name="connsiteX763" fmla="*/ 589598 w 2443162"/>
                <a:gd name="connsiteY763" fmla="*/ 1824038 h 2161222"/>
                <a:gd name="connsiteX764" fmla="*/ 595313 w 2443162"/>
                <a:gd name="connsiteY764" fmla="*/ 1832610 h 2161222"/>
                <a:gd name="connsiteX765" fmla="*/ 601980 w 2443162"/>
                <a:gd name="connsiteY765" fmla="*/ 1840230 h 2161222"/>
                <a:gd name="connsiteX766" fmla="*/ 608648 w 2443162"/>
                <a:gd name="connsiteY766" fmla="*/ 1847850 h 2161222"/>
                <a:gd name="connsiteX767" fmla="*/ 615315 w 2443162"/>
                <a:gd name="connsiteY767" fmla="*/ 1855470 h 2161222"/>
                <a:gd name="connsiteX768" fmla="*/ 622935 w 2443162"/>
                <a:gd name="connsiteY768" fmla="*/ 1863090 h 2161222"/>
                <a:gd name="connsiteX769" fmla="*/ 631508 w 2443162"/>
                <a:gd name="connsiteY769" fmla="*/ 1870710 h 2161222"/>
                <a:gd name="connsiteX770" fmla="*/ 640080 w 2443162"/>
                <a:gd name="connsiteY770" fmla="*/ 1878330 h 2161222"/>
                <a:gd name="connsiteX771" fmla="*/ 649605 w 2443162"/>
                <a:gd name="connsiteY771" fmla="*/ 1885950 h 2161222"/>
                <a:gd name="connsiteX772" fmla="*/ 634365 w 2443162"/>
                <a:gd name="connsiteY772" fmla="*/ 1878330 h 2161222"/>
                <a:gd name="connsiteX773" fmla="*/ 614363 w 2443162"/>
                <a:gd name="connsiteY773" fmla="*/ 1869758 h 2161222"/>
                <a:gd name="connsiteX774" fmla="*/ 590550 w 2443162"/>
                <a:gd name="connsiteY774" fmla="*/ 1860233 h 2161222"/>
                <a:gd name="connsiteX775" fmla="*/ 563880 w 2443162"/>
                <a:gd name="connsiteY775" fmla="*/ 1850708 h 2161222"/>
                <a:gd name="connsiteX776" fmla="*/ 549593 w 2443162"/>
                <a:gd name="connsiteY776" fmla="*/ 1845945 h 2161222"/>
                <a:gd name="connsiteX777" fmla="*/ 534353 w 2443162"/>
                <a:gd name="connsiteY777" fmla="*/ 1841183 h 2161222"/>
                <a:gd name="connsiteX778" fmla="*/ 519113 w 2443162"/>
                <a:gd name="connsiteY778" fmla="*/ 1836420 h 2161222"/>
                <a:gd name="connsiteX779" fmla="*/ 503873 w 2443162"/>
                <a:gd name="connsiteY779" fmla="*/ 1832610 h 2161222"/>
                <a:gd name="connsiteX780" fmla="*/ 488633 w 2443162"/>
                <a:gd name="connsiteY780" fmla="*/ 1828800 h 2161222"/>
                <a:gd name="connsiteX781" fmla="*/ 473393 w 2443162"/>
                <a:gd name="connsiteY781" fmla="*/ 1824990 h 2161222"/>
                <a:gd name="connsiteX782" fmla="*/ 458153 w 2443162"/>
                <a:gd name="connsiteY782" fmla="*/ 1822133 h 2161222"/>
                <a:gd name="connsiteX783" fmla="*/ 442913 w 2443162"/>
                <a:gd name="connsiteY783" fmla="*/ 1819275 h 2161222"/>
                <a:gd name="connsiteX784" fmla="*/ 429578 w 2443162"/>
                <a:gd name="connsiteY784" fmla="*/ 1817370 h 2161222"/>
                <a:gd name="connsiteX785" fmla="*/ 417195 w 2443162"/>
                <a:gd name="connsiteY785" fmla="*/ 1815465 h 2161222"/>
                <a:gd name="connsiteX786" fmla="*/ 405765 w 2443162"/>
                <a:gd name="connsiteY786" fmla="*/ 1813560 h 2161222"/>
                <a:gd name="connsiteX787" fmla="*/ 394335 w 2443162"/>
                <a:gd name="connsiteY787" fmla="*/ 1811655 h 2161222"/>
                <a:gd name="connsiteX788" fmla="*/ 383858 w 2443162"/>
                <a:gd name="connsiteY788" fmla="*/ 1809750 h 2161222"/>
                <a:gd name="connsiteX789" fmla="*/ 373380 w 2443162"/>
                <a:gd name="connsiteY789" fmla="*/ 1806893 h 2161222"/>
                <a:gd name="connsiteX790" fmla="*/ 363855 w 2443162"/>
                <a:gd name="connsiteY790" fmla="*/ 1804035 h 2161222"/>
                <a:gd name="connsiteX791" fmla="*/ 354330 w 2443162"/>
                <a:gd name="connsiteY791" fmla="*/ 1801178 h 2161222"/>
                <a:gd name="connsiteX792" fmla="*/ 344805 w 2443162"/>
                <a:gd name="connsiteY792" fmla="*/ 1798320 h 2161222"/>
                <a:gd name="connsiteX793" fmla="*/ 336233 w 2443162"/>
                <a:gd name="connsiteY793" fmla="*/ 1795463 h 2161222"/>
                <a:gd name="connsiteX794" fmla="*/ 328613 w 2443162"/>
                <a:gd name="connsiteY794" fmla="*/ 1792605 h 2161222"/>
                <a:gd name="connsiteX795" fmla="*/ 320993 w 2443162"/>
                <a:gd name="connsiteY795" fmla="*/ 1789748 h 2161222"/>
                <a:gd name="connsiteX796" fmla="*/ 306705 w 2443162"/>
                <a:gd name="connsiteY796" fmla="*/ 1783080 h 2161222"/>
                <a:gd name="connsiteX797" fmla="*/ 293370 w 2443162"/>
                <a:gd name="connsiteY797" fmla="*/ 1776413 h 2161222"/>
                <a:gd name="connsiteX798" fmla="*/ 280988 w 2443162"/>
                <a:gd name="connsiteY798" fmla="*/ 1769745 h 2161222"/>
                <a:gd name="connsiteX799" fmla="*/ 269558 w 2443162"/>
                <a:gd name="connsiteY799" fmla="*/ 1763078 h 2161222"/>
                <a:gd name="connsiteX800" fmla="*/ 259080 w 2443162"/>
                <a:gd name="connsiteY800" fmla="*/ 1755458 h 2161222"/>
                <a:gd name="connsiteX801" fmla="*/ 248603 w 2443162"/>
                <a:gd name="connsiteY801" fmla="*/ 1748790 h 2161222"/>
                <a:gd name="connsiteX802" fmla="*/ 238125 w 2443162"/>
                <a:gd name="connsiteY802" fmla="*/ 1741170 h 2161222"/>
                <a:gd name="connsiteX803" fmla="*/ 227648 w 2443162"/>
                <a:gd name="connsiteY803" fmla="*/ 1734503 h 2161222"/>
                <a:gd name="connsiteX804" fmla="*/ 217170 w 2443162"/>
                <a:gd name="connsiteY804" fmla="*/ 1727835 h 2161222"/>
                <a:gd name="connsiteX805" fmla="*/ 205740 w 2443162"/>
                <a:gd name="connsiteY805" fmla="*/ 1721168 h 2161222"/>
                <a:gd name="connsiteX806" fmla="*/ 221933 w 2443162"/>
                <a:gd name="connsiteY806" fmla="*/ 1749743 h 2161222"/>
                <a:gd name="connsiteX807" fmla="*/ 238125 w 2443162"/>
                <a:gd name="connsiteY807" fmla="*/ 1775460 h 2161222"/>
                <a:gd name="connsiteX808" fmla="*/ 255270 w 2443162"/>
                <a:gd name="connsiteY808" fmla="*/ 1798320 h 2161222"/>
                <a:gd name="connsiteX809" fmla="*/ 273368 w 2443162"/>
                <a:gd name="connsiteY809" fmla="*/ 1819275 h 2161222"/>
                <a:gd name="connsiteX810" fmla="*/ 291465 w 2443162"/>
                <a:gd name="connsiteY810" fmla="*/ 1838325 h 2161222"/>
                <a:gd name="connsiteX811" fmla="*/ 309563 w 2443162"/>
                <a:gd name="connsiteY811" fmla="*/ 1855470 h 2161222"/>
                <a:gd name="connsiteX812" fmla="*/ 328613 w 2443162"/>
                <a:gd name="connsiteY812" fmla="*/ 1870710 h 2161222"/>
                <a:gd name="connsiteX813" fmla="*/ 347663 w 2443162"/>
                <a:gd name="connsiteY813" fmla="*/ 1884045 h 2161222"/>
                <a:gd name="connsiteX814" fmla="*/ 366713 w 2443162"/>
                <a:gd name="connsiteY814" fmla="*/ 1895475 h 2161222"/>
                <a:gd name="connsiteX815" fmla="*/ 386715 w 2443162"/>
                <a:gd name="connsiteY815" fmla="*/ 1905953 h 2161222"/>
                <a:gd name="connsiteX816" fmla="*/ 406718 w 2443162"/>
                <a:gd name="connsiteY816" fmla="*/ 1914525 h 2161222"/>
                <a:gd name="connsiteX817" fmla="*/ 426720 w 2443162"/>
                <a:gd name="connsiteY817" fmla="*/ 1921193 h 2161222"/>
                <a:gd name="connsiteX818" fmla="*/ 446723 w 2443162"/>
                <a:gd name="connsiteY818" fmla="*/ 1926908 h 2161222"/>
                <a:gd name="connsiteX819" fmla="*/ 466725 w 2443162"/>
                <a:gd name="connsiteY819" fmla="*/ 1931670 h 2161222"/>
                <a:gd name="connsiteX820" fmla="*/ 486728 w 2443162"/>
                <a:gd name="connsiteY820" fmla="*/ 1935480 h 2161222"/>
                <a:gd name="connsiteX821" fmla="*/ 506730 w 2443162"/>
                <a:gd name="connsiteY821" fmla="*/ 1938338 h 2161222"/>
                <a:gd name="connsiteX822" fmla="*/ 525780 w 2443162"/>
                <a:gd name="connsiteY822" fmla="*/ 1940243 h 2161222"/>
                <a:gd name="connsiteX823" fmla="*/ 544830 w 2443162"/>
                <a:gd name="connsiteY823" fmla="*/ 1941195 h 2161222"/>
                <a:gd name="connsiteX824" fmla="*/ 562928 w 2443162"/>
                <a:gd name="connsiteY824" fmla="*/ 1941195 h 2161222"/>
                <a:gd name="connsiteX825" fmla="*/ 581025 w 2443162"/>
                <a:gd name="connsiteY825" fmla="*/ 1941195 h 2161222"/>
                <a:gd name="connsiteX826" fmla="*/ 615315 w 2443162"/>
                <a:gd name="connsiteY826" fmla="*/ 1940243 h 2161222"/>
                <a:gd name="connsiteX827" fmla="*/ 647700 w 2443162"/>
                <a:gd name="connsiteY827" fmla="*/ 1939290 h 2161222"/>
                <a:gd name="connsiteX828" fmla="*/ 662940 w 2443162"/>
                <a:gd name="connsiteY828" fmla="*/ 1939290 h 2161222"/>
                <a:gd name="connsiteX829" fmla="*/ 677228 w 2443162"/>
                <a:gd name="connsiteY829" fmla="*/ 1939290 h 2161222"/>
                <a:gd name="connsiteX830" fmla="*/ 690563 w 2443162"/>
                <a:gd name="connsiteY830" fmla="*/ 1939290 h 2161222"/>
                <a:gd name="connsiteX831" fmla="*/ 702945 w 2443162"/>
                <a:gd name="connsiteY831" fmla="*/ 1939290 h 2161222"/>
                <a:gd name="connsiteX832" fmla="*/ 714375 w 2443162"/>
                <a:gd name="connsiteY832" fmla="*/ 1940243 h 2161222"/>
                <a:gd name="connsiteX833" fmla="*/ 724853 w 2443162"/>
                <a:gd name="connsiteY833" fmla="*/ 1942148 h 2161222"/>
                <a:gd name="connsiteX834" fmla="*/ 734378 w 2443162"/>
                <a:gd name="connsiteY834" fmla="*/ 1945005 h 2161222"/>
                <a:gd name="connsiteX835" fmla="*/ 741045 w 2443162"/>
                <a:gd name="connsiteY835" fmla="*/ 1945958 h 2161222"/>
                <a:gd name="connsiteX836" fmla="*/ 741045 w 2443162"/>
                <a:gd name="connsiteY836" fmla="*/ 1945958 h 2161222"/>
                <a:gd name="connsiteX837" fmla="*/ 1972628 w 2443162"/>
                <a:gd name="connsiteY837" fmla="*/ 374333 h 2161222"/>
                <a:gd name="connsiteX838" fmla="*/ 1958340 w 2443162"/>
                <a:gd name="connsiteY838" fmla="*/ 352425 h 2161222"/>
                <a:gd name="connsiteX839" fmla="*/ 1943100 w 2443162"/>
                <a:gd name="connsiteY839" fmla="*/ 328613 h 2161222"/>
                <a:gd name="connsiteX840" fmla="*/ 1926908 w 2443162"/>
                <a:gd name="connsiteY840" fmla="*/ 304800 h 2161222"/>
                <a:gd name="connsiteX841" fmla="*/ 1910715 w 2443162"/>
                <a:gd name="connsiteY841" fmla="*/ 280988 h 2161222"/>
                <a:gd name="connsiteX842" fmla="*/ 1894523 w 2443162"/>
                <a:gd name="connsiteY842" fmla="*/ 259080 h 2161222"/>
                <a:gd name="connsiteX843" fmla="*/ 1879283 w 2443162"/>
                <a:gd name="connsiteY843" fmla="*/ 238125 h 2161222"/>
                <a:gd name="connsiteX844" fmla="*/ 1871663 w 2443162"/>
                <a:gd name="connsiteY844" fmla="*/ 229553 h 2161222"/>
                <a:gd name="connsiteX845" fmla="*/ 1864995 w 2443162"/>
                <a:gd name="connsiteY845" fmla="*/ 220980 h 2161222"/>
                <a:gd name="connsiteX846" fmla="*/ 1858328 w 2443162"/>
                <a:gd name="connsiteY846" fmla="*/ 214313 h 2161222"/>
                <a:gd name="connsiteX847" fmla="*/ 1852613 w 2443162"/>
                <a:gd name="connsiteY847" fmla="*/ 208598 h 2161222"/>
                <a:gd name="connsiteX848" fmla="*/ 1867853 w 2443162"/>
                <a:gd name="connsiteY848" fmla="*/ 212408 h 2161222"/>
                <a:gd name="connsiteX849" fmla="*/ 1883093 w 2443162"/>
                <a:gd name="connsiteY849" fmla="*/ 217170 h 2161222"/>
                <a:gd name="connsiteX850" fmla="*/ 1897380 w 2443162"/>
                <a:gd name="connsiteY850" fmla="*/ 221933 h 2161222"/>
                <a:gd name="connsiteX851" fmla="*/ 1911668 w 2443162"/>
                <a:gd name="connsiteY851" fmla="*/ 226695 h 2161222"/>
                <a:gd name="connsiteX852" fmla="*/ 1925955 w 2443162"/>
                <a:gd name="connsiteY852" fmla="*/ 232410 h 2161222"/>
                <a:gd name="connsiteX853" fmla="*/ 1940243 w 2443162"/>
                <a:gd name="connsiteY853" fmla="*/ 239078 h 2161222"/>
                <a:gd name="connsiteX854" fmla="*/ 1953578 w 2443162"/>
                <a:gd name="connsiteY854" fmla="*/ 245745 h 2161222"/>
                <a:gd name="connsiteX855" fmla="*/ 1966913 w 2443162"/>
                <a:gd name="connsiteY855" fmla="*/ 253365 h 2161222"/>
                <a:gd name="connsiteX856" fmla="*/ 1980248 w 2443162"/>
                <a:gd name="connsiteY856" fmla="*/ 260985 h 2161222"/>
                <a:gd name="connsiteX857" fmla="*/ 1992630 w 2443162"/>
                <a:gd name="connsiteY857" fmla="*/ 269558 h 2161222"/>
                <a:gd name="connsiteX858" fmla="*/ 2005013 w 2443162"/>
                <a:gd name="connsiteY858" fmla="*/ 278130 h 2161222"/>
                <a:gd name="connsiteX859" fmla="*/ 2016443 w 2443162"/>
                <a:gd name="connsiteY859" fmla="*/ 287655 h 2161222"/>
                <a:gd name="connsiteX860" fmla="*/ 2027873 w 2443162"/>
                <a:gd name="connsiteY860" fmla="*/ 298133 h 2161222"/>
                <a:gd name="connsiteX861" fmla="*/ 2038350 w 2443162"/>
                <a:gd name="connsiteY861" fmla="*/ 308610 h 2161222"/>
                <a:gd name="connsiteX862" fmla="*/ 2048828 w 2443162"/>
                <a:gd name="connsiteY862" fmla="*/ 319088 h 2161222"/>
                <a:gd name="connsiteX863" fmla="*/ 2059305 w 2443162"/>
                <a:gd name="connsiteY863" fmla="*/ 329565 h 2161222"/>
                <a:gd name="connsiteX864" fmla="*/ 2069783 w 2443162"/>
                <a:gd name="connsiteY864" fmla="*/ 340995 h 2161222"/>
                <a:gd name="connsiteX865" fmla="*/ 2079308 w 2443162"/>
                <a:gd name="connsiteY865" fmla="*/ 352425 h 2161222"/>
                <a:gd name="connsiteX866" fmla="*/ 2088833 w 2443162"/>
                <a:gd name="connsiteY866" fmla="*/ 363855 h 2161222"/>
                <a:gd name="connsiteX867" fmla="*/ 2097405 w 2443162"/>
                <a:gd name="connsiteY867" fmla="*/ 376238 h 2161222"/>
                <a:gd name="connsiteX868" fmla="*/ 2105978 w 2443162"/>
                <a:gd name="connsiteY868" fmla="*/ 388620 h 2161222"/>
                <a:gd name="connsiteX869" fmla="*/ 2113598 w 2443162"/>
                <a:gd name="connsiteY869" fmla="*/ 401955 h 2161222"/>
                <a:gd name="connsiteX870" fmla="*/ 2121218 w 2443162"/>
                <a:gd name="connsiteY870" fmla="*/ 415290 h 2161222"/>
                <a:gd name="connsiteX871" fmla="*/ 2127885 w 2443162"/>
                <a:gd name="connsiteY871" fmla="*/ 428625 h 2161222"/>
                <a:gd name="connsiteX872" fmla="*/ 2134553 w 2443162"/>
                <a:gd name="connsiteY872" fmla="*/ 441960 h 2161222"/>
                <a:gd name="connsiteX873" fmla="*/ 2141220 w 2443162"/>
                <a:gd name="connsiteY873" fmla="*/ 456248 h 2161222"/>
                <a:gd name="connsiteX874" fmla="*/ 2146935 w 2443162"/>
                <a:gd name="connsiteY874" fmla="*/ 470535 h 2161222"/>
                <a:gd name="connsiteX875" fmla="*/ 2151698 w 2443162"/>
                <a:gd name="connsiteY875" fmla="*/ 484823 h 2161222"/>
                <a:gd name="connsiteX876" fmla="*/ 2156460 w 2443162"/>
                <a:gd name="connsiteY876" fmla="*/ 499110 h 2161222"/>
                <a:gd name="connsiteX877" fmla="*/ 2161223 w 2443162"/>
                <a:gd name="connsiteY877" fmla="*/ 514350 h 2161222"/>
                <a:gd name="connsiteX878" fmla="*/ 2165033 w 2443162"/>
                <a:gd name="connsiteY878" fmla="*/ 529590 h 2161222"/>
                <a:gd name="connsiteX879" fmla="*/ 2168843 w 2443162"/>
                <a:gd name="connsiteY879" fmla="*/ 544830 h 2161222"/>
                <a:gd name="connsiteX880" fmla="*/ 2155508 w 2443162"/>
                <a:gd name="connsiteY880" fmla="*/ 532448 h 2161222"/>
                <a:gd name="connsiteX881" fmla="*/ 2142173 w 2443162"/>
                <a:gd name="connsiteY881" fmla="*/ 521018 h 2161222"/>
                <a:gd name="connsiteX882" fmla="*/ 2127885 w 2443162"/>
                <a:gd name="connsiteY882" fmla="*/ 509588 h 2161222"/>
                <a:gd name="connsiteX883" fmla="*/ 2114550 w 2443162"/>
                <a:gd name="connsiteY883" fmla="*/ 499110 h 2161222"/>
                <a:gd name="connsiteX884" fmla="*/ 2086928 w 2443162"/>
                <a:gd name="connsiteY884" fmla="*/ 478155 h 2161222"/>
                <a:gd name="connsiteX885" fmla="*/ 2060258 w 2443162"/>
                <a:gd name="connsiteY885" fmla="*/ 457200 h 2161222"/>
                <a:gd name="connsiteX886" fmla="*/ 2047875 w 2443162"/>
                <a:gd name="connsiteY886" fmla="*/ 447675 h 2161222"/>
                <a:gd name="connsiteX887" fmla="*/ 2035493 w 2443162"/>
                <a:gd name="connsiteY887" fmla="*/ 437198 h 2161222"/>
                <a:gd name="connsiteX888" fmla="*/ 2024063 w 2443162"/>
                <a:gd name="connsiteY888" fmla="*/ 426720 h 2161222"/>
                <a:gd name="connsiteX889" fmla="*/ 2012633 w 2443162"/>
                <a:gd name="connsiteY889" fmla="*/ 417195 h 2161222"/>
                <a:gd name="connsiteX890" fmla="*/ 2002155 w 2443162"/>
                <a:gd name="connsiteY890" fmla="*/ 406718 h 2161222"/>
                <a:gd name="connsiteX891" fmla="*/ 1992630 w 2443162"/>
                <a:gd name="connsiteY891" fmla="*/ 396240 h 2161222"/>
                <a:gd name="connsiteX892" fmla="*/ 1987868 w 2443162"/>
                <a:gd name="connsiteY892" fmla="*/ 391478 h 2161222"/>
                <a:gd name="connsiteX893" fmla="*/ 1984058 w 2443162"/>
                <a:gd name="connsiteY893" fmla="*/ 386715 h 2161222"/>
                <a:gd name="connsiteX894" fmla="*/ 1980248 w 2443162"/>
                <a:gd name="connsiteY894" fmla="*/ 381000 h 2161222"/>
                <a:gd name="connsiteX895" fmla="*/ 1972628 w 2443162"/>
                <a:gd name="connsiteY895" fmla="*/ 374333 h 2161222"/>
                <a:gd name="connsiteX896" fmla="*/ 1972628 w 2443162"/>
                <a:gd name="connsiteY896" fmla="*/ 374333 h 2161222"/>
                <a:gd name="connsiteX897" fmla="*/ 2059305 w 2443162"/>
                <a:gd name="connsiteY897" fmla="*/ 635318 h 2161222"/>
                <a:gd name="connsiteX898" fmla="*/ 2064068 w 2443162"/>
                <a:gd name="connsiteY898" fmla="*/ 642938 h 2161222"/>
                <a:gd name="connsiteX899" fmla="*/ 2069783 w 2443162"/>
                <a:gd name="connsiteY899" fmla="*/ 650558 h 2161222"/>
                <a:gd name="connsiteX900" fmla="*/ 2076450 w 2443162"/>
                <a:gd name="connsiteY900" fmla="*/ 658178 h 2161222"/>
                <a:gd name="connsiteX901" fmla="*/ 2084070 w 2443162"/>
                <a:gd name="connsiteY901" fmla="*/ 665798 h 2161222"/>
                <a:gd name="connsiteX902" fmla="*/ 2092643 w 2443162"/>
                <a:gd name="connsiteY902" fmla="*/ 674370 h 2161222"/>
                <a:gd name="connsiteX903" fmla="*/ 2102168 w 2443162"/>
                <a:gd name="connsiteY903" fmla="*/ 682943 h 2161222"/>
                <a:gd name="connsiteX904" fmla="*/ 2111693 w 2443162"/>
                <a:gd name="connsiteY904" fmla="*/ 691515 h 2161222"/>
                <a:gd name="connsiteX905" fmla="*/ 2121218 w 2443162"/>
                <a:gd name="connsiteY905" fmla="*/ 700088 h 2161222"/>
                <a:gd name="connsiteX906" fmla="*/ 2142173 w 2443162"/>
                <a:gd name="connsiteY906" fmla="*/ 718185 h 2161222"/>
                <a:gd name="connsiteX907" fmla="*/ 2164080 w 2443162"/>
                <a:gd name="connsiteY907" fmla="*/ 738188 h 2161222"/>
                <a:gd name="connsiteX908" fmla="*/ 2175510 w 2443162"/>
                <a:gd name="connsiteY908" fmla="*/ 748665 h 2161222"/>
                <a:gd name="connsiteX909" fmla="*/ 2186940 w 2443162"/>
                <a:gd name="connsiteY909" fmla="*/ 759143 h 2161222"/>
                <a:gd name="connsiteX910" fmla="*/ 2198370 w 2443162"/>
                <a:gd name="connsiteY910" fmla="*/ 770573 h 2161222"/>
                <a:gd name="connsiteX911" fmla="*/ 2208848 w 2443162"/>
                <a:gd name="connsiteY911" fmla="*/ 782003 h 2161222"/>
                <a:gd name="connsiteX912" fmla="*/ 2214563 w 2443162"/>
                <a:gd name="connsiteY912" fmla="*/ 788670 h 2161222"/>
                <a:gd name="connsiteX913" fmla="*/ 2220278 w 2443162"/>
                <a:gd name="connsiteY913" fmla="*/ 797243 h 2161222"/>
                <a:gd name="connsiteX914" fmla="*/ 2225993 w 2443162"/>
                <a:gd name="connsiteY914" fmla="*/ 806768 h 2161222"/>
                <a:gd name="connsiteX915" fmla="*/ 2231708 w 2443162"/>
                <a:gd name="connsiteY915" fmla="*/ 816293 h 2161222"/>
                <a:gd name="connsiteX916" fmla="*/ 2237423 w 2443162"/>
                <a:gd name="connsiteY916" fmla="*/ 826770 h 2161222"/>
                <a:gd name="connsiteX917" fmla="*/ 2243138 w 2443162"/>
                <a:gd name="connsiteY917" fmla="*/ 837248 h 2161222"/>
                <a:gd name="connsiteX918" fmla="*/ 2248853 w 2443162"/>
                <a:gd name="connsiteY918" fmla="*/ 848678 h 2161222"/>
                <a:gd name="connsiteX919" fmla="*/ 2253615 w 2443162"/>
                <a:gd name="connsiteY919" fmla="*/ 860108 h 2161222"/>
                <a:gd name="connsiteX920" fmla="*/ 2258378 w 2443162"/>
                <a:gd name="connsiteY920" fmla="*/ 872490 h 2161222"/>
                <a:gd name="connsiteX921" fmla="*/ 2263140 w 2443162"/>
                <a:gd name="connsiteY921" fmla="*/ 884873 h 2161222"/>
                <a:gd name="connsiteX922" fmla="*/ 2267903 w 2443162"/>
                <a:gd name="connsiteY922" fmla="*/ 897255 h 2161222"/>
                <a:gd name="connsiteX923" fmla="*/ 2272665 w 2443162"/>
                <a:gd name="connsiteY923" fmla="*/ 909638 h 2161222"/>
                <a:gd name="connsiteX924" fmla="*/ 2276475 w 2443162"/>
                <a:gd name="connsiteY924" fmla="*/ 922020 h 2161222"/>
                <a:gd name="connsiteX925" fmla="*/ 2280285 w 2443162"/>
                <a:gd name="connsiteY925" fmla="*/ 934403 h 2161222"/>
                <a:gd name="connsiteX926" fmla="*/ 2283143 w 2443162"/>
                <a:gd name="connsiteY926" fmla="*/ 945833 h 2161222"/>
                <a:gd name="connsiteX927" fmla="*/ 2286000 w 2443162"/>
                <a:gd name="connsiteY927" fmla="*/ 957263 h 2161222"/>
                <a:gd name="connsiteX928" fmla="*/ 2296478 w 2443162"/>
                <a:gd name="connsiteY928" fmla="*/ 862013 h 2161222"/>
                <a:gd name="connsiteX929" fmla="*/ 2299335 w 2443162"/>
                <a:gd name="connsiteY929" fmla="*/ 842963 h 2161222"/>
                <a:gd name="connsiteX930" fmla="*/ 2302193 w 2443162"/>
                <a:gd name="connsiteY930" fmla="*/ 823913 h 2161222"/>
                <a:gd name="connsiteX931" fmla="*/ 2306003 w 2443162"/>
                <a:gd name="connsiteY931" fmla="*/ 804863 h 2161222"/>
                <a:gd name="connsiteX932" fmla="*/ 2308860 w 2443162"/>
                <a:gd name="connsiteY932" fmla="*/ 784860 h 2161222"/>
                <a:gd name="connsiteX933" fmla="*/ 2311718 w 2443162"/>
                <a:gd name="connsiteY933" fmla="*/ 764858 h 2161222"/>
                <a:gd name="connsiteX934" fmla="*/ 2314575 w 2443162"/>
                <a:gd name="connsiteY934" fmla="*/ 744855 h 2161222"/>
                <a:gd name="connsiteX935" fmla="*/ 2316480 w 2443162"/>
                <a:gd name="connsiteY935" fmla="*/ 724853 h 2161222"/>
                <a:gd name="connsiteX936" fmla="*/ 2318385 w 2443162"/>
                <a:gd name="connsiteY936" fmla="*/ 704850 h 2161222"/>
                <a:gd name="connsiteX937" fmla="*/ 2319338 w 2443162"/>
                <a:gd name="connsiteY937" fmla="*/ 684848 h 2161222"/>
                <a:gd name="connsiteX938" fmla="*/ 2320290 w 2443162"/>
                <a:gd name="connsiteY938" fmla="*/ 664845 h 2161222"/>
                <a:gd name="connsiteX939" fmla="*/ 2320290 w 2443162"/>
                <a:gd name="connsiteY939" fmla="*/ 644843 h 2161222"/>
                <a:gd name="connsiteX940" fmla="*/ 2319338 w 2443162"/>
                <a:gd name="connsiteY940" fmla="*/ 624840 h 2161222"/>
                <a:gd name="connsiteX941" fmla="*/ 2318385 w 2443162"/>
                <a:gd name="connsiteY941" fmla="*/ 615315 h 2161222"/>
                <a:gd name="connsiteX942" fmla="*/ 2317433 w 2443162"/>
                <a:gd name="connsiteY942" fmla="*/ 604838 h 2161222"/>
                <a:gd name="connsiteX943" fmla="*/ 2316480 w 2443162"/>
                <a:gd name="connsiteY943" fmla="*/ 595313 h 2161222"/>
                <a:gd name="connsiteX944" fmla="*/ 2315528 w 2443162"/>
                <a:gd name="connsiteY944" fmla="*/ 585788 h 2161222"/>
                <a:gd name="connsiteX945" fmla="*/ 2313623 w 2443162"/>
                <a:gd name="connsiteY945" fmla="*/ 576263 h 2161222"/>
                <a:gd name="connsiteX946" fmla="*/ 2311718 w 2443162"/>
                <a:gd name="connsiteY946" fmla="*/ 566738 h 2161222"/>
                <a:gd name="connsiteX947" fmla="*/ 2309813 w 2443162"/>
                <a:gd name="connsiteY947" fmla="*/ 557213 h 2161222"/>
                <a:gd name="connsiteX948" fmla="*/ 2306955 w 2443162"/>
                <a:gd name="connsiteY948" fmla="*/ 547688 h 2161222"/>
                <a:gd name="connsiteX949" fmla="*/ 2321243 w 2443162"/>
                <a:gd name="connsiteY949" fmla="*/ 573405 h 2161222"/>
                <a:gd name="connsiteX950" fmla="*/ 2335530 w 2443162"/>
                <a:gd name="connsiteY950" fmla="*/ 599123 h 2161222"/>
                <a:gd name="connsiteX951" fmla="*/ 2342198 w 2443162"/>
                <a:gd name="connsiteY951" fmla="*/ 612458 h 2161222"/>
                <a:gd name="connsiteX952" fmla="*/ 2348865 w 2443162"/>
                <a:gd name="connsiteY952" fmla="*/ 625793 h 2161222"/>
                <a:gd name="connsiteX953" fmla="*/ 2354580 w 2443162"/>
                <a:gd name="connsiteY953" fmla="*/ 639128 h 2161222"/>
                <a:gd name="connsiteX954" fmla="*/ 2360295 w 2443162"/>
                <a:gd name="connsiteY954" fmla="*/ 652463 h 2161222"/>
                <a:gd name="connsiteX955" fmla="*/ 2365058 w 2443162"/>
                <a:gd name="connsiteY955" fmla="*/ 665798 h 2161222"/>
                <a:gd name="connsiteX956" fmla="*/ 2369820 w 2443162"/>
                <a:gd name="connsiteY956" fmla="*/ 679133 h 2161222"/>
                <a:gd name="connsiteX957" fmla="*/ 2374583 w 2443162"/>
                <a:gd name="connsiteY957" fmla="*/ 693420 h 2161222"/>
                <a:gd name="connsiteX958" fmla="*/ 2378393 w 2443162"/>
                <a:gd name="connsiteY958" fmla="*/ 707708 h 2161222"/>
                <a:gd name="connsiteX959" fmla="*/ 2381250 w 2443162"/>
                <a:gd name="connsiteY959" fmla="*/ 721995 h 2161222"/>
                <a:gd name="connsiteX960" fmla="*/ 2383155 w 2443162"/>
                <a:gd name="connsiteY960" fmla="*/ 737235 h 2161222"/>
                <a:gd name="connsiteX961" fmla="*/ 2384108 w 2443162"/>
                <a:gd name="connsiteY961" fmla="*/ 744855 h 2161222"/>
                <a:gd name="connsiteX962" fmla="*/ 2385060 w 2443162"/>
                <a:gd name="connsiteY962" fmla="*/ 752475 h 2161222"/>
                <a:gd name="connsiteX963" fmla="*/ 2385060 w 2443162"/>
                <a:gd name="connsiteY963" fmla="*/ 760095 h 2161222"/>
                <a:gd name="connsiteX964" fmla="*/ 2385060 w 2443162"/>
                <a:gd name="connsiteY964" fmla="*/ 767715 h 2161222"/>
                <a:gd name="connsiteX965" fmla="*/ 2385060 w 2443162"/>
                <a:gd name="connsiteY965" fmla="*/ 778193 h 2161222"/>
                <a:gd name="connsiteX966" fmla="*/ 2385060 w 2443162"/>
                <a:gd name="connsiteY966" fmla="*/ 788670 h 2161222"/>
                <a:gd name="connsiteX967" fmla="*/ 2384108 w 2443162"/>
                <a:gd name="connsiteY967" fmla="*/ 799148 h 2161222"/>
                <a:gd name="connsiteX968" fmla="*/ 2383155 w 2443162"/>
                <a:gd name="connsiteY968" fmla="*/ 809625 h 2161222"/>
                <a:gd name="connsiteX969" fmla="*/ 2381250 w 2443162"/>
                <a:gd name="connsiteY969" fmla="*/ 820103 h 2161222"/>
                <a:gd name="connsiteX970" fmla="*/ 2379345 w 2443162"/>
                <a:gd name="connsiteY970" fmla="*/ 830580 h 2161222"/>
                <a:gd name="connsiteX971" fmla="*/ 2377440 w 2443162"/>
                <a:gd name="connsiteY971" fmla="*/ 840105 h 2161222"/>
                <a:gd name="connsiteX972" fmla="*/ 2375535 w 2443162"/>
                <a:gd name="connsiteY972" fmla="*/ 849630 h 2161222"/>
                <a:gd name="connsiteX973" fmla="*/ 2372678 w 2443162"/>
                <a:gd name="connsiteY973" fmla="*/ 859155 h 2161222"/>
                <a:gd name="connsiteX974" fmla="*/ 2369820 w 2443162"/>
                <a:gd name="connsiteY974" fmla="*/ 868680 h 2161222"/>
                <a:gd name="connsiteX975" fmla="*/ 2366963 w 2443162"/>
                <a:gd name="connsiteY975" fmla="*/ 878205 h 2161222"/>
                <a:gd name="connsiteX976" fmla="*/ 2364105 w 2443162"/>
                <a:gd name="connsiteY976" fmla="*/ 887730 h 2161222"/>
                <a:gd name="connsiteX977" fmla="*/ 2357438 w 2443162"/>
                <a:gd name="connsiteY977" fmla="*/ 905828 h 2161222"/>
                <a:gd name="connsiteX978" fmla="*/ 2349818 w 2443162"/>
                <a:gd name="connsiteY978" fmla="*/ 922973 h 2161222"/>
                <a:gd name="connsiteX979" fmla="*/ 2333625 w 2443162"/>
                <a:gd name="connsiteY979" fmla="*/ 958215 h 2161222"/>
                <a:gd name="connsiteX980" fmla="*/ 2317433 w 2443162"/>
                <a:gd name="connsiteY980" fmla="*/ 993458 h 2161222"/>
                <a:gd name="connsiteX981" fmla="*/ 2309813 w 2443162"/>
                <a:gd name="connsiteY981" fmla="*/ 1011555 h 2161222"/>
                <a:gd name="connsiteX982" fmla="*/ 2302193 w 2443162"/>
                <a:gd name="connsiteY982" fmla="*/ 1029653 h 2161222"/>
                <a:gd name="connsiteX983" fmla="*/ 2295525 w 2443162"/>
                <a:gd name="connsiteY983" fmla="*/ 1047750 h 2161222"/>
                <a:gd name="connsiteX984" fmla="*/ 2288858 w 2443162"/>
                <a:gd name="connsiteY984" fmla="*/ 1066800 h 2161222"/>
                <a:gd name="connsiteX985" fmla="*/ 2287905 w 2443162"/>
                <a:gd name="connsiteY985" fmla="*/ 1061085 h 2161222"/>
                <a:gd name="connsiteX986" fmla="*/ 2286953 w 2443162"/>
                <a:gd name="connsiteY986" fmla="*/ 1054418 h 2161222"/>
                <a:gd name="connsiteX987" fmla="*/ 2285048 w 2443162"/>
                <a:gd name="connsiteY987" fmla="*/ 1047750 h 2161222"/>
                <a:gd name="connsiteX988" fmla="*/ 2283143 w 2443162"/>
                <a:gd name="connsiteY988" fmla="*/ 1041083 h 2161222"/>
                <a:gd name="connsiteX989" fmla="*/ 2280285 w 2443162"/>
                <a:gd name="connsiteY989" fmla="*/ 1034415 h 2161222"/>
                <a:gd name="connsiteX990" fmla="*/ 2277428 w 2443162"/>
                <a:gd name="connsiteY990" fmla="*/ 1026795 h 2161222"/>
                <a:gd name="connsiteX991" fmla="*/ 2274570 w 2443162"/>
                <a:gd name="connsiteY991" fmla="*/ 1019175 h 2161222"/>
                <a:gd name="connsiteX992" fmla="*/ 2270760 w 2443162"/>
                <a:gd name="connsiteY992" fmla="*/ 1011555 h 2161222"/>
                <a:gd name="connsiteX993" fmla="*/ 2263140 w 2443162"/>
                <a:gd name="connsiteY993" fmla="*/ 996315 h 2161222"/>
                <a:gd name="connsiteX994" fmla="*/ 2254568 w 2443162"/>
                <a:gd name="connsiteY994" fmla="*/ 980123 h 2161222"/>
                <a:gd name="connsiteX995" fmla="*/ 2245043 w 2443162"/>
                <a:gd name="connsiteY995" fmla="*/ 963930 h 2161222"/>
                <a:gd name="connsiteX996" fmla="*/ 2235518 w 2443162"/>
                <a:gd name="connsiteY996" fmla="*/ 947738 h 2161222"/>
                <a:gd name="connsiteX997" fmla="*/ 2225993 w 2443162"/>
                <a:gd name="connsiteY997" fmla="*/ 932498 h 2161222"/>
                <a:gd name="connsiteX998" fmla="*/ 2215515 w 2443162"/>
                <a:gd name="connsiteY998" fmla="*/ 917258 h 2161222"/>
                <a:gd name="connsiteX999" fmla="*/ 2205038 w 2443162"/>
                <a:gd name="connsiteY999" fmla="*/ 902018 h 2161222"/>
                <a:gd name="connsiteX1000" fmla="*/ 2194560 w 2443162"/>
                <a:gd name="connsiteY1000" fmla="*/ 888683 h 2161222"/>
                <a:gd name="connsiteX1001" fmla="*/ 2185035 w 2443162"/>
                <a:gd name="connsiteY1001" fmla="*/ 875348 h 2161222"/>
                <a:gd name="connsiteX1002" fmla="*/ 2176463 w 2443162"/>
                <a:gd name="connsiteY1002" fmla="*/ 863918 h 2161222"/>
                <a:gd name="connsiteX1003" fmla="*/ 2167890 w 2443162"/>
                <a:gd name="connsiteY1003" fmla="*/ 853440 h 2161222"/>
                <a:gd name="connsiteX1004" fmla="*/ 2160270 w 2443162"/>
                <a:gd name="connsiteY1004" fmla="*/ 844868 h 2161222"/>
                <a:gd name="connsiteX1005" fmla="*/ 2148840 w 2443162"/>
                <a:gd name="connsiteY1005" fmla="*/ 829628 h 2161222"/>
                <a:gd name="connsiteX1006" fmla="*/ 2138363 w 2443162"/>
                <a:gd name="connsiteY1006" fmla="*/ 816293 h 2161222"/>
                <a:gd name="connsiteX1007" fmla="*/ 2129790 w 2443162"/>
                <a:gd name="connsiteY1007" fmla="*/ 803910 h 2161222"/>
                <a:gd name="connsiteX1008" fmla="*/ 2122170 w 2443162"/>
                <a:gd name="connsiteY1008" fmla="*/ 792480 h 2161222"/>
                <a:gd name="connsiteX1009" fmla="*/ 2115503 w 2443162"/>
                <a:gd name="connsiteY1009" fmla="*/ 782003 h 2161222"/>
                <a:gd name="connsiteX1010" fmla="*/ 2109788 w 2443162"/>
                <a:gd name="connsiteY1010" fmla="*/ 771525 h 2161222"/>
                <a:gd name="connsiteX1011" fmla="*/ 2105025 w 2443162"/>
                <a:gd name="connsiteY1011" fmla="*/ 761048 h 2161222"/>
                <a:gd name="connsiteX1012" fmla="*/ 2100263 w 2443162"/>
                <a:gd name="connsiteY1012" fmla="*/ 750570 h 2161222"/>
                <a:gd name="connsiteX1013" fmla="*/ 2095500 w 2443162"/>
                <a:gd name="connsiteY1013" fmla="*/ 740093 h 2161222"/>
                <a:gd name="connsiteX1014" fmla="*/ 2091690 w 2443162"/>
                <a:gd name="connsiteY1014" fmla="*/ 729615 h 2161222"/>
                <a:gd name="connsiteX1015" fmla="*/ 2086928 w 2443162"/>
                <a:gd name="connsiteY1015" fmla="*/ 718185 h 2161222"/>
                <a:gd name="connsiteX1016" fmla="*/ 2082165 w 2443162"/>
                <a:gd name="connsiteY1016" fmla="*/ 705803 h 2161222"/>
                <a:gd name="connsiteX1017" fmla="*/ 2072640 w 2443162"/>
                <a:gd name="connsiteY1017" fmla="*/ 677228 h 2161222"/>
                <a:gd name="connsiteX1018" fmla="*/ 2059305 w 2443162"/>
                <a:gd name="connsiteY1018" fmla="*/ 635318 h 2161222"/>
                <a:gd name="connsiteX1019" fmla="*/ 2059305 w 2443162"/>
                <a:gd name="connsiteY1019" fmla="*/ 635318 h 2161222"/>
                <a:gd name="connsiteX1020" fmla="*/ 2132648 w 2443162"/>
                <a:gd name="connsiteY1020" fmla="*/ 882968 h 2161222"/>
                <a:gd name="connsiteX1021" fmla="*/ 2147888 w 2443162"/>
                <a:gd name="connsiteY1021" fmla="*/ 902970 h 2161222"/>
                <a:gd name="connsiteX1022" fmla="*/ 2162175 w 2443162"/>
                <a:gd name="connsiteY1022" fmla="*/ 922020 h 2161222"/>
                <a:gd name="connsiteX1023" fmla="*/ 2176463 w 2443162"/>
                <a:gd name="connsiteY1023" fmla="*/ 941070 h 2161222"/>
                <a:gd name="connsiteX1024" fmla="*/ 2189798 w 2443162"/>
                <a:gd name="connsiteY1024" fmla="*/ 960120 h 2161222"/>
                <a:gd name="connsiteX1025" fmla="*/ 2202180 w 2443162"/>
                <a:gd name="connsiteY1025" fmla="*/ 978218 h 2161222"/>
                <a:gd name="connsiteX1026" fmla="*/ 2212658 w 2443162"/>
                <a:gd name="connsiteY1026" fmla="*/ 997268 h 2161222"/>
                <a:gd name="connsiteX1027" fmla="*/ 2217420 w 2443162"/>
                <a:gd name="connsiteY1027" fmla="*/ 1006793 h 2161222"/>
                <a:gd name="connsiteX1028" fmla="*/ 2222183 w 2443162"/>
                <a:gd name="connsiteY1028" fmla="*/ 1016318 h 2161222"/>
                <a:gd name="connsiteX1029" fmla="*/ 2226945 w 2443162"/>
                <a:gd name="connsiteY1029" fmla="*/ 1025843 h 2161222"/>
                <a:gd name="connsiteX1030" fmla="*/ 2231708 w 2443162"/>
                <a:gd name="connsiteY1030" fmla="*/ 1035368 h 2161222"/>
                <a:gd name="connsiteX1031" fmla="*/ 2235518 w 2443162"/>
                <a:gd name="connsiteY1031" fmla="*/ 1044893 h 2161222"/>
                <a:gd name="connsiteX1032" fmla="*/ 2239328 w 2443162"/>
                <a:gd name="connsiteY1032" fmla="*/ 1054418 h 2161222"/>
                <a:gd name="connsiteX1033" fmla="*/ 2243138 w 2443162"/>
                <a:gd name="connsiteY1033" fmla="*/ 1063943 h 2161222"/>
                <a:gd name="connsiteX1034" fmla="*/ 2245995 w 2443162"/>
                <a:gd name="connsiteY1034" fmla="*/ 1074420 h 2161222"/>
                <a:gd name="connsiteX1035" fmla="*/ 2248853 w 2443162"/>
                <a:gd name="connsiteY1035" fmla="*/ 1084898 h 2161222"/>
                <a:gd name="connsiteX1036" fmla="*/ 2251710 w 2443162"/>
                <a:gd name="connsiteY1036" fmla="*/ 1095375 h 2161222"/>
                <a:gd name="connsiteX1037" fmla="*/ 2254568 w 2443162"/>
                <a:gd name="connsiteY1037" fmla="*/ 1105853 h 2161222"/>
                <a:gd name="connsiteX1038" fmla="*/ 2256473 w 2443162"/>
                <a:gd name="connsiteY1038" fmla="*/ 1117283 h 2161222"/>
                <a:gd name="connsiteX1039" fmla="*/ 2258378 w 2443162"/>
                <a:gd name="connsiteY1039" fmla="*/ 1128713 h 2161222"/>
                <a:gd name="connsiteX1040" fmla="*/ 2259330 w 2443162"/>
                <a:gd name="connsiteY1040" fmla="*/ 1140143 h 2161222"/>
                <a:gd name="connsiteX1041" fmla="*/ 2260283 w 2443162"/>
                <a:gd name="connsiteY1041" fmla="*/ 1152525 h 2161222"/>
                <a:gd name="connsiteX1042" fmla="*/ 2261235 w 2443162"/>
                <a:gd name="connsiteY1042" fmla="*/ 1164908 h 2161222"/>
                <a:gd name="connsiteX1043" fmla="*/ 2261235 w 2443162"/>
                <a:gd name="connsiteY1043" fmla="*/ 1178243 h 2161222"/>
                <a:gd name="connsiteX1044" fmla="*/ 2261235 w 2443162"/>
                <a:gd name="connsiteY1044" fmla="*/ 1191578 h 2161222"/>
                <a:gd name="connsiteX1045" fmla="*/ 2261235 w 2443162"/>
                <a:gd name="connsiteY1045" fmla="*/ 1205865 h 2161222"/>
                <a:gd name="connsiteX1046" fmla="*/ 2261235 w 2443162"/>
                <a:gd name="connsiteY1046" fmla="*/ 1220153 h 2161222"/>
                <a:gd name="connsiteX1047" fmla="*/ 2264093 w 2443162"/>
                <a:gd name="connsiteY1047" fmla="*/ 1207770 h 2161222"/>
                <a:gd name="connsiteX1048" fmla="*/ 2266950 w 2443162"/>
                <a:gd name="connsiteY1048" fmla="*/ 1195388 h 2161222"/>
                <a:gd name="connsiteX1049" fmla="*/ 2270760 w 2443162"/>
                <a:gd name="connsiteY1049" fmla="*/ 1183005 h 2161222"/>
                <a:gd name="connsiteX1050" fmla="*/ 2274570 w 2443162"/>
                <a:gd name="connsiteY1050" fmla="*/ 1170623 h 2161222"/>
                <a:gd name="connsiteX1051" fmla="*/ 2279333 w 2443162"/>
                <a:gd name="connsiteY1051" fmla="*/ 1158240 h 2161222"/>
                <a:gd name="connsiteX1052" fmla="*/ 2284095 w 2443162"/>
                <a:gd name="connsiteY1052" fmla="*/ 1145858 h 2161222"/>
                <a:gd name="connsiteX1053" fmla="*/ 2288858 w 2443162"/>
                <a:gd name="connsiteY1053" fmla="*/ 1133475 h 2161222"/>
                <a:gd name="connsiteX1054" fmla="*/ 2294573 w 2443162"/>
                <a:gd name="connsiteY1054" fmla="*/ 1121093 h 2161222"/>
                <a:gd name="connsiteX1055" fmla="*/ 2306003 w 2443162"/>
                <a:gd name="connsiteY1055" fmla="*/ 1096328 h 2161222"/>
                <a:gd name="connsiteX1056" fmla="*/ 2319338 w 2443162"/>
                <a:gd name="connsiteY1056" fmla="*/ 1072515 h 2161222"/>
                <a:gd name="connsiteX1057" fmla="*/ 2331720 w 2443162"/>
                <a:gd name="connsiteY1057" fmla="*/ 1047750 h 2161222"/>
                <a:gd name="connsiteX1058" fmla="*/ 2345055 w 2443162"/>
                <a:gd name="connsiteY1058" fmla="*/ 1023938 h 2161222"/>
                <a:gd name="connsiteX1059" fmla="*/ 2357438 w 2443162"/>
                <a:gd name="connsiteY1059" fmla="*/ 1000125 h 2161222"/>
                <a:gd name="connsiteX1060" fmla="*/ 2369820 w 2443162"/>
                <a:gd name="connsiteY1060" fmla="*/ 976313 h 2161222"/>
                <a:gd name="connsiteX1061" fmla="*/ 2375535 w 2443162"/>
                <a:gd name="connsiteY1061" fmla="*/ 964883 h 2161222"/>
                <a:gd name="connsiteX1062" fmla="*/ 2381250 w 2443162"/>
                <a:gd name="connsiteY1062" fmla="*/ 953453 h 2161222"/>
                <a:gd name="connsiteX1063" fmla="*/ 2386013 w 2443162"/>
                <a:gd name="connsiteY1063" fmla="*/ 942023 h 2161222"/>
                <a:gd name="connsiteX1064" fmla="*/ 2390775 w 2443162"/>
                <a:gd name="connsiteY1064" fmla="*/ 930593 h 2161222"/>
                <a:gd name="connsiteX1065" fmla="*/ 2395538 w 2443162"/>
                <a:gd name="connsiteY1065" fmla="*/ 919163 h 2161222"/>
                <a:gd name="connsiteX1066" fmla="*/ 2399348 w 2443162"/>
                <a:gd name="connsiteY1066" fmla="*/ 907733 h 2161222"/>
                <a:gd name="connsiteX1067" fmla="*/ 2403158 w 2443162"/>
                <a:gd name="connsiteY1067" fmla="*/ 896303 h 2161222"/>
                <a:gd name="connsiteX1068" fmla="*/ 2406015 w 2443162"/>
                <a:gd name="connsiteY1068" fmla="*/ 884873 h 2161222"/>
                <a:gd name="connsiteX1069" fmla="*/ 2408873 w 2443162"/>
                <a:gd name="connsiteY1069" fmla="*/ 874395 h 2161222"/>
                <a:gd name="connsiteX1070" fmla="*/ 2410778 w 2443162"/>
                <a:gd name="connsiteY1070" fmla="*/ 863918 h 2161222"/>
                <a:gd name="connsiteX1071" fmla="*/ 2411730 w 2443162"/>
                <a:gd name="connsiteY1071" fmla="*/ 853440 h 2161222"/>
                <a:gd name="connsiteX1072" fmla="*/ 2412683 w 2443162"/>
                <a:gd name="connsiteY1072" fmla="*/ 842963 h 2161222"/>
                <a:gd name="connsiteX1073" fmla="*/ 2417445 w 2443162"/>
                <a:gd name="connsiteY1073" fmla="*/ 866775 h 2161222"/>
                <a:gd name="connsiteX1074" fmla="*/ 2421255 w 2443162"/>
                <a:gd name="connsiteY1074" fmla="*/ 889635 h 2161222"/>
                <a:gd name="connsiteX1075" fmla="*/ 2424113 w 2443162"/>
                <a:gd name="connsiteY1075" fmla="*/ 911543 h 2161222"/>
                <a:gd name="connsiteX1076" fmla="*/ 2426018 w 2443162"/>
                <a:gd name="connsiteY1076" fmla="*/ 931545 h 2161222"/>
                <a:gd name="connsiteX1077" fmla="*/ 2426970 w 2443162"/>
                <a:gd name="connsiteY1077" fmla="*/ 950595 h 2161222"/>
                <a:gd name="connsiteX1078" fmla="*/ 2426970 w 2443162"/>
                <a:gd name="connsiteY1078" fmla="*/ 969645 h 2161222"/>
                <a:gd name="connsiteX1079" fmla="*/ 2426970 w 2443162"/>
                <a:gd name="connsiteY1079" fmla="*/ 987743 h 2161222"/>
                <a:gd name="connsiteX1080" fmla="*/ 2426018 w 2443162"/>
                <a:gd name="connsiteY1080" fmla="*/ 1004888 h 2161222"/>
                <a:gd name="connsiteX1081" fmla="*/ 2424113 w 2443162"/>
                <a:gd name="connsiteY1081" fmla="*/ 1021080 h 2161222"/>
                <a:gd name="connsiteX1082" fmla="*/ 2421255 w 2443162"/>
                <a:gd name="connsiteY1082" fmla="*/ 1036320 h 2161222"/>
                <a:gd name="connsiteX1083" fmla="*/ 2418398 w 2443162"/>
                <a:gd name="connsiteY1083" fmla="*/ 1050608 h 2161222"/>
                <a:gd name="connsiteX1084" fmla="*/ 2413635 w 2443162"/>
                <a:gd name="connsiteY1084" fmla="*/ 1064895 h 2161222"/>
                <a:gd name="connsiteX1085" fmla="*/ 2408873 w 2443162"/>
                <a:gd name="connsiteY1085" fmla="*/ 1079183 h 2161222"/>
                <a:gd name="connsiteX1086" fmla="*/ 2404110 w 2443162"/>
                <a:gd name="connsiteY1086" fmla="*/ 1092518 h 2161222"/>
                <a:gd name="connsiteX1087" fmla="*/ 2398395 w 2443162"/>
                <a:gd name="connsiteY1087" fmla="*/ 1105853 h 2161222"/>
                <a:gd name="connsiteX1088" fmla="*/ 2392680 w 2443162"/>
                <a:gd name="connsiteY1088" fmla="*/ 1118235 h 2161222"/>
                <a:gd name="connsiteX1089" fmla="*/ 2386013 w 2443162"/>
                <a:gd name="connsiteY1089" fmla="*/ 1130618 h 2161222"/>
                <a:gd name="connsiteX1090" fmla="*/ 2378393 w 2443162"/>
                <a:gd name="connsiteY1090" fmla="*/ 1143000 h 2161222"/>
                <a:gd name="connsiteX1091" fmla="*/ 2369820 w 2443162"/>
                <a:gd name="connsiteY1091" fmla="*/ 1155383 h 2161222"/>
                <a:gd name="connsiteX1092" fmla="*/ 2361248 w 2443162"/>
                <a:gd name="connsiteY1092" fmla="*/ 1166813 h 2161222"/>
                <a:gd name="connsiteX1093" fmla="*/ 2352675 w 2443162"/>
                <a:gd name="connsiteY1093" fmla="*/ 1179195 h 2161222"/>
                <a:gd name="connsiteX1094" fmla="*/ 2343150 w 2443162"/>
                <a:gd name="connsiteY1094" fmla="*/ 1190625 h 2161222"/>
                <a:gd name="connsiteX1095" fmla="*/ 2333625 w 2443162"/>
                <a:gd name="connsiteY1095" fmla="*/ 1203008 h 2161222"/>
                <a:gd name="connsiteX1096" fmla="*/ 2323148 w 2443162"/>
                <a:gd name="connsiteY1096" fmla="*/ 1215390 h 2161222"/>
                <a:gd name="connsiteX1097" fmla="*/ 2302193 w 2443162"/>
                <a:gd name="connsiteY1097" fmla="*/ 1240155 h 2161222"/>
                <a:gd name="connsiteX1098" fmla="*/ 2280285 w 2443162"/>
                <a:gd name="connsiteY1098" fmla="*/ 1266825 h 2161222"/>
                <a:gd name="connsiteX1099" fmla="*/ 2268855 w 2443162"/>
                <a:gd name="connsiteY1099" fmla="*/ 1281113 h 2161222"/>
                <a:gd name="connsiteX1100" fmla="*/ 2257425 w 2443162"/>
                <a:gd name="connsiteY1100" fmla="*/ 1295400 h 2161222"/>
                <a:gd name="connsiteX1101" fmla="*/ 2245995 w 2443162"/>
                <a:gd name="connsiteY1101" fmla="*/ 1310640 h 2161222"/>
                <a:gd name="connsiteX1102" fmla="*/ 2233613 w 2443162"/>
                <a:gd name="connsiteY1102" fmla="*/ 1326833 h 2161222"/>
                <a:gd name="connsiteX1103" fmla="*/ 2234565 w 2443162"/>
                <a:gd name="connsiteY1103" fmla="*/ 1315403 h 2161222"/>
                <a:gd name="connsiteX1104" fmla="*/ 2234565 w 2443162"/>
                <a:gd name="connsiteY1104" fmla="*/ 1303973 h 2161222"/>
                <a:gd name="connsiteX1105" fmla="*/ 2234565 w 2443162"/>
                <a:gd name="connsiteY1105" fmla="*/ 1292543 h 2161222"/>
                <a:gd name="connsiteX1106" fmla="*/ 2233613 w 2443162"/>
                <a:gd name="connsiteY1106" fmla="*/ 1281113 h 2161222"/>
                <a:gd name="connsiteX1107" fmla="*/ 2231708 w 2443162"/>
                <a:gd name="connsiteY1107" fmla="*/ 1268730 h 2161222"/>
                <a:gd name="connsiteX1108" fmla="*/ 2228850 w 2443162"/>
                <a:gd name="connsiteY1108" fmla="*/ 1256348 h 2161222"/>
                <a:gd name="connsiteX1109" fmla="*/ 2225993 w 2443162"/>
                <a:gd name="connsiteY1109" fmla="*/ 1243965 h 2161222"/>
                <a:gd name="connsiteX1110" fmla="*/ 2222183 w 2443162"/>
                <a:gd name="connsiteY1110" fmla="*/ 1231583 h 2161222"/>
                <a:gd name="connsiteX1111" fmla="*/ 2218373 w 2443162"/>
                <a:gd name="connsiteY1111" fmla="*/ 1219200 h 2161222"/>
                <a:gd name="connsiteX1112" fmla="*/ 2213610 w 2443162"/>
                <a:gd name="connsiteY1112" fmla="*/ 1205865 h 2161222"/>
                <a:gd name="connsiteX1113" fmla="*/ 2208848 w 2443162"/>
                <a:gd name="connsiteY1113" fmla="*/ 1192530 h 2161222"/>
                <a:gd name="connsiteX1114" fmla="*/ 2204085 w 2443162"/>
                <a:gd name="connsiteY1114" fmla="*/ 1179195 h 2161222"/>
                <a:gd name="connsiteX1115" fmla="*/ 2193608 w 2443162"/>
                <a:gd name="connsiteY1115" fmla="*/ 1152525 h 2161222"/>
                <a:gd name="connsiteX1116" fmla="*/ 2182178 w 2443162"/>
                <a:gd name="connsiteY1116" fmla="*/ 1124903 h 2161222"/>
                <a:gd name="connsiteX1117" fmla="*/ 2171700 w 2443162"/>
                <a:gd name="connsiteY1117" fmla="*/ 1097280 h 2161222"/>
                <a:gd name="connsiteX1118" fmla="*/ 2161223 w 2443162"/>
                <a:gd name="connsiteY1118" fmla="*/ 1068705 h 2161222"/>
                <a:gd name="connsiteX1119" fmla="*/ 2156460 w 2443162"/>
                <a:gd name="connsiteY1119" fmla="*/ 1054418 h 2161222"/>
                <a:gd name="connsiteX1120" fmla="*/ 2151698 w 2443162"/>
                <a:gd name="connsiteY1120" fmla="*/ 1040130 h 2161222"/>
                <a:gd name="connsiteX1121" fmla="*/ 2146935 w 2443162"/>
                <a:gd name="connsiteY1121" fmla="*/ 1024890 h 2161222"/>
                <a:gd name="connsiteX1122" fmla="*/ 2142173 w 2443162"/>
                <a:gd name="connsiteY1122" fmla="*/ 1009650 h 2161222"/>
                <a:gd name="connsiteX1123" fmla="*/ 2138363 w 2443162"/>
                <a:gd name="connsiteY1123" fmla="*/ 994410 h 2161222"/>
                <a:gd name="connsiteX1124" fmla="*/ 2135505 w 2443162"/>
                <a:gd name="connsiteY1124" fmla="*/ 979170 h 2161222"/>
                <a:gd name="connsiteX1125" fmla="*/ 2132648 w 2443162"/>
                <a:gd name="connsiteY1125" fmla="*/ 962978 h 2161222"/>
                <a:gd name="connsiteX1126" fmla="*/ 2130743 w 2443162"/>
                <a:gd name="connsiteY1126" fmla="*/ 947738 h 2161222"/>
                <a:gd name="connsiteX1127" fmla="*/ 2128838 w 2443162"/>
                <a:gd name="connsiteY1127" fmla="*/ 931545 h 2161222"/>
                <a:gd name="connsiteX1128" fmla="*/ 2128838 w 2443162"/>
                <a:gd name="connsiteY1128" fmla="*/ 915353 h 2161222"/>
                <a:gd name="connsiteX1129" fmla="*/ 2128838 w 2443162"/>
                <a:gd name="connsiteY1129" fmla="*/ 899160 h 2161222"/>
                <a:gd name="connsiteX1130" fmla="*/ 2132648 w 2443162"/>
                <a:gd name="connsiteY1130" fmla="*/ 882968 h 2161222"/>
                <a:gd name="connsiteX1131" fmla="*/ 2132648 w 2443162"/>
                <a:gd name="connsiteY1131" fmla="*/ 882968 h 2161222"/>
                <a:gd name="connsiteX1132" fmla="*/ 2111693 w 2443162"/>
                <a:gd name="connsiteY1132" fmla="*/ 1592580 h 2161222"/>
                <a:gd name="connsiteX1133" fmla="*/ 2115503 w 2443162"/>
                <a:gd name="connsiteY1133" fmla="*/ 1580198 h 2161222"/>
                <a:gd name="connsiteX1134" fmla="*/ 2118360 w 2443162"/>
                <a:gd name="connsiteY1134" fmla="*/ 1567815 h 2161222"/>
                <a:gd name="connsiteX1135" fmla="*/ 2121218 w 2443162"/>
                <a:gd name="connsiteY1135" fmla="*/ 1554480 h 2161222"/>
                <a:gd name="connsiteX1136" fmla="*/ 2123123 w 2443162"/>
                <a:gd name="connsiteY1136" fmla="*/ 1541145 h 2161222"/>
                <a:gd name="connsiteX1137" fmla="*/ 2124075 w 2443162"/>
                <a:gd name="connsiteY1137" fmla="*/ 1527810 h 2161222"/>
                <a:gd name="connsiteX1138" fmla="*/ 2125028 w 2443162"/>
                <a:gd name="connsiteY1138" fmla="*/ 1513523 h 2161222"/>
                <a:gd name="connsiteX1139" fmla="*/ 2125028 w 2443162"/>
                <a:gd name="connsiteY1139" fmla="*/ 1499235 h 2161222"/>
                <a:gd name="connsiteX1140" fmla="*/ 2125028 w 2443162"/>
                <a:gd name="connsiteY1140" fmla="*/ 1483995 h 2161222"/>
                <a:gd name="connsiteX1141" fmla="*/ 2125028 w 2443162"/>
                <a:gd name="connsiteY1141" fmla="*/ 1468755 h 2161222"/>
                <a:gd name="connsiteX1142" fmla="*/ 2124075 w 2443162"/>
                <a:gd name="connsiteY1142" fmla="*/ 1453515 h 2161222"/>
                <a:gd name="connsiteX1143" fmla="*/ 2123123 w 2443162"/>
                <a:gd name="connsiteY1143" fmla="*/ 1438275 h 2161222"/>
                <a:gd name="connsiteX1144" fmla="*/ 2122170 w 2443162"/>
                <a:gd name="connsiteY1144" fmla="*/ 1423035 h 2161222"/>
                <a:gd name="connsiteX1145" fmla="*/ 2119313 w 2443162"/>
                <a:gd name="connsiteY1145" fmla="*/ 1391603 h 2161222"/>
                <a:gd name="connsiteX1146" fmla="*/ 2116455 w 2443162"/>
                <a:gd name="connsiteY1146" fmla="*/ 1360170 h 2161222"/>
                <a:gd name="connsiteX1147" fmla="*/ 2114550 w 2443162"/>
                <a:gd name="connsiteY1147" fmla="*/ 1328738 h 2161222"/>
                <a:gd name="connsiteX1148" fmla="*/ 2112645 w 2443162"/>
                <a:gd name="connsiteY1148" fmla="*/ 1297305 h 2161222"/>
                <a:gd name="connsiteX1149" fmla="*/ 2111693 w 2443162"/>
                <a:gd name="connsiteY1149" fmla="*/ 1281113 h 2161222"/>
                <a:gd name="connsiteX1150" fmla="*/ 2111693 w 2443162"/>
                <a:gd name="connsiteY1150" fmla="*/ 1265873 h 2161222"/>
                <a:gd name="connsiteX1151" fmla="*/ 2112645 w 2443162"/>
                <a:gd name="connsiteY1151" fmla="*/ 1249680 h 2161222"/>
                <a:gd name="connsiteX1152" fmla="*/ 2112645 w 2443162"/>
                <a:gd name="connsiteY1152" fmla="*/ 1233488 h 2161222"/>
                <a:gd name="connsiteX1153" fmla="*/ 2113598 w 2443162"/>
                <a:gd name="connsiteY1153" fmla="*/ 1217295 h 2161222"/>
                <a:gd name="connsiteX1154" fmla="*/ 2115503 w 2443162"/>
                <a:gd name="connsiteY1154" fmla="*/ 1202055 h 2161222"/>
                <a:gd name="connsiteX1155" fmla="*/ 2117408 w 2443162"/>
                <a:gd name="connsiteY1155" fmla="*/ 1185863 h 2161222"/>
                <a:gd name="connsiteX1156" fmla="*/ 2120265 w 2443162"/>
                <a:gd name="connsiteY1156" fmla="*/ 1170623 h 2161222"/>
                <a:gd name="connsiteX1157" fmla="*/ 2124075 w 2443162"/>
                <a:gd name="connsiteY1157" fmla="*/ 1155383 h 2161222"/>
                <a:gd name="connsiteX1158" fmla="*/ 2128838 w 2443162"/>
                <a:gd name="connsiteY1158" fmla="*/ 1140143 h 2161222"/>
                <a:gd name="connsiteX1159" fmla="*/ 2134553 w 2443162"/>
                <a:gd name="connsiteY1159" fmla="*/ 1124903 h 2161222"/>
                <a:gd name="connsiteX1160" fmla="*/ 2140268 w 2443162"/>
                <a:gd name="connsiteY1160" fmla="*/ 1109663 h 2161222"/>
                <a:gd name="connsiteX1161" fmla="*/ 2146935 w 2443162"/>
                <a:gd name="connsiteY1161" fmla="*/ 1132523 h 2161222"/>
                <a:gd name="connsiteX1162" fmla="*/ 2153603 w 2443162"/>
                <a:gd name="connsiteY1162" fmla="*/ 1154430 h 2161222"/>
                <a:gd name="connsiteX1163" fmla="*/ 2160270 w 2443162"/>
                <a:gd name="connsiteY1163" fmla="*/ 1176338 h 2161222"/>
                <a:gd name="connsiteX1164" fmla="*/ 2165985 w 2443162"/>
                <a:gd name="connsiteY1164" fmla="*/ 1197293 h 2161222"/>
                <a:gd name="connsiteX1165" fmla="*/ 2171700 w 2443162"/>
                <a:gd name="connsiteY1165" fmla="*/ 1219200 h 2161222"/>
                <a:gd name="connsiteX1166" fmla="*/ 2177415 w 2443162"/>
                <a:gd name="connsiteY1166" fmla="*/ 1240155 h 2161222"/>
                <a:gd name="connsiteX1167" fmla="*/ 2182178 w 2443162"/>
                <a:gd name="connsiteY1167" fmla="*/ 1262063 h 2161222"/>
                <a:gd name="connsiteX1168" fmla="*/ 2185988 w 2443162"/>
                <a:gd name="connsiteY1168" fmla="*/ 1283970 h 2161222"/>
                <a:gd name="connsiteX1169" fmla="*/ 2187893 w 2443162"/>
                <a:gd name="connsiteY1169" fmla="*/ 1295400 h 2161222"/>
                <a:gd name="connsiteX1170" fmla="*/ 2188845 w 2443162"/>
                <a:gd name="connsiteY1170" fmla="*/ 1306830 h 2161222"/>
                <a:gd name="connsiteX1171" fmla="*/ 2189798 w 2443162"/>
                <a:gd name="connsiteY1171" fmla="*/ 1318260 h 2161222"/>
                <a:gd name="connsiteX1172" fmla="*/ 2189798 w 2443162"/>
                <a:gd name="connsiteY1172" fmla="*/ 1329690 h 2161222"/>
                <a:gd name="connsiteX1173" fmla="*/ 2190750 w 2443162"/>
                <a:gd name="connsiteY1173" fmla="*/ 1341120 h 2161222"/>
                <a:gd name="connsiteX1174" fmla="*/ 2190750 w 2443162"/>
                <a:gd name="connsiteY1174" fmla="*/ 1353503 h 2161222"/>
                <a:gd name="connsiteX1175" fmla="*/ 2190750 w 2443162"/>
                <a:gd name="connsiteY1175" fmla="*/ 1365885 h 2161222"/>
                <a:gd name="connsiteX1176" fmla="*/ 2190750 w 2443162"/>
                <a:gd name="connsiteY1176" fmla="*/ 1378268 h 2161222"/>
                <a:gd name="connsiteX1177" fmla="*/ 2189798 w 2443162"/>
                <a:gd name="connsiteY1177" fmla="*/ 1390650 h 2161222"/>
                <a:gd name="connsiteX1178" fmla="*/ 2188845 w 2443162"/>
                <a:gd name="connsiteY1178" fmla="*/ 1403033 h 2161222"/>
                <a:gd name="connsiteX1179" fmla="*/ 2186940 w 2443162"/>
                <a:gd name="connsiteY1179" fmla="*/ 1416368 h 2161222"/>
                <a:gd name="connsiteX1180" fmla="*/ 2185035 w 2443162"/>
                <a:gd name="connsiteY1180" fmla="*/ 1429703 h 2161222"/>
                <a:gd name="connsiteX1181" fmla="*/ 2182178 w 2443162"/>
                <a:gd name="connsiteY1181" fmla="*/ 1443038 h 2161222"/>
                <a:gd name="connsiteX1182" fmla="*/ 2179320 w 2443162"/>
                <a:gd name="connsiteY1182" fmla="*/ 1457325 h 2161222"/>
                <a:gd name="connsiteX1183" fmla="*/ 2175510 w 2443162"/>
                <a:gd name="connsiteY1183" fmla="*/ 1471613 h 2161222"/>
                <a:gd name="connsiteX1184" fmla="*/ 2171700 w 2443162"/>
                <a:gd name="connsiteY1184" fmla="*/ 1485900 h 2161222"/>
                <a:gd name="connsiteX1185" fmla="*/ 2176463 w 2443162"/>
                <a:gd name="connsiteY1185" fmla="*/ 1478280 h 2161222"/>
                <a:gd name="connsiteX1186" fmla="*/ 2184083 w 2443162"/>
                <a:gd name="connsiteY1186" fmla="*/ 1466850 h 2161222"/>
                <a:gd name="connsiteX1187" fmla="*/ 2193608 w 2443162"/>
                <a:gd name="connsiteY1187" fmla="*/ 1451610 h 2161222"/>
                <a:gd name="connsiteX1188" fmla="*/ 2205038 w 2443162"/>
                <a:gd name="connsiteY1188" fmla="*/ 1434465 h 2161222"/>
                <a:gd name="connsiteX1189" fmla="*/ 2218373 w 2443162"/>
                <a:gd name="connsiteY1189" fmla="*/ 1414463 h 2161222"/>
                <a:gd name="connsiteX1190" fmla="*/ 2233613 w 2443162"/>
                <a:gd name="connsiteY1190" fmla="*/ 1392555 h 2161222"/>
                <a:gd name="connsiteX1191" fmla="*/ 2242185 w 2443162"/>
                <a:gd name="connsiteY1191" fmla="*/ 1382078 h 2161222"/>
                <a:gd name="connsiteX1192" fmla="*/ 2250758 w 2443162"/>
                <a:gd name="connsiteY1192" fmla="*/ 1370648 h 2161222"/>
                <a:gd name="connsiteX1193" fmla="*/ 2260283 w 2443162"/>
                <a:gd name="connsiteY1193" fmla="*/ 1359218 h 2161222"/>
                <a:gd name="connsiteX1194" fmla="*/ 2269808 w 2443162"/>
                <a:gd name="connsiteY1194" fmla="*/ 1347788 h 2161222"/>
                <a:gd name="connsiteX1195" fmla="*/ 2293620 w 2443162"/>
                <a:gd name="connsiteY1195" fmla="*/ 1319213 h 2161222"/>
                <a:gd name="connsiteX1196" fmla="*/ 2318385 w 2443162"/>
                <a:gd name="connsiteY1196" fmla="*/ 1290638 h 2161222"/>
                <a:gd name="connsiteX1197" fmla="*/ 2343150 w 2443162"/>
                <a:gd name="connsiteY1197" fmla="*/ 1262063 h 2161222"/>
                <a:gd name="connsiteX1198" fmla="*/ 2366963 w 2443162"/>
                <a:gd name="connsiteY1198" fmla="*/ 1233488 h 2161222"/>
                <a:gd name="connsiteX1199" fmla="*/ 2378393 w 2443162"/>
                <a:gd name="connsiteY1199" fmla="*/ 1219200 h 2161222"/>
                <a:gd name="connsiteX1200" fmla="*/ 2389823 w 2443162"/>
                <a:gd name="connsiteY1200" fmla="*/ 1204913 h 2161222"/>
                <a:gd name="connsiteX1201" fmla="*/ 2400300 w 2443162"/>
                <a:gd name="connsiteY1201" fmla="*/ 1190625 h 2161222"/>
                <a:gd name="connsiteX1202" fmla="*/ 2410778 w 2443162"/>
                <a:gd name="connsiteY1202" fmla="*/ 1176338 h 2161222"/>
                <a:gd name="connsiteX1203" fmla="*/ 2420303 w 2443162"/>
                <a:gd name="connsiteY1203" fmla="*/ 1163003 h 2161222"/>
                <a:gd name="connsiteX1204" fmla="*/ 2428875 w 2443162"/>
                <a:gd name="connsiteY1204" fmla="*/ 1149668 h 2161222"/>
                <a:gd name="connsiteX1205" fmla="*/ 2436495 w 2443162"/>
                <a:gd name="connsiteY1205" fmla="*/ 1137285 h 2161222"/>
                <a:gd name="connsiteX1206" fmla="*/ 2443163 w 2443162"/>
                <a:gd name="connsiteY1206" fmla="*/ 1124903 h 2161222"/>
                <a:gd name="connsiteX1207" fmla="*/ 2442210 w 2443162"/>
                <a:gd name="connsiteY1207" fmla="*/ 1153478 h 2161222"/>
                <a:gd name="connsiteX1208" fmla="*/ 2439353 w 2443162"/>
                <a:gd name="connsiteY1208" fmla="*/ 1181100 h 2161222"/>
                <a:gd name="connsiteX1209" fmla="*/ 2435543 w 2443162"/>
                <a:gd name="connsiteY1209" fmla="*/ 1207770 h 2161222"/>
                <a:gd name="connsiteX1210" fmla="*/ 2429828 w 2443162"/>
                <a:gd name="connsiteY1210" fmla="*/ 1233488 h 2161222"/>
                <a:gd name="connsiteX1211" fmla="*/ 2423160 w 2443162"/>
                <a:gd name="connsiteY1211" fmla="*/ 1257300 h 2161222"/>
                <a:gd name="connsiteX1212" fmla="*/ 2415540 w 2443162"/>
                <a:gd name="connsiteY1212" fmla="*/ 1280160 h 2161222"/>
                <a:gd name="connsiteX1213" fmla="*/ 2406015 w 2443162"/>
                <a:gd name="connsiteY1213" fmla="*/ 1302068 h 2161222"/>
                <a:gd name="connsiteX1214" fmla="*/ 2395538 w 2443162"/>
                <a:gd name="connsiteY1214" fmla="*/ 1323023 h 2161222"/>
                <a:gd name="connsiteX1215" fmla="*/ 2384108 w 2443162"/>
                <a:gd name="connsiteY1215" fmla="*/ 1343025 h 2161222"/>
                <a:gd name="connsiteX1216" fmla="*/ 2372678 w 2443162"/>
                <a:gd name="connsiteY1216" fmla="*/ 1362075 h 2161222"/>
                <a:gd name="connsiteX1217" fmla="*/ 2359343 w 2443162"/>
                <a:gd name="connsiteY1217" fmla="*/ 1380173 h 2161222"/>
                <a:gd name="connsiteX1218" fmla="*/ 2346008 w 2443162"/>
                <a:gd name="connsiteY1218" fmla="*/ 1396365 h 2161222"/>
                <a:gd name="connsiteX1219" fmla="*/ 2331720 w 2443162"/>
                <a:gd name="connsiteY1219" fmla="*/ 1412558 h 2161222"/>
                <a:gd name="connsiteX1220" fmla="*/ 2317433 w 2443162"/>
                <a:gd name="connsiteY1220" fmla="*/ 1427798 h 2161222"/>
                <a:gd name="connsiteX1221" fmla="*/ 2303145 w 2443162"/>
                <a:gd name="connsiteY1221" fmla="*/ 1442085 h 2161222"/>
                <a:gd name="connsiteX1222" fmla="*/ 2287905 w 2443162"/>
                <a:gd name="connsiteY1222" fmla="*/ 1455420 h 2161222"/>
                <a:gd name="connsiteX1223" fmla="*/ 2272665 w 2443162"/>
                <a:gd name="connsiteY1223" fmla="*/ 1467803 h 2161222"/>
                <a:gd name="connsiteX1224" fmla="*/ 2257425 w 2443162"/>
                <a:gd name="connsiteY1224" fmla="*/ 1480185 h 2161222"/>
                <a:gd name="connsiteX1225" fmla="*/ 2242185 w 2443162"/>
                <a:gd name="connsiteY1225" fmla="*/ 1490663 h 2161222"/>
                <a:gd name="connsiteX1226" fmla="*/ 2227898 w 2443162"/>
                <a:gd name="connsiteY1226" fmla="*/ 1502093 h 2161222"/>
                <a:gd name="connsiteX1227" fmla="*/ 2199323 w 2443162"/>
                <a:gd name="connsiteY1227" fmla="*/ 1521143 h 2161222"/>
                <a:gd name="connsiteX1228" fmla="*/ 2172653 w 2443162"/>
                <a:gd name="connsiteY1228" fmla="*/ 1538288 h 2161222"/>
                <a:gd name="connsiteX1229" fmla="*/ 2161223 w 2443162"/>
                <a:gd name="connsiteY1229" fmla="*/ 1545908 h 2161222"/>
                <a:gd name="connsiteX1230" fmla="*/ 2149793 w 2443162"/>
                <a:gd name="connsiteY1230" fmla="*/ 1553528 h 2161222"/>
                <a:gd name="connsiteX1231" fmla="*/ 2139315 w 2443162"/>
                <a:gd name="connsiteY1231" fmla="*/ 1560195 h 2161222"/>
                <a:gd name="connsiteX1232" fmla="*/ 2129790 w 2443162"/>
                <a:gd name="connsiteY1232" fmla="*/ 1566863 h 2161222"/>
                <a:gd name="connsiteX1233" fmla="*/ 2122170 w 2443162"/>
                <a:gd name="connsiteY1233" fmla="*/ 1573530 h 2161222"/>
                <a:gd name="connsiteX1234" fmla="*/ 2116455 w 2443162"/>
                <a:gd name="connsiteY1234" fmla="*/ 1579245 h 2161222"/>
                <a:gd name="connsiteX1235" fmla="*/ 2111693 w 2443162"/>
                <a:gd name="connsiteY1235" fmla="*/ 1584960 h 2161222"/>
                <a:gd name="connsiteX1236" fmla="*/ 2111693 w 2443162"/>
                <a:gd name="connsiteY1236" fmla="*/ 1592580 h 2161222"/>
                <a:gd name="connsiteX1237" fmla="*/ 2111693 w 2443162"/>
                <a:gd name="connsiteY1237" fmla="*/ 1592580 h 2161222"/>
                <a:gd name="connsiteX1238" fmla="*/ 1925003 w 2443162"/>
                <a:gd name="connsiteY1238" fmla="*/ 1794510 h 2161222"/>
                <a:gd name="connsiteX1239" fmla="*/ 1931670 w 2443162"/>
                <a:gd name="connsiteY1239" fmla="*/ 1784033 h 2161222"/>
                <a:gd name="connsiteX1240" fmla="*/ 1938338 w 2443162"/>
                <a:gd name="connsiteY1240" fmla="*/ 1772603 h 2161222"/>
                <a:gd name="connsiteX1241" fmla="*/ 1944053 w 2443162"/>
                <a:gd name="connsiteY1241" fmla="*/ 1761173 h 2161222"/>
                <a:gd name="connsiteX1242" fmla="*/ 1948815 w 2443162"/>
                <a:gd name="connsiteY1242" fmla="*/ 1748790 h 2161222"/>
                <a:gd name="connsiteX1243" fmla="*/ 1953578 w 2443162"/>
                <a:gd name="connsiteY1243" fmla="*/ 1736408 h 2161222"/>
                <a:gd name="connsiteX1244" fmla="*/ 1958340 w 2443162"/>
                <a:gd name="connsiteY1244" fmla="*/ 1724025 h 2161222"/>
                <a:gd name="connsiteX1245" fmla="*/ 1962150 w 2443162"/>
                <a:gd name="connsiteY1245" fmla="*/ 1710690 h 2161222"/>
                <a:gd name="connsiteX1246" fmla="*/ 1965960 w 2443162"/>
                <a:gd name="connsiteY1246" fmla="*/ 1697355 h 2161222"/>
                <a:gd name="connsiteX1247" fmla="*/ 1969770 w 2443162"/>
                <a:gd name="connsiteY1247" fmla="*/ 1683068 h 2161222"/>
                <a:gd name="connsiteX1248" fmla="*/ 1972628 w 2443162"/>
                <a:gd name="connsiteY1248" fmla="*/ 1668780 h 2161222"/>
                <a:gd name="connsiteX1249" fmla="*/ 1975485 w 2443162"/>
                <a:gd name="connsiteY1249" fmla="*/ 1654493 h 2161222"/>
                <a:gd name="connsiteX1250" fmla="*/ 1978343 w 2443162"/>
                <a:gd name="connsiteY1250" fmla="*/ 1640205 h 2161222"/>
                <a:gd name="connsiteX1251" fmla="*/ 1984058 w 2443162"/>
                <a:gd name="connsiteY1251" fmla="*/ 1611630 h 2161222"/>
                <a:gd name="connsiteX1252" fmla="*/ 1989773 w 2443162"/>
                <a:gd name="connsiteY1252" fmla="*/ 1582103 h 2161222"/>
                <a:gd name="connsiteX1253" fmla="*/ 1995488 w 2443162"/>
                <a:gd name="connsiteY1253" fmla="*/ 1552575 h 2161222"/>
                <a:gd name="connsiteX1254" fmla="*/ 2002155 w 2443162"/>
                <a:gd name="connsiteY1254" fmla="*/ 1523048 h 2161222"/>
                <a:gd name="connsiteX1255" fmla="*/ 2005965 w 2443162"/>
                <a:gd name="connsiteY1255" fmla="*/ 1507808 h 2161222"/>
                <a:gd name="connsiteX1256" fmla="*/ 2009775 w 2443162"/>
                <a:gd name="connsiteY1256" fmla="*/ 1493520 h 2161222"/>
                <a:gd name="connsiteX1257" fmla="*/ 2014538 w 2443162"/>
                <a:gd name="connsiteY1257" fmla="*/ 1479233 h 2161222"/>
                <a:gd name="connsiteX1258" fmla="*/ 2019300 w 2443162"/>
                <a:gd name="connsiteY1258" fmla="*/ 1464945 h 2161222"/>
                <a:gd name="connsiteX1259" fmla="*/ 2025015 w 2443162"/>
                <a:gd name="connsiteY1259" fmla="*/ 1450658 h 2161222"/>
                <a:gd name="connsiteX1260" fmla="*/ 2030730 w 2443162"/>
                <a:gd name="connsiteY1260" fmla="*/ 1436370 h 2161222"/>
                <a:gd name="connsiteX1261" fmla="*/ 2037398 w 2443162"/>
                <a:gd name="connsiteY1261" fmla="*/ 1423035 h 2161222"/>
                <a:gd name="connsiteX1262" fmla="*/ 2044065 w 2443162"/>
                <a:gd name="connsiteY1262" fmla="*/ 1409700 h 2161222"/>
                <a:gd name="connsiteX1263" fmla="*/ 2051685 w 2443162"/>
                <a:gd name="connsiteY1263" fmla="*/ 1396365 h 2161222"/>
                <a:gd name="connsiteX1264" fmla="*/ 2060258 w 2443162"/>
                <a:gd name="connsiteY1264" fmla="*/ 1383983 h 2161222"/>
                <a:gd name="connsiteX1265" fmla="*/ 2069783 w 2443162"/>
                <a:gd name="connsiteY1265" fmla="*/ 1371600 h 2161222"/>
                <a:gd name="connsiteX1266" fmla="*/ 2080260 w 2443162"/>
                <a:gd name="connsiteY1266" fmla="*/ 1360170 h 2161222"/>
                <a:gd name="connsiteX1267" fmla="*/ 2079308 w 2443162"/>
                <a:gd name="connsiteY1267" fmla="*/ 1385888 h 2161222"/>
                <a:gd name="connsiteX1268" fmla="*/ 2078355 w 2443162"/>
                <a:gd name="connsiteY1268" fmla="*/ 1410653 h 2161222"/>
                <a:gd name="connsiteX1269" fmla="*/ 2078355 w 2443162"/>
                <a:gd name="connsiteY1269" fmla="*/ 1435418 h 2161222"/>
                <a:gd name="connsiteX1270" fmla="*/ 2078355 w 2443162"/>
                <a:gd name="connsiteY1270" fmla="*/ 1458278 h 2161222"/>
                <a:gd name="connsiteX1271" fmla="*/ 2079308 w 2443162"/>
                <a:gd name="connsiteY1271" fmla="*/ 1480185 h 2161222"/>
                <a:gd name="connsiteX1272" fmla="*/ 2079308 w 2443162"/>
                <a:gd name="connsiteY1272" fmla="*/ 1502093 h 2161222"/>
                <a:gd name="connsiteX1273" fmla="*/ 2079308 w 2443162"/>
                <a:gd name="connsiteY1273" fmla="*/ 1523048 h 2161222"/>
                <a:gd name="connsiteX1274" fmla="*/ 2079308 w 2443162"/>
                <a:gd name="connsiteY1274" fmla="*/ 1543050 h 2161222"/>
                <a:gd name="connsiteX1275" fmla="*/ 2078355 w 2443162"/>
                <a:gd name="connsiteY1275" fmla="*/ 1553528 h 2161222"/>
                <a:gd name="connsiteX1276" fmla="*/ 2077403 w 2443162"/>
                <a:gd name="connsiteY1276" fmla="*/ 1563053 h 2161222"/>
                <a:gd name="connsiteX1277" fmla="*/ 2076450 w 2443162"/>
                <a:gd name="connsiteY1277" fmla="*/ 1572578 h 2161222"/>
                <a:gd name="connsiteX1278" fmla="*/ 2075498 w 2443162"/>
                <a:gd name="connsiteY1278" fmla="*/ 1582103 h 2161222"/>
                <a:gd name="connsiteX1279" fmla="*/ 2073593 w 2443162"/>
                <a:gd name="connsiteY1279" fmla="*/ 1591628 h 2161222"/>
                <a:gd name="connsiteX1280" fmla="*/ 2071688 w 2443162"/>
                <a:gd name="connsiteY1280" fmla="*/ 1601153 h 2161222"/>
                <a:gd name="connsiteX1281" fmla="*/ 2069783 w 2443162"/>
                <a:gd name="connsiteY1281" fmla="*/ 1610678 h 2161222"/>
                <a:gd name="connsiteX1282" fmla="*/ 2066925 w 2443162"/>
                <a:gd name="connsiteY1282" fmla="*/ 1620203 h 2161222"/>
                <a:gd name="connsiteX1283" fmla="*/ 2064068 w 2443162"/>
                <a:gd name="connsiteY1283" fmla="*/ 1629728 h 2161222"/>
                <a:gd name="connsiteX1284" fmla="*/ 2060258 w 2443162"/>
                <a:gd name="connsiteY1284" fmla="*/ 1639253 h 2161222"/>
                <a:gd name="connsiteX1285" fmla="*/ 2055495 w 2443162"/>
                <a:gd name="connsiteY1285" fmla="*/ 1648778 h 2161222"/>
                <a:gd name="connsiteX1286" fmla="*/ 2050733 w 2443162"/>
                <a:gd name="connsiteY1286" fmla="*/ 1658303 h 2161222"/>
                <a:gd name="connsiteX1287" fmla="*/ 2045018 w 2443162"/>
                <a:gd name="connsiteY1287" fmla="*/ 1666875 h 2161222"/>
                <a:gd name="connsiteX1288" fmla="*/ 2039303 w 2443162"/>
                <a:gd name="connsiteY1288" fmla="*/ 1676400 h 2161222"/>
                <a:gd name="connsiteX1289" fmla="*/ 2033588 w 2443162"/>
                <a:gd name="connsiteY1289" fmla="*/ 1685925 h 2161222"/>
                <a:gd name="connsiteX1290" fmla="*/ 2026920 w 2443162"/>
                <a:gd name="connsiteY1290" fmla="*/ 1694498 h 2161222"/>
                <a:gd name="connsiteX1291" fmla="*/ 2038350 w 2443162"/>
                <a:gd name="connsiteY1291" fmla="*/ 1684020 h 2161222"/>
                <a:gd name="connsiteX1292" fmla="*/ 2052638 w 2443162"/>
                <a:gd name="connsiteY1292" fmla="*/ 1672590 h 2161222"/>
                <a:gd name="connsiteX1293" fmla="*/ 2067878 w 2443162"/>
                <a:gd name="connsiteY1293" fmla="*/ 1660208 h 2161222"/>
                <a:gd name="connsiteX1294" fmla="*/ 2085023 w 2443162"/>
                <a:gd name="connsiteY1294" fmla="*/ 1646873 h 2161222"/>
                <a:gd name="connsiteX1295" fmla="*/ 2094548 w 2443162"/>
                <a:gd name="connsiteY1295" fmla="*/ 1640205 h 2161222"/>
                <a:gd name="connsiteX1296" fmla="*/ 2105025 w 2443162"/>
                <a:gd name="connsiteY1296" fmla="*/ 1633538 h 2161222"/>
                <a:gd name="connsiteX1297" fmla="*/ 2115503 w 2443162"/>
                <a:gd name="connsiteY1297" fmla="*/ 1626870 h 2161222"/>
                <a:gd name="connsiteX1298" fmla="*/ 2126933 w 2443162"/>
                <a:gd name="connsiteY1298" fmla="*/ 1620203 h 2161222"/>
                <a:gd name="connsiteX1299" fmla="*/ 2139315 w 2443162"/>
                <a:gd name="connsiteY1299" fmla="*/ 1613535 h 2161222"/>
                <a:gd name="connsiteX1300" fmla="*/ 2151698 w 2443162"/>
                <a:gd name="connsiteY1300" fmla="*/ 1607820 h 2161222"/>
                <a:gd name="connsiteX1301" fmla="*/ 2165033 w 2443162"/>
                <a:gd name="connsiteY1301" fmla="*/ 1602105 h 2161222"/>
                <a:gd name="connsiteX1302" fmla="*/ 2179320 w 2443162"/>
                <a:gd name="connsiteY1302" fmla="*/ 1596390 h 2161222"/>
                <a:gd name="connsiteX1303" fmla="*/ 2187893 w 2443162"/>
                <a:gd name="connsiteY1303" fmla="*/ 1593533 h 2161222"/>
                <a:gd name="connsiteX1304" fmla="*/ 2195513 w 2443162"/>
                <a:gd name="connsiteY1304" fmla="*/ 1589723 h 2161222"/>
                <a:gd name="connsiteX1305" fmla="*/ 2204085 w 2443162"/>
                <a:gd name="connsiteY1305" fmla="*/ 1585913 h 2161222"/>
                <a:gd name="connsiteX1306" fmla="*/ 2211705 w 2443162"/>
                <a:gd name="connsiteY1306" fmla="*/ 1581150 h 2161222"/>
                <a:gd name="connsiteX1307" fmla="*/ 2219325 w 2443162"/>
                <a:gd name="connsiteY1307" fmla="*/ 1576388 h 2161222"/>
                <a:gd name="connsiteX1308" fmla="*/ 2226945 w 2443162"/>
                <a:gd name="connsiteY1308" fmla="*/ 1571625 h 2161222"/>
                <a:gd name="connsiteX1309" fmla="*/ 2234565 w 2443162"/>
                <a:gd name="connsiteY1309" fmla="*/ 1566863 h 2161222"/>
                <a:gd name="connsiteX1310" fmla="*/ 2242185 w 2443162"/>
                <a:gd name="connsiteY1310" fmla="*/ 1562100 h 2161222"/>
                <a:gd name="connsiteX1311" fmla="*/ 2256473 w 2443162"/>
                <a:gd name="connsiteY1311" fmla="*/ 1551623 h 2161222"/>
                <a:gd name="connsiteX1312" fmla="*/ 2269808 w 2443162"/>
                <a:gd name="connsiteY1312" fmla="*/ 1541145 h 2161222"/>
                <a:gd name="connsiteX1313" fmla="*/ 2283143 w 2443162"/>
                <a:gd name="connsiteY1313" fmla="*/ 1529715 h 2161222"/>
                <a:gd name="connsiteX1314" fmla="*/ 2295525 w 2443162"/>
                <a:gd name="connsiteY1314" fmla="*/ 1518285 h 2161222"/>
                <a:gd name="connsiteX1315" fmla="*/ 2307908 w 2443162"/>
                <a:gd name="connsiteY1315" fmla="*/ 1505903 h 2161222"/>
                <a:gd name="connsiteX1316" fmla="*/ 2319338 w 2443162"/>
                <a:gd name="connsiteY1316" fmla="*/ 1494473 h 2161222"/>
                <a:gd name="connsiteX1317" fmla="*/ 2330768 w 2443162"/>
                <a:gd name="connsiteY1317" fmla="*/ 1482090 h 2161222"/>
                <a:gd name="connsiteX1318" fmla="*/ 2341245 w 2443162"/>
                <a:gd name="connsiteY1318" fmla="*/ 1470660 h 2161222"/>
                <a:gd name="connsiteX1319" fmla="*/ 2362200 w 2443162"/>
                <a:gd name="connsiteY1319" fmla="*/ 1447800 h 2161222"/>
                <a:gd name="connsiteX1320" fmla="*/ 2382203 w 2443162"/>
                <a:gd name="connsiteY1320" fmla="*/ 1426845 h 2161222"/>
                <a:gd name="connsiteX1321" fmla="*/ 2375535 w 2443162"/>
                <a:gd name="connsiteY1321" fmla="*/ 1443038 h 2161222"/>
                <a:gd name="connsiteX1322" fmla="*/ 2366010 w 2443162"/>
                <a:gd name="connsiteY1322" fmla="*/ 1473518 h 2161222"/>
                <a:gd name="connsiteX1323" fmla="*/ 2355533 w 2443162"/>
                <a:gd name="connsiteY1323" fmla="*/ 1502093 h 2161222"/>
                <a:gd name="connsiteX1324" fmla="*/ 2344103 w 2443162"/>
                <a:gd name="connsiteY1324" fmla="*/ 1528763 h 2161222"/>
                <a:gd name="connsiteX1325" fmla="*/ 2331720 w 2443162"/>
                <a:gd name="connsiteY1325" fmla="*/ 1553528 h 2161222"/>
                <a:gd name="connsiteX1326" fmla="*/ 2318385 w 2443162"/>
                <a:gd name="connsiteY1326" fmla="*/ 1575435 h 2161222"/>
                <a:gd name="connsiteX1327" fmla="*/ 2304098 w 2443162"/>
                <a:gd name="connsiteY1327" fmla="*/ 1596390 h 2161222"/>
                <a:gd name="connsiteX1328" fmla="*/ 2288858 w 2443162"/>
                <a:gd name="connsiteY1328" fmla="*/ 1615440 h 2161222"/>
                <a:gd name="connsiteX1329" fmla="*/ 2273618 w 2443162"/>
                <a:gd name="connsiteY1329" fmla="*/ 1632585 h 2161222"/>
                <a:gd name="connsiteX1330" fmla="*/ 2257425 w 2443162"/>
                <a:gd name="connsiteY1330" fmla="*/ 1648778 h 2161222"/>
                <a:gd name="connsiteX1331" fmla="*/ 2241233 w 2443162"/>
                <a:gd name="connsiteY1331" fmla="*/ 1663065 h 2161222"/>
                <a:gd name="connsiteX1332" fmla="*/ 2225040 w 2443162"/>
                <a:gd name="connsiteY1332" fmla="*/ 1676400 h 2161222"/>
                <a:gd name="connsiteX1333" fmla="*/ 2207895 w 2443162"/>
                <a:gd name="connsiteY1333" fmla="*/ 1687830 h 2161222"/>
                <a:gd name="connsiteX1334" fmla="*/ 2190750 w 2443162"/>
                <a:gd name="connsiteY1334" fmla="*/ 1698308 h 2161222"/>
                <a:gd name="connsiteX1335" fmla="*/ 2172653 w 2443162"/>
                <a:gd name="connsiteY1335" fmla="*/ 1707833 h 2161222"/>
                <a:gd name="connsiteX1336" fmla="*/ 2155508 w 2443162"/>
                <a:gd name="connsiteY1336" fmla="*/ 1716405 h 2161222"/>
                <a:gd name="connsiteX1337" fmla="*/ 2137410 w 2443162"/>
                <a:gd name="connsiteY1337" fmla="*/ 1724025 h 2161222"/>
                <a:gd name="connsiteX1338" fmla="*/ 2120265 w 2443162"/>
                <a:gd name="connsiteY1338" fmla="*/ 1730693 h 2161222"/>
                <a:gd name="connsiteX1339" fmla="*/ 2103120 w 2443162"/>
                <a:gd name="connsiteY1339" fmla="*/ 1736408 h 2161222"/>
                <a:gd name="connsiteX1340" fmla="*/ 2085975 w 2443162"/>
                <a:gd name="connsiteY1340" fmla="*/ 1742123 h 2161222"/>
                <a:gd name="connsiteX1341" fmla="*/ 2068830 w 2443162"/>
                <a:gd name="connsiteY1341" fmla="*/ 1746885 h 2161222"/>
                <a:gd name="connsiteX1342" fmla="*/ 2036445 w 2443162"/>
                <a:gd name="connsiteY1342" fmla="*/ 1755458 h 2161222"/>
                <a:gd name="connsiteX1343" fmla="*/ 2005965 w 2443162"/>
                <a:gd name="connsiteY1343" fmla="*/ 1763078 h 2161222"/>
                <a:gd name="connsiteX1344" fmla="*/ 1991678 w 2443162"/>
                <a:gd name="connsiteY1344" fmla="*/ 1766888 h 2161222"/>
                <a:gd name="connsiteX1345" fmla="*/ 1978343 w 2443162"/>
                <a:gd name="connsiteY1345" fmla="*/ 1770698 h 2161222"/>
                <a:gd name="connsiteX1346" fmla="*/ 1965960 w 2443162"/>
                <a:gd name="connsiteY1346" fmla="*/ 1774508 h 2161222"/>
                <a:gd name="connsiteX1347" fmla="*/ 1954530 w 2443162"/>
                <a:gd name="connsiteY1347" fmla="*/ 1778318 h 2161222"/>
                <a:gd name="connsiteX1348" fmla="*/ 1944053 w 2443162"/>
                <a:gd name="connsiteY1348" fmla="*/ 1783080 h 2161222"/>
                <a:gd name="connsiteX1349" fmla="*/ 1934528 w 2443162"/>
                <a:gd name="connsiteY1349" fmla="*/ 1787843 h 2161222"/>
                <a:gd name="connsiteX1350" fmla="*/ 1926908 w 2443162"/>
                <a:gd name="connsiteY1350" fmla="*/ 1792605 h 2161222"/>
                <a:gd name="connsiteX1351" fmla="*/ 1925003 w 2443162"/>
                <a:gd name="connsiteY1351" fmla="*/ 1794510 h 2161222"/>
                <a:gd name="connsiteX1352" fmla="*/ 1925003 w 2443162"/>
                <a:gd name="connsiteY1352" fmla="*/ 1794510 h 2161222"/>
                <a:gd name="connsiteX1353" fmla="*/ 1703070 w 2443162"/>
                <a:gd name="connsiteY1353" fmla="*/ 1945958 h 2161222"/>
                <a:gd name="connsiteX1354" fmla="*/ 1707833 w 2443162"/>
                <a:gd name="connsiteY1354" fmla="*/ 1939290 h 2161222"/>
                <a:gd name="connsiteX1355" fmla="*/ 1712595 w 2443162"/>
                <a:gd name="connsiteY1355" fmla="*/ 1931670 h 2161222"/>
                <a:gd name="connsiteX1356" fmla="*/ 1717358 w 2443162"/>
                <a:gd name="connsiteY1356" fmla="*/ 1923098 h 2161222"/>
                <a:gd name="connsiteX1357" fmla="*/ 1722120 w 2443162"/>
                <a:gd name="connsiteY1357" fmla="*/ 1914525 h 2161222"/>
                <a:gd name="connsiteX1358" fmla="*/ 1730693 w 2443162"/>
                <a:gd name="connsiteY1358" fmla="*/ 1894523 h 2161222"/>
                <a:gd name="connsiteX1359" fmla="*/ 1740218 w 2443162"/>
                <a:gd name="connsiteY1359" fmla="*/ 1872615 h 2161222"/>
                <a:gd name="connsiteX1360" fmla="*/ 1749743 w 2443162"/>
                <a:gd name="connsiteY1360" fmla="*/ 1848803 h 2161222"/>
                <a:gd name="connsiteX1361" fmla="*/ 1760220 w 2443162"/>
                <a:gd name="connsiteY1361" fmla="*/ 1824038 h 2161222"/>
                <a:gd name="connsiteX1362" fmla="*/ 1771650 w 2443162"/>
                <a:gd name="connsiteY1362" fmla="*/ 1798320 h 2161222"/>
                <a:gd name="connsiteX1363" fmla="*/ 1784033 w 2443162"/>
                <a:gd name="connsiteY1363" fmla="*/ 1772603 h 2161222"/>
                <a:gd name="connsiteX1364" fmla="*/ 1790700 w 2443162"/>
                <a:gd name="connsiteY1364" fmla="*/ 1759268 h 2161222"/>
                <a:gd name="connsiteX1365" fmla="*/ 1797368 w 2443162"/>
                <a:gd name="connsiteY1365" fmla="*/ 1745933 h 2161222"/>
                <a:gd name="connsiteX1366" fmla="*/ 1804988 w 2443162"/>
                <a:gd name="connsiteY1366" fmla="*/ 1732598 h 2161222"/>
                <a:gd name="connsiteX1367" fmla="*/ 1812608 w 2443162"/>
                <a:gd name="connsiteY1367" fmla="*/ 1719263 h 2161222"/>
                <a:gd name="connsiteX1368" fmla="*/ 1820228 w 2443162"/>
                <a:gd name="connsiteY1368" fmla="*/ 1705928 h 2161222"/>
                <a:gd name="connsiteX1369" fmla="*/ 1828800 w 2443162"/>
                <a:gd name="connsiteY1369" fmla="*/ 1693545 h 2161222"/>
                <a:gd name="connsiteX1370" fmla="*/ 1838325 w 2443162"/>
                <a:gd name="connsiteY1370" fmla="*/ 1680210 h 2161222"/>
                <a:gd name="connsiteX1371" fmla="*/ 1847850 w 2443162"/>
                <a:gd name="connsiteY1371" fmla="*/ 1667828 h 2161222"/>
                <a:gd name="connsiteX1372" fmla="*/ 1858328 w 2443162"/>
                <a:gd name="connsiteY1372" fmla="*/ 1655445 h 2161222"/>
                <a:gd name="connsiteX1373" fmla="*/ 1868805 w 2443162"/>
                <a:gd name="connsiteY1373" fmla="*/ 1644015 h 2161222"/>
                <a:gd name="connsiteX1374" fmla="*/ 1879283 w 2443162"/>
                <a:gd name="connsiteY1374" fmla="*/ 1632585 h 2161222"/>
                <a:gd name="connsiteX1375" fmla="*/ 1891665 w 2443162"/>
                <a:gd name="connsiteY1375" fmla="*/ 1622108 h 2161222"/>
                <a:gd name="connsiteX1376" fmla="*/ 1904048 w 2443162"/>
                <a:gd name="connsiteY1376" fmla="*/ 1611630 h 2161222"/>
                <a:gd name="connsiteX1377" fmla="*/ 1917383 w 2443162"/>
                <a:gd name="connsiteY1377" fmla="*/ 1601153 h 2161222"/>
                <a:gd name="connsiteX1378" fmla="*/ 1931670 w 2443162"/>
                <a:gd name="connsiteY1378" fmla="*/ 1591628 h 2161222"/>
                <a:gd name="connsiteX1379" fmla="*/ 1945958 w 2443162"/>
                <a:gd name="connsiteY1379" fmla="*/ 1583055 h 2161222"/>
                <a:gd name="connsiteX1380" fmla="*/ 1931670 w 2443162"/>
                <a:gd name="connsiteY1380" fmla="*/ 1630680 h 2161222"/>
                <a:gd name="connsiteX1381" fmla="*/ 1919288 w 2443162"/>
                <a:gd name="connsiteY1381" fmla="*/ 1675448 h 2161222"/>
                <a:gd name="connsiteX1382" fmla="*/ 1913573 w 2443162"/>
                <a:gd name="connsiteY1382" fmla="*/ 1696403 h 2161222"/>
                <a:gd name="connsiteX1383" fmla="*/ 1907858 w 2443162"/>
                <a:gd name="connsiteY1383" fmla="*/ 1716405 h 2161222"/>
                <a:gd name="connsiteX1384" fmla="*/ 1902143 w 2443162"/>
                <a:gd name="connsiteY1384" fmla="*/ 1736408 h 2161222"/>
                <a:gd name="connsiteX1385" fmla="*/ 1895475 w 2443162"/>
                <a:gd name="connsiteY1385" fmla="*/ 1755458 h 2161222"/>
                <a:gd name="connsiteX1386" fmla="*/ 1891665 w 2443162"/>
                <a:gd name="connsiteY1386" fmla="*/ 1764983 h 2161222"/>
                <a:gd name="connsiteX1387" fmla="*/ 1887855 w 2443162"/>
                <a:gd name="connsiteY1387" fmla="*/ 1773555 h 2161222"/>
                <a:gd name="connsiteX1388" fmla="*/ 1884045 w 2443162"/>
                <a:gd name="connsiteY1388" fmla="*/ 1782128 h 2161222"/>
                <a:gd name="connsiteX1389" fmla="*/ 1879283 w 2443162"/>
                <a:gd name="connsiteY1389" fmla="*/ 1790700 h 2161222"/>
                <a:gd name="connsiteX1390" fmla="*/ 1874520 w 2443162"/>
                <a:gd name="connsiteY1390" fmla="*/ 1799273 h 2161222"/>
                <a:gd name="connsiteX1391" fmla="*/ 1869758 w 2443162"/>
                <a:gd name="connsiteY1391" fmla="*/ 1807845 h 2161222"/>
                <a:gd name="connsiteX1392" fmla="*/ 1864043 w 2443162"/>
                <a:gd name="connsiteY1392" fmla="*/ 1816418 h 2161222"/>
                <a:gd name="connsiteX1393" fmla="*/ 1858328 w 2443162"/>
                <a:gd name="connsiteY1393" fmla="*/ 1824038 h 2161222"/>
                <a:gd name="connsiteX1394" fmla="*/ 1852613 w 2443162"/>
                <a:gd name="connsiteY1394" fmla="*/ 1832610 h 2161222"/>
                <a:gd name="connsiteX1395" fmla="*/ 1846898 w 2443162"/>
                <a:gd name="connsiteY1395" fmla="*/ 1840230 h 2161222"/>
                <a:gd name="connsiteX1396" fmla="*/ 1840230 w 2443162"/>
                <a:gd name="connsiteY1396" fmla="*/ 1847850 h 2161222"/>
                <a:gd name="connsiteX1397" fmla="*/ 1832610 w 2443162"/>
                <a:gd name="connsiteY1397" fmla="*/ 1855470 h 2161222"/>
                <a:gd name="connsiteX1398" fmla="*/ 1824990 w 2443162"/>
                <a:gd name="connsiteY1398" fmla="*/ 1863090 h 2161222"/>
                <a:gd name="connsiteX1399" fmla="*/ 1817370 w 2443162"/>
                <a:gd name="connsiteY1399" fmla="*/ 1870710 h 2161222"/>
                <a:gd name="connsiteX1400" fmla="*/ 1808798 w 2443162"/>
                <a:gd name="connsiteY1400" fmla="*/ 1878330 h 2161222"/>
                <a:gd name="connsiteX1401" fmla="*/ 1800225 w 2443162"/>
                <a:gd name="connsiteY1401" fmla="*/ 1885950 h 2161222"/>
                <a:gd name="connsiteX1402" fmla="*/ 1815465 w 2443162"/>
                <a:gd name="connsiteY1402" fmla="*/ 1878330 h 2161222"/>
                <a:gd name="connsiteX1403" fmla="*/ 1835468 w 2443162"/>
                <a:gd name="connsiteY1403" fmla="*/ 1869758 h 2161222"/>
                <a:gd name="connsiteX1404" fmla="*/ 1859280 w 2443162"/>
                <a:gd name="connsiteY1404" fmla="*/ 1860233 h 2161222"/>
                <a:gd name="connsiteX1405" fmla="*/ 1885950 w 2443162"/>
                <a:gd name="connsiteY1405" fmla="*/ 1850708 h 2161222"/>
                <a:gd name="connsiteX1406" fmla="*/ 1900238 w 2443162"/>
                <a:gd name="connsiteY1406" fmla="*/ 1845945 h 2161222"/>
                <a:gd name="connsiteX1407" fmla="*/ 1914525 w 2443162"/>
                <a:gd name="connsiteY1407" fmla="*/ 1841183 h 2161222"/>
                <a:gd name="connsiteX1408" fmla="*/ 1929765 w 2443162"/>
                <a:gd name="connsiteY1408" fmla="*/ 1836420 h 2161222"/>
                <a:gd name="connsiteX1409" fmla="*/ 1945005 w 2443162"/>
                <a:gd name="connsiteY1409" fmla="*/ 1832610 h 2161222"/>
                <a:gd name="connsiteX1410" fmla="*/ 1960245 w 2443162"/>
                <a:gd name="connsiteY1410" fmla="*/ 1828800 h 2161222"/>
                <a:gd name="connsiteX1411" fmla="*/ 1975485 w 2443162"/>
                <a:gd name="connsiteY1411" fmla="*/ 1824990 h 2161222"/>
                <a:gd name="connsiteX1412" fmla="*/ 1990725 w 2443162"/>
                <a:gd name="connsiteY1412" fmla="*/ 1822133 h 2161222"/>
                <a:gd name="connsiteX1413" fmla="*/ 2005965 w 2443162"/>
                <a:gd name="connsiteY1413" fmla="*/ 1819275 h 2161222"/>
                <a:gd name="connsiteX1414" fmla="*/ 2019300 w 2443162"/>
                <a:gd name="connsiteY1414" fmla="*/ 1817370 h 2161222"/>
                <a:gd name="connsiteX1415" fmla="*/ 2031683 w 2443162"/>
                <a:gd name="connsiteY1415" fmla="*/ 1815465 h 2161222"/>
                <a:gd name="connsiteX1416" fmla="*/ 2043113 w 2443162"/>
                <a:gd name="connsiteY1416" fmla="*/ 1813560 h 2161222"/>
                <a:gd name="connsiteX1417" fmla="*/ 2054543 w 2443162"/>
                <a:gd name="connsiteY1417" fmla="*/ 1811655 h 2161222"/>
                <a:gd name="connsiteX1418" fmla="*/ 2065020 w 2443162"/>
                <a:gd name="connsiteY1418" fmla="*/ 1809750 h 2161222"/>
                <a:gd name="connsiteX1419" fmla="*/ 2075498 w 2443162"/>
                <a:gd name="connsiteY1419" fmla="*/ 1806893 h 2161222"/>
                <a:gd name="connsiteX1420" fmla="*/ 2085023 w 2443162"/>
                <a:gd name="connsiteY1420" fmla="*/ 1804035 h 2161222"/>
                <a:gd name="connsiteX1421" fmla="*/ 2094548 w 2443162"/>
                <a:gd name="connsiteY1421" fmla="*/ 1801178 h 2161222"/>
                <a:gd name="connsiteX1422" fmla="*/ 2103120 w 2443162"/>
                <a:gd name="connsiteY1422" fmla="*/ 1798320 h 2161222"/>
                <a:gd name="connsiteX1423" fmla="*/ 2111693 w 2443162"/>
                <a:gd name="connsiteY1423" fmla="*/ 1795463 h 2161222"/>
                <a:gd name="connsiteX1424" fmla="*/ 2120265 w 2443162"/>
                <a:gd name="connsiteY1424" fmla="*/ 1792605 h 2161222"/>
                <a:gd name="connsiteX1425" fmla="*/ 2127885 w 2443162"/>
                <a:gd name="connsiteY1425" fmla="*/ 1789748 h 2161222"/>
                <a:gd name="connsiteX1426" fmla="*/ 2142173 w 2443162"/>
                <a:gd name="connsiteY1426" fmla="*/ 1783080 h 2161222"/>
                <a:gd name="connsiteX1427" fmla="*/ 2155508 w 2443162"/>
                <a:gd name="connsiteY1427" fmla="*/ 1776413 h 2161222"/>
                <a:gd name="connsiteX1428" fmla="*/ 2167890 w 2443162"/>
                <a:gd name="connsiteY1428" fmla="*/ 1769745 h 2161222"/>
                <a:gd name="connsiteX1429" fmla="*/ 2179320 w 2443162"/>
                <a:gd name="connsiteY1429" fmla="*/ 1763078 h 2161222"/>
                <a:gd name="connsiteX1430" fmla="*/ 2189798 w 2443162"/>
                <a:gd name="connsiteY1430" fmla="*/ 1755458 h 2161222"/>
                <a:gd name="connsiteX1431" fmla="*/ 2200275 w 2443162"/>
                <a:gd name="connsiteY1431" fmla="*/ 1748790 h 2161222"/>
                <a:gd name="connsiteX1432" fmla="*/ 2210753 w 2443162"/>
                <a:gd name="connsiteY1432" fmla="*/ 1741170 h 2161222"/>
                <a:gd name="connsiteX1433" fmla="*/ 2221230 w 2443162"/>
                <a:gd name="connsiteY1433" fmla="*/ 1734503 h 2161222"/>
                <a:gd name="connsiteX1434" fmla="*/ 2232660 w 2443162"/>
                <a:gd name="connsiteY1434" fmla="*/ 1727835 h 2161222"/>
                <a:gd name="connsiteX1435" fmla="*/ 2244090 w 2443162"/>
                <a:gd name="connsiteY1435" fmla="*/ 1721168 h 2161222"/>
                <a:gd name="connsiteX1436" fmla="*/ 2227898 w 2443162"/>
                <a:gd name="connsiteY1436" fmla="*/ 1749743 h 2161222"/>
                <a:gd name="connsiteX1437" fmla="*/ 2211705 w 2443162"/>
                <a:gd name="connsiteY1437" fmla="*/ 1775460 h 2161222"/>
                <a:gd name="connsiteX1438" fmla="*/ 2194560 w 2443162"/>
                <a:gd name="connsiteY1438" fmla="*/ 1798320 h 2161222"/>
                <a:gd name="connsiteX1439" fmla="*/ 2177415 w 2443162"/>
                <a:gd name="connsiteY1439" fmla="*/ 1819275 h 2161222"/>
                <a:gd name="connsiteX1440" fmla="*/ 2159318 w 2443162"/>
                <a:gd name="connsiteY1440" fmla="*/ 1838325 h 2161222"/>
                <a:gd name="connsiteX1441" fmla="*/ 2140268 w 2443162"/>
                <a:gd name="connsiteY1441" fmla="*/ 1855470 h 2161222"/>
                <a:gd name="connsiteX1442" fmla="*/ 2121218 w 2443162"/>
                <a:gd name="connsiteY1442" fmla="*/ 1870710 h 2161222"/>
                <a:gd name="connsiteX1443" fmla="*/ 2102168 w 2443162"/>
                <a:gd name="connsiteY1443" fmla="*/ 1884045 h 2161222"/>
                <a:gd name="connsiteX1444" fmla="*/ 2082165 w 2443162"/>
                <a:gd name="connsiteY1444" fmla="*/ 1895475 h 2161222"/>
                <a:gd name="connsiteX1445" fmla="*/ 2062163 w 2443162"/>
                <a:gd name="connsiteY1445" fmla="*/ 1905953 h 2161222"/>
                <a:gd name="connsiteX1446" fmla="*/ 2042160 w 2443162"/>
                <a:gd name="connsiteY1446" fmla="*/ 1914525 h 2161222"/>
                <a:gd name="connsiteX1447" fmla="*/ 2022158 w 2443162"/>
                <a:gd name="connsiteY1447" fmla="*/ 1921193 h 2161222"/>
                <a:gd name="connsiteX1448" fmla="*/ 2002155 w 2443162"/>
                <a:gd name="connsiteY1448" fmla="*/ 1926908 h 2161222"/>
                <a:gd name="connsiteX1449" fmla="*/ 1982153 w 2443162"/>
                <a:gd name="connsiteY1449" fmla="*/ 1931670 h 2161222"/>
                <a:gd name="connsiteX1450" fmla="*/ 1962150 w 2443162"/>
                <a:gd name="connsiteY1450" fmla="*/ 1935480 h 2161222"/>
                <a:gd name="connsiteX1451" fmla="*/ 1943100 w 2443162"/>
                <a:gd name="connsiteY1451" fmla="*/ 1938338 h 2161222"/>
                <a:gd name="connsiteX1452" fmla="*/ 1924050 w 2443162"/>
                <a:gd name="connsiteY1452" fmla="*/ 1940243 h 2161222"/>
                <a:gd name="connsiteX1453" fmla="*/ 1905000 w 2443162"/>
                <a:gd name="connsiteY1453" fmla="*/ 1941195 h 2161222"/>
                <a:gd name="connsiteX1454" fmla="*/ 1885950 w 2443162"/>
                <a:gd name="connsiteY1454" fmla="*/ 1941195 h 2161222"/>
                <a:gd name="connsiteX1455" fmla="*/ 1867853 w 2443162"/>
                <a:gd name="connsiteY1455" fmla="*/ 1941195 h 2161222"/>
                <a:gd name="connsiteX1456" fmla="*/ 1833563 w 2443162"/>
                <a:gd name="connsiteY1456" fmla="*/ 1940243 h 2161222"/>
                <a:gd name="connsiteX1457" fmla="*/ 1801178 w 2443162"/>
                <a:gd name="connsiteY1457" fmla="*/ 1939290 h 2161222"/>
                <a:gd name="connsiteX1458" fmla="*/ 1785938 w 2443162"/>
                <a:gd name="connsiteY1458" fmla="*/ 1939290 h 2161222"/>
                <a:gd name="connsiteX1459" fmla="*/ 1771650 w 2443162"/>
                <a:gd name="connsiteY1459" fmla="*/ 1939290 h 2161222"/>
                <a:gd name="connsiteX1460" fmla="*/ 1758315 w 2443162"/>
                <a:gd name="connsiteY1460" fmla="*/ 1939290 h 2161222"/>
                <a:gd name="connsiteX1461" fmla="*/ 1745933 w 2443162"/>
                <a:gd name="connsiteY1461" fmla="*/ 1939290 h 2161222"/>
                <a:gd name="connsiteX1462" fmla="*/ 1734503 w 2443162"/>
                <a:gd name="connsiteY1462" fmla="*/ 1940243 h 2161222"/>
                <a:gd name="connsiteX1463" fmla="*/ 1724025 w 2443162"/>
                <a:gd name="connsiteY1463" fmla="*/ 1942148 h 2161222"/>
                <a:gd name="connsiteX1464" fmla="*/ 1714500 w 2443162"/>
                <a:gd name="connsiteY1464" fmla="*/ 1945005 h 2161222"/>
                <a:gd name="connsiteX1465" fmla="*/ 1703070 w 2443162"/>
                <a:gd name="connsiteY1465" fmla="*/ 1945958 h 2161222"/>
                <a:gd name="connsiteX1466" fmla="*/ 1703070 w 2443162"/>
                <a:gd name="connsiteY1466" fmla="*/ 1945958 h 2161222"/>
                <a:gd name="connsiteX1467" fmla="*/ 2267903 w 2443162"/>
                <a:gd name="connsiteY1467" fmla="*/ 813435 h 2161222"/>
                <a:gd name="connsiteX1468" fmla="*/ 2262188 w 2443162"/>
                <a:gd name="connsiteY1468" fmla="*/ 797243 h 2161222"/>
                <a:gd name="connsiteX1469" fmla="*/ 2255520 w 2443162"/>
                <a:gd name="connsiteY1469" fmla="*/ 782003 h 2161222"/>
                <a:gd name="connsiteX1470" fmla="*/ 2247900 w 2443162"/>
                <a:gd name="connsiteY1470" fmla="*/ 766763 h 2161222"/>
                <a:gd name="connsiteX1471" fmla="*/ 2239328 w 2443162"/>
                <a:gd name="connsiteY1471" fmla="*/ 753428 h 2161222"/>
                <a:gd name="connsiteX1472" fmla="*/ 2230755 w 2443162"/>
                <a:gd name="connsiteY1472" fmla="*/ 740093 h 2161222"/>
                <a:gd name="connsiteX1473" fmla="*/ 2220278 w 2443162"/>
                <a:gd name="connsiteY1473" fmla="*/ 727710 h 2161222"/>
                <a:gd name="connsiteX1474" fmla="*/ 2210753 w 2443162"/>
                <a:gd name="connsiteY1474" fmla="*/ 716280 h 2161222"/>
                <a:gd name="connsiteX1475" fmla="*/ 2200275 w 2443162"/>
                <a:gd name="connsiteY1475" fmla="*/ 704850 h 2161222"/>
                <a:gd name="connsiteX1476" fmla="*/ 2188845 w 2443162"/>
                <a:gd name="connsiteY1476" fmla="*/ 694373 h 2161222"/>
                <a:gd name="connsiteX1477" fmla="*/ 2177415 w 2443162"/>
                <a:gd name="connsiteY1477" fmla="*/ 683895 h 2161222"/>
                <a:gd name="connsiteX1478" fmla="*/ 2165985 w 2443162"/>
                <a:gd name="connsiteY1478" fmla="*/ 673418 h 2161222"/>
                <a:gd name="connsiteX1479" fmla="*/ 2153603 w 2443162"/>
                <a:gd name="connsiteY1479" fmla="*/ 663893 h 2161222"/>
                <a:gd name="connsiteX1480" fmla="*/ 2128838 w 2443162"/>
                <a:gd name="connsiteY1480" fmla="*/ 643890 h 2161222"/>
                <a:gd name="connsiteX1481" fmla="*/ 2103120 w 2443162"/>
                <a:gd name="connsiteY1481" fmla="*/ 624840 h 2161222"/>
                <a:gd name="connsiteX1482" fmla="*/ 2090738 w 2443162"/>
                <a:gd name="connsiteY1482" fmla="*/ 615315 h 2161222"/>
                <a:gd name="connsiteX1483" fmla="*/ 2078355 w 2443162"/>
                <a:gd name="connsiteY1483" fmla="*/ 605790 h 2161222"/>
                <a:gd name="connsiteX1484" fmla="*/ 2065973 w 2443162"/>
                <a:gd name="connsiteY1484" fmla="*/ 595313 h 2161222"/>
                <a:gd name="connsiteX1485" fmla="*/ 2053590 w 2443162"/>
                <a:gd name="connsiteY1485" fmla="*/ 584835 h 2161222"/>
                <a:gd name="connsiteX1486" fmla="*/ 2042160 w 2443162"/>
                <a:gd name="connsiteY1486" fmla="*/ 574358 h 2161222"/>
                <a:gd name="connsiteX1487" fmla="*/ 2030730 w 2443162"/>
                <a:gd name="connsiteY1487" fmla="*/ 563880 h 2161222"/>
                <a:gd name="connsiteX1488" fmla="*/ 2020253 w 2443162"/>
                <a:gd name="connsiteY1488" fmla="*/ 553403 h 2161222"/>
                <a:gd name="connsiteX1489" fmla="*/ 2009775 w 2443162"/>
                <a:gd name="connsiteY1489" fmla="*/ 541973 h 2161222"/>
                <a:gd name="connsiteX1490" fmla="*/ 1999298 w 2443162"/>
                <a:gd name="connsiteY1490" fmla="*/ 529590 h 2161222"/>
                <a:gd name="connsiteX1491" fmla="*/ 1989773 w 2443162"/>
                <a:gd name="connsiteY1491" fmla="*/ 516255 h 2161222"/>
                <a:gd name="connsiteX1492" fmla="*/ 1980248 w 2443162"/>
                <a:gd name="connsiteY1492" fmla="*/ 502920 h 2161222"/>
                <a:gd name="connsiteX1493" fmla="*/ 1971675 w 2443162"/>
                <a:gd name="connsiteY1493" fmla="*/ 488633 h 2161222"/>
                <a:gd name="connsiteX1494" fmla="*/ 1964055 w 2443162"/>
                <a:gd name="connsiteY1494" fmla="*/ 473393 h 2161222"/>
                <a:gd name="connsiteX1495" fmla="*/ 1957388 w 2443162"/>
                <a:gd name="connsiteY1495" fmla="*/ 458153 h 2161222"/>
                <a:gd name="connsiteX1496" fmla="*/ 1950720 w 2443162"/>
                <a:gd name="connsiteY1496" fmla="*/ 441008 h 2161222"/>
                <a:gd name="connsiteX1497" fmla="*/ 1945958 w 2443162"/>
                <a:gd name="connsiteY1497" fmla="*/ 422910 h 2161222"/>
                <a:gd name="connsiteX1498" fmla="*/ 1957388 w 2443162"/>
                <a:gd name="connsiteY1498" fmla="*/ 434340 h 2161222"/>
                <a:gd name="connsiteX1499" fmla="*/ 1969770 w 2443162"/>
                <a:gd name="connsiteY1499" fmla="*/ 444818 h 2161222"/>
                <a:gd name="connsiteX1500" fmla="*/ 1982153 w 2443162"/>
                <a:gd name="connsiteY1500" fmla="*/ 455295 h 2161222"/>
                <a:gd name="connsiteX1501" fmla="*/ 1995488 w 2443162"/>
                <a:gd name="connsiteY1501" fmla="*/ 464820 h 2161222"/>
                <a:gd name="connsiteX1502" fmla="*/ 2008823 w 2443162"/>
                <a:gd name="connsiteY1502" fmla="*/ 474345 h 2161222"/>
                <a:gd name="connsiteX1503" fmla="*/ 2022158 w 2443162"/>
                <a:gd name="connsiteY1503" fmla="*/ 483870 h 2161222"/>
                <a:gd name="connsiteX1504" fmla="*/ 2036445 w 2443162"/>
                <a:gd name="connsiteY1504" fmla="*/ 492443 h 2161222"/>
                <a:gd name="connsiteX1505" fmla="*/ 2050733 w 2443162"/>
                <a:gd name="connsiteY1505" fmla="*/ 501968 h 2161222"/>
                <a:gd name="connsiteX1506" fmla="*/ 2079308 w 2443162"/>
                <a:gd name="connsiteY1506" fmla="*/ 520065 h 2161222"/>
                <a:gd name="connsiteX1507" fmla="*/ 2106930 w 2443162"/>
                <a:gd name="connsiteY1507" fmla="*/ 539115 h 2161222"/>
                <a:gd name="connsiteX1508" fmla="*/ 2121218 w 2443162"/>
                <a:gd name="connsiteY1508" fmla="*/ 549593 h 2161222"/>
                <a:gd name="connsiteX1509" fmla="*/ 2134553 w 2443162"/>
                <a:gd name="connsiteY1509" fmla="*/ 560070 h 2161222"/>
                <a:gd name="connsiteX1510" fmla="*/ 2147888 w 2443162"/>
                <a:gd name="connsiteY1510" fmla="*/ 571500 h 2161222"/>
                <a:gd name="connsiteX1511" fmla="*/ 2161223 w 2443162"/>
                <a:gd name="connsiteY1511" fmla="*/ 582930 h 2161222"/>
                <a:gd name="connsiteX1512" fmla="*/ 2172653 w 2443162"/>
                <a:gd name="connsiteY1512" fmla="*/ 595313 h 2161222"/>
                <a:gd name="connsiteX1513" fmla="*/ 2183130 w 2443162"/>
                <a:gd name="connsiteY1513" fmla="*/ 607695 h 2161222"/>
                <a:gd name="connsiteX1514" fmla="*/ 2192655 w 2443162"/>
                <a:gd name="connsiteY1514" fmla="*/ 620078 h 2161222"/>
                <a:gd name="connsiteX1515" fmla="*/ 2201228 w 2443162"/>
                <a:gd name="connsiteY1515" fmla="*/ 632460 h 2161222"/>
                <a:gd name="connsiteX1516" fmla="*/ 2208848 w 2443162"/>
                <a:gd name="connsiteY1516" fmla="*/ 644843 h 2161222"/>
                <a:gd name="connsiteX1517" fmla="*/ 2216468 w 2443162"/>
                <a:gd name="connsiteY1517" fmla="*/ 658178 h 2161222"/>
                <a:gd name="connsiteX1518" fmla="*/ 2223135 w 2443162"/>
                <a:gd name="connsiteY1518" fmla="*/ 671513 h 2161222"/>
                <a:gd name="connsiteX1519" fmla="*/ 2230755 w 2443162"/>
                <a:gd name="connsiteY1519" fmla="*/ 685800 h 2161222"/>
                <a:gd name="connsiteX1520" fmla="*/ 2225040 w 2443162"/>
                <a:gd name="connsiteY1520" fmla="*/ 664845 h 2161222"/>
                <a:gd name="connsiteX1521" fmla="*/ 2220278 w 2443162"/>
                <a:gd name="connsiteY1521" fmla="*/ 643890 h 2161222"/>
                <a:gd name="connsiteX1522" fmla="*/ 2214563 w 2443162"/>
                <a:gd name="connsiteY1522" fmla="*/ 622935 h 2161222"/>
                <a:gd name="connsiteX1523" fmla="*/ 2209800 w 2443162"/>
                <a:gd name="connsiteY1523" fmla="*/ 600075 h 2161222"/>
                <a:gd name="connsiteX1524" fmla="*/ 2205990 w 2443162"/>
                <a:gd name="connsiteY1524" fmla="*/ 579120 h 2161222"/>
                <a:gd name="connsiteX1525" fmla="*/ 2202180 w 2443162"/>
                <a:gd name="connsiteY1525" fmla="*/ 559118 h 2161222"/>
                <a:gd name="connsiteX1526" fmla="*/ 2201228 w 2443162"/>
                <a:gd name="connsiteY1526" fmla="*/ 549593 h 2161222"/>
                <a:gd name="connsiteX1527" fmla="*/ 2200275 w 2443162"/>
                <a:gd name="connsiteY1527" fmla="*/ 540068 h 2161222"/>
                <a:gd name="connsiteX1528" fmla="*/ 2199323 w 2443162"/>
                <a:gd name="connsiteY1528" fmla="*/ 530543 h 2161222"/>
                <a:gd name="connsiteX1529" fmla="*/ 2199323 w 2443162"/>
                <a:gd name="connsiteY1529" fmla="*/ 521018 h 2161222"/>
                <a:gd name="connsiteX1530" fmla="*/ 2196465 w 2443162"/>
                <a:gd name="connsiteY1530" fmla="*/ 495300 h 2161222"/>
                <a:gd name="connsiteX1531" fmla="*/ 2194560 w 2443162"/>
                <a:gd name="connsiteY1531" fmla="*/ 476250 h 2161222"/>
                <a:gd name="connsiteX1532" fmla="*/ 2192655 w 2443162"/>
                <a:gd name="connsiteY1532" fmla="*/ 461010 h 2161222"/>
                <a:gd name="connsiteX1533" fmla="*/ 2189798 w 2443162"/>
                <a:gd name="connsiteY1533" fmla="*/ 448628 h 2161222"/>
                <a:gd name="connsiteX1534" fmla="*/ 2187893 w 2443162"/>
                <a:gd name="connsiteY1534" fmla="*/ 442913 h 2161222"/>
                <a:gd name="connsiteX1535" fmla="*/ 2185988 w 2443162"/>
                <a:gd name="connsiteY1535" fmla="*/ 437198 h 2161222"/>
                <a:gd name="connsiteX1536" fmla="*/ 2184083 w 2443162"/>
                <a:gd name="connsiteY1536" fmla="*/ 430530 h 2161222"/>
                <a:gd name="connsiteX1537" fmla="*/ 2181225 w 2443162"/>
                <a:gd name="connsiteY1537" fmla="*/ 422910 h 2161222"/>
                <a:gd name="connsiteX1538" fmla="*/ 2174558 w 2443162"/>
                <a:gd name="connsiteY1538" fmla="*/ 404813 h 2161222"/>
                <a:gd name="connsiteX1539" fmla="*/ 2164080 w 2443162"/>
                <a:gd name="connsiteY1539" fmla="*/ 381000 h 2161222"/>
                <a:gd name="connsiteX1540" fmla="*/ 2160270 w 2443162"/>
                <a:gd name="connsiteY1540" fmla="*/ 374333 h 2161222"/>
                <a:gd name="connsiteX1541" fmla="*/ 2154555 w 2443162"/>
                <a:gd name="connsiteY1541" fmla="*/ 364808 h 2161222"/>
                <a:gd name="connsiteX1542" fmla="*/ 2148840 w 2443162"/>
                <a:gd name="connsiteY1542" fmla="*/ 355283 h 2161222"/>
                <a:gd name="connsiteX1543" fmla="*/ 2145030 w 2443162"/>
                <a:gd name="connsiteY1543" fmla="*/ 348615 h 2161222"/>
                <a:gd name="connsiteX1544" fmla="*/ 2152650 w 2443162"/>
                <a:gd name="connsiteY1544" fmla="*/ 354330 h 2161222"/>
                <a:gd name="connsiteX1545" fmla="*/ 2160270 w 2443162"/>
                <a:gd name="connsiteY1545" fmla="*/ 360045 h 2161222"/>
                <a:gd name="connsiteX1546" fmla="*/ 2166938 w 2443162"/>
                <a:gd name="connsiteY1546" fmla="*/ 365760 h 2161222"/>
                <a:gd name="connsiteX1547" fmla="*/ 2173605 w 2443162"/>
                <a:gd name="connsiteY1547" fmla="*/ 371475 h 2161222"/>
                <a:gd name="connsiteX1548" fmla="*/ 2180273 w 2443162"/>
                <a:gd name="connsiteY1548" fmla="*/ 377190 h 2161222"/>
                <a:gd name="connsiteX1549" fmla="*/ 2185988 w 2443162"/>
                <a:gd name="connsiteY1549" fmla="*/ 382905 h 2161222"/>
                <a:gd name="connsiteX1550" fmla="*/ 2191703 w 2443162"/>
                <a:gd name="connsiteY1550" fmla="*/ 388620 h 2161222"/>
                <a:gd name="connsiteX1551" fmla="*/ 2197418 w 2443162"/>
                <a:gd name="connsiteY1551" fmla="*/ 394335 h 2161222"/>
                <a:gd name="connsiteX1552" fmla="*/ 2203133 w 2443162"/>
                <a:gd name="connsiteY1552" fmla="*/ 400050 h 2161222"/>
                <a:gd name="connsiteX1553" fmla="*/ 2207895 w 2443162"/>
                <a:gd name="connsiteY1553" fmla="*/ 406718 h 2161222"/>
                <a:gd name="connsiteX1554" fmla="*/ 2213610 w 2443162"/>
                <a:gd name="connsiteY1554" fmla="*/ 412433 h 2161222"/>
                <a:gd name="connsiteX1555" fmla="*/ 2218373 w 2443162"/>
                <a:gd name="connsiteY1555" fmla="*/ 419100 h 2161222"/>
                <a:gd name="connsiteX1556" fmla="*/ 2223135 w 2443162"/>
                <a:gd name="connsiteY1556" fmla="*/ 425768 h 2161222"/>
                <a:gd name="connsiteX1557" fmla="*/ 2227898 w 2443162"/>
                <a:gd name="connsiteY1557" fmla="*/ 432435 h 2161222"/>
                <a:gd name="connsiteX1558" fmla="*/ 2232660 w 2443162"/>
                <a:gd name="connsiteY1558" fmla="*/ 439103 h 2161222"/>
                <a:gd name="connsiteX1559" fmla="*/ 2236470 w 2443162"/>
                <a:gd name="connsiteY1559" fmla="*/ 445770 h 2161222"/>
                <a:gd name="connsiteX1560" fmla="*/ 2244090 w 2443162"/>
                <a:gd name="connsiteY1560" fmla="*/ 460058 h 2161222"/>
                <a:gd name="connsiteX1561" fmla="*/ 2250758 w 2443162"/>
                <a:gd name="connsiteY1561" fmla="*/ 475298 h 2161222"/>
                <a:gd name="connsiteX1562" fmla="*/ 2257425 w 2443162"/>
                <a:gd name="connsiteY1562" fmla="*/ 490538 h 2161222"/>
                <a:gd name="connsiteX1563" fmla="*/ 2263140 w 2443162"/>
                <a:gd name="connsiteY1563" fmla="*/ 506730 h 2161222"/>
                <a:gd name="connsiteX1564" fmla="*/ 2267903 w 2443162"/>
                <a:gd name="connsiteY1564" fmla="*/ 522923 h 2161222"/>
                <a:gd name="connsiteX1565" fmla="*/ 2272665 w 2443162"/>
                <a:gd name="connsiteY1565" fmla="*/ 540068 h 2161222"/>
                <a:gd name="connsiteX1566" fmla="*/ 2276475 w 2443162"/>
                <a:gd name="connsiteY1566" fmla="*/ 557213 h 2161222"/>
                <a:gd name="connsiteX1567" fmla="*/ 2279333 w 2443162"/>
                <a:gd name="connsiteY1567" fmla="*/ 575310 h 2161222"/>
                <a:gd name="connsiteX1568" fmla="*/ 2281238 w 2443162"/>
                <a:gd name="connsiteY1568" fmla="*/ 590550 h 2161222"/>
                <a:gd name="connsiteX1569" fmla="*/ 2282190 w 2443162"/>
                <a:gd name="connsiteY1569" fmla="*/ 605790 h 2161222"/>
                <a:gd name="connsiteX1570" fmla="*/ 2283143 w 2443162"/>
                <a:gd name="connsiteY1570" fmla="*/ 621030 h 2161222"/>
                <a:gd name="connsiteX1571" fmla="*/ 2283143 w 2443162"/>
                <a:gd name="connsiteY1571" fmla="*/ 635318 h 2161222"/>
                <a:gd name="connsiteX1572" fmla="*/ 2284095 w 2443162"/>
                <a:gd name="connsiteY1572" fmla="*/ 650558 h 2161222"/>
                <a:gd name="connsiteX1573" fmla="*/ 2283143 w 2443162"/>
                <a:gd name="connsiteY1573" fmla="*/ 664845 h 2161222"/>
                <a:gd name="connsiteX1574" fmla="*/ 2283143 w 2443162"/>
                <a:gd name="connsiteY1574" fmla="*/ 679133 h 2161222"/>
                <a:gd name="connsiteX1575" fmla="*/ 2282190 w 2443162"/>
                <a:gd name="connsiteY1575" fmla="*/ 693420 h 2161222"/>
                <a:gd name="connsiteX1576" fmla="*/ 2280285 w 2443162"/>
                <a:gd name="connsiteY1576" fmla="*/ 721995 h 2161222"/>
                <a:gd name="connsiteX1577" fmla="*/ 2277428 w 2443162"/>
                <a:gd name="connsiteY1577" fmla="*/ 751523 h 2161222"/>
                <a:gd name="connsiteX1578" fmla="*/ 2273618 w 2443162"/>
                <a:gd name="connsiteY1578" fmla="*/ 782003 h 2161222"/>
                <a:gd name="connsiteX1579" fmla="*/ 2267903 w 2443162"/>
                <a:gd name="connsiteY1579" fmla="*/ 813435 h 2161222"/>
                <a:gd name="connsiteX1580" fmla="*/ 2267903 w 2443162"/>
                <a:gd name="connsiteY1580" fmla="*/ 813435 h 2161222"/>
                <a:gd name="connsiteX1581" fmla="*/ 422910 w 2443162"/>
                <a:gd name="connsiteY1581" fmla="*/ 1971675 h 2161222"/>
                <a:gd name="connsiteX1582" fmla="*/ 438150 w 2443162"/>
                <a:gd name="connsiteY1582" fmla="*/ 1981200 h 2161222"/>
                <a:gd name="connsiteX1583" fmla="*/ 454343 w 2443162"/>
                <a:gd name="connsiteY1583" fmla="*/ 1987868 h 2161222"/>
                <a:gd name="connsiteX1584" fmla="*/ 471488 w 2443162"/>
                <a:gd name="connsiteY1584" fmla="*/ 1992630 h 2161222"/>
                <a:gd name="connsiteX1585" fmla="*/ 489585 w 2443162"/>
                <a:gd name="connsiteY1585" fmla="*/ 1996440 h 2161222"/>
                <a:gd name="connsiteX1586" fmla="*/ 508635 w 2443162"/>
                <a:gd name="connsiteY1586" fmla="*/ 1998345 h 2161222"/>
                <a:gd name="connsiteX1587" fmla="*/ 528638 w 2443162"/>
                <a:gd name="connsiteY1587" fmla="*/ 1998345 h 2161222"/>
                <a:gd name="connsiteX1588" fmla="*/ 549593 w 2443162"/>
                <a:gd name="connsiteY1588" fmla="*/ 1998345 h 2161222"/>
                <a:gd name="connsiteX1589" fmla="*/ 570548 w 2443162"/>
                <a:gd name="connsiteY1589" fmla="*/ 1996440 h 2161222"/>
                <a:gd name="connsiteX1590" fmla="*/ 592455 w 2443162"/>
                <a:gd name="connsiteY1590" fmla="*/ 1993583 h 2161222"/>
                <a:gd name="connsiteX1591" fmla="*/ 615315 w 2443162"/>
                <a:gd name="connsiteY1591" fmla="*/ 1989773 h 2161222"/>
                <a:gd name="connsiteX1592" fmla="*/ 639128 w 2443162"/>
                <a:gd name="connsiteY1592" fmla="*/ 1985010 h 2161222"/>
                <a:gd name="connsiteX1593" fmla="*/ 663893 w 2443162"/>
                <a:gd name="connsiteY1593" fmla="*/ 1980248 h 2161222"/>
                <a:gd name="connsiteX1594" fmla="*/ 714375 w 2443162"/>
                <a:gd name="connsiteY1594" fmla="*/ 1968818 h 2161222"/>
                <a:gd name="connsiteX1595" fmla="*/ 765810 w 2443162"/>
                <a:gd name="connsiteY1595" fmla="*/ 1957388 h 2161222"/>
                <a:gd name="connsiteX1596" fmla="*/ 792480 w 2443162"/>
                <a:gd name="connsiteY1596" fmla="*/ 1951673 h 2161222"/>
                <a:gd name="connsiteX1597" fmla="*/ 820103 w 2443162"/>
                <a:gd name="connsiteY1597" fmla="*/ 1945958 h 2161222"/>
                <a:gd name="connsiteX1598" fmla="*/ 847725 w 2443162"/>
                <a:gd name="connsiteY1598" fmla="*/ 1941195 h 2161222"/>
                <a:gd name="connsiteX1599" fmla="*/ 875348 w 2443162"/>
                <a:gd name="connsiteY1599" fmla="*/ 1935480 h 2161222"/>
                <a:gd name="connsiteX1600" fmla="*/ 903923 w 2443162"/>
                <a:gd name="connsiteY1600" fmla="*/ 1930718 h 2161222"/>
                <a:gd name="connsiteX1601" fmla="*/ 932498 w 2443162"/>
                <a:gd name="connsiteY1601" fmla="*/ 1926908 h 2161222"/>
                <a:gd name="connsiteX1602" fmla="*/ 961073 w 2443162"/>
                <a:gd name="connsiteY1602" fmla="*/ 1924050 h 2161222"/>
                <a:gd name="connsiteX1603" fmla="*/ 989648 w 2443162"/>
                <a:gd name="connsiteY1603" fmla="*/ 1922145 h 2161222"/>
                <a:gd name="connsiteX1604" fmla="*/ 1018223 w 2443162"/>
                <a:gd name="connsiteY1604" fmla="*/ 1921193 h 2161222"/>
                <a:gd name="connsiteX1605" fmla="*/ 1046798 w 2443162"/>
                <a:gd name="connsiteY1605" fmla="*/ 1922145 h 2161222"/>
                <a:gd name="connsiteX1606" fmla="*/ 1076325 w 2443162"/>
                <a:gd name="connsiteY1606" fmla="*/ 1924050 h 2161222"/>
                <a:gd name="connsiteX1607" fmla="*/ 1104900 w 2443162"/>
                <a:gd name="connsiteY1607" fmla="*/ 1927860 h 2161222"/>
                <a:gd name="connsiteX1608" fmla="*/ 1134428 w 2443162"/>
                <a:gd name="connsiteY1608" fmla="*/ 1932623 h 2161222"/>
                <a:gd name="connsiteX1609" fmla="*/ 1163003 w 2443162"/>
                <a:gd name="connsiteY1609" fmla="*/ 1939290 h 2161222"/>
                <a:gd name="connsiteX1610" fmla="*/ 1192530 w 2443162"/>
                <a:gd name="connsiteY1610" fmla="*/ 1948815 h 2161222"/>
                <a:gd name="connsiteX1611" fmla="*/ 1221105 w 2443162"/>
                <a:gd name="connsiteY1611" fmla="*/ 1959293 h 2161222"/>
                <a:gd name="connsiteX1612" fmla="*/ 1258253 w 2443162"/>
                <a:gd name="connsiteY1612" fmla="*/ 1948815 h 2161222"/>
                <a:gd name="connsiteX1613" fmla="*/ 1293495 w 2443162"/>
                <a:gd name="connsiteY1613" fmla="*/ 1940243 h 2161222"/>
                <a:gd name="connsiteX1614" fmla="*/ 1326833 w 2443162"/>
                <a:gd name="connsiteY1614" fmla="*/ 1933575 h 2161222"/>
                <a:gd name="connsiteX1615" fmla="*/ 1359218 w 2443162"/>
                <a:gd name="connsiteY1615" fmla="*/ 1928813 h 2161222"/>
                <a:gd name="connsiteX1616" fmla="*/ 1390650 w 2443162"/>
                <a:gd name="connsiteY1616" fmla="*/ 1925003 h 2161222"/>
                <a:gd name="connsiteX1617" fmla="*/ 1421130 w 2443162"/>
                <a:gd name="connsiteY1617" fmla="*/ 1923098 h 2161222"/>
                <a:gd name="connsiteX1618" fmla="*/ 1449705 w 2443162"/>
                <a:gd name="connsiteY1618" fmla="*/ 1923098 h 2161222"/>
                <a:gd name="connsiteX1619" fmla="*/ 1478280 w 2443162"/>
                <a:gd name="connsiteY1619" fmla="*/ 1924050 h 2161222"/>
                <a:gd name="connsiteX1620" fmla="*/ 1504950 w 2443162"/>
                <a:gd name="connsiteY1620" fmla="*/ 1925955 h 2161222"/>
                <a:gd name="connsiteX1621" fmla="*/ 1530668 w 2443162"/>
                <a:gd name="connsiteY1621" fmla="*/ 1928813 h 2161222"/>
                <a:gd name="connsiteX1622" fmla="*/ 1556385 w 2443162"/>
                <a:gd name="connsiteY1622" fmla="*/ 1932623 h 2161222"/>
                <a:gd name="connsiteX1623" fmla="*/ 1581150 w 2443162"/>
                <a:gd name="connsiteY1623" fmla="*/ 1937385 h 2161222"/>
                <a:gd name="connsiteX1624" fmla="*/ 1604963 w 2443162"/>
                <a:gd name="connsiteY1624" fmla="*/ 1942148 h 2161222"/>
                <a:gd name="connsiteX1625" fmla="*/ 1627823 w 2443162"/>
                <a:gd name="connsiteY1625" fmla="*/ 1946910 h 2161222"/>
                <a:gd name="connsiteX1626" fmla="*/ 1650683 w 2443162"/>
                <a:gd name="connsiteY1626" fmla="*/ 1952625 h 2161222"/>
                <a:gd name="connsiteX1627" fmla="*/ 1673543 w 2443162"/>
                <a:gd name="connsiteY1627" fmla="*/ 1958340 h 2161222"/>
                <a:gd name="connsiteX1628" fmla="*/ 1717358 w 2443162"/>
                <a:gd name="connsiteY1628" fmla="*/ 1969770 h 2161222"/>
                <a:gd name="connsiteX1629" fmla="*/ 1759268 w 2443162"/>
                <a:gd name="connsiteY1629" fmla="*/ 1980248 h 2161222"/>
                <a:gd name="connsiteX1630" fmla="*/ 1780223 w 2443162"/>
                <a:gd name="connsiteY1630" fmla="*/ 1985010 h 2161222"/>
                <a:gd name="connsiteX1631" fmla="*/ 1801178 w 2443162"/>
                <a:gd name="connsiteY1631" fmla="*/ 1989773 h 2161222"/>
                <a:gd name="connsiteX1632" fmla="*/ 1822133 w 2443162"/>
                <a:gd name="connsiteY1632" fmla="*/ 1993583 h 2161222"/>
                <a:gd name="connsiteX1633" fmla="*/ 1843088 w 2443162"/>
                <a:gd name="connsiteY1633" fmla="*/ 1996440 h 2161222"/>
                <a:gd name="connsiteX1634" fmla="*/ 1864043 w 2443162"/>
                <a:gd name="connsiteY1634" fmla="*/ 1998345 h 2161222"/>
                <a:gd name="connsiteX1635" fmla="*/ 1884998 w 2443162"/>
                <a:gd name="connsiteY1635" fmla="*/ 1998345 h 2161222"/>
                <a:gd name="connsiteX1636" fmla="*/ 1906905 w 2443162"/>
                <a:gd name="connsiteY1636" fmla="*/ 1998345 h 2161222"/>
                <a:gd name="connsiteX1637" fmla="*/ 1928813 w 2443162"/>
                <a:gd name="connsiteY1637" fmla="*/ 1996440 h 2161222"/>
                <a:gd name="connsiteX1638" fmla="*/ 1951673 w 2443162"/>
                <a:gd name="connsiteY1638" fmla="*/ 1993583 h 2161222"/>
                <a:gd name="connsiteX1639" fmla="*/ 1974533 w 2443162"/>
                <a:gd name="connsiteY1639" fmla="*/ 1987868 h 2161222"/>
                <a:gd name="connsiteX1640" fmla="*/ 1998345 w 2443162"/>
                <a:gd name="connsiteY1640" fmla="*/ 1981200 h 2161222"/>
                <a:gd name="connsiteX1641" fmla="*/ 2023110 w 2443162"/>
                <a:gd name="connsiteY1641" fmla="*/ 1972628 h 2161222"/>
                <a:gd name="connsiteX1642" fmla="*/ 2001203 w 2443162"/>
                <a:gd name="connsiteY1642" fmla="*/ 1992630 h 2161222"/>
                <a:gd name="connsiteX1643" fmla="*/ 1978343 w 2443162"/>
                <a:gd name="connsiteY1643" fmla="*/ 2009775 h 2161222"/>
                <a:gd name="connsiteX1644" fmla="*/ 1955483 w 2443162"/>
                <a:gd name="connsiteY1644" fmla="*/ 2025015 h 2161222"/>
                <a:gd name="connsiteX1645" fmla="*/ 1931670 w 2443162"/>
                <a:gd name="connsiteY1645" fmla="*/ 2038350 h 2161222"/>
                <a:gd name="connsiteX1646" fmla="*/ 1907858 w 2443162"/>
                <a:gd name="connsiteY1646" fmla="*/ 2048828 h 2161222"/>
                <a:gd name="connsiteX1647" fmla="*/ 1883093 w 2443162"/>
                <a:gd name="connsiteY1647" fmla="*/ 2057400 h 2161222"/>
                <a:gd name="connsiteX1648" fmla="*/ 1857375 w 2443162"/>
                <a:gd name="connsiteY1648" fmla="*/ 2064068 h 2161222"/>
                <a:gd name="connsiteX1649" fmla="*/ 1831658 w 2443162"/>
                <a:gd name="connsiteY1649" fmla="*/ 2069783 h 2161222"/>
                <a:gd name="connsiteX1650" fmla="*/ 1805940 w 2443162"/>
                <a:gd name="connsiteY1650" fmla="*/ 2073593 h 2161222"/>
                <a:gd name="connsiteX1651" fmla="*/ 1779270 w 2443162"/>
                <a:gd name="connsiteY1651" fmla="*/ 2075498 h 2161222"/>
                <a:gd name="connsiteX1652" fmla="*/ 1752600 w 2443162"/>
                <a:gd name="connsiteY1652" fmla="*/ 2076450 h 2161222"/>
                <a:gd name="connsiteX1653" fmla="*/ 1726883 w 2443162"/>
                <a:gd name="connsiteY1653" fmla="*/ 2076450 h 2161222"/>
                <a:gd name="connsiteX1654" fmla="*/ 1701165 w 2443162"/>
                <a:gd name="connsiteY1654" fmla="*/ 2074545 h 2161222"/>
                <a:gd name="connsiteX1655" fmla="*/ 1674495 w 2443162"/>
                <a:gd name="connsiteY1655" fmla="*/ 2071688 h 2161222"/>
                <a:gd name="connsiteX1656" fmla="*/ 1648778 w 2443162"/>
                <a:gd name="connsiteY1656" fmla="*/ 2068830 h 2161222"/>
                <a:gd name="connsiteX1657" fmla="*/ 1623060 w 2443162"/>
                <a:gd name="connsiteY1657" fmla="*/ 2064068 h 2161222"/>
                <a:gd name="connsiteX1658" fmla="*/ 1597343 w 2443162"/>
                <a:gd name="connsiteY1658" fmla="*/ 2059305 h 2161222"/>
                <a:gd name="connsiteX1659" fmla="*/ 1571625 w 2443162"/>
                <a:gd name="connsiteY1659" fmla="*/ 2053590 h 2161222"/>
                <a:gd name="connsiteX1660" fmla="*/ 1546860 w 2443162"/>
                <a:gd name="connsiteY1660" fmla="*/ 2047875 h 2161222"/>
                <a:gd name="connsiteX1661" fmla="*/ 1522095 w 2443162"/>
                <a:gd name="connsiteY1661" fmla="*/ 2042160 h 2161222"/>
                <a:gd name="connsiteX1662" fmla="*/ 1474470 w 2443162"/>
                <a:gd name="connsiteY1662" fmla="*/ 2029778 h 2161222"/>
                <a:gd name="connsiteX1663" fmla="*/ 1428750 w 2443162"/>
                <a:gd name="connsiteY1663" fmla="*/ 2018348 h 2161222"/>
                <a:gd name="connsiteX1664" fmla="*/ 1406843 w 2443162"/>
                <a:gd name="connsiteY1664" fmla="*/ 2012633 h 2161222"/>
                <a:gd name="connsiteX1665" fmla="*/ 1385888 w 2443162"/>
                <a:gd name="connsiteY1665" fmla="*/ 2006918 h 2161222"/>
                <a:gd name="connsiteX1666" fmla="*/ 1365885 w 2443162"/>
                <a:gd name="connsiteY1666" fmla="*/ 2002155 h 2161222"/>
                <a:gd name="connsiteX1667" fmla="*/ 1346835 w 2443162"/>
                <a:gd name="connsiteY1667" fmla="*/ 1997393 h 2161222"/>
                <a:gd name="connsiteX1668" fmla="*/ 1328738 w 2443162"/>
                <a:gd name="connsiteY1668" fmla="*/ 1994535 h 2161222"/>
                <a:gd name="connsiteX1669" fmla="*/ 1311593 w 2443162"/>
                <a:gd name="connsiteY1669" fmla="*/ 1991678 h 2161222"/>
                <a:gd name="connsiteX1670" fmla="*/ 1295400 w 2443162"/>
                <a:gd name="connsiteY1670" fmla="*/ 1990725 h 2161222"/>
                <a:gd name="connsiteX1671" fmla="*/ 1280160 w 2443162"/>
                <a:gd name="connsiteY1671" fmla="*/ 1990725 h 2161222"/>
                <a:gd name="connsiteX1672" fmla="*/ 1298258 w 2443162"/>
                <a:gd name="connsiteY1672" fmla="*/ 2000250 h 2161222"/>
                <a:gd name="connsiteX1673" fmla="*/ 1315403 w 2443162"/>
                <a:gd name="connsiteY1673" fmla="*/ 2009775 h 2161222"/>
                <a:gd name="connsiteX1674" fmla="*/ 1330643 w 2443162"/>
                <a:gd name="connsiteY1674" fmla="*/ 2019300 h 2161222"/>
                <a:gd name="connsiteX1675" fmla="*/ 1345883 w 2443162"/>
                <a:gd name="connsiteY1675" fmla="*/ 2028825 h 2161222"/>
                <a:gd name="connsiteX1676" fmla="*/ 1361123 w 2443162"/>
                <a:gd name="connsiteY1676" fmla="*/ 2039303 h 2161222"/>
                <a:gd name="connsiteX1677" fmla="*/ 1375410 w 2443162"/>
                <a:gd name="connsiteY1677" fmla="*/ 2048828 h 2161222"/>
                <a:gd name="connsiteX1678" fmla="*/ 1388745 w 2443162"/>
                <a:gd name="connsiteY1678" fmla="*/ 2059305 h 2161222"/>
                <a:gd name="connsiteX1679" fmla="*/ 1402080 w 2443162"/>
                <a:gd name="connsiteY1679" fmla="*/ 2069783 h 2161222"/>
                <a:gd name="connsiteX1680" fmla="*/ 1414463 w 2443162"/>
                <a:gd name="connsiteY1680" fmla="*/ 2080260 h 2161222"/>
                <a:gd name="connsiteX1681" fmla="*/ 1425893 w 2443162"/>
                <a:gd name="connsiteY1681" fmla="*/ 2090738 h 2161222"/>
                <a:gd name="connsiteX1682" fmla="*/ 1437323 w 2443162"/>
                <a:gd name="connsiteY1682" fmla="*/ 2101215 h 2161222"/>
                <a:gd name="connsiteX1683" fmla="*/ 1447800 w 2443162"/>
                <a:gd name="connsiteY1683" fmla="*/ 2111693 h 2161222"/>
                <a:gd name="connsiteX1684" fmla="*/ 1458278 w 2443162"/>
                <a:gd name="connsiteY1684" fmla="*/ 2122170 h 2161222"/>
                <a:gd name="connsiteX1685" fmla="*/ 1468755 w 2443162"/>
                <a:gd name="connsiteY1685" fmla="*/ 2132648 h 2161222"/>
                <a:gd name="connsiteX1686" fmla="*/ 1478280 w 2443162"/>
                <a:gd name="connsiteY1686" fmla="*/ 2143125 h 2161222"/>
                <a:gd name="connsiteX1687" fmla="*/ 1487805 w 2443162"/>
                <a:gd name="connsiteY1687" fmla="*/ 2153603 h 2161222"/>
                <a:gd name="connsiteX1688" fmla="*/ 1472565 w 2443162"/>
                <a:gd name="connsiteY1688" fmla="*/ 2155508 h 2161222"/>
                <a:gd name="connsiteX1689" fmla="*/ 1458278 w 2443162"/>
                <a:gd name="connsiteY1689" fmla="*/ 2157413 h 2161222"/>
                <a:gd name="connsiteX1690" fmla="*/ 1443990 w 2443162"/>
                <a:gd name="connsiteY1690" fmla="*/ 2159318 h 2161222"/>
                <a:gd name="connsiteX1691" fmla="*/ 1428750 w 2443162"/>
                <a:gd name="connsiteY1691" fmla="*/ 2161223 h 2161222"/>
                <a:gd name="connsiteX1692" fmla="*/ 1421130 w 2443162"/>
                <a:gd name="connsiteY1692" fmla="*/ 2149793 h 2161222"/>
                <a:gd name="connsiteX1693" fmla="*/ 1413510 w 2443162"/>
                <a:gd name="connsiteY1693" fmla="*/ 2138363 h 2161222"/>
                <a:gd name="connsiteX1694" fmla="*/ 1403985 w 2443162"/>
                <a:gd name="connsiteY1694" fmla="*/ 2127885 h 2161222"/>
                <a:gd name="connsiteX1695" fmla="*/ 1394460 w 2443162"/>
                <a:gd name="connsiteY1695" fmla="*/ 2117408 h 2161222"/>
                <a:gd name="connsiteX1696" fmla="*/ 1383983 w 2443162"/>
                <a:gd name="connsiteY1696" fmla="*/ 2106930 h 2161222"/>
                <a:gd name="connsiteX1697" fmla="*/ 1372553 w 2443162"/>
                <a:gd name="connsiteY1697" fmla="*/ 2096453 h 2161222"/>
                <a:gd name="connsiteX1698" fmla="*/ 1360170 w 2443162"/>
                <a:gd name="connsiteY1698" fmla="*/ 2085975 h 2161222"/>
                <a:gd name="connsiteX1699" fmla="*/ 1346835 w 2443162"/>
                <a:gd name="connsiteY1699" fmla="*/ 2075498 h 2161222"/>
                <a:gd name="connsiteX1700" fmla="*/ 1333500 w 2443162"/>
                <a:gd name="connsiteY1700" fmla="*/ 2065020 h 2161222"/>
                <a:gd name="connsiteX1701" fmla="*/ 1319213 w 2443162"/>
                <a:gd name="connsiteY1701" fmla="*/ 2054543 h 2161222"/>
                <a:gd name="connsiteX1702" fmla="*/ 1303973 w 2443162"/>
                <a:gd name="connsiteY1702" fmla="*/ 2044065 h 2161222"/>
                <a:gd name="connsiteX1703" fmla="*/ 1288733 w 2443162"/>
                <a:gd name="connsiteY1703" fmla="*/ 2034540 h 2161222"/>
                <a:gd name="connsiteX1704" fmla="*/ 1272540 w 2443162"/>
                <a:gd name="connsiteY1704" fmla="*/ 2025015 h 2161222"/>
                <a:gd name="connsiteX1705" fmla="*/ 1255395 w 2443162"/>
                <a:gd name="connsiteY1705" fmla="*/ 2015490 h 2161222"/>
                <a:gd name="connsiteX1706" fmla="*/ 1237298 w 2443162"/>
                <a:gd name="connsiteY1706" fmla="*/ 2005965 h 2161222"/>
                <a:gd name="connsiteX1707" fmla="*/ 1218248 w 2443162"/>
                <a:gd name="connsiteY1707" fmla="*/ 1996440 h 2161222"/>
                <a:gd name="connsiteX1708" fmla="*/ 1202055 w 2443162"/>
                <a:gd name="connsiteY1708" fmla="*/ 2002155 h 2161222"/>
                <a:gd name="connsiteX1709" fmla="*/ 1186815 w 2443162"/>
                <a:gd name="connsiteY1709" fmla="*/ 2007870 h 2161222"/>
                <a:gd name="connsiteX1710" fmla="*/ 1171575 w 2443162"/>
                <a:gd name="connsiteY1710" fmla="*/ 2014538 h 2161222"/>
                <a:gd name="connsiteX1711" fmla="*/ 1156335 w 2443162"/>
                <a:gd name="connsiteY1711" fmla="*/ 2021205 h 2161222"/>
                <a:gd name="connsiteX1712" fmla="*/ 1141095 w 2443162"/>
                <a:gd name="connsiteY1712" fmla="*/ 2028825 h 2161222"/>
                <a:gd name="connsiteX1713" fmla="*/ 1126808 w 2443162"/>
                <a:gd name="connsiteY1713" fmla="*/ 2037398 h 2161222"/>
                <a:gd name="connsiteX1714" fmla="*/ 1112520 w 2443162"/>
                <a:gd name="connsiteY1714" fmla="*/ 2045970 h 2161222"/>
                <a:gd name="connsiteX1715" fmla="*/ 1098233 w 2443162"/>
                <a:gd name="connsiteY1715" fmla="*/ 2056448 h 2161222"/>
                <a:gd name="connsiteX1716" fmla="*/ 1084898 w 2443162"/>
                <a:gd name="connsiteY1716" fmla="*/ 2066925 h 2161222"/>
                <a:gd name="connsiteX1717" fmla="*/ 1071563 w 2443162"/>
                <a:gd name="connsiteY1717" fmla="*/ 2078355 h 2161222"/>
                <a:gd name="connsiteX1718" fmla="*/ 1059180 w 2443162"/>
                <a:gd name="connsiteY1718" fmla="*/ 2089785 h 2161222"/>
                <a:gd name="connsiteX1719" fmla="*/ 1046798 w 2443162"/>
                <a:gd name="connsiteY1719" fmla="*/ 2102168 h 2161222"/>
                <a:gd name="connsiteX1720" fmla="*/ 1035368 w 2443162"/>
                <a:gd name="connsiteY1720" fmla="*/ 2115503 h 2161222"/>
                <a:gd name="connsiteX1721" fmla="*/ 1023938 w 2443162"/>
                <a:gd name="connsiteY1721" fmla="*/ 2129790 h 2161222"/>
                <a:gd name="connsiteX1722" fmla="*/ 1012508 w 2443162"/>
                <a:gd name="connsiteY1722" fmla="*/ 2145030 h 2161222"/>
                <a:gd name="connsiteX1723" fmla="*/ 1002030 w 2443162"/>
                <a:gd name="connsiteY1723" fmla="*/ 2160270 h 2161222"/>
                <a:gd name="connsiteX1724" fmla="*/ 987743 w 2443162"/>
                <a:gd name="connsiteY1724" fmla="*/ 2158365 h 2161222"/>
                <a:gd name="connsiteX1725" fmla="*/ 972503 w 2443162"/>
                <a:gd name="connsiteY1725" fmla="*/ 2156460 h 2161222"/>
                <a:gd name="connsiteX1726" fmla="*/ 958215 w 2443162"/>
                <a:gd name="connsiteY1726" fmla="*/ 2154555 h 2161222"/>
                <a:gd name="connsiteX1727" fmla="*/ 943928 w 2443162"/>
                <a:gd name="connsiteY1727" fmla="*/ 2152650 h 2161222"/>
                <a:gd name="connsiteX1728" fmla="*/ 954405 w 2443162"/>
                <a:gd name="connsiteY1728" fmla="*/ 2142173 h 2161222"/>
                <a:gd name="connsiteX1729" fmla="*/ 964883 w 2443162"/>
                <a:gd name="connsiteY1729" fmla="*/ 2131695 h 2161222"/>
                <a:gd name="connsiteX1730" fmla="*/ 975360 w 2443162"/>
                <a:gd name="connsiteY1730" fmla="*/ 2121218 h 2161222"/>
                <a:gd name="connsiteX1731" fmla="*/ 985838 w 2443162"/>
                <a:gd name="connsiteY1731" fmla="*/ 2110740 h 2161222"/>
                <a:gd name="connsiteX1732" fmla="*/ 997268 w 2443162"/>
                <a:gd name="connsiteY1732" fmla="*/ 2100263 h 2161222"/>
                <a:gd name="connsiteX1733" fmla="*/ 1008698 w 2443162"/>
                <a:gd name="connsiteY1733" fmla="*/ 2089785 h 2161222"/>
                <a:gd name="connsiteX1734" fmla="*/ 1021080 w 2443162"/>
                <a:gd name="connsiteY1734" fmla="*/ 2079308 h 2161222"/>
                <a:gd name="connsiteX1735" fmla="*/ 1033463 w 2443162"/>
                <a:gd name="connsiteY1735" fmla="*/ 2068830 h 2161222"/>
                <a:gd name="connsiteX1736" fmla="*/ 1045845 w 2443162"/>
                <a:gd name="connsiteY1736" fmla="*/ 2058353 h 2161222"/>
                <a:gd name="connsiteX1737" fmla="*/ 1059180 w 2443162"/>
                <a:gd name="connsiteY1737" fmla="*/ 2047875 h 2161222"/>
                <a:gd name="connsiteX1738" fmla="*/ 1073468 w 2443162"/>
                <a:gd name="connsiteY1738" fmla="*/ 2037398 h 2161222"/>
                <a:gd name="connsiteX1739" fmla="*/ 1087755 w 2443162"/>
                <a:gd name="connsiteY1739" fmla="*/ 2027873 h 2161222"/>
                <a:gd name="connsiteX1740" fmla="*/ 1102995 w 2443162"/>
                <a:gd name="connsiteY1740" fmla="*/ 2018348 h 2161222"/>
                <a:gd name="connsiteX1741" fmla="*/ 1119188 w 2443162"/>
                <a:gd name="connsiteY1741" fmla="*/ 2008823 h 2161222"/>
                <a:gd name="connsiteX1742" fmla="*/ 1135380 w 2443162"/>
                <a:gd name="connsiteY1742" fmla="*/ 2000250 h 2161222"/>
                <a:gd name="connsiteX1743" fmla="*/ 1152525 w 2443162"/>
                <a:gd name="connsiteY1743" fmla="*/ 1990725 h 2161222"/>
                <a:gd name="connsiteX1744" fmla="*/ 1141095 w 2443162"/>
                <a:gd name="connsiteY1744" fmla="*/ 1989773 h 2161222"/>
                <a:gd name="connsiteX1745" fmla="*/ 1127760 w 2443162"/>
                <a:gd name="connsiteY1745" fmla="*/ 1989773 h 2161222"/>
                <a:gd name="connsiteX1746" fmla="*/ 1113473 w 2443162"/>
                <a:gd name="connsiteY1746" fmla="*/ 1991678 h 2161222"/>
                <a:gd name="connsiteX1747" fmla="*/ 1098233 w 2443162"/>
                <a:gd name="connsiteY1747" fmla="*/ 1993583 h 2161222"/>
                <a:gd name="connsiteX1748" fmla="*/ 1081088 w 2443162"/>
                <a:gd name="connsiteY1748" fmla="*/ 1997393 h 2161222"/>
                <a:gd name="connsiteX1749" fmla="*/ 1062990 w 2443162"/>
                <a:gd name="connsiteY1749" fmla="*/ 2002155 h 2161222"/>
                <a:gd name="connsiteX1750" fmla="*/ 1043940 w 2443162"/>
                <a:gd name="connsiteY1750" fmla="*/ 2006918 h 2161222"/>
                <a:gd name="connsiteX1751" fmla="*/ 1022985 w 2443162"/>
                <a:gd name="connsiteY1751" fmla="*/ 2011680 h 2161222"/>
                <a:gd name="connsiteX1752" fmla="*/ 979170 w 2443162"/>
                <a:gd name="connsiteY1752" fmla="*/ 2023110 h 2161222"/>
                <a:gd name="connsiteX1753" fmla="*/ 932498 w 2443162"/>
                <a:gd name="connsiteY1753" fmla="*/ 2035493 h 2161222"/>
                <a:gd name="connsiteX1754" fmla="*/ 907733 w 2443162"/>
                <a:gd name="connsiteY1754" fmla="*/ 2041208 h 2161222"/>
                <a:gd name="connsiteX1755" fmla="*/ 882968 w 2443162"/>
                <a:gd name="connsiteY1755" fmla="*/ 2046923 h 2161222"/>
                <a:gd name="connsiteX1756" fmla="*/ 857250 w 2443162"/>
                <a:gd name="connsiteY1756" fmla="*/ 2052638 h 2161222"/>
                <a:gd name="connsiteX1757" fmla="*/ 831533 w 2443162"/>
                <a:gd name="connsiteY1757" fmla="*/ 2057400 h 2161222"/>
                <a:gd name="connsiteX1758" fmla="*/ 805815 w 2443162"/>
                <a:gd name="connsiteY1758" fmla="*/ 2062163 h 2161222"/>
                <a:gd name="connsiteX1759" fmla="*/ 779145 w 2443162"/>
                <a:gd name="connsiteY1759" fmla="*/ 2065973 h 2161222"/>
                <a:gd name="connsiteX1760" fmla="*/ 752475 w 2443162"/>
                <a:gd name="connsiteY1760" fmla="*/ 2068830 h 2161222"/>
                <a:gd name="connsiteX1761" fmla="*/ 725805 w 2443162"/>
                <a:gd name="connsiteY1761" fmla="*/ 2070735 h 2161222"/>
                <a:gd name="connsiteX1762" fmla="*/ 699135 w 2443162"/>
                <a:gd name="connsiteY1762" fmla="*/ 2071688 h 2161222"/>
                <a:gd name="connsiteX1763" fmla="*/ 672465 w 2443162"/>
                <a:gd name="connsiteY1763" fmla="*/ 2071688 h 2161222"/>
                <a:gd name="connsiteX1764" fmla="*/ 645795 w 2443162"/>
                <a:gd name="connsiteY1764" fmla="*/ 2069783 h 2161222"/>
                <a:gd name="connsiteX1765" fmla="*/ 619125 w 2443162"/>
                <a:gd name="connsiteY1765" fmla="*/ 2065973 h 2161222"/>
                <a:gd name="connsiteX1766" fmla="*/ 593408 w 2443162"/>
                <a:gd name="connsiteY1766" fmla="*/ 2061210 h 2161222"/>
                <a:gd name="connsiteX1767" fmla="*/ 567690 w 2443162"/>
                <a:gd name="connsiteY1767" fmla="*/ 2054543 h 2161222"/>
                <a:gd name="connsiteX1768" fmla="*/ 541973 w 2443162"/>
                <a:gd name="connsiteY1768" fmla="*/ 2045970 h 2161222"/>
                <a:gd name="connsiteX1769" fmla="*/ 516255 w 2443162"/>
                <a:gd name="connsiteY1769" fmla="*/ 2035493 h 2161222"/>
                <a:gd name="connsiteX1770" fmla="*/ 491490 w 2443162"/>
                <a:gd name="connsiteY1770" fmla="*/ 2023110 h 2161222"/>
                <a:gd name="connsiteX1771" fmla="*/ 467678 w 2443162"/>
                <a:gd name="connsiteY1771" fmla="*/ 2007870 h 2161222"/>
                <a:gd name="connsiteX1772" fmla="*/ 443865 w 2443162"/>
                <a:gd name="connsiteY1772" fmla="*/ 1990725 h 2161222"/>
                <a:gd name="connsiteX1773" fmla="*/ 422910 w 2443162"/>
                <a:gd name="connsiteY1773" fmla="*/ 1971675 h 2161222"/>
                <a:gd name="connsiteX1774" fmla="*/ 422910 w 2443162"/>
                <a:gd name="connsiteY1774" fmla="*/ 1971675 h 2161222"/>
                <a:gd name="connsiteX1775" fmla="*/ 1270635 w 2443162"/>
                <a:gd name="connsiteY1775" fmla="*/ 1442085 h 2161222"/>
                <a:gd name="connsiteX1776" fmla="*/ 1270635 w 2443162"/>
                <a:gd name="connsiteY1776" fmla="*/ 1456373 h 2161222"/>
                <a:gd name="connsiteX1777" fmla="*/ 1272540 w 2443162"/>
                <a:gd name="connsiteY1777" fmla="*/ 1469708 h 2161222"/>
                <a:gd name="connsiteX1778" fmla="*/ 1272540 w 2443162"/>
                <a:gd name="connsiteY1778" fmla="*/ 1483043 h 2161222"/>
                <a:gd name="connsiteX1779" fmla="*/ 1272540 w 2443162"/>
                <a:gd name="connsiteY1779" fmla="*/ 1496378 h 2161222"/>
                <a:gd name="connsiteX1780" fmla="*/ 1285875 w 2443162"/>
                <a:gd name="connsiteY1780" fmla="*/ 1504950 h 2161222"/>
                <a:gd name="connsiteX1781" fmla="*/ 1300163 w 2443162"/>
                <a:gd name="connsiteY1781" fmla="*/ 1513523 h 2161222"/>
                <a:gd name="connsiteX1782" fmla="*/ 1306830 w 2443162"/>
                <a:gd name="connsiteY1782" fmla="*/ 1518285 h 2161222"/>
                <a:gd name="connsiteX1783" fmla="*/ 1313498 w 2443162"/>
                <a:gd name="connsiteY1783" fmla="*/ 1523048 h 2161222"/>
                <a:gd name="connsiteX1784" fmla="*/ 1320165 w 2443162"/>
                <a:gd name="connsiteY1784" fmla="*/ 1528763 h 2161222"/>
                <a:gd name="connsiteX1785" fmla="*/ 1326833 w 2443162"/>
                <a:gd name="connsiteY1785" fmla="*/ 1534478 h 2161222"/>
                <a:gd name="connsiteX1786" fmla="*/ 1333500 w 2443162"/>
                <a:gd name="connsiteY1786" fmla="*/ 1541145 h 2161222"/>
                <a:gd name="connsiteX1787" fmla="*/ 1340168 w 2443162"/>
                <a:gd name="connsiteY1787" fmla="*/ 1548765 h 2161222"/>
                <a:gd name="connsiteX1788" fmla="*/ 1345883 w 2443162"/>
                <a:gd name="connsiteY1788" fmla="*/ 1556385 h 2161222"/>
                <a:gd name="connsiteX1789" fmla="*/ 1351598 w 2443162"/>
                <a:gd name="connsiteY1789" fmla="*/ 1564958 h 2161222"/>
                <a:gd name="connsiteX1790" fmla="*/ 1357313 w 2443162"/>
                <a:gd name="connsiteY1790" fmla="*/ 1574483 h 2161222"/>
                <a:gd name="connsiteX1791" fmla="*/ 1362075 w 2443162"/>
                <a:gd name="connsiteY1791" fmla="*/ 1584008 h 2161222"/>
                <a:gd name="connsiteX1792" fmla="*/ 1366838 w 2443162"/>
                <a:gd name="connsiteY1792" fmla="*/ 1594485 h 2161222"/>
                <a:gd name="connsiteX1793" fmla="*/ 1370648 w 2443162"/>
                <a:gd name="connsiteY1793" fmla="*/ 1605915 h 2161222"/>
                <a:gd name="connsiteX1794" fmla="*/ 1370648 w 2443162"/>
                <a:gd name="connsiteY1794" fmla="*/ 1597343 h 2161222"/>
                <a:gd name="connsiteX1795" fmla="*/ 1370648 w 2443162"/>
                <a:gd name="connsiteY1795" fmla="*/ 1589723 h 2161222"/>
                <a:gd name="connsiteX1796" fmla="*/ 1370648 w 2443162"/>
                <a:gd name="connsiteY1796" fmla="*/ 1583055 h 2161222"/>
                <a:gd name="connsiteX1797" fmla="*/ 1370648 w 2443162"/>
                <a:gd name="connsiteY1797" fmla="*/ 1575435 h 2161222"/>
                <a:gd name="connsiteX1798" fmla="*/ 1369695 w 2443162"/>
                <a:gd name="connsiteY1798" fmla="*/ 1568768 h 2161222"/>
                <a:gd name="connsiteX1799" fmla="*/ 1368743 w 2443162"/>
                <a:gd name="connsiteY1799" fmla="*/ 1562100 h 2161222"/>
                <a:gd name="connsiteX1800" fmla="*/ 1367790 w 2443162"/>
                <a:gd name="connsiteY1800" fmla="*/ 1555433 h 2161222"/>
                <a:gd name="connsiteX1801" fmla="*/ 1366838 w 2443162"/>
                <a:gd name="connsiteY1801" fmla="*/ 1548765 h 2161222"/>
                <a:gd name="connsiteX1802" fmla="*/ 1364933 w 2443162"/>
                <a:gd name="connsiteY1802" fmla="*/ 1542098 h 2161222"/>
                <a:gd name="connsiteX1803" fmla="*/ 1363028 w 2443162"/>
                <a:gd name="connsiteY1803" fmla="*/ 1536383 h 2161222"/>
                <a:gd name="connsiteX1804" fmla="*/ 1361123 w 2443162"/>
                <a:gd name="connsiteY1804" fmla="*/ 1530668 h 2161222"/>
                <a:gd name="connsiteX1805" fmla="*/ 1358265 w 2443162"/>
                <a:gd name="connsiteY1805" fmla="*/ 1524953 h 2161222"/>
                <a:gd name="connsiteX1806" fmla="*/ 1355408 w 2443162"/>
                <a:gd name="connsiteY1806" fmla="*/ 1519238 h 2161222"/>
                <a:gd name="connsiteX1807" fmla="*/ 1352550 w 2443162"/>
                <a:gd name="connsiteY1807" fmla="*/ 1513523 h 2161222"/>
                <a:gd name="connsiteX1808" fmla="*/ 1349693 w 2443162"/>
                <a:gd name="connsiteY1808" fmla="*/ 1507808 h 2161222"/>
                <a:gd name="connsiteX1809" fmla="*/ 1346835 w 2443162"/>
                <a:gd name="connsiteY1809" fmla="*/ 1502093 h 2161222"/>
                <a:gd name="connsiteX1810" fmla="*/ 1343025 w 2443162"/>
                <a:gd name="connsiteY1810" fmla="*/ 1497330 h 2161222"/>
                <a:gd name="connsiteX1811" fmla="*/ 1339215 w 2443162"/>
                <a:gd name="connsiteY1811" fmla="*/ 1492568 h 2161222"/>
                <a:gd name="connsiteX1812" fmla="*/ 1335405 w 2443162"/>
                <a:gd name="connsiteY1812" fmla="*/ 1487805 h 2161222"/>
                <a:gd name="connsiteX1813" fmla="*/ 1331595 w 2443162"/>
                <a:gd name="connsiteY1813" fmla="*/ 1483043 h 2161222"/>
                <a:gd name="connsiteX1814" fmla="*/ 1326833 w 2443162"/>
                <a:gd name="connsiteY1814" fmla="*/ 1478280 h 2161222"/>
                <a:gd name="connsiteX1815" fmla="*/ 1323975 w 2443162"/>
                <a:gd name="connsiteY1815" fmla="*/ 1476375 h 2161222"/>
                <a:gd name="connsiteX1816" fmla="*/ 1319213 w 2443162"/>
                <a:gd name="connsiteY1816" fmla="*/ 1471613 h 2161222"/>
                <a:gd name="connsiteX1817" fmla="*/ 1314450 w 2443162"/>
                <a:gd name="connsiteY1817" fmla="*/ 1467803 h 2161222"/>
                <a:gd name="connsiteX1818" fmla="*/ 1303973 w 2443162"/>
                <a:gd name="connsiteY1818" fmla="*/ 1460183 h 2161222"/>
                <a:gd name="connsiteX1819" fmla="*/ 1292543 w 2443162"/>
                <a:gd name="connsiteY1819" fmla="*/ 1453515 h 2161222"/>
                <a:gd name="connsiteX1820" fmla="*/ 1281113 w 2443162"/>
                <a:gd name="connsiteY1820" fmla="*/ 1447800 h 2161222"/>
                <a:gd name="connsiteX1821" fmla="*/ 1270635 w 2443162"/>
                <a:gd name="connsiteY1821" fmla="*/ 1442085 h 2161222"/>
                <a:gd name="connsiteX1822" fmla="*/ 1270635 w 2443162"/>
                <a:gd name="connsiteY1822" fmla="*/ 1442085 h 2161222"/>
                <a:gd name="connsiteX1823" fmla="*/ 1282065 w 2443162"/>
                <a:gd name="connsiteY1823" fmla="*/ 1024890 h 2161222"/>
                <a:gd name="connsiteX1824" fmla="*/ 1282065 w 2443162"/>
                <a:gd name="connsiteY1824" fmla="*/ 1036320 h 2161222"/>
                <a:gd name="connsiteX1825" fmla="*/ 1282065 w 2443162"/>
                <a:gd name="connsiteY1825" fmla="*/ 1048703 h 2161222"/>
                <a:gd name="connsiteX1826" fmla="*/ 1282065 w 2443162"/>
                <a:gd name="connsiteY1826" fmla="*/ 1060133 h 2161222"/>
                <a:gd name="connsiteX1827" fmla="*/ 1281113 w 2443162"/>
                <a:gd name="connsiteY1827" fmla="*/ 1071563 h 2161222"/>
                <a:gd name="connsiteX1828" fmla="*/ 1282065 w 2443162"/>
                <a:gd name="connsiteY1828" fmla="*/ 1082993 h 2161222"/>
                <a:gd name="connsiteX1829" fmla="*/ 1282065 w 2443162"/>
                <a:gd name="connsiteY1829" fmla="*/ 1094423 h 2161222"/>
                <a:gd name="connsiteX1830" fmla="*/ 1281113 w 2443162"/>
                <a:gd name="connsiteY1830" fmla="*/ 1105853 h 2161222"/>
                <a:gd name="connsiteX1831" fmla="*/ 1281113 w 2443162"/>
                <a:gd name="connsiteY1831" fmla="*/ 1117283 h 2161222"/>
                <a:gd name="connsiteX1832" fmla="*/ 1292543 w 2443162"/>
                <a:gd name="connsiteY1832" fmla="*/ 1121093 h 2161222"/>
                <a:gd name="connsiteX1833" fmla="*/ 1303020 w 2443162"/>
                <a:gd name="connsiteY1833" fmla="*/ 1125855 h 2161222"/>
                <a:gd name="connsiteX1834" fmla="*/ 1307783 w 2443162"/>
                <a:gd name="connsiteY1834" fmla="*/ 1128713 h 2161222"/>
                <a:gd name="connsiteX1835" fmla="*/ 1312545 w 2443162"/>
                <a:gd name="connsiteY1835" fmla="*/ 1131570 h 2161222"/>
                <a:gd name="connsiteX1836" fmla="*/ 1317308 w 2443162"/>
                <a:gd name="connsiteY1836" fmla="*/ 1134428 h 2161222"/>
                <a:gd name="connsiteX1837" fmla="*/ 1321118 w 2443162"/>
                <a:gd name="connsiteY1837" fmla="*/ 1138238 h 2161222"/>
                <a:gd name="connsiteX1838" fmla="*/ 1324928 w 2443162"/>
                <a:gd name="connsiteY1838" fmla="*/ 1142048 h 2161222"/>
                <a:gd name="connsiteX1839" fmla="*/ 1327785 w 2443162"/>
                <a:gd name="connsiteY1839" fmla="*/ 1145858 h 2161222"/>
                <a:gd name="connsiteX1840" fmla="*/ 1330643 w 2443162"/>
                <a:gd name="connsiteY1840" fmla="*/ 1150620 h 2161222"/>
                <a:gd name="connsiteX1841" fmla="*/ 1332548 w 2443162"/>
                <a:gd name="connsiteY1841" fmla="*/ 1155383 h 2161222"/>
                <a:gd name="connsiteX1842" fmla="*/ 1333500 w 2443162"/>
                <a:gd name="connsiteY1842" fmla="*/ 1160145 h 2161222"/>
                <a:gd name="connsiteX1843" fmla="*/ 1334453 w 2443162"/>
                <a:gd name="connsiteY1843" fmla="*/ 1165860 h 2161222"/>
                <a:gd name="connsiteX1844" fmla="*/ 1334453 w 2443162"/>
                <a:gd name="connsiteY1844" fmla="*/ 1172528 h 2161222"/>
                <a:gd name="connsiteX1845" fmla="*/ 1334453 w 2443162"/>
                <a:gd name="connsiteY1845" fmla="*/ 1179195 h 2161222"/>
                <a:gd name="connsiteX1846" fmla="*/ 1333500 w 2443162"/>
                <a:gd name="connsiteY1846" fmla="*/ 1186815 h 2161222"/>
                <a:gd name="connsiteX1847" fmla="*/ 1331595 w 2443162"/>
                <a:gd name="connsiteY1847" fmla="*/ 1193483 h 2161222"/>
                <a:gd name="connsiteX1848" fmla="*/ 1327785 w 2443162"/>
                <a:gd name="connsiteY1848" fmla="*/ 1199198 h 2161222"/>
                <a:gd name="connsiteX1849" fmla="*/ 1323023 w 2443162"/>
                <a:gd name="connsiteY1849" fmla="*/ 1204913 h 2161222"/>
                <a:gd name="connsiteX1850" fmla="*/ 1317308 w 2443162"/>
                <a:gd name="connsiteY1850" fmla="*/ 1210628 h 2161222"/>
                <a:gd name="connsiteX1851" fmla="*/ 1310640 w 2443162"/>
                <a:gd name="connsiteY1851" fmla="*/ 1215390 h 2161222"/>
                <a:gd name="connsiteX1852" fmla="*/ 1303020 w 2443162"/>
                <a:gd name="connsiteY1852" fmla="*/ 1220153 h 2161222"/>
                <a:gd name="connsiteX1853" fmla="*/ 1294448 w 2443162"/>
                <a:gd name="connsiteY1853" fmla="*/ 1223963 h 2161222"/>
                <a:gd name="connsiteX1854" fmla="*/ 1284923 w 2443162"/>
                <a:gd name="connsiteY1854" fmla="*/ 1227773 h 2161222"/>
                <a:gd name="connsiteX1855" fmla="*/ 1275398 w 2443162"/>
                <a:gd name="connsiteY1855" fmla="*/ 1231583 h 2161222"/>
                <a:gd name="connsiteX1856" fmla="*/ 1265873 w 2443162"/>
                <a:gd name="connsiteY1856" fmla="*/ 1235393 h 2161222"/>
                <a:gd name="connsiteX1857" fmla="*/ 1255395 w 2443162"/>
                <a:gd name="connsiteY1857" fmla="*/ 1239203 h 2161222"/>
                <a:gd name="connsiteX1858" fmla="*/ 1233488 w 2443162"/>
                <a:gd name="connsiteY1858" fmla="*/ 1245870 h 2161222"/>
                <a:gd name="connsiteX1859" fmla="*/ 1210628 w 2443162"/>
                <a:gd name="connsiteY1859" fmla="*/ 1252538 h 2161222"/>
                <a:gd name="connsiteX1860" fmla="*/ 1199198 w 2443162"/>
                <a:gd name="connsiteY1860" fmla="*/ 1256348 h 2161222"/>
                <a:gd name="connsiteX1861" fmla="*/ 1187768 w 2443162"/>
                <a:gd name="connsiteY1861" fmla="*/ 1260158 h 2161222"/>
                <a:gd name="connsiteX1862" fmla="*/ 1177290 w 2443162"/>
                <a:gd name="connsiteY1862" fmla="*/ 1263968 h 2161222"/>
                <a:gd name="connsiteX1863" fmla="*/ 1166813 w 2443162"/>
                <a:gd name="connsiteY1863" fmla="*/ 1268730 h 2161222"/>
                <a:gd name="connsiteX1864" fmla="*/ 1156335 w 2443162"/>
                <a:gd name="connsiteY1864" fmla="*/ 1273493 h 2161222"/>
                <a:gd name="connsiteX1865" fmla="*/ 1146810 w 2443162"/>
                <a:gd name="connsiteY1865" fmla="*/ 1278255 h 2161222"/>
                <a:gd name="connsiteX1866" fmla="*/ 1137285 w 2443162"/>
                <a:gd name="connsiteY1866" fmla="*/ 1283970 h 2161222"/>
                <a:gd name="connsiteX1867" fmla="*/ 1128713 w 2443162"/>
                <a:gd name="connsiteY1867" fmla="*/ 1290638 h 2161222"/>
                <a:gd name="connsiteX1868" fmla="*/ 1121093 w 2443162"/>
                <a:gd name="connsiteY1868" fmla="*/ 1297305 h 2161222"/>
                <a:gd name="connsiteX1869" fmla="*/ 1114425 w 2443162"/>
                <a:gd name="connsiteY1869" fmla="*/ 1304925 h 2161222"/>
                <a:gd name="connsiteX1870" fmla="*/ 1108710 w 2443162"/>
                <a:gd name="connsiteY1870" fmla="*/ 1313498 h 2161222"/>
                <a:gd name="connsiteX1871" fmla="*/ 1103948 w 2443162"/>
                <a:gd name="connsiteY1871" fmla="*/ 1322070 h 2161222"/>
                <a:gd name="connsiteX1872" fmla="*/ 1100138 w 2443162"/>
                <a:gd name="connsiteY1872" fmla="*/ 1332548 h 2161222"/>
                <a:gd name="connsiteX1873" fmla="*/ 1097280 w 2443162"/>
                <a:gd name="connsiteY1873" fmla="*/ 1343025 h 2161222"/>
                <a:gd name="connsiteX1874" fmla="*/ 1096328 w 2443162"/>
                <a:gd name="connsiteY1874" fmla="*/ 1354455 h 2161222"/>
                <a:gd name="connsiteX1875" fmla="*/ 1096328 w 2443162"/>
                <a:gd name="connsiteY1875" fmla="*/ 1365885 h 2161222"/>
                <a:gd name="connsiteX1876" fmla="*/ 1097280 w 2443162"/>
                <a:gd name="connsiteY1876" fmla="*/ 1370648 h 2161222"/>
                <a:gd name="connsiteX1877" fmla="*/ 1097280 w 2443162"/>
                <a:gd name="connsiteY1877" fmla="*/ 1374458 h 2161222"/>
                <a:gd name="connsiteX1878" fmla="*/ 1098233 w 2443162"/>
                <a:gd name="connsiteY1878" fmla="*/ 1378268 h 2161222"/>
                <a:gd name="connsiteX1879" fmla="*/ 1099185 w 2443162"/>
                <a:gd name="connsiteY1879" fmla="*/ 1382078 h 2161222"/>
                <a:gd name="connsiteX1880" fmla="*/ 1100138 w 2443162"/>
                <a:gd name="connsiteY1880" fmla="*/ 1385888 h 2161222"/>
                <a:gd name="connsiteX1881" fmla="*/ 1101090 w 2443162"/>
                <a:gd name="connsiteY1881" fmla="*/ 1389698 h 2161222"/>
                <a:gd name="connsiteX1882" fmla="*/ 1102043 w 2443162"/>
                <a:gd name="connsiteY1882" fmla="*/ 1393508 h 2161222"/>
                <a:gd name="connsiteX1883" fmla="*/ 1103948 w 2443162"/>
                <a:gd name="connsiteY1883" fmla="*/ 1396365 h 2161222"/>
                <a:gd name="connsiteX1884" fmla="*/ 1107758 w 2443162"/>
                <a:gd name="connsiteY1884" fmla="*/ 1402080 h 2161222"/>
                <a:gd name="connsiteX1885" fmla="*/ 1112520 w 2443162"/>
                <a:gd name="connsiteY1885" fmla="*/ 1407795 h 2161222"/>
                <a:gd name="connsiteX1886" fmla="*/ 1117283 w 2443162"/>
                <a:gd name="connsiteY1886" fmla="*/ 1412558 h 2161222"/>
                <a:gd name="connsiteX1887" fmla="*/ 1122998 w 2443162"/>
                <a:gd name="connsiteY1887" fmla="*/ 1418273 h 2161222"/>
                <a:gd name="connsiteX1888" fmla="*/ 1134428 w 2443162"/>
                <a:gd name="connsiteY1888" fmla="*/ 1427798 h 2161222"/>
                <a:gd name="connsiteX1889" fmla="*/ 1145858 w 2443162"/>
                <a:gd name="connsiteY1889" fmla="*/ 1436370 h 2161222"/>
                <a:gd name="connsiteX1890" fmla="*/ 1157288 w 2443162"/>
                <a:gd name="connsiteY1890" fmla="*/ 1443990 h 2161222"/>
                <a:gd name="connsiteX1891" fmla="*/ 1167765 w 2443162"/>
                <a:gd name="connsiteY1891" fmla="*/ 1451610 h 2161222"/>
                <a:gd name="connsiteX1892" fmla="*/ 1166813 w 2443162"/>
                <a:gd name="connsiteY1892" fmla="*/ 1441133 h 2161222"/>
                <a:gd name="connsiteX1893" fmla="*/ 1166813 w 2443162"/>
                <a:gd name="connsiteY1893" fmla="*/ 1430655 h 2161222"/>
                <a:gd name="connsiteX1894" fmla="*/ 1165860 w 2443162"/>
                <a:gd name="connsiteY1894" fmla="*/ 1420178 h 2161222"/>
                <a:gd name="connsiteX1895" fmla="*/ 1165860 w 2443162"/>
                <a:gd name="connsiteY1895" fmla="*/ 1409700 h 2161222"/>
                <a:gd name="connsiteX1896" fmla="*/ 1165860 w 2443162"/>
                <a:gd name="connsiteY1896" fmla="*/ 1399223 h 2161222"/>
                <a:gd name="connsiteX1897" fmla="*/ 1165860 w 2443162"/>
                <a:gd name="connsiteY1897" fmla="*/ 1388745 h 2161222"/>
                <a:gd name="connsiteX1898" fmla="*/ 1164908 w 2443162"/>
                <a:gd name="connsiteY1898" fmla="*/ 1378268 h 2161222"/>
                <a:gd name="connsiteX1899" fmla="*/ 1164908 w 2443162"/>
                <a:gd name="connsiteY1899" fmla="*/ 1367790 h 2161222"/>
                <a:gd name="connsiteX1900" fmla="*/ 1164908 w 2443162"/>
                <a:gd name="connsiteY1900" fmla="*/ 1364933 h 2161222"/>
                <a:gd name="connsiteX1901" fmla="*/ 1165860 w 2443162"/>
                <a:gd name="connsiteY1901" fmla="*/ 1362075 h 2161222"/>
                <a:gd name="connsiteX1902" fmla="*/ 1166813 w 2443162"/>
                <a:gd name="connsiteY1902" fmla="*/ 1359218 h 2161222"/>
                <a:gd name="connsiteX1903" fmla="*/ 1167765 w 2443162"/>
                <a:gd name="connsiteY1903" fmla="*/ 1356360 h 2161222"/>
                <a:gd name="connsiteX1904" fmla="*/ 1169670 w 2443162"/>
                <a:gd name="connsiteY1904" fmla="*/ 1354455 h 2161222"/>
                <a:gd name="connsiteX1905" fmla="*/ 1171575 w 2443162"/>
                <a:gd name="connsiteY1905" fmla="*/ 1351598 h 2161222"/>
                <a:gd name="connsiteX1906" fmla="*/ 1173480 w 2443162"/>
                <a:gd name="connsiteY1906" fmla="*/ 1349693 h 2161222"/>
                <a:gd name="connsiteX1907" fmla="*/ 1175385 w 2443162"/>
                <a:gd name="connsiteY1907" fmla="*/ 1347788 h 2161222"/>
                <a:gd name="connsiteX1908" fmla="*/ 1181100 w 2443162"/>
                <a:gd name="connsiteY1908" fmla="*/ 1343025 h 2161222"/>
                <a:gd name="connsiteX1909" fmla="*/ 1187768 w 2443162"/>
                <a:gd name="connsiteY1909" fmla="*/ 1339215 h 2161222"/>
                <a:gd name="connsiteX1910" fmla="*/ 1194435 w 2443162"/>
                <a:gd name="connsiteY1910" fmla="*/ 1335405 h 2161222"/>
                <a:gd name="connsiteX1911" fmla="*/ 1203008 w 2443162"/>
                <a:gd name="connsiteY1911" fmla="*/ 1331595 h 2161222"/>
                <a:gd name="connsiteX1912" fmla="*/ 1211580 w 2443162"/>
                <a:gd name="connsiteY1912" fmla="*/ 1327785 h 2161222"/>
                <a:gd name="connsiteX1913" fmla="*/ 1221105 w 2443162"/>
                <a:gd name="connsiteY1913" fmla="*/ 1323975 h 2161222"/>
                <a:gd name="connsiteX1914" fmla="*/ 1230630 w 2443162"/>
                <a:gd name="connsiteY1914" fmla="*/ 1320165 h 2161222"/>
                <a:gd name="connsiteX1915" fmla="*/ 1241108 w 2443162"/>
                <a:gd name="connsiteY1915" fmla="*/ 1316355 h 2161222"/>
                <a:gd name="connsiteX1916" fmla="*/ 1262063 w 2443162"/>
                <a:gd name="connsiteY1916" fmla="*/ 1309688 h 2161222"/>
                <a:gd name="connsiteX1917" fmla="*/ 1283018 w 2443162"/>
                <a:gd name="connsiteY1917" fmla="*/ 1303020 h 2161222"/>
                <a:gd name="connsiteX1918" fmla="*/ 1298258 w 2443162"/>
                <a:gd name="connsiteY1918" fmla="*/ 1298258 h 2161222"/>
                <a:gd name="connsiteX1919" fmla="*/ 1313498 w 2443162"/>
                <a:gd name="connsiteY1919" fmla="*/ 1293495 h 2161222"/>
                <a:gd name="connsiteX1920" fmla="*/ 1328738 w 2443162"/>
                <a:gd name="connsiteY1920" fmla="*/ 1288733 h 2161222"/>
                <a:gd name="connsiteX1921" fmla="*/ 1343025 w 2443162"/>
                <a:gd name="connsiteY1921" fmla="*/ 1283018 h 2161222"/>
                <a:gd name="connsiteX1922" fmla="*/ 1349693 w 2443162"/>
                <a:gd name="connsiteY1922" fmla="*/ 1280160 h 2161222"/>
                <a:gd name="connsiteX1923" fmla="*/ 1356360 w 2443162"/>
                <a:gd name="connsiteY1923" fmla="*/ 1277303 h 2161222"/>
                <a:gd name="connsiteX1924" fmla="*/ 1363028 w 2443162"/>
                <a:gd name="connsiteY1924" fmla="*/ 1273493 h 2161222"/>
                <a:gd name="connsiteX1925" fmla="*/ 1368743 w 2443162"/>
                <a:gd name="connsiteY1925" fmla="*/ 1269683 h 2161222"/>
                <a:gd name="connsiteX1926" fmla="*/ 1374458 w 2443162"/>
                <a:gd name="connsiteY1926" fmla="*/ 1265873 h 2161222"/>
                <a:gd name="connsiteX1927" fmla="*/ 1380173 w 2443162"/>
                <a:gd name="connsiteY1927" fmla="*/ 1262063 h 2161222"/>
                <a:gd name="connsiteX1928" fmla="*/ 1385888 w 2443162"/>
                <a:gd name="connsiteY1928" fmla="*/ 1258253 h 2161222"/>
                <a:gd name="connsiteX1929" fmla="*/ 1390650 w 2443162"/>
                <a:gd name="connsiteY1929" fmla="*/ 1253490 h 2161222"/>
                <a:gd name="connsiteX1930" fmla="*/ 1395413 w 2443162"/>
                <a:gd name="connsiteY1930" fmla="*/ 1248728 h 2161222"/>
                <a:gd name="connsiteX1931" fmla="*/ 1400175 w 2443162"/>
                <a:gd name="connsiteY1931" fmla="*/ 1243965 h 2161222"/>
                <a:gd name="connsiteX1932" fmla="*/ 1404938 w 2443162"/>
                <a:gd name="connsiteY1932" fmla="*/ 1239203 h 2161222"/>
                <a:gd name="connsiteX1933" fmla="*/ 1408748 w 2443162"/>
                <a:gd name="connsiteY1933" fmla="*/ 1234440 h 2161222"/>
                <a:gd name="connsiteX1934" fmla="*/ 1412558 w 2443162"/>
                <a:gd name="connsiteY1934" fmla="*/ 1228725 h 2161222"/>
                <a:gd name="connsiteX1935" fmla="*/ 1416368 w 2443162"/>
                <a:gd name="connsiteY1935" fmla="*/ 1223010 h 2161222"/>
                <a:gd name="connsiteX1936" fmla="*/ 1419225 w 2443162"/>
                <a:gd name="connsiteY1936" fmla="*/ 1217295 h 2161222"/>
                <a:gd name="connsiteX1937" fmla="*/ 1422083 w 2443162"/>
                <a:gd name="connsiteY1937" fmla="*/ 1211580 h 2161222"/>
                <a:gd name="connsiteX1938" fmla="*/ 1423988 w 2443162"/>
                <a:gd name="connsiteY1938" fmla="*/ 1204913 h 2161222"/>
                <a:gd name="connsiteX1939" fmla="*/ 1425893 w 2443162"/>
                <a:gd name="connsiteY1939" fmla="*/ 1198245 h 2161222"/>
                <a:gd name="connsiteX1940" fmla="*/ 1426845 w 2443162"/>
                <a:gd name="connsiteY1940" fmla="*/ 1191578 h 2161222"/>
                <a:gd name="connsiteX1941" fmla="*/ 1427798 w 2443162"/>
                <a:gd name="connsiteY1941" fmla="*/ 1183958 h 2161222"/>
                <a:gd name="connsiteX1942" fmla="*/ 1428750 w 2443162"/>
                <a:gd name="connsiteY1942" fmla="*/ 1177290 h 2161222"/>
                <a:gd name="connsiteX1943" fmla="*/ 1428750 w 2443162"/>
                <a:gd name="connsiteY1943" fmla="*/ 1169670 h 2161222"/>
                <a:gd name="connsiteX1944" fmla="*/ 1428750 w 2443162"/>
                <a:gd name="connsiteY1944" fmla="*/ 1162050 h 2161222"/>
                <a:gd name="connsiteX1945" fmla="*/ 1427798 w 2443162"/>
                <a:gd name="connsiteY1945" fmla="*/ 1153478 h 2161222"/>
                <a:gd name="connsiteX1946" fmla="*/ 1427798 w 2443162"/>
                <a:gd name="connsiteY1946" fmla="*/ 1147763 h 2161222"/>
                <a:gd name="connsiteX1947" fmla="*/ 1426845 w 2443162"/>
                <a:gd name="connsiteY1947" fmla="*/ 1142048 h 2161222"/>
                <a:gd name="connsiteX1948" fmla="*/ 1425893 w 2443162"/>
                <a:gd name="connsiteY1948" fmla="*/ 1136333 h 2161222"/>
                <a:gd name="connsiteX1949" fmla="*/ 1424940 w 2443162"/>
                <a:gd name="connsiteY1949" fmla="*/ 1130618 h 2161222"/>
                <a:gd name="connsiteX1950" fmla="*/ 1423035 w 2443162"/>
                <a:gd name="connsiteY1950" fmla="*/ 1124903 h 2161222"/>
                <a:gd name="connsiteX1951" fmla="*/ 1421130 w 2443162"/>
                <a:gd name="connsiteY1951" fmla="*/ 1119188 h 2161222"/>
                <a:gd name="connsiteX1952" fmla="*/ 1419225 w 2443162"/>
                <a:gd name="connsiteY1952" fmla="*/ 1113473 h 2161222"/>
                <a:gd name="connsiteX1953" fmla="*/ 1416368 w 2443162"/>
                <a:gd name="connsiteY1953" fmla="*/ 1108710 h 2161222"/>
                <a:gd name="connsiteX1954" fmla="*/ 1413510 w 2443162"/>
                <a:gd name="connsiteY1954" fmla="*/ 1103948 h 2161222"/>
                <a:gd name="connsiteX1955" fmla="*/ 1409700 w 2443162"/>
                <a:gd name="connsiteY1955" fmla="*/ 1099185 h 2161222"/>
                <a:gd name="connsiteX1956" fmla="*/ 1405890 w 2443162"/>
                <a:gd name="connsiteY1956" fmla="*/ 1094423 h 2161222"/>
                <a:gd name="connsiteX1957" fmla="*/ 1402080 w 2443162"/>
                <a:gd name="connsiteY1957" fmla="*/ 1089660 h 2161222"/>
                <a:gd name="connsiteX1958" fmla="*/ 1398270 w 2443162"/>
                <a:gd name="connsiteY1958" fmla="*/ 1084898 h 2161222"/>
                <a:gd name="connsiteX1959" fmla="*/ 1393508 w 2443162"/>
                <a:gd name="connsiteY1959" fmla="*/ 1080135 h 2161222"/>
                <a:gd name="connsiteX1960" fmla="*/ 1388745 w 2443162"/>
                <a:gd name="connsiteY1960" fmla="*/ 1076325 h 2161222"/>
                <a:gd name="connsiteX1961" fmla="*/ 1383983 w 2443162"/>
                <a:gd name="connsiteY1961" fmla="*/ 1072515 h 2161222"/>
                <a:gd name="connsiteX1962" fmla="*/ 1373505 w 2443162"/>
                <a:gd name="connsiteY1962" fmla="*/ 1064895 h 2161222"/>
                <a:gd name="connsiteX1963" fmla="*/ 1363028 w 2443162"/>
                <a:gd name="connsiteY1963" fmla="*/ 1058228 h 2161222"/>
                <a:gd name="connsiteX1964" fmla="*/ 1351598 w 2443162"/>
                <a:gd name="connsiteY1964" fmla="*/ 1051560 h 2161222"/>
                <a:gd name="connsiteX1965" fmla="*/ 1339215 w 2443162"/>
                <a:gd name="connsiteY1965" fmla="*/ 1044893 h 2161222"/>
                <a:gd name="connsiteX1966" fmla="*/ 1325880 w 2443162"/>
                <a:gd name="connsiteY1966" fmla="*/ 1039178 h 2161222"/>
                <a:gd name="connsiteX1967" fmla="*/ 1312545 w 2443162"/>
                <a:gd name="connsiteY1967" fmla="*/ 1033463 h 2161222"/>
                <a:gd name="connsiteX1968" fmla="*/ 1298258 w 2443162"/>
                <a:gd name="connsiteY1968" fmla="*/ 1027748 h 2161222"/>
                <a:gd name="connsiteX1969" fmla="*/ 1282065 w 2443162"/>
                <a:gd name="connsiteY1969" fmla="*/ 1024890 h 2161222"/>
                <a:gd name="connsiteX1970" fmla="*/ 1282065 w 2443162"/>
                <a:gd name="connsiteY1970" fmla="*/ 1024890 h 2161222"/>
                <a:gd name="connsiteX1971" fmla="*/ 1297305 w 2443162"/>
                <a:gd name="connsiteY1971" fmla="*/ 300038 h 2161222"/>
                <a:gd name="connsiteX1972" fmla="*/ 1295400 w 2443162"/>
                <a:gd name="connsiteY1972" fmla="*/ 344805 h 2161222"/>
                <a:gd name="connsiteX1973" fmla="*/ 1294448 w 2443162"/>
                <a:gd name="connsiteY1973" fmla="*/ 343853 h 2161222"/>
                <a:gd name="connsiteX1974" fmla="*/ 1294448 w 2443162"/>
                <a:gd name="connsiteY1974" fmla="*/ 353378 h 2161222"/>
                <a:gd name="connsiteX1975" fmla="*/ 1292543 w 2443162"/>
                <a:gd name="connsiteY1975" fmla="*/ 395288 h 2161222"/>
                <a:gd name="connsiteX1976" fmla="*/ 1311593 w 2443162"/>
                <a:gd name="connsiteY1976" fmla="*/ 399098 h 2161222"/>
                <a:gd name="connsiteX1977" fmla="*/ 1329690 w 2443162"/>
                <a:gd name="connsiteY1977" fmla="*/ 403860 h 2161222"/>
                <a:gd name="connsiteX1978" fmla="*/ 1338263 w 2443162"/>
                <a:gd name="connsiteY1978" fmla="*/ 406718 h 2161222"/>
                <a:gd name="connsiteX1979" fmla="*/ 1345883 w 2443162"/>
                <a:gd name="connsiteY1979" fmla="*/ 409575 h 2161222"/>
                <a:gd name="connsiteX1980" fmla="*/ 1353503 w 2443162"/>
                <a:gd name="connsiteY1980" fmla="*/ 412433 h 2161222"/>
                <a:gd name="connsiteX1981" fmla="*/ 1361123 w 2443162"/>
                <a:gd name="connsiteY1981" fmla="*/ 415290 h 2161222"/>
                <a:gd name="connsiteX1982" fmla="*/ 1368743 w 2443162"/>
                <a:gd name="connsiteY1982" fmla="*/ 418148 h 2161222"/>
                <a:gd name="connsiteX1983" fmla="*/ 1375410 w 2443162"/>
                <a:gd name="connsiteY1983" fmla="*/ 421005 h 2161222"/>
                <a:gd name="connsiteX1984" fmla="*/ 1382078 w 2443162"/>
                <a:gd name="connsiteY1984" fmla="*/ 423863 h 2161222"/>
                <a:gd name="connsiteX1985" fmla="*/ 1388745 w 2443162"/>
                <a:gd name="connsiteY1985" fmla="*/ 427673 h 2161222"/>
                <a:gd name="connsiteX1986" fmla="*/ 1394460 w 2443162"/>
                <a:gd name="connsiteY1986" fmla="*/ 431483 h 2161222"/>
                <a:gd name="connsiteX1987" fmla="*/ 1400175 w 2443162"/>
                <a:gd name="connsiteY1987" fmla="*/ 435293 h 2161222"/>
                <a:gd name="connsiteX1988" fmla="*/ 1405890 w 2443162"/>
                <a:gd name="connsiteY1988" fmla="*/ 439103 h 2161222"/>
                <a:gd name="connsiteX1989" fmla="*/ 1410653 w 2443162"/>
                <a:gd name="connsiteY1989" fmla="*/ 442913 h 2161222"/>
                <a:gd name="connsiteX1990" fmla="*/ 1415415 w 2443162"/>
                <a:gd name="connsiteY1990" fmla="*/ 447675 h 2161222"/>
                <a:gd name="connsiteX1991" fmla="*/ 1420178 w 2443162"/>
                <a:gd name="connsiteY1991" fmla="*/ 451485 h 2161222"/>
                <a:gd name="connsiteX1992" fmla="*/ 1423988 w 2443162"/>
                <a:gd name="connsiteY1992" fmla="*/ 456248 h 2161222"/>
                <a:gd name="connsiteX1993" fmla="*/ 1427798 w 2443162"/>
                <a:gd name="connsiteY1993" fmla="*/ 461010 h 2161222"/>
                <a:gd name="connsiteX1994" fmla="*/ 1431608 w 2443162"/>
                <a:gd name="connsiteY1994" fmla="*/ 465773 h 2161222"/>
                <a:gd name="connsiteX1995" fmla="*/ 1434465 w 2443162"/>
                <a:gd name="connsiteY1995" fmla="*/ 470535 h 2161222"/>
                <a:gd name="connsiteX1996" fmla="*/ 1437323 w 2443162"/>
                <a:gd name="connsiteY1996" fmla="*/ 475298 h 2161222"/>
                <a:gd name="connsiteX1997" fmla="*/ 1440180 w 2443162"/>
                <a:gd name="connsiteY1997" fmla="*/ 481013 h 2161222"/>
                <a:gd name="connsiteX1998" fmla="*/ 1442085 w 2443162"/>
                <a:gd name="connsiteY1998" fmla="*/ 485775 h 2161222"/>
                <a:gd name="connsiteX1999" fmla="*/ 1443990 w 2443162"/>
                <a:gd name="connsiteY1999" fmla="*/ 491490 h 2161222"/>
                <a:gd name="connsiteX2000" fmla="*/ 1444943 w 2443162"/>
                <a:gd name="connsiteY2000" fmla="*/ 497205 h 2161222"/>
                <a:gd name="connsiteX2001" fmla="*/ 1445895 w 2443162"/>
                <a:gd name="connsiteY2001" fmla="*/ 502920 h 2161222"/>
                <a:gd name="connsiteX2002" fmla="*/ 1446848 w 2443162"/>
                <a:gd name="connsiteY2002" fmla="*/ 508635 h 2161222"/>
                <a:gd name="connsiteX2003" fmla="*/ 1446848 w 2443162"/>
                <a:gd name="connsiteY2003" fmla="*/ 514350 h 2161222"/>
                <a:gd name="connsiteX2004" fmla="*/ 1446848 w 2443162"/>
                <a:gd name="connsiteY2004" fmla="*/ 520065 h 2161222"/>
                <a:gd name="connsiteX2005" fmla="*/ 1446848 w 2443162"/>
                <a:gd name="connsiteY2005" fmla="*/ 526733 h 2161222"/>
                <a:gd name="connsiteX2006" fmla="*/ 1446848 w 2443162"/>
                <a:gd name="connsiteY2006" fmla="*/ 534353 h 2161222"/>
                <a:gd name="connsiteX2007" fmla="*/ 1445895 w 2443162"/>
                <a:gd name="connsiteY2007" fmla="*/ 541020 h 2161222"/>
                <a:gd name="connsiteX2008" fmla="*/ 1444943 w 2443162"/>
                <a:gd name="connsiteY2008" fmla="*/ 548640 h 2161222"/>
                <a:gd name="connsiteX2009" fmla="*/ 1443990 w 2443162"/>
                <a:gd name="connsiteY2009" fmla="*/ 555308 h 2161222"/>
                <a:gd name="connsiteX2010" fmla="*/ 1426845 w 2443162"/>
                <a:gd name="connsiteY2010" fmla="*/ 547688 h 2161222"/>
                <a:gd name="connsiteX2011" fmla="*/ 1408748 w 2443162"/>
                <a:gd name="connsiteY2011" fmla="*/ 541020 h 2161222"/>
                <a:gd name="connsiteX2012" fmla="*/ 1390650 w 2443162"/>
                <a:gd name="connsiteY2012" fmla="*/ 534353 h 2161222"/>
                <a:gd name="connsiteX2013" fmla="*/ 1372553 w 2443162"/>
                <a:gd name="connsiteY2013" fmla="*/ 528638 h 2161222"/>
                <a:gd name="connsiteX2014" fmla="*/ 1353503 w 2443162"/>
                <a:gd name="connsiteY2014" fmla="*/ 523875 h 2161222"/>
                <a:gd name="connsiteX2015" fmla="*/ 1334453 w 2443162"/>
                <a:gd name="connsiteY2015" fmla="*/ 519113 h 2161222"/>
                <a:gd name="connsiteX2016" fmla="*/ 1315403 w 2443162"/>
                <a:gd name="connsiteY2016" fmla="*/ 515303 h 2161222"/>
                <a:gd name="connsiteX2017" fmla="*/ 1296353 w 2443162"/>
                <a:gd name="connsiteY2017" fmla="*/ 512445 h 2161222"/>
                <a:gd name="connsiteX2018" fmla="*/ 1296353 w 2443162"/>
                <a:gd name="connsiteY2018" fmla="*/ 541020 h 2161222"/>
                <a:gd name="connsiteX2019" fmla="*/ 1314450 w 2443162"/>
                <a:gd name="connsiteY2019" fmla="*/ 543878 h 2161222"/>
                <a:gd name="connsiteX2020" fmla="*/ 1331595 w 2443162"/>
                <a:gd name="connsiteY2020" fmla="*/ 547688 h 2161222"/>
                <a:gd name="connsiteX2021" fmla="*/ 1348740 w 2443162"/>
                <a:gd name="connsiteY2021" fmla="*/ 552450 h 2161222"/>
                <a:gd name="connsiteX2022" fmla="*/ 1365885 w 2443162"/>
                <a:gd name="connsiteY2022" fmla="*/ 557213 h 2161222"/>
                <a:gd name="connsiteX2023" fmla="*/ 1383030 w 2443162"/>
                <a:gd name="connsiteY2023" fmla="*/ 562928 h 2161222"/>
                <a:gd name="connsiteX2024" fmla="*/ 1399223 w 2443162"/>
                <a:gd name="connsiteY2024" fmla="*/ 568643 h 2161222"/>
                <a:gd name="connsiteX2025" fmla="*/ 1416368 w 2443162"/>
                <a:gd name="connsiteY2025" fmla="*/ 575310 h 2161222"/>
                <a:gd name="connsiteX2026" fmla="*/ 1432560 w 2443162"/>
                <a:gd name="connsiteY2026" fmla="*/ 581978 h 2161222"/>
                <a:gd name="connsiteX2027" fmla="*/ 1429703 w 2443162"/>
                <a:gd name="connsiteY2027" fmla="*/ 586740 h 2161222"/>
                <a:gd name="connsiteX2028" fmla="*/ 1425893 w 2443162"/>
                <a:gd name="connsiteY2028" fmla="*/ 591503 h 2161222"/>
                <a:gd name="connsiteX2029" fmla="*/ 1422083 w 2443162"/>
                <a:gd name="connsiteY2029" fmla="*/ 596265 h 2161222"/>
                <a:gd name="connsiteX2030" fmla="*/ 1418273 w 2443162"/>
                <a:gd name="connsiteY2030" fmla="*/ 601028 h 2161222"/>
                <a:gd name="connsiteX2031" fmla="*/ 1414463 w 2443162"/>
                <a:gd name="connsiteY2031" fmla="*/ 604838 h 2161222"/>
                <a:gd name="connsiteX2032" fmla="*/ 1409700 w 2443162"/>
                <a:gd name="connsiteY2032" fmla="*/ 608648 h 2161222"/>
                <a:gd name="connsiteX2033" fmla="*/ 1404938 w 2443162"/>
                <a:gd name="connsiteY2033" fmla="*/ 612458 h 2161222"/>
                <a:gd name="connsiteX2034" fmla="*/ 1400175 w 2443162"/>
                <a:gd name="connsiteY2034" fmla="*/ 616268 h 2161222"/>
                <a:gd name="connsiteX2035" fmla="*/ 1395413 w 2443162"/>
                <a:gd name="connsiteY2035" fmla="*/ 620078 h 2161222"/>
                <a:gd name="connsiteX2036" fmla="*/ 1389698 w 2443162"/>
                <a:gd name="connsiteY2036" fmla="*/ 623888 h 2161222"/>
                <a:gd name="connsiteX2037" fmla="*/ 1384935 w 2443162"/>
                <a:gd name="connsiteY2037" fmla="*/ 627698 h 2161222"/>
                <a:gd name="connsiteX2038" fmla="*/ 1379220 w 2443162"/>
                <a:gd name="connsiteY2038" fmla="*/ 630555 h 2161222"/>
                <a:gd name="connsiteX2039" fmla="*/ 1366838 w 2443162"/>
                <a:gd name="connsiteY2039" fmla="*/ 637223 h 2161222"/>
                <a:gd name="connsiteX2040" fmla="*/ 1353503 w 2443162"/>
                <a:gd name="connsiteY2040" fmla="*/ 642938 h 2161222"/>
                <a:gd name="connsiteX2041" fmla="*/ 1340168 w 2443162"/>
                <a:gd name="connsiteY2041" fmla="*/ 648653 h 2161222"/>
                <a:gd name="connsiteX2042" fmla="*/ 1324928 w 2443162"/>
                <a:gd name="connsiteY2042" fmla="*/ 654368 h 2161222"/>
                <a:gd name="connsiteX2043" fmla="*/ 1309688 w 2443162"/>
                <a:gd name="connsiteY2043" fmla="*/ 659130 h 2161222"/>
                <a:gd name="connsiteX2044" fmla="*/ 1293495 w 2443162"/>
                <a:gd name="connsiteY2044" fmla="*/ 663893 h 2161222"/>
                <a:gd name="connsiteX2045" fmla="*/ 1277303 w 2443162"/>
                <a:gd name="connsiteY2045" fmla="*/ 668655 h 2161222"/>
                <a:gd name="connsiteX2046" fmla="*/ 1260158 w 2443162"/>
                <a:gd name="connsiteY2046" fmla="*/ 673418 h 2161222"/>
                <a:gd name="connsiteX2047" fmla="*/ 1242060 w 2443162"/>
                <a:gd name="connsiteY2047" fmla="*/ 677228 h 2161222"/>
                <a:gd name="connsiteX2048" fmla="*/ 1223010 w 2443162"/>
                <a:gd name="connsiteY2048" fmla="*/ 681990 h 2161222"/>
                <a:gd name="connsiteX2049" fmla="*/ 1202055 w 2443162"/>
                <a:gd name="connsiteY2049" fmla="*/ 686753 h 2161222"/>
                <a:gd name="connsiteX2050" fmla="*/ 1180148 w 2443162"/>
                <a:gd name="connsiteY2050" fmla="*/ 691515 h 2161222"/>
                <a:gd name="connsiteX2051" fmla="*/ 1169670 w 2443162"/>
                <a:gd name="connsiteY2051" fmla="*/ 694373 h 2161222"/>
                <a:gd name="connsiteX2052" fmla="*/ 1159193 w 2443162"/>
                <a:gd name="connsiteY2052" fmla="*/ 697230 h 2161222"/>
                <a:gd name="connsiteX2053" fmla="*/ 1147763 w 2443162"/>
                <a:gd name="connsiteY2053" fmla="*/ 701040 h 2161222"/>
                <a:gd name="connsiteX2054" fmla="*/ 1136333 w 2443162"/>
                <a:gd name="connsiteY2054" fmla="*/ 704850 h 2161222"/>
                <a:gd name="connsiteX2055" fmla="*/ 1125855 w 2443162"/>
                <a:gd name="connsiteY2055" fmla="*/ 708660 h 2161222"/>
                <a:gd name="connsiteX2056" fmla="*/ 1115378 w 2443162"/>
                <a:gd name="connsiteY2056" fmla="*/ 713423 h 2161222"/>
                <a:gd name="connsiteX2057" fmla="*/ 1104900 w 2443162"/>
                <a:gd name="connsiteY2057" fmla="*/ 718185 h 2161222"/>
                <a:gd name="connsiteX2058" fmla="*/ 1094423 w 2443162"/>
                <a:gd name="connsiteY2058" fmla="*/ 722948 h 2161222"/>
                <a:gd name="connsiteX2059" fmla="*/ 1083945 w 2443162"/>
                <a:gd name="connsiteY2059" fmla="*/ 727710 h 2161222"/>
                <a:gd name="connsiteX2060" fmla="*/ 1073468 w 2443162"/>
                <a:gd name="connsiteY2060" fmla="*/ 733425 h 2161222"/>
                <a:gd name="connsiteX2061" fmla="*/ 1062990 w 2443162"/>
                <a:gd name="connsiteY2061" fmla="*/ 739140 h 2161222"/>
                <a:gd name="connsiteX2062" fmla="*/ 1053465 w 2443162"/>
                <a:gd name="connsiteY2062" fmla="*/ 744855 h 2161222"/>
                <a:gd name="connsiteX2063" fmla="*/ 1043940 w 2443162"/>
                <a:gd name="connsiteY2063" fmla="*/ 751523 h 2161222"/>
                <a:gd name="connsiteX2064" fmla="*/ 1035368 w 2443162"/>
                <a:gd name="connsiteY2064" fmla="*/ 758190 h 2161222"/>
                <a:gd name="connsiteX2065" fmla="*/ 1026795 w 2443162"/>
                <a:gd name="connsiteY2065" fmla="*/ 765810 h 2161222"/>
                <a:gd name="connsiteX2066" fmla="*/ 1019175 w 2443162"/>
                <a:gd name="connsiteY2066" fmla="*/ 773430 h 2161222"/>
                <a:gd name="connsiteX2067" fmla="*/ 1011555 w 2443162"/>
                <a:gd name="connsiteY2067" fmla="*/ 782003 h 2161222"/>
                <a:gd name="connsiteX2068" fmla="*/ 1004888 w 2443162"/>
                <a:gd name="connsiteY2068" fmla="*/ 790575 h 2161222"/>
                <a:gd name="connsiteX2069" fmla="*/ 998220 w 2443162"/>
                <a:gd name="connsiteY2069" fmla="*/ 800100 h 2161222"/>
                <a:gd name="connsiteX2070" fmla="*/ 992505 w 2443162"/>
                <a:gd name="connsiteY2070" fmla="*/ 809625 h 2161222"/>
                <a:gd name="connsiteX2071" fmla="*/ 987743 w 2443162"/>
                <a:gd name="connsiteY2071" fmla="*/ 820103 h 2161222"/>
                <a:gd name="connsiteX2072" fmla="*/ 982980 w 2443162"/>
                <a:gd name="connsiteY2072" fmla="*/ 830580 h 2161222"/>
                <a:gd name="connsiteX2073" fmla="*/ 979170 w 2443162"/>
                <a:gd name="connsiteY2073" fmla="*/ 841058 h 2161222"/>
                <a:gd name="connsiteX2074" fmla="*/ 976313 w 2443162"/>
                <a:gd name="connsiteY2074" fmla="*/ 852488 h 2161222"/>
                <a:gd name="connsiteX2075" fmla="*/ 974408 w 2443162"/>
                <a:gd name="connsiteY2075" fmla="*/ 863918 h 2161222"/>
                <a:gd name="connsiteX2076" fmla="*/ 972503 w 2443162"/>
                <a:gd name="connsiteY2076" fmla="*/ 876300 h 2161222"/>
                <a:gd name="connsiteX2077" fmla="*/ 972503 w 2443162"/>
                <a:gd name="connsiteY2077" fmla="*/ 889635 h 2161222"/>
                <a:gd name="connsiteX2078" fmla="*/ 972503 w 2443162"/>
                <a:gd name="connsiteY2078" fmla="*/ 902970 h 2161222"/>
                <a:gd name="connsiteX2079" fmla="*/ 973455 w 2443162"/>
                <a:gd name="connsiteY2079" fmla="*/ 914400 h 2161222"/>
                <a:gd name="connsiteX2080" fmla="*/ 975360 w 2443162"/>
                <a:gd name="connsiteY2080" fmla="*/ 924878 h 2161222"/>
                <a:gd name="connsiteX2081" fmla="*/ 977265 w 2443162"/>
                <a:gd name="connsiteY2081" fmla="*/ 935355 h 2161222"/>
                <a:gd name="connsiteX2082" fmla="*/ 980123 w 2443162"/>
                <a:gd name="connsiteY2082" fmla="*/ 945833 h 2161222"/>
                <a:gd name="connsiteX2083" fmla="*/ 983933 w 2443162"/>
                <a:gd name="connsiteY2083" fmla="*/ 955358 h 2161222"/>
                <a:gd name="connsiteX2084" fmla="*/ 987743 w 2443162"/>
                <a:gd name="connsiteY2084" fmla="*/ 964883 h 2161222"/>
                <a:gd name="connsiteX2085" fmla="*/ 992505 w 2443162"/>
                <a:gd name="connsiteY2085" fmla="*/ 973455 h 2161222"/>
                <a:gd name="connsiteX2086" fmla="*/ 997268 w 2443162"/>
                <a:gd name="connsiteY2086" fmla="*/ 982028 h 2161222"/>
                <a:gd name="connsiteX2087" fmla="*/ 1002030 w 2443162"/>
                <a:gd name="connsiteY2087" fmla="*/ 989648 h 2161222"/>
                <a:gd name="connsiteX2088" fmla="*/ 1007745 w 2443162"/>
                <a:gd name="connsiteY2088" fmla="*/ 997268 h 2161222"/>
                <a:gd name="connsiteX2089" fmla="*/ 1013460 w 2443162"/>
                <a:gd name="connsiteY2089" fmla="*/ 1004888 h 2161222"/>
                <a:gd name="connsiteX2090" fmla="*/ 1019175 w 2443162"/>
                <a:gd name="connsiteY2090" fmla="*/ 1011555 h 2161222"/>
                <a:gd name="connsiteX2091" fmla="*/ 1025843 w 2443162"/>
                <a:gd name="connsiteY2091" fmla="*/ 1018223 h 2161222"/>
                <a:gd name="connsiteX2092" fmla="*/ 1032510 w 2443162"/>
                <a:gd name="connsiteY2092" fmla="*/ 1023938 h 2161222"/>
                <a:gd name="connsiteX2093" fmla="*/ 1039178 w 2443162"/>
                <a:gd name="connsiteY2093" fmla="*/ 1029653 h 2161222"/>
                <a:gd name="connsiteX2094" fmla="*/ 1045845 w 2443162"/>
                <a:gd name="connsiteY2094" fmla="*/ 1035368 h 2161222"/>
                <a:gd name="connsiteX2095" fmla="*/ 1053465 w 2443162"/>
                <a:gd name="connsiteY2095" fmla="*/ 1041083 h 2161222"/>
                <a:gd name="connsiteX2096" fmla="*/ 1061085 w 2443162"/>
                <a:gd name="connsiteY2096" fmla="*/ 1045845 h 2161222"/>
                <a:gd name="connsiteX2097" fmla="*/ 1068705 w 2443162"/>
                <a:gd name="connsiteY2097" fmla="*/ 1050608 h 2161222"/>
                <a:gd name="connsiteX2098" fmla="*/ 1076325 w 2443162"/>
                <a:gd name="connsiteY2098" fmla="*/ 1055370 h 2161222"/>
                <a:gd name="connsiteX2099" fmla="*/ 1083945 w 2443162"/>
                <a:gd name="connsiteY2099" fmla="*/ 1059180 h 2161222"/>
                <a:gd name="connsiteX2100" fmla="*/ 1091565 w 2443162"/>
                <a:gd name="connsiteY2100" fmla="*/ 1062990 h 2161222"/>
                <a:gd name="connsiteX2101" fmla="*/ 1099185 w 2443162"/>
                <a:gd name="connsiteY2101" fmla="*/ 1066800 h 2161222"/>
                <a:gd name="connsiteX2102" fmla="*/ 1106805 w 2443162"/>
                <a:gd name="connsiteY2102" fmla="*/ 1069658 h 2161222"/>
                <a:gd name="connsiteX2103" fmla="*/ 1122045 w 2443162"/>
                <a:gd name="connsiteY2103" fmla="*/ 1075373 h 2161222"/>
                <a:gd name="connsiteX2104" fmla="*/ 1136333 w 2443162"/>
                <a:gd name="connsiteY2104" fmla="*/ 1080135 h 2161222"/>
                <a:gd name="connsiteX2105" fmla="*/ 1149668 w 2443162"/>
                <a:gd name="connsiteY2105" fmla="*/ 1083945 h 2161222"/>
                <a:gd name="connsiteX2106" fmla="*/ 1162050 w 2443162"/>
                <a:gd name="connsiteY2106" fmla="*/ 1087755 h 2161222"/>
                <a:gd name="connsiteX2107" fmla="*/ 1161098 w 2443162"/>
                <a:gd name="connsiteY2107" fmla="*/ 1075373 h 2161222"/>
                <a:gd name="connsiteX2108" fmla="*/ 1161098 w 2443162"/>
                <a:gd name="connsiteY2108" fmla="*/ 1062990 h 2161222"/>
                <a:gd name="connsiteX2109" fmla="*/ 1161098 w 2443162"/>
                <a:gd name="connsiteY2109" fmla="*/ 1050608 h 2161222"/>
                <a:gd name="connsiteX2110" fmla="*/ 1161098 w 2443162"/>
                <a:gd name="connsiteY2110" fmla="*/ 1038225 h 2161222"/>
                <a:gd name="connsiteX2111" fmla="*/ 1160145 w 2443162"/>
                <a:gd name="connsiteY2111" fmla="*/ 1025843 h 2161222"/>
                <a:gd name="connsiteX2112" fmla="*/ 1160145 w 2443162"/>
                <a:gd name="connsiteY2112" fmla="*/ 1011555 h 2161222"/>
                <a:gd name="connsiteX2113" fmla="*/ 1160145 w 2443162"/>
                <a:gd name="connsiteY2113" fmla="*/ 999173 h 2161222"/>
                <a:gd name="connsiteX2114" fmla="*/ 1159193 w 2443162"/>
                <a:gd name="connsiteY2114" fmla="*/ 986790 h 2161222"/>
                <a:gd name="connsiteX2115" fmla="*/ 1152525 w 2443162"/>
                <a:gd name="connsiteY2115" fmla="*/ 982980 h 2161222"/>
                <a:gd name="connsiteX2116" fmla="*/ 1145858 w 2443162"/>
                <a:gd name="connsiteY2116" fmla="*/ 979170 h 2161222"/>
                <a:gd name="connsiteX2117" fmla="*/ 1139190 w 2443162"/>
                <a:gd name="connsiteY2117" fmla="*/ 975360 h 2161222"/>
                <a:gd name="connsiteX2118" fmla="*/ 1132523 w 2443162"/>
                <a:gd name="connsiteY2118" fmla="*/ 971550 h 2161222"/>
                <a:gd name="connsiteX2119" fmla="*/ 1126808 w 2443162"/>
                <a:gd name="connsiteY2119" fmla="*/ 966788 h 2161222"/>
                <a:gd name="connsiteX2120" fmla="*/ 1121093 w 2443162"/>
                <a:gd name="connsiteY2120" fmla="*/ 962025 h 2161222"/>
                <a:gd name="connsiteX2121" fmla="*/ 1115378 w 2443162"/>
                <a:gd name="connsiteY2121" fmla="*/ 957263 h 2161222"/>
                <a:gd name="connsiteX2122" fmla="*/ 1110615 w 2443162"/>
                <a:gd name="connsiteY2122" fmla="*/ 951548 h 2161222"/>
                <a:gd name="connsiteX2123" fmla="*/ 1105853 w 2443162"/>
                <a:gd name="connsiteY2123" fmla="*/ 945833 h 2161222"/>
                <a:gd name="connsiteX2124" fmla="*/ 1102043 w 2443162"/>
                <a:gd name="connsiteY2124" fmla="*/ 939165 h 2161222"/>
                <a:gd name="connsiteX2125" fmla="*/ 1098233 w 2443162"/>
                <a:gd name="connsiteY2125" fmla="*/ 932498 h 2161222"/>
                <a:gd name="connsiteX2126" fmla="*/ 1095375 w 2443162"/>
                <a:gd name="connsiteY2126" fmla="*/ 924878 h 2161222"/>
                <a:gd name="connsiteX2127" fmla="*/ 1094423 w 2443162"/>
                <a:gd name="connsiteY2127" fmla="*/ 921068 h 2161222"/>
                <a:gd name="connsiteX2128" fmla="*/ 1093470 w 2443162"/>
                <a:gd name="connsiteY2128" fmla="*/ 917258 h 2161222"/>
                <a:gd name="connsiteX2129" fmla="*/ 1092518 w 2443162"/>
                <a:gd name="connsiteY2129" fmla="*/ 912495 h 2161222"/>
                <a:gd name="connsiteX2130" fmla="*/ 1091565 w 2443162"/>
                <a:gd name="connsiteY2130" fmla="*/ 907733 h 2161222"/>
                <a:gd name="connsiteX2131" fmla="*/ 1091565 w 2443162"/>
                <a:gd name="connsiteY2131" fmla="*/ 902970 h 2161222"/>
                <a:gd name="connsiteX2132" fmla="*/ 1091565 w 2443162"/>
                <a:gd name="connsiteY2132" fmla="*/ 898208 h 2161222"/>
                <a:gd name="connsiteX2133" fmla="*/ 1091565 w 2443162"/>
                <a:gd name="connsiteY2133" fmla="*/ 893445 h 2161222"/>
                <a:gd name="connsiteX2134" fmla="*/ 1091565 w 2443162"/>
                <a:gd name="connsiteY2134" fmla="*/ 888683 h 2161222"/>
                <a:gd name="connsiteX2135" fmla="*/ 1092518 w 2443162"/>
                <a:gd name="connsiteY2135" fmla="*/ 881063 h 2161222"/>
                <a:gd name="connsiteX2136" fmla="*/ 1093470 w 2443162"/>
                <a:gd name="connsiteY2136" fmla="*/ 874395 h 2161222"/>
                <a:gd name="connsiteX2137" fmla="*/ 1096328 w 2443162"/>
                <a:gd name="connsiteY2137" fmla="*/ 867728 h 2161222"/>
                <a:gd name="connsiteX2138" fmla="*/ 1099185 w 2443162"/>
                <a:gd name="connsiteY2138" fmla="*/ 862013 h 2161222"/>
                <a:gd name="connsiteX2139" fmla="*/ 1102995 w 2443162"/>
                <a:gd name="connsiteY2139" fmla="*/ 856298 h 2161222"/>
                <a:gd name="connsiteX2140" fmla="*/ 1106805 w 2443162"/>
                <a:gd name="connsiteY2140" fmla="*/ 850583 h 2161222"/>
                <a:gd name="connsiteX2141" fmla="*/ 1111568 w 2443162"/>
                <a:gd name="connsiteY2141" fmla="*/ 845820 h 2161222"/>
                <a:gd name="connsiteX2142" fmla="*/ 1117283 w 2443162"/>
                <a:gd name="connsiteY2142" fmla="*/ 841058 h 2161222"/>
                <a:gd name="connsiteX2143" fmla="*/ 1122998 w 2443162"/>
                <a:gd name="connsiteY2143" fmla="*/ 836295 h 2161222"/>
                <a:gd name="connsiteX2144" fmla="*/ 1129665 w 2443162"/>
                <a:gd name="connsiteY2144" fmla="*/ 831533 h 2161222"/>
                <a:gd name="connsiteX2145" fmla="*/ 1136333 w 2443162"/>
                <a:gd name="connsiteY2145" fmla="*/ 826770 h 2161222"/>
                <a:gd name="connsiteX2146" fmla="*/ 1143953 w 2443162"/>
                <a:gd name="connsiteY2146" fmla="*/ 822960 h 2161222"/>
                <a:gd name="connsiteX2147" fmla="*/ 1152525 w 2443162"/>
                <a:gd name="connsiteY2147" fmla="*/ 818198 h 2161222"/>
                <a:gd name="connsiteX2148" fmla="*/ 1161098 w 2443162"/>
                <a:gd name="connsiteY2148" fmla="*/ 814388 h 2161222"/>
                <a:gd name="connsiteX2149" fmla="*/ 1170623 w 2443162"/>
                <a:gd name="connsiteY2149" fmla="*/ 810578 h 2161222"/>
                <a:gd name="connsiteX2150" fmla="*/ 1180148 w 2443162"/>
                <a:gd name="connsiteY2150" fmla="*/ 806768 h 2161222"/>
                <a:gd name="connsiteX2151" fmla="*/ 1200150 w 2443162"/>
                <a:gd name="connsiteY2151" fmla="*/ 800100 h 2161222"/>
                <a:gd name="connsiteX2152" fmla="*/ 1220153 w 2443162"/>
                <a:gd name="connsiteY2152" fmla="*/ 794385 h 2161222"/>
                <a:gd name="connsiteX2153" fmla="*/ 1242060 w 2443162"/>
                <a:gd name="connsiteY2153" fmla="*/ 788670 h 2161222"/>
                <a:gd name="connsiteX2154" fmla="*/ 1263968 w 2443162"/>
                <a:gd name="connsiteY2154" fmla="*/ 782955 h 2161222"/>
                <a:gd name="connsiteX2155" fmla="*/ 1308735 w 2443162"/>
                <a:gd name="connsiteY2155" fmla="*/ 771525 h 2161222"/>
                <a:gd name="connsiteX2156" fmla="*/ 1353503 w 2443162"/>
                <a:gd name="connsiteY2156" fmla="*/ 759143 h 2161222"/>
                <a:gd name="connsiteX2157" fmla="*/ 1370648 w 2443162"/>
                <a:gd name="connsiteY2157" fmla="*/ 753428 h 2161222"/>
                <a:gd name="connsiteX2158" fmla="*/ 1386840 w 2443162"/>
                <a:gd name="connsiteY2158" fmla="*/ 747713 h 2161222"/>
                <a:gd name="connsiteX2159" fmla="*/ 1402080 w 2443162"/>
                <a:gd name="connsiteY2159" fmla="*/ 741998 h 2161222"/>
                <a:gd name="connsiteX2160" fmla="*/ 1416368 w 2443162"/>
                <a:gd name="connsiteY2160" fmla="*/ 736283 h 2161222"/>
                <a:gd name="connsiteX2161" fmla="*/ 1430655 w 2443162"/>
                <a:gd name="connsiteY2161" fmla="*/ 730568 h 2161222"/>
                <a:gd name="connsiteX2162" fmla="*/ 1443038 w 2443162"/>
                <a:gd name="connsiteY2162" fmla="*/ 724853 h 2161222"/>
                <a:gd name="connsiteX2163" fmla="*/ 1455420 w 2443162"/>
                <a:gd name="connsiteY2163" fmla="*/ 718185 h 2161222"/>
                <a:gd name="connsiteX2164" fmla="*/ 1465898 w 2443162"/>
                <a:gd name="connsiteY2164" fmla="*/ 712470 h 2161222"/>
                <a:gd name="connsiteX2165" fmla="*/ 1476375 w 2443162"/>
                <a:gd name="connsiteY2165" fmla="*/ 705803 h 2161222"/>
                <a:gd name="connsiteX2166" fmla="*/ 1485900 w 2443162"/>
                <a:gd name="connsiteY2166" fmla="*/ 699135 h 2161222"/>
                <a:gd name="connsiteX2167" fmla="*/ 1494473 w 2443162"/>
                <a:gd name="connsiteY2167" fmla="*/ 692468 h 2161222"/>
                <a:gd name="connsiteX2168" fmla="*/ 1503045 w 2443162"/>
                <a:gd name="connsiteY2168" fmla="*/ 685800 h 2161222"/>
                <a:gd name="connsiteX2169" fmla="*/ 1510665 w 2443162"/>
                <a:gd name="connsiteY2169" fmla="*/ 679133 h 2161222"/>
                <a:gd name="connsiteX2170" fmla="*/ 1517333 w 2443162"/>
                <a:gd name="connsiteY2170" fmla="*/ 671513 h 2161222"/>
                <a:gd name="connsiteX2171" fmla="*/ 1523048 w 2443162"/>
                <a:gd name="connsiteY2171" fmla="*/ 663893 h 2161222"/>
                <a:gd name="connsiteX2172" fmla="*/ 1528763 w 2443162"/>
                <a:gd name="connsiteY2172" fmla="*/ 656273 h 2161222"/>
                <a:gd name="connsiteX2173" fmla="*/ 1533525 w 2443162"/>
                <a:gd name="connsiteY2173" fmla="*/ 661035 h 2161222"/>
                <a:gd name="connsiteX2174" fmla="*/ 1539240 w 2443162"/>
                <a:gd name="connsiteY2174" fmla="*/ 665798 h 2161222"/>
                <a:gd name="connsiteX2175" fmla="*/ 1544003 w 2443162"/>
                <a:gd name="connsiteY2175" fmla="*/ 670560 h 2161222"/>
                <a:gd name="connsiteX2176" fmla="*/ 1548765 w 2443162"/>
                <a:gd name="connsiteY2176" fmla="*/ 675323 h 2161222"/>
                <a:gd name="connsiteX2177" fmla="*/ 1547813 w 2443162"/>
                <a:gd name="connsiteY2177" fmla="*/ 676275 h 2161222"/>
                <a:gd name="connsiteX2178" fmla="*/ 1548765 w 2443162"/>
                <a:gd name="connsiteY2178" fmla="*/ 676275 h 2161222"/>
                <a:gd name="connsiteX2179" fmla="*/ 1549718 w 2443162"/>
                <a:gd name="connsiteY2179" fmla="*/ 676275 h 2161222"/>
                <a:gd name="connsiteX2180" fmla="*/ 1554480 w 2443162"/>
                <a:gd name="connsiteY2180" fmla="*/ 681038 h 2161222"/>
                <a:gd name="connsiteX2181" fmla="*/ 1457325 w 2443162"/>
                <a:gd name="connsiteY2181" fmla="*/ 769620 h 2161222"/>
                <a:gd name="connsiteX2182" fmla="*/ 1450658 w 2443162"/>
                <a:gd name="connsiteY2182" fmla="*/ 763905 h 2161222"/>
                <a:gd name="connsiteX2183" fmla="*/ 1443990 w 2443162"/>
                <a:gd name="connsiteY2183" fmla="*/ 758190 h 2161222"/>
                <a:gd name="connsiteX2184" fmla="*/ 1437323 w 2443162"/>
                <a:gd name="connsiteY2184" fmla="*/ 752475 h 2161222"/>
                <a:gd name="connsiteX2185" fmla="*/ 1430655 w 2443162"/>
                <a:gd name="connsiteY2185" fmla="*/ 747713 h 2161222"/>
                <a:gd name="connsiteX2186" fmla="*/ 1400175 w 2443162"/>
                <a:gd name="connsiteY2186" fmla="*/ 757238 h 2161222"/>
                <a:gd name="connsiteX2187" fmla="*/ 1410653 w 2443162"/>
                <a:gd name="connsiteY2187" fmla="*/ 763905 h 2161222"/>
                <a:gd name="connsiteX2188" fmla="*/ 1420178 w 2443162"/>
                <a:gd name="connsiteY2188" fmla="*/ 771525 h 2161222"/>
                <a:gd name="connsiteX2189" fmla="*/ 1429703 w 2443162"/>
                <a:gd name="connsiteY2189" fmla="*/ 779145 h 2161222"/>
                <a:gd name="connsiteX2190" fmla="*/ 1439228 w 2443162"/>
                <a:gd name="connsiteY2190" fmla="*/ 787718 h 2161222"/>
                <a:gd name="connsiteX2191" fmla="*/ 1401128 w 2443162"/>
                <a:gd name="connsiteY2191" fmla="*/ 826770 h 2161222"/>
                <a:gd name="connsiteX2192" fmla="*/ 1399223 w 2443162"/>
                <a:gd name="connsiteY2192" fmla="*/ 824865 h 2161222"/>
                <a:gd name="connsiteX2193" fmla="*/ 1357313 w 2443162"/>
                <a:gd name="connsiteY2193" fmla="*/ 831533 h 2161222"/>
                <a:gd name="connsiteX2194" fmla="*/ 1349693 w 2443162"/>
                <a:gd name="connsiteY2194" fmla="*/ 842010 h 2161222"/>
                <a:gd name="connsiteX2195" fmla="*/ 1340168 w 2443162"/>
                <a:gd name="connsiteY2195" fmla="*/ 842010 h 2161222"/>
                <a:gd name="connsiteX2196" fmla="*/ 1362075 w 2443162"/>
                <a:gd name="connsiteY2196" fmla="*/ 819150 h 2161222"/>
                <a:gd name="connsiteX2197" fmla="*/ 1355408 w 2443162"/>
                <a:gd name="connsiteY2197" fmla="*/ 816293 h 2161222"/>
                <a:gd name="connsiteX2198" fmla="*/ 1332548 w 2443162"/>
                <a:gd name="connsiteY2198" fmla="*/ 845820 h 2161222"/>
                <a:gd name="connsiteX2199" fmla="*/ 1337310 w 2443162"/>
                <a:gd name="connsiteY2199" fmla="*/ 845820 h 2161222"/>
                <a:gd name="connsiteX2200" fmla="*/ 1337310 w 2443162"/>
                <a:gd name="connsiteY2200" fmla="*/ 856298 h 2161222"/>
                <a:gd name="connsiteX2201" fmla="*/ 1343978 w 2443162"/>
                <a:gd name="connsiteY2201" fmla="*/ 860108 h 2161222"/>
                <a:gd name="connsiteX2202" fmla="*/ 1347788 w 2443162"/>
                <a:gd name="connsiteY2202" fmla="*/ 870585 h 2161222"/>
                <a:gd name="connsiteX2203" fmla="*/ 1335405 w 2443162"/>
                <a:gd name="connsiteY2203" fmla="*/ 870585 h 2161222"/>
                <a:gd name="connsiteX2204" fmla="*/ 1321118 w 2443162"/>
                <a:gd name="connsiteY2204" fmla="*/ 870585 h 2161222"/>
                <a:gd name="connsiteX2205" fmla="*/ 1285875 w 2443162"/>
                <a:gd name="connsiteY2205" fmla="*/ 853440 h 2161222"/>
                <a:gd name="connsiteX2206" fmla="*/ 1282065 w 2443162"/>
                <a:gd name="connsiteY2206" fmla="*/ 998220 h 2161222"/>
                <a:gd name="connsiteX2207" fmla="*/ 1313498 w 2443162"/>
                <a:gd name="connsiteY2207" fmla="*/ 1008698 h 2161222"/>
                <a:gd name="connsiteX2208" fmla="*/ 1344930 w 2443162"/>
                <a:gd name="connsiteY2208" fmla="*/ 1022985 h 2161222"/>
                <a:gd name="connsiteX2209" fmla="*/ 1373505 w 2443162"/>
                <a:gd name="connsiteY2209" fmla="*/ 1037273 h 2161222"/>
                <a:gd name="connsiteX2210" fmla="*/ 1398270 w 2443162"/>
                <a:gd name="connsiteY2210" fmla="*/ 1058228 h 2161222"/>
                <a:gd name="connsiteX2211" fmla="*/ 1423035 w 2443162"/>
                <a:gd name="connsiteY2211" fmla="*/ 1079183 h 2161222"/>
                <a:gd name="connsiteX2212" fmla="*/ 1440180 w 2443162"/>
                <a:gd name="connsiteY2212" fmla="*/ 1106805 h 2161222"/>
                <a:gd name="connsiteX2213" fmla="*/ 1450658 w 2443162"/>
                <a:gd name="connsiteY2213" fmla="*/ 1138238 h 2161222"/>
                <a:gd name="connsiteX2214" fmla="*/ 1454468 w 2443162"/>
                <a:gd name="connsiteY2214" fmla="*/ 1156335 h 2161222"/>
                <a:gd name="connsiteX2215" fmla="*/ 1454468 w 2443162"/>
                <a:gd name="connsiteY2215" fmla="*/ 1173480 h 2161222"/>
                <a:gd name="connsiteX2216" fmla="*/ 1450658 w 2443162"/>
                <a:gd name="connsiteY2216" fmla="*/ 1208723 h 2161222"/>
                <a:gd name="connsiteX2217" fmla="*/ 1440180 w 2443162"/>
                <a:gd name="connsiteY2217" fmla="*/ 1237298 h 2161222"/>
                <a:gd name="connsiteX2218" fmla="*/ 1419225 w 2443162"/>
                <a:gd name="connsiteY2218" fmla="*/ 1265873 h 2161222"/>
                <a:gd name="connsiteX2219" fmla="*/ 1394460 w 2443162"/>
                <a:gd name="connsiteY2219" fmla="*/ 1286828 h 2161222"/>
                <a:gd name="connsiteX2220" fmla="*/ 1390650 w 2443162"/>
                <a:gd name="connsiteY2220" fmla="*/ 1290638 h 2161222"/>
                <a:gd name="connsiteX2221" fmla="*/ 1378268 w 2443162"/>
                <a:gd name="connsiteY2221" fmla="*/ 1298258 h 2161222"/>
                <a:gd name="connsiteX2222" fmla="*/ 1369695 w 2443162"/>
                <a:gd name="connsiteY2222" fmla="*/ 1303020 h 2161222"/>
                <a:gd name="connsiteX2223" fmla="*/ 1361123 w 2443162"/>
                <a:gd name="connsiteY2223" fmla="*/ 1307783 h 2161222"/>
                <a:gd name="connsiteX2224" fmla="*/ 1352550 w 2443162"/>
                <a:gd name="connsiteY2224" fmla="*/ 1311593 h 2161222"/>
                <a:gd name="connsiteX2225" fmla="*/ 1343025 w 2443162"/>
                <a:gd name="connsiteY2225" fmla="*/ 1315403 h 2161222"/>
                <a:gd name="connsiteX2226" fmla="*/ 1334453 w 2443162"/>
                <a:gd name="connsiteY2226" fmla="*/ 1319213 h 2161222"/>
                <a:gd name="connsiteX2227" fmla="*/ 1286828 w 2443162"/>
                <a:gd name="connsiteY2227" fmla="*/ 1333500 h 2161222"/>
                <a:gd name="connsiteX2228" fmla="*/ 1282065 w 2443162"/>
                <a:gd name="connsiteY2228" fmla="*/ 1334453 h 2161222"/>
                <a:gd name="connsiteX2229" fmla="*/ 1276350 w 2443162"/>
                <a:gd name="connsiteY2229" fmla="*/ 1335405 h 2161222"/>
                <a:gd name="connsiteX2230" fmla="*/ 1276350 w 2443162"/>
                <a:gd name="connsiteY2230" fmla="*/ 1337310 h 2161222"/>
                <a:gd name="connsiteX2231" fmla="*/ 1274445 w 2443162"/>
                <a:gd name="connsiteY2231" fmla="*/ 1337310 h 2161222"/>
                <a:gd name="connsiteX2232" fmla="*/ 1270635 w 2443162"/>
                <a:gd name="connsiteY2232" fmla="*/ 1414463 h 2161222"/>
                <a:gd name="connsiteX2233" fmla="*/ 1295400 w 2443162"/>
                <a:gd name="connsiteY2233" fmla="*/ 1424940 h 2161222"/>
                <a:gd name="connsiteX2234" fmla="*/ 1320165 w 2443162"/>
                <a:gd name="connsiteY2234" fmla="*/ 1439228 h 2161222"/>
                <a:gd name="connsiteX2235" fmla="*/ 1341120 w 2443162"/>
                <a:gd name="connsiteY2235" fmla="*/ 1457325 h 2161222"/>
                <a:gd name="connsiteX2236" fmla="*/ 1362075 w 2443162"/>
                <a:gd name="connsiteY2236" fmla="*/ 1478280 h 2161222"/>
                <a:gd name="connsiteX2237" fmla="*/ 1367790 w 2443162"/>
                <a:gd name="connsiteY2237" fmla="*/ 1487805 h 2161222"/>
                <a:gd name="connsiteX2238" fmla="*/ 1379220 w 2443162"/>
                <a:gd name="connsiteY2238" fmla="*/ 1509713 h 2161222"/>
                <a:gd name="connsiteX2239" fmla="*/ 1389698 w 2443162"/>
                <a:gd name="connsiteY2239" fmla="*/ 1534478 h 2161222"/>
                <a:gd name="connsiteX2240" fmla="*/ 1396365 w 2443162"/>
                <a:gd name="connsiteY2240" fmla="*/ 1569720 h 2161222"/>
                <a:gd name="connsiteX2241" fmla="*/ 1396365 w 2443162"/>
                <a:gd name="connsiteY2241" fmla="*/ 1612583 h 2161222"/>
                <a:gd name="connsiteX2242" fmla="*/ 1396365 w 2443162"/>
                <a:gd name="connsiteY2242" fmla="*/ 1633538 h 2161222"/>
                <a:gd name="connsiteX2243" fmla="*/ 1389698 w 2443162"/>
                <a:gd name="connsiteY2243" fmla="*/ 1644015 h 2161222"/>
                <a:gd name="connsiteX2244" fmla="*/ 1382078 w 2443162"/>
                <a:gd name="connsiteY2244" fmla="*/ 1650683 h 2161222"/>
                <a:gd name="connsiteX2245" fmla="*/ 1382078 w 2443162"/>
                <a:gd name="connsiteY2245" fmla="*/ 1650683 h 2161222"/>
                <a:gd name="connsiteX2246" fmla="*/ 1383030 w 2443162"/>
                <a:gd name="connsiteY2246" fmla="*/ 1651635 h 2161222"/>
                <a:gd name="connsiteX2247" fmla="*/ 1367790 w 2443162"/>
                <a:gd name="connsiteY2247" fmla="*/ 1655445 h 2161222"/>
                <a:gd name="connsiteX2248" fmla="*/ 1353503 w 2443162"/>
                <a:gd name="connsiteY2248" fmla="*/ 1659255 h 2161222"/>
                <a:gd name="connsiteX2249" fmla="*/ 1338263 w 2443162"/>
                <a:gd name="connsiteY2249" fmla="*/ 1662113 h 2161222"/>
                <a:gd name="connsiteX2250" fmla="*/ 1323023 w 2443162"/>
                <a:gd name="connsiteY2250" fmla="*/ 1664970 h 2161222"/>
                <a:gd name="connsiteX2251" fmla="*/ 1307783 w 2443162"/>
                <a:gd name="connsiteY2251" fmla="*/ 1666875 h 2161222"/>
                <a:gd name="connsiteX2252" fmla="*/ 1292543 w 2443162"/>
                <a:gd name="connsiteY2252" fmla="*/ 1668780 h 2161222"/>
                <a:gd name="connsiteX2253" fmla="*/ 1277303 w 2443162"/>
                <a:gd name="connsiteY2253" fmla="*/ 1669733 h 2161222"/>
                <a:gd name="connsiteX2254" fmla="*/ 1262063 w 2443162"/>
                <a:gd name="connsiteY2254" fmla="*/ 1670685 h 2161222"/>
                <a:gd name="connsiteX2255" fmla="*/ 1261110 w 2443162"/>
                <a:gd name="connsiteY2255" fmla="*/ 1700213 h 2161222"/>
                <a:gd name="connsiteX2256" fmla="*/ 1276350 w 2443162"/>
                <a:gd name="connsiteY2256" fmla="*/ 1699260 h 2161222"/>
                <a:gd name="connsiteX2257" fmla="*/ 1291590 w 2443162"/>
                <a:gd name="connsiteY2257" fmla="*/ 1697355 h 2161222"/>
                <a:gd name="connsiteX2258" fmla="*/ 1306830 w 2443162"/>
                <a:gd name="connsiteY2258" fmla="*/ 1695450 h 2161222"/>
                <a:gd name="connsiteX2259" fmla="*/ 1322070 w 2443162"/>
                <a:gd name="connsiteY2259" fmla="*/ 1693545 h 2161222"/>
                <a:gd name="connsiteX2260" fmla="*/ 1337310 w 2443162"/>
                <a:gd name="connsiteY2260" fmla="*/ 1691640 h 2161222"/>
                <a:gd name="connsiteX2261" fmla="*/ 1352550 w 2443162"/>
                <a:gd name="connsiteY2261" fmla="*/ 1688783 h 2161222"/>
                <a:gd name="connsiteX2262" fmla="*/ 1367790 w 2443162"/>
                <a:gd name="connsiteY2262" fmla="*/ 1685925 h 2161222"/>
                <a:gd name="connsiteX2263" fmla="*/ 1383030 w 2443162"/>
                <a:gd name="connsiteY2263" fmla="*/ 1682115 h 2161222"/>
                <a:gd name="connsiteX2264" fmla="*/ 1397318 w 2443162"/>
                <a:gd name="connsiteY2264" fmla="*/ 1678305 h 2161222"/>
                <a:gd name="connsiteX2265" fmla="*/ 1412558 w 2443162"/>
                <a:gd name="connsiteY2265" fmla="*/ 1674495 h 2161222"/>
                <a:gd name="connsiteX2266" fmla="*/ 1426845 w 2443162"/>
                <a:gd name="connsiteY2266" fmla="*/ 1669733 h 2161222"/>
                <a:gd name="connsiteX2267" fmla="*/ 1441133 w 2443162"/>
                <a:gd name="connsiteY2267" fmla="*/ 1664970 h 2161222"/>
                <a:gd name="connsiteX2268" fmla="*/ 1455420 w 2443162"/>
                <a:gd name="connsiteY2268" fmla="*/ 1659255 h 2161222"/>
                <a:gd name="connsiteX2269" fmla="*/ 1469708 w 2443162"/>
                <a:gd name="connsiteY2269" fmla="*/ 1654493 h 2161222"/>
                <a:gd name="connsiteX2270" fmla="*/ 1483995 w 2443162"/>
                <a:gd name="connsiteY2270" fmla="*/ 1648778 h 2161222"/>
                <a:gd name="connsiteX2271" fmla="*/ 1497330 w 2443162"/>
                <a:gd name="connsiteY2271" fmla="*/ 1643063 h 2161222"/>
                <a:gd name="connsiteX2272" fmla="*/ 1510665 w 2443162"/>
                <a:gd name="connsiteY2272" fmla="*/ 1637348 h 2161222"/>
                <a:gd name="connsiteX2273" fmla="*/ 1524000 w 2443162"/>
                <a:gd name="connsiteY2273" fmla="*/ 1630680 h 2161222"/>
                <a:gd name="connsiteX2274" fmla="*/ 1537335 w 2443162"/>
                <a:gd name="connsiteY2274" fmla="*/ 1624013 h 2161222"/>
                <a:gd name="connsiteX2275" fmla="*/ 1550670 w 2443162"/>
                <a:gd name="connsiteY2275" fmla="*/ 1616393 h 2161222"/>
                <a:gd name="connsiteX2276" fmla="*/ 1564005 w 2443162"/>
                <a:gd name="connsiteY2276" fmla="*/ 1609725 h 2161222"/>
                <a:gd name="connsiteX2277" fmla="*/ 1576388 w 2443162"/>
                <a:gd name="connsiteY2277" fmla="*/ 1602105 h 2161222"/>
                <a:gd name="connsiteX2278" fmla="*/ 1588770 w 2443162"/>
                <a:gd name="connsiteY2278" fmla="*/ 1594485 h 2161222"/>
                <a:gd name="connsiteX2279" fmla="*/ 1601153 w 2443162"/>
                <a:gd name="connsiteY2279" fmla="*/ 1585913 h 2161222"/>
                <a:gd name="connsiteX2280" fmla="*/ 1612583 w 2443162"/>
                <a:gd name="connsiteY2280" fmla="*/ 1577340 h 2161222"/>
                <a:gd name="connsiteX2281" fmla="*/ 1624965 w 2443162"/>
                <a:gd name="connsiteY2281" fmla="*/ 1568768 h 2161222"/>
                <a:gd name="connsiteX2282" fmla="*/ 1636395 w 2443162"/>
                <a:gd name="connsiteY2282" fmla="*/ 1560195 h 2161222"/>
                <a:gd name="connsiteX2283" fmla="*/ 1647825 w 2443162"/>
                <a:gd name="connsiteY2283" fmla="*/ 1550670 h 2161222"/>
                <a:gd name="connsiteX2284" fmla="*/ 1659255 w 2443162"/>
                <a:gd name="connsiteY2284" fmla="*/ 1541145 h 2161222"/>
                <a:gd name="connsiteX2285" fmla="*/ 1670685 w 2443162"/>
                <a:gd name="connsiteY2285" fmla="*/ 1531620 h 2161222"/>
                <a:gd name="connsiteX2286" fmla="*/ 1681163 w 2443162"/>
                <a:gd name="connsiteY2286" fmla="*/ 1522095 h 2161222"/>
                <a:gd name="connsiteX2287" fmla="*/ 1691640 w 2443162"/>
                <a:gd name="connsiteY2287" fmla="*/ 1511618 h 2161222"/>
                <a:gd name="connsiteX2288" fmla="*/ 1788795 w 2443162"/>
                <a:gd name="connsiteY2288" fmla="*/ 1608773 h 2161222"/>
                <a:gd name="connsiteX2289" fmla="*/ 1774508 w 2443162"/>
                <a:gd name="connsiteY2289" fmla="*/ 1622108 h 2161222"/>
                <a:gd name="connsiteX2290" fmla="*/ 1760220 w 2443162"/>
                <a:gd name="connsiteY2290" fmla="*/ 1635443 h 2161222"/>
                <a:gd name="connsiteX2291" fmla="*/ 1745933 w 2443162"/>
                <a:gd name="connsiteY2291" fmla="*/ 1647825 h 2161222"/>
                <a:gd name="connsiteX2292" fmla="*/ 1730693 w 2443162"/>
                <a:gd name="connsiteY2292" fmla="*/ 1660208 h 2161222"/>
                <a:gd name="connsiteX2293" fmla="*/ 1715453 w 2443162"/>
                <a:gd name="connsiteY2293" fmla="*/ 1671638 h 2161222"/>
                <a:gd name="connsiteX2294" fmla="*/ 1700213 w 2443162"/>
                <a:gd name="connsiteY2294" fmla="*/ 1683068 h 2161222"/>
                <a:gd name="connsiteX2295" fmla="*/ 1684973 w 2443162"/>
                <a:gd name="connsiteY2295" fmla="*/ 1694498 h 2161222"/>
                <a:gd name="connsiteX2296" fmla="*/ 1669733 w 2443162"/>
                <a:gd name="connsiteY2296" fmla="*/ 1704975 h 2161222"/>
                <a:gd name="connsiteX2297" fmla="*/ 1653540 w 2443162"/>
                <a:gd name="connsiteY2297" fmla="*/ 1715453 h 2161222"/>
                <a:gd name="connsiteX2298" fmla="*/ 1637348 w 2443162"/>
                <a:gd name="connsiteY2298" fmla="*/ 1724978 h 2161222"/>
                <a:gd name="connsiteX2299" fmla="*/ 1621155 w 2443162"/>
                <a:gd name="connsiteY2299" fmla="*/ 1734503 h 2161222"/>
                <a:gd name="connsiteX2300" fmla="*/ 1604010 w 2443162"/>
                <a:gd name="connsiteY2300" fmla="*/ 1744028 h 2161222"/>
                <a:gd name="connsiteX2301" fmla="*/ 1586865 w 2443162"/>
                <a:gd name="connsiteY2301" fmla="*/ 1752600 h 2161222"/>
                <a:gd name="connsiteX2302" fmla="*/ 1569720 w 2443162"/>
                <a:gd name="connsiteY2302" fmla="*/ 1761173 h 2161222"/>
                <a:gd name="connsiteX2303" fmla="*/ 1552575 w 2443162"/>
                <a:gd name="connsiteY2303" fmla="*/ 1769745 h 2161222"/>
                <a:gd name="connsiteX2304" fmla="*/ 1534478 w 2443162"/>
                <a:gd name="connsiteY2304" fmla="*/ 1777365 h 2161222"/>
                <a:gd name="connsiteX2305" fmla="*/ 1516380 w 2443162"/>
                <a:gd name="connsiteY2305" fmla="*/ 1784985 h 2161222"/>
                <a:gd name="connsiteX2306" fmla="*/ 1498283 w 2443162"/>
                <a:gd name="connsiteY2306" fmla="*/ 1791653 h 2161222"/>
                <a:gd name="connsiteX2307" fmla="*/ 1479233 w 2443162"/>
                <a:gd name="connsiteY2307" fmla="*/ 1798320 h 2161222"/>
                <a:gd name="connsiteX2308" fmla="*/ 1460183 w 2443162"/>
                <a:gd name="connsiteY2308" fmla="*/ 1804035 h 2161222"/>
                <a:gd name="connsiteX2309" fmla="*/ 1441133 w 2443162"/>
                <a:gd name="connsiteY2309" fmla="*/ 1808798 h 2161222"/>
                <a:gd name="connsiteX2310" fmla="*/ 1422083 w 2443162"/>
                <a:gd name="connsiteY2310" fmla="*/ 1813560 h 2161222"/>
                <a:gd name="connsiteX2311" fmla="*/ 1403033 w 2443162"/>
                <a:gd name="connsiteY2311" fmla="*/ 1818323 h 2161222"/>
                <a:gd name="connsiteX2312" fmla="*/ 1383030 w 2443162"/>
                <a:gd name="connsiteY2312" fmla="*/ 1822133 h 2161222"/>
                <a:gd name="connsiteX2313" fmla="*/ 1363028 w 2443162"/>
                <a:gd name="connsiteY2313" fmla="*/ 1825943 h 2161222"/>
                <a:gd name="connsiteX2314" fmla="*/ 1343025 w 2443162"/>
                <a:gd name="connsiteY2314" fmla="*/ 1828800 h 2161222"/>
                <a:gd name="connsiteX2315" fmla="*/ 1323023 w 2443162"/>
                <a:gd name="connsiteY2315" fmla="*/ 1831658 h 2161222"/>
                <a:gd name="connsiteX2316" fmla="*/ 1303020 w 2443162"/>
                <a:gd name="connsiteY2316" fmla="*/ 1833563 h 2161222"/>
                <a:gd name="connsiteX2317" fmla="*/ 1283018 w 2443162"/>
                <a:gd name="connsiteY2317" fmla="*/ 1835468 h 2161222"/>
                <a:gd name="connsiteX2318" fmla="*/ 1262063 w 2443162"/>
                <a:gd name="connsiteY2318" fmla="*/ 1836420 h 2161222"/>
                <a:gd name="connsiteX2319" fmla="*/ 1242060 w 2443162"/>
                <a:gd name="connsiteY2319" fmla="*/ 1837373 h 2161222"/>
                <a:gd name="connsiteX2320" fmla="*/ 1221105 w 2443162"/>
                <a:gd name="connsiteY2320" fmla="*/ 1837373 h 2161222"/>
                <a:gd name="connsiteX2321" fmla="*/ 1201103 w 2443162"/>
                <a:gd name="connsiteY2321" fmla="*/ 1837373 h 2161222"/>
                <a:gd name="connsiteX2322" fmla="*/ 1181100 w 2443162"/>
                <a:gd name="connsiteY2322" fmla="*/ 1836420 h 2161222"/>
                <a:gd name="connsiteX2323" fmla="*/ 1161098 w 2443162"/>
                <a:gd name="connsiteY2323" fmla="*/ 1835468 h 2161222"/>
                <a:gd name="connsiteX2324" fmla="*/ 1141095 w 2443162"/>
                <a:gd name="connsiteY2324" fmla="*/ 1833563 h 2161222"/>
                <a:gd name="connsiteX2325" fmla="*/ 1121093 w 2443162"/>
                <a:gd name="connsiteY2325" fmla="*/ 1831658 h 2161222"/>
                <a:gd name="connsiteX2326" fmla="*/ 1101090 w 2443162"/>
                <a:gd name="connsiteY2326" fmla="*/ 1828800 h 2161222"/>
                <a:gd name="connsiteX2327" fmla="*/ 1081088 w 2443162"/>
                <a:gd name="connsiteY2327" fmla="*/ 1825943 h 2161222"/>
                <a:gd name="connsiteX2328" fmla="*/ 1062038 w 2443162"/>
                <a:gd name="connsiteY2328" fmla="*/ 1822133 h 2161222"/>
                <a:gd name="connsiteX2329" fmla="*/ 1042035 w 2443162"/>
                <a:gd name="connsiteY2329" fmla="*/ 1817370 h 2161222"/>
                <a:gd name="connsiteX2330" fmla="*/ 1022985 w 2443162"/>
                <a:gd name="connsiteY2330" fmla="*/ 1812608 h 2161222"/>
                <a:gd name="connsiteX2331" fmla="*/ 1003935 w 2443162"/>
                <a:gd name="connsiteY2331" fmla="*/ 1807845 h 2161222"/>
                <a:gd name="connsiteX2332" fmla="*/ 984885 w 2443162"/>
                <a:gd name="connsiteY2332" fmla="*/ 1802130 h 2161222"/>
                <a:gd name="connsiteX2333" fmla="*/ 966788 w 2443162"/>
                <a:gd name="connsiteY2333" fmla="*/ 1796415 h 2161222"/>
                <a:gd name="connsiteX2334" fmla="*/ 947738 w 2443162"/>
                <a:gd name="connsiteY2334" fmla="*/ 1789748 h 2161222"/>
                <a:gd name="connsiteX2335" fmla="*/ 929640 w 2443162"/>
                <a:gd name="connsiteY2335" fmla="*/ 1783080 h 2161222"/>
                <a:gd name="connsiteX2336" fmla="*/ 911543 w 2443162"/>
                <a:gd name="connsiteY2336" fmla="*/ 1775460 h 2161222"/>
                <a:gd name="connsiteX2337" fmla="*/ 893445 w 2443162"/>
                <a:gd name="connsiteY2337" fmla="*/ 1767840 h 2161222"/>
                <a:gd name="connsiteX2338" fmla="*/ 876300 w 2443162"/>
                <a:gd name="connsiteY2338" fmla="*/ 1760220 h 2161222"/>
                <a:gd name="connsiteX2339" fmla="*/ 859155 w 2443162"/>
                <a:gd name="connsiteY2339" fmla="*/ 1751648 h 2161222"/>
                <a:gd name="connsiteX2340" fmla="*/ 842010 w 2443162"/>
                <a:gd name="connsiteY2340" fmla="*/ 1743075 h 2161222"/>
                <a:gd name="connsiteX2341" fmla="*/ 824865 w 2443162"/>
                <a:gd name="connsiteY2341" fmla="*/ 1733550 h 2161222"/>
                <a:gd name="connsiteX2342" fmla="*/ 808673 w 2443162"/>
                <a:gd name="connsiteY2342" fmla="*/ 1724025 h 2161222"/>
                <a:gd name="connsiteX2343" fmla="*/ 792480 w 2443162"/>
                <a:gd name="connsiteY2343" fmla="*/ 1714500 h 2161222"/>
                <a:gd name="connsiteX2344" fmla="*/ 776288 w 2443162"/>
                <a:gd name="connsiteY2344" fmla="*/ 1704023 h 2161222"/>
                <a:gd name="connsiteX2345" fmla="*/ 760095 w 2443162"/>
                <a:gd name="connsiteY2345" fmla="*/ 1693545 h 2161222"/>
                <a:gd name="connsiteX2346" fmla="*/ 744855 w 2443162"/>
                <a:gd name="connsiteY2346" fmla="*/ 1683068 h 2161222"/>
                <a:gd name="connsiteX2347" fmla="*/ 729615 w 2443162"/>
                <a:gd name="connsiteY2347" fmla="*/ 1671638 h 2161222"/>
                <a:gd name="connsiteX2348" fmla="*/ 714375 w 2443162"/>
                <a:gd name="connsiteY2348" fmla="*/ 1660208 h 2161222"/>
                <a:gd name="connsiteX2349" fmla="*/ 699135 w 2443162"/>
                <a:gd name="connsiteY2349" fmla="*/ 1647825 h 2161222"/>
                <a:gd name="connsiteX2350" fmla="*/ 683895 w 2443162"/>
                <a:gd name="connsiteY2350" fmla="*/ 1635443 h 2161222"/>
                <a:gd name="connsiteX2351" fmla="*/ 669608 w 2443162"/>
                <a:gd name="connsiteY2351" fmla="*/ 1622108 h 2161222"/>
                <a:gd name="connsiteX2352" fmla="*/ 655320 w 2443162"/>
                <a:gd name="connsiteY2352" fmla="*/ 1608773 h 2161222"/>
                <a:gd name="connsiteX2353" fmla="*/ 753428 w 2443162"/>
                <a:gd name="connsiteY2353" fmla="*/ 1514475 h 2161222"/>
                <a:gd name="connsiteX2354" fmla="*/ 763905 w 2443162"/>
                <a:gd name="connsiteY2354" fmla="*/ 1524000 h 2161222"/>
                <a:gd name="connsiteX2355" fmla="*/ 774383 w 2443162"/>
                <a:gd name="connsiteY2355" fmla="*/ 1533525 h 2161222"/>
                <a:gd name="connsiteX2356" fmla="*/ 784860 w 2443162"/>
                <a:gd name="connsiteY2356" fmla="*/ 1543050 h 2161222"/>
                <a:gd name="connsiteX2357" fmla="*/ 795338 w 2443162"/>
                <a:gd name="connsiteY2357" fmla="*/ 1551623 h 2161222"/>
                <a:gd name="connsiteX2358" fmla="*/ 805815 w 2443162"/>
                <a:gd name="connsiteY2358" fmla="*/ 1560195 h 2161222"/>
                <a:gd name="connsiteX2359" fmla="*/ 817245 w 2443162"/>
                <a:gd name="connsiteY2359" fmla="*/ 1568768 h 2161222"/>
                <a:gd name="connsiteX2360" fmla="*/ 827723 w 2443162"/>
                <a:gd name="connsiteY2360" fmla="*/ 1577340 h 2161222"/>
                <a:gd name="connsiteX2361" fmla="*/ 839153 w 2443162"/>
                <a:gd name="connsiteY2361" fmla="*/ 1584960 h 2161222"/>
                <a:gd name="connsiteX2362" fmla="*/ 850583 w 2443162"/>
                <a:gd name="connsiteY2362" fmla="*/ 1592580 h 2161222"/>
                <a:gd name="connsiteX2363" fmla="*/ 862965 w 2443162"/>
                <a:gd name="connsiteY2363" fmla="*/ 1600200 h 2161222"/>
                <a:gd name="connsiteX2364" fmla="*/ 874395 w 2443162"/>
                <a:gd name="connsiteY2364" fmla="*/ 1607820 h 2161222"/>
                <a:gd name="connsiteX2365" fmla="*/ 886778 w 2443162"/>
                <a:gd name="connsiteY2365" fmla="*/ 1614488 h 2161222"/>
                <a:gd name="connsiteX2366" fmla="*/ 899160 w 2443162"/>
                <a:gd name="connsiteY2366" fmla="*/ 1621155 h 2161222"/>
                <a:gd name="connsiteX2367" fmla="*/ 911543 w 2443162"/>
                <a:gd name="connsiteY2367" fmla="*/ 1627823 h 2161222"/>
                <a:gd name="connsiteX2368" fmla="*/ 923925 w 2443162"/>
                <a:gd name="connsiteY2368" fmla="*/ 1633538 h 2161222"/>
                <a:gd name="connsiteX2369" fmla="*/ 936308 w 2443162"/>
                <a:gd name="connsiteY2369" fmla="*/ 1639253 h 2161222"/>
                <a:gd name="connsiteX2370" fmla="*/ 949643 w 2443162"/>
                <a:gd name="connsiteY2370" fmla="*/ 1644968 h 2161222"/>
                <a:gd name="connsiteX2371" fmla="*/ 962978 w 2443162"/>
                <a:gd name="connsiteY2371" fmla="*/ 1650683 h 2161222"/>
                <a:gd name="connsiteX2372" fmla="*/ 976313 w 2443162"/>
                <a:gd name="connsiteY2372" fmla="*/ 1656398 h 2161222"/>
                <a:gd name="connsiteX2373" fmla="*/ 989648 w 2443162"/>
                <a:gd name="connsiteY2373" fmla="*/ 1661160 h 2161222"/>
                <a:gd name="connsiteX2374" fmla="*/ 1002983 w 2443162"/>
                <a:gd name="connsiteY2374" fmla="*/ 1665923 h 2161222"/>
                <a:gd name="connsiteX2375" fmla="*/ 1016318 w 2443162"/>
                <a:gd name="connsiteY2375" fmla="*/ 1670685 h 2161222"/>
                <a:gd name="connsiteX2376" fmla="*/ 1029653 w 2443162"/>
                <a:gd name="connsiteY2376" fmla="*/ 1675448 h 2161222"/>
                <a:gd name="connsiteX2377" fmla="*/ 1043940 w 2443162"/>
                <a:gd name="connsiteY2377" fmla="*/ 1679258 h 2161222"/>
                <a:gd name="connsiteX2378" fmla="*/ 1058228 w 2443162"/>
                <a:gd name="connsiteY2378" fmla="*/ 1683068 h 2161222"/>
                <a:gd name="connsiteX2379" fmla="*/ 1072515 w 2443162"/>
                <a:gd name="connsiteY2379" fmla="*/ 1685925 h 2161222"/>
                <a:gd name="connsiteX2380" fmla="*/ 1086803 w 2443162"/>
                <a:gd name="connsiteY2380" fmla="*/ 1688783 h 2161222"/>
                <a:gd name="connsiteX2381" fmla="*/ 1101090 w 2443162"/>
                <a:gd name="connsiteY2381" fmla="*/ 1691640 h 2161222"/>
                <a:gd name="connsiteX2382" fmla="*/ 1115378 w 2443162"/>
                <a:gd name="connsiteY2382" fmla="*/ 1694498 h 2161222"/>
                <a:gd name="connsiteX2383" fmla="*/ 1129665 w 2443162"/>
                <a:gd name="connsiteY2383" fmla="*/ 1696403 h 2161222"/>
                <a:gd name="connsiteX2384" fmla="*/ 1143953 w 2443162"/>
                <a:gd name="connsiteY2384" fmla="*/ 1698308 h 2161222"/>
                <a:gd name="connsiteX2385" fmla="*/ 1159193 w 2443162"/>
                <a:gd name="connsiteY2385" fmla="*/ 1700213 h 2161222"/>
                <a:gd name="connsiteX2386" fmla="*/ 1159193 w 2443162"/>
                <a:gd name="connsiteY2386" fmla="*/ 1670685 h 2161222"/>
                <a:gd name="connsiteX2387" fmla="*/ 1145858 w 2443162"/>
                <a:gd name="connsiteY2387" fmla="*/ 1669733 h 2161222"/>
                <a:gd name="connsiteX2388" fmla="*/ 1131570 w 2443162"/>
                <a:gd name="connsiteY2388" fmla="*/ 1667828 h 2161222"/>
                <a:gd name="connsiteX2389" fmla="*/ 1118235 w 2443162"/>
                <a:gd name="connsiteY2389" fmla="*/ 1665923 h 2161222"/>
                <a:gd name="connsiteX2390" fmla="*/ 1103948 w 2443162"/>
                <a:gd name="connsiteY2390" fmla="*/ 1663065 h 2161222"/>
                <a:gd name="connsiteX2391" fmla="*/ 1090613 w 2443162"/>
                <a:gd name="connsiteY2391" fmla="*/ 1660208 h 2161222"/>
                <a:gd name="connsiteX2392" fmla="*/ 1077278 w 2443162"/>
                <a:gd name="connsiteY2392" fmla="*/ 1657350 h 2161222"/>
                <a:gd name="connsiteX2393" fmla="*/ 1063943 w 2443162"/>
                <a:gd name="connsiteY2393" fmla="*/ 1654493 h 2161222"/>
                <a:gd name="connsiteX2394" fmla="*/ 1050608 w 2443162"/>
                <a:gd name="connsiteY2394" fmla="*/ 1650683 h 2161222"/>
                <a:gd name="connsiteX2395" fmla="*/ 1037273 w 2443162"/>
                <a:gd name="connsiteY2395" fmla="*/ 1646873 h 2161222"/>
                <a:gd name="connsiteX2396" fmla="*/ 1023938 w 2443162"/>
                <a:gd name="connsiteY2396" fmla="*/ 1643063 h 2161222"/>
                <a:gd name="connsiteX2397" fmla="*/ 1011555 w 2443162"/>
                <a:gd name="connsiteY2397" fmla="*/ 1638300 h 2161222"/>
                <a:gd name="connsiteX2398" fmla="*/ 999173 w 2443162"/>
                <a:gd name="connsiteY2398" fmla="*/ 1633538 h 2161222"/>
                <a:gd name="connsiteX2399" fmla="*/ 986790 w 2443162"/>
                <a:gd name="connsiteY2399" fmla="*/ 1628775 h 2161222"/>
                <a:gd name="connsiteX2400" fmla="*/ 974408 w 2443162"/>
                <a:gd name="connsiteY2400" fmla="*/ 1624013 h 2161222"/>
                <a:gd name="connsiteX2401" fmla="*/ 962025 w 2443162"/>
                <a:gd name="connsiteY2401" fmla="*/ 1618298 h 2161222"/>
                <a:gd name="connsiteX2402" fmla="*/ 949643 w 2443162"/>
                <a:gd name="connsiteY2402" fmla="*/ 1612583 h 2161222"/>
                <a:gd name="connsiteX2403" fmla="*/ 937260 w 2443162"/>
                <a:gd name="connsiteY2403" fmla="*/ 1606868 h 2161222"/>
                <a:gd name="connsiteX2404" fmla="*/ 925830 w 2443162"/>
                <a:gd name="connsiteY2404" fmla="*/ 1601153 h 2161222"/>
                <a:gd name="connsiteX2405" fmla="*/ 914400 w 2443162"/>
                <a:gd name="connsiteY2405" fmla="*/ 1595438 h 2161222"/>
                <a:gd name="connsiteX2406" fmla="*/ 902970 w 2443162"/>
                <a:gd name="connsiteY2406" fmla="*/ 1588770 h 2161222"/>
                <a:gd name="connsiteX2407" fmla="*/ 891540 w 2443162"/>
                <a:gd name="connsiteY2407" fmla="*/ 1582103 h 2161222"/>
                <a:gd name="connsiteX2408" fmla="*/ 880110 w 2443162"/>
                <a:gd name="connsiteY2408" fmla="*/ 1575435 h 2161222"/>
                <a:gd name="connsiteX2409" fmla="*/ 868680 w 2443162"/>
                <a:gd name="connsiteY2409" fmla="*/ 1568768 h 2161222"/>
                <a:gd name="connsiteX2410" fmla="*/ 858203 w 2443162"/>
                <a:gd name="connsiteY2410" fmla="*/ 1561148 h 2161222"/>
                <a:gd name="connsiteX2411" fmla="*/ 847725 w 2443162"/>
                <a:gd name="connsiteY2411" fmla="*/ 1553528 h 2161222"/>
                <a:gd name="connsiteX2412" fmla="*/ 837248 w 2443162"/>
                <a:gd name="connsiteY2412" fmla="*/ 1545908 h 2161222"/>
                <a:gd name="connsiteX2413" fmla="*/ 826770 w 2443162"/>
                <a:gd name="connsiteY2413" fmla="*/ 1537335 h 2161222"/>
                <a:gd name="connsiteX2414" fmla="*/ 816293 w 2443162"/>
                <a:gd name="connsiteY2414" fmla="*/ 1528763 h 2161222"/>
                <a:gd name="connsiteX2415" fmla="*/ 805815 w 2443162"/>
                <a:gd name="connsiteY2415" fmla="*/ 1520190 h 2161222"/>
                <a:gd name="connsiteX2416" fmla="*/ 795338 w 2443162"/>
                <a:gd name="connsiteY2416" fmla="*/ 1511618 h 2161222"/>
                <a:gd name="connsiteX2417" fmla="*/ 785813 w 2443162"/>
                <a:gd name="connsiteY2417" fmla="*/ 1503045 h 2161222"/>
                <a:gd name="connsiteX2418" fmla="*/ 776288 w 2443162"/>
                <a:gd name="connsiteY2418" fmla="*/ 1494473 h 2161222"/>
                <a:gd name="connsiteX2419" fmla="*/ 801053 w 2443162"/>
                <a:gd name="connsiteY2419" fmla="*/ 1469708 h 2161222"/>
                <a:gd name="connsiteX2420" fmla="*/ 802958 w 2443162"/>
                <a:gd name="connsiteY2420" fmla="*/ 1470660 h 2161222"/>
                <a:gd name="connsiteX2421" fmla="*/ 839153 w 2443162"/>
                <a:gd name="connsiteY2421" fmla="*/ 1473518 h 2161222"/>
                <a:gd name="connsiteX2422" fmla="*/ 857250 w 2443162"/>
                <a:gd name="connsiteY2422" fmla="*/ 1452563 h 2161222"/>
                <a:gd name="connsiteX2423" fmla="*/ 906780 w 2443162"/>
                <a:gd name="connsiteY2423" fmla="*/ 1456373 h 2161222"/>
                <a:gd name="connsiteX2424" fmla="*/ 914400 w 2443162"/>
                <a:gd name="connsiteY2424" fmla="*/ 1438275 h 2161222"/>
                <a:gd name="connsiteX2425" fmla="*/ 914400 w 2443162"/>
                <a:gd name="connsiteY2425" fmla="*/ 1431608 h 2161222"/>
                <a:gd name="connsiteX2426" fmla="*/ 916305 w 2443162"/>
                <a:gd name="connsiteY2426" fmla="*/ 1432560 h 2161222"/>
                <a:gd name="connsiteX2427" fmla="*/ 916305 w 2443162"/>
                <a:gd name="connsiteY2427" fmla="*/ 1431608 h 2161222"/>
                <a:gd name="connsiteX2428" fmla="*/ 916305 w 2443162"/>
                <a:gd name="connsiteY2428" fmla="*/ 1431608 h 2161222"/>
                <a:gd name="connsiteX2429" fmla="*/ 929640 w 2443162"/>
                <a:gd name="connsiteY2429" fmla="*/ 1441133 h 2161222"/>
                <a:gd name="connsiteX2430" fmla="*/ 942975 w 2443162"/>
                <a:gd name="connsiteY2430" fmla="*/ 1450658 h 2161222"/>
                <a:gd name="connsiteX2431" fmla="*/ 957263 w 2443162"/>
                <a:gd name="connsiteY2431" fmla="*/ 1459230 h 2161222"/>
                <a:gd name="connsiteX2432" fmla="*/ 971550 w 2443162"/>
                <a:gd name="connsiteY2432" fmla="*/ 1467803 h 2161222"/>
                <a:gd name="connsiteX2433" fmla="*/ 986790 w 2443162"/>
                <a:gd name="connsiteY2433" fmla="*/ 1475423 h 2161222"/>
                <a:gd name="connsiteX2434" fmla="*/ 1002030 w 2443162"/>
                <a:gd name="connsiteY2434" fmla="*/ 1483043 h 2161222"/>
                <a:gd name="connsiteX2435" fmla="*/ 1017270 w 2443162"/>
                <a:gd name="connsiteY2435" fmla="*/ 1489710 h 2161222"/>
                <a:gd name="connsiteX2436" fmla="*/ 1032510 w 2443162"/>
                <a:gd name="connsiteY2436" fmla="*/ 1496378 h 2161222"/>
                <a:gd name="connsiteX2437" fmla="*/ 1047750 w 2443162"/>
                <a:gd name="connsiteY2437" fmla="*/ 1502093 h 2161222"/>
                <a:gd name="connsiteX2438" fmla="*/ 1062990 w 2443162"/>
                <a:gd name="connsiteY2438" fmla="*/ 1507808 h 2161222"/>
                <a:gd name="connsiteX2439" fmla="*/ 1079183 w 2443162"/>
                <a:gd name="connsiteY2439" fmla="*/ 1512570 h 2161222"/>
                <a:gd name="connsiteX2440" fmla="*/ 1095375 w 2443162"/>
                <a:gd name="connsiteY2440" fmla="*/ 1517333 h 2161222"/>
                <a:gd name="connsiteX2441" fmla="*/ 1111568 w 2443162"/>
                <a:gd name="connsiteY2441" fmla="*/ 1522095 h 2161222"/>
                <a:gd name="connsiteX2442" fmla="*/ 1128713 w 2443162"/>
                <a:gd name="connsiteY2442" fmla="*/ 1525905 h 2161222"/>
                <a:gd name="connsiteX2443" fmla="*/ 1145858 w 2443162"/>
                <a:gd name="connsiteY2443" fmla="*/ 1528763 h 2161222"/>
                <a:gd name="connsiteX2444" fmla="*/ 1163003 w 2443162"/>
                <a:gd name="connsiteY2444" fmla="*/ 1531620 h 2161222"/>
                <a:gd name="connsiteX2445" fmla="*/ 1163003 w 2443162"/>
                <a:gd name="connsiteY2445" fmla="*/ 1501140 h 2161222"/>
                <a:gd name="connsiteX2446" fmla="*/ 1143953 w 2443162"/>
                <a:gd name="connsiteY2446" fmla="*/ 1498283 h 2161222"/>
                <a:gd name="connsiteX2447" fmla="*/ 1124903 w 2443162"/>
                <a:gd name="connsiteY2447" fmla="*/ 1494473 h 2161222"/>
                <a:gd name="connsiteX2448" fmla="*/ 1105853 w 2443162"/>
                <a:gd name="connsiteY2448" fmla="*/ 1489710 h 2161222"/>
                <a:gd name="connsiteX2449" fmla="*/ 1087755 w 2443162"/>
                <a:gd name="connsiteY2449" fmla="*/ 1484948 h 2161222"/>
                <a:gd name="connsiteX2450" fmla="*/ 1069658 w 2443162"/>
                <a:gd name="connsiteY2450" fmla="*/ 1479233 h 2161222"/>
                <a:gd name="connsiteX2451" fmla="*/ 1051560 w 2443162"/>
                <a:gd name="connsiteY2451" fmla="*/ 1472565 h 2161222"/>
                <a:gd name="connsiteX2452" fmla="*/ 1034415 w 2443162"/>
                <a:gd name="connsiteY2452" fmla="*/ 1465898 h 2161222"/>
                <a:gd name="connsiteX2453" fmla="*/ 1017270 w 2443162"/>
                <a:gd name="connsiteY2453" fmla="*/ 1458278 h 2161222"/>
                <a:gd name="connsiteX2454" fmla="*/ 1001078 w 2443162"/>
                <a:gd name="connsiteY2454" fmla="*/ 1449705 h 2161222"/>
                <a:gd name="connsiteX2455" fmla="*/ 984885 w 2443162"/>
                <a:gd name="connsiteY2455" fmla="*/ 1441133 h 2161222"/>
                <a:gd name="connsiteX2456" fmla="*/ 969645 w 2443162"/>
                <a:gd name="connsiteY2456" fmla="*/ 1431608 h 2161222"/>
                <a:gd name="connsiteX2457" fmla="*/ 954405 w 2443162"/>
                <a:gd name="connsiteY2457" fmla="*/ 1421130 h 2161222"/>
                <a:gd name="connsiteX2458" fmla="*/ 939165 w 2443162"/>
                <a:gd name="connsiteY2458" fmla="*/ 1410653 h 2161222"/>
                <a:gd name="connsiteX2459" fmla="*/ 924878 w 2443162"/>
                <a:gd name="connsiteY2459" fmla="*/ 1399223 h 2161222"/>
                <a:gd name="connsiteX2460" fmla="*/ 910590 w 2443162"/>
                <a:gd name="connsiteY2460" fmla="*/ 1387793 h 2161222"/>
                <a:gd name="connsiteX2461" fmla="*/ 897255 w 2443162"/>
                <a:gd name="connsiteY2461" fmla="*/ 1375410 h 2161222"/>
                <a:gd name="connsiteX2462" fmla="*/ 995363 w 2443162"/>
                <a:gd name="connsiteY2462" fmla="*/ 1277303 h 2161222"/>
                <a:gd name="connsiteX2463" fmla="*/ 1003935 w 2443162"/>
                <a:gd name="connsiteY2463" fmla="*/ 1284923 h 2161222"/>
                <a:gd name="connsiteX2464" fmla="*/ 1012508 w 2443162"/>
                <a:gd name="connsiteY2464" fmla="*/ 1292543 h 2161222"/>
                <a:gd name="connsiteX2465" fmla="*/ 1022033 w 2443162"/>
                <a:gd name="connsiteY2465" fmla="*/ 1299210 h 2161222"/>
                <a:gd name="connsiteX2466" fmla="*/ 1031558 w 2443162"/>
                <a:gd name="connsiteY2466" fmla="*/ 1305878 h 2161222"/>
                <a:gd name="connsiteX2467" fmla="*/ 1041083 w 2443162"/>
                <a:gd name="connsiteY2467" fmla="*/ 1312545 h 2161222"/>
                <a:gd name="connsiteX2468" fmla="*/ 1051560 w 2443162"/>
                <a:gd name="connsiteY2468" fmla="*/ 1318260 h 2161222"/>
                <a:gd name="connsiteX2469" fmla="*/ 1062038 w 2443162"/>
                <a:gd name="connsiteY2469" fmla="*/ 1323975 h 2161222"/>
                <a:gd name="connsiteX2470" fmla="*/ 1072515 w 2443162"/>
                <a:gd name="connsiteY2470" fmla="*/ 1329690 h 2161222"/>
                <a:gd name="connsiteX2471" fmla="*/ 1072515 w 2443162"/>
                <a:gd name="connsiteY2471" fmla="*/ 1327785 h 2161222"/>
                <a:gd name="connsiteX2472" fmla="*/ 1076325 w 2443162"/>
                <a:gd name="connsiteY2472" fmla="*/ 1313498 h 2161222"/>
                <a:gd name="connsiteX2473" fmla="*/ 1081088 w 2443162"/>
                <a:gd name="connsiteY2473" fmla="*/ 1303973 h 2161222"/>
                <a:gd name="connsiteX2474" fmla="*/ 1071563 w 2443162"/>
                <a:gd name="connsiteY2474" fmla="*/ 1299210 h 2161222"/>
                <a:gd name="connsiteX2475" fmla="*/ 1062038 w 2443162"/>
                <a:gd name="connsiteY2475" fmla="*/ 1294448 h 2161222"/>
                <a:gd name="connsiteX2476" fmla="*/ 1053465 w 2443162"/>
                <a:gd name="connsiteY2476" fmla="*/ 1289685 h 2161222"/>
                <a:gd name="connsiteX2477" fmla="*/ 1044893 w 2443162"/>
                <a:gd name="connsiteY2477" fmla="*/ 1283970 h 2161222"/>
                <a:gd name="connsiteX2478" fmla="*/ 1036320 w 2443162"/>
                <a:gd name="connsiteY2478" fmla="*/ 1278255 h 2161222"/>
                <a:gd name="connsiteX2479" fmla="*/ 1027748 w 2443162"/>
                <a:gd name="connsiteY2479" fmla="*/ 1271588 h 2161222"/>
                <a:gd name="connsiteX2480" fmla="*/ 1019175 w 2443162"/>
                <a:gd name="connsiteY2480" fmla="*/ 1264920 h 2161222"/>
                <a:gd name="connsiteX2481" fmla="*/ 1011555 w 2443162"/>
                <a:gd name="connsiteY2481" fmla="*/ 1258253 h 2161222"/>
                <a:gd name="connsiteX2482" fmla="*/ 1110615 w 2443162"/>
                <a:gd name="connsiteY2482" fmla="*/ 1159193 h 2161222"/>
                <a:gd name="connsiteX2483" fmla="*/ 1116330 w 2443162"/>
                <a:gd name="connsiteY2483" fmla="*/ 1163955 h 2161222"/>
                <a:gd name="connsiteX2484" fmla="*/ 1122045 w 2443162"/>
                <a:gd name="connsiteY2484" fmla="*/ 1168718 h 2161222"/>
                <a:gd name="connsiteX2485" fmla="*/ 1128713 w 2443162"/>
                <a:gd name="connsiteY2485" fmla="*/ 1172528 h 2161222"/>
                <a:gd name="connsiteX2486" fmla="*/ 1134428 w 2443162"/>
                <a:gd name="connsiteY2486" fmla="*/ 1176338 h 2161222"/>
                <a:gd name="connsiteX2487" fmla="*/ 1141095 w 2443162"/>
                <a:gd name="connsiteY2487" fmla="*/ 1180148 h 2161222"/>
                <a:gd name="connsiteX2488" fmla="*/ 1147763 w 2443162"/>
                <a:gd name="connsiteY2488" fmla="*/ 1183958 h 2161222"/>
                <a:gd name="connsiteX2489" fmla="*/ 1154430 w 2443162"/>
                <a:gd name="connsiteY2489" fmla="*/ 1186815 h 2161222"/>
                <a:gd name="connsiteX2490" fmla="*/ 1161098 w 2443162"/>
                <a:gd name="connsiteY2490" fmla="*/ 1189673 h 2161222"/>
                <a:gd name="connsiteX2491" fmla="*/ 1161098 w 2443162"/>
                <a:gd name="connsiteY2491" fmla="*/ 1161098 h 2161222"/>
                <a:gd name="connsiteX2492" fmla="*/ 1152525 w 2443162"/>
                <a:gd name="connsiteY2492" fmla="*/ 1157288 h 2161222"/>
                <a:gd name="connsiteX2493" fmla="*/ 1143953 w 2443162"/>
                <a:gd name="connsiteY2493" fmla="*/ 1152525 h 2161222"/>
                <a:gd name="connsiteX2494" fmla="*/ 1135380 w 2443162"/>
                <a:gd name="connsiteY2494" fmla="*/ 1147763 h 2161222"/>
                <a:gd name="connsiteX2495" fmla="*/ 1127760 w 2443162"/>
                <a:gd name="connsiteY2495" fmla="*/ 1142048 h 2161222"/>
                <a:gd name="connsiteX2496" fmla="*/ 1157288 w 2443162"/>
                <a:gd name="connsiteY2496" fmla="*/ 1112520 h 2161222"/>
                <a:gd name="connsiteX2497" fmla="*/ 1126808 w 2443162"/>
                <a:gd name="connsiteY2497" fmla="*/ 1102043 h 2161222"/>
                <a:gd name="connsiteX2498" fmla="*/ 1106805 w 2443162"/>
                <a:gd name="connsiteY2498" fmla="*/ 1122045 h 2161222"/>
                <a:gd name="connsiteX2499" fmla="*/ 1101090 w 2443162"/>
                <a:gd name="connsiteY2499" fmla="*/ 1114425 h 2161222"/>
                <a:gd name="connsiteX2500" fmla="*/ 1095375 w 2443162"/>
                <a:gd name="connsiteY2500" fmla="*/ 1105853 h 2161222"/>
                <a:gd name="connsiteX2501" fmla="*/ 1089660 w 2443162"/>
                <a:gd name="connsiteY2501" fmla="*/ 1097280 h 2161222"/>
                <a:gd name="connsiteX2502" fmla="*/ 1084898 w 2443162"/>
                <a:gd name="connsiteY2502" fmla="*/ 1087755 h 2161222"/>
                <a:gd name="connsiteX2503" fmla="*/ 1064895 w 2443162"/>
                <a:gd name="connsiteY2503" fmla="*/ 1081088 h 2161222"/>
                <a:gd name="connsiteX2504" fmla="*/ 1061085 w 2443162"/>
                <a:gd name="connsiteY2504" fmla="*/ 1079183 h 2161222"/>
                <a:gd name="connsiteX2505" fmla="*/ 1059180 w 2443162"/>
                <a:gd name="connsiteY2505" fmla="*/ 1078230 h 2161222"/>
                <a:gd name="connsiteX2506" fmla="*/ 1034415 w 2443162"/>
                <a:gd name="connsiteY2506" fmla="*/ 1063943 h 2161222"/>
                <a:gd name="connsiteX2507" fmla="*/ 1013460 w 2443162"/>
                <a:gd name="connsiteY2507" fmla="*/ 1049655 h 2161222"/>
                <a:gd name="connsiteX2508" fmla="*/ 995363 w 2443162"/>
                <a:gd name="connsiteY2508" fmla="*/ 1031558 h 2161222"/>
                <a:gd name="connsiteX2509" fmla="*/ 978218 w 2443162"/>
                <a:gd name="connsiteY2509" fmla="*/ 1014413 h 2161222"/>
                <a:gd name="connsiteX2510" fmla="*/ 967740 w 2443162"/>
                <a:gd name="connsiteY2510" fmla="*/ 993458 h 2161222"/>
                <a:gd name="connsiteX2511" fmla="*/ 957263 w 2443162"/>
                <a:gd name="connsiteY2511" fmla="*/ 972503 h 2161222"/>
                <a:gd name="connsiteX2512" fmla="*/ 950595 w 2443162"/>
                <a:gd name="connsiteY2512" fmla="*/ 947738 h 2161222"/>
                <a:gd name="connsiteX2513" fmla="*/ 942975 w 2443162"/>
                <a:gd name="connsiteY2513" fmla="*/ 922973 h 2161222"/>
                <a:gd name="connsiteX2514" fmla="*/ 942975 w 2443162"/>
                <a:gd name="connsiteY2514" fmla="*/ 894398 h 2161222"/>
                <a:gd name="connsiteX2515" fmla="*/ 945833 w 2443162"/>
                <a:gd name="connsiteY2515" fmla="*/ 862013 h 2161222"/>
                <a:gd name="connsiteX2516" fmla="*/ 951548 w 2443162"/>
                <a:gd name="connsiteY2516" fmla="*/ 832485 h 2161222"/>
                <a:gd name="connsiteX2517" fmla="*/ 953453 w 2443162"/>
                <a:gd name="connsiteY2517" fmla="*/ 824865 h 2161222"/>
                <a:gd name="connsiteX2518" fmla="*/ 969645 w 2443162"/>
                <a:gd name="connsiteY2518" fmla="*/ 788670 h 2161222"/>
                <a:gd name="connsiteX2519" fmla="*/ 975360 w 2443162"/>
                <a:gd name="connsiteY2519" fmla="*/ 778193 h 2161222"/>
                <a:gd name="connsiteX2520" fmla="*/ 973455 w 2443162"/>
                <a:gd name="connsiteY2520" fmla="*/ 780098 h 2161222"/>
                <a:gd name="connsiteX2521" fmla="*/ 975360 w 2443162"/>
                <a:gd name="connsiteY2521" fmla="*/ 775335 h 2161222"/>
                <a:gd name="connsiteX2522" fmla="*/ 986790 w 2443162"/>
                <a:gd name="connsiteY2522" fmla="*/ 761048 h 2161222"/>
                <a:gd name="connsiteX2523" fmla="*/ 891540 w 2443162"/>
                <a:gd name="connsiteY2523" fmla="*/ 665798 h 2161222"/>
                <a:gd name="connsiteX2524" fmla="*/ 904875 w 2443162"/>
                <a:gd name="connsiteY2524" fmla="*/ 653415 h 2161222"/>
                <a:gd name="connsiteX2525" fmla="*/ 919163 w 2443162"/>
                <a:gd name="connsiteY2525" fmla="*/ 641985 h 2161222"/>
                <a:gd name="connsiteX2526" fmla="*/ 933450 w 2443162"/>
                <a:gd name="connsiteY2526" fmla="*/ 631508 h 2161222"/>
                <a:gd name="connsiteX2527" fmla="*/ 948690 w 2443162"/>
                <a:gd name="connsiteY2527" fmla="*/ 621030 h 2161222"/>
                <a:gd name="connsiteX2528" fmla="*/ 963930 w 2443162"/>
                <a:gd name="connsiteY2528" fmla="*/ 610553 h 2161222"/>
                <a:gd name="connsiteX2529" fmla="*/ 979170 w 2443162"/>
                <a:gd name="connsiteY2529" fmla="*/ 601028 h 2161222"/>
                <a:gd name="connsiteX2530" fmla="*/ 994410 w 2443162"/>
                <a:gd name="connsiteY2530" fmla="*/ 592455 h 2161222"/>
                <a:gd name="connsiteX2531" fmla="*/ 1009650 w 2443162"/>
                <a:gd name="connsiteY2531" fmla="*/ 583883 h 2161222"/>
                <a:gd name="connsiteX2532" fmla="*/ 1025843 w 2443162"/>
                <a:gd name="connsiteY2532" fmla="*/ 576263 h 2161222"/>
                <a:gd name="connsiteX2533" fmla="*/ 1042035 w 2443162"/>
                <a:gd name="connsiteY2533" fmla="*/ 569595 h 2161222"/>
                <a:gd name="connsiteX2534" fmla="*/ 1059180 w 2443162"/>
                <a:gd name="connsiteY2534" fmla="*/ 562928 h 2161222"/>
                <a:gd name="connsiteX2535" fmla="*/ 1076325 w 2443162"/>
                <a:gd name="connsiteY2535" fmla="*/ 557213 h 2161222"/>
                <a:gd name="connsiteX2536" fmla="*/ 1093470 w 2443162"/>
                <a:gd name="connsiteY2536" fmla="*/ 551498 h 2161222"/>
                <a:gd name="connsiteX2537" fmla="*/ 1111568 w 2443162"/>
                <a:gd name="connsiteY2537" fmla="*/ 546735 h 2161222"/>
                <a:gd name="connsiteX2538" fmla="*/ 1129665 w 2443162"/>
                <a:gd name="connsiteY2538" fmla="*/ 542925 h 2161222"/>
                <a:gd name="connsiteX2539" fmla="*/ 1148715 w 2443162"/>
                <a:gd name="connsiteY2539" fmla="*/ 539115 h 2161222"/>
                <a:gd name="connsiteX2540" fmla="*/ 1148715 w 2443162"/>
                <a:gd name="connsiteY2540" fmla="*/ 509588 h 2161222"/>
                <a:gd name="connsiteX2541" fmla="*/ 1128713 w 2443162"/>
                <a:gd name="connsiteY2541" fmla="*/ 513398 h 2161222"/>
                <a:gd name="connsiteX2542" fmla="*/ 1108710 w 2443162"/>
                <a:gd name="connsiteY2542" fmla="*/ 517208 h 2161222"/>
                <a:gd name="connsiteX2543" fmla="*/ 1089660 w 2443162"/>
                <a:gd name="connsiteY2543" fmla="*/ 521970 h 2161222"/>
                <a:gd name="connsiteX2544" fmla="*/ 1070610 w 2443162"/>
                <a:gd name="connsiteY2544" fmla="*/ 527685 h 2161222"/>
                <a:gd name="connsiteX2545" fmla="*/ 1051560 w 2443162"/>
                <a:gd name="connsiteY2545" fmla="*/ 533400 h 2161222"/>
                <a:gd name="connsiteX2546" fmla="*/ 1033463 w 2443162"/>
                <a:gd name="connsiteY2546" fmla="*/ 540068 h 2161222"/>
                <a:gd name="connsiteX2547" fmla="*/ 1015365 w 2443162"/>
                <a:gd name="connsiteY2547" fmla="*/ 547688 h 2161222"/>
                <a:gd name="connsiteX2548" fmla="*/ 997268 w 2443162"/>
                <a:gd name="connsiteY2548" fmla="*/ 555308 h 2161222"/>
                <a:gd name="connsiteX2549" fmla="*/ 980123 w 2443162"/>
                <a:gd name="connsiteY2549" fmla="*/ 564833 h 2161222"/>
                <a:gd name="connsiteX2550" fmla="*/ 962978 w 2443162"/>
                <a:gd name="connsiteY2550" fmla="*/ 574358 h 2161222"/>
                <a:gd name="connsiteX2551" fmla="*/ 946785 w 2443162"/>
                <a:gd name="connsiteY2551" fmla="*/ 584835 h 2161222"/>
                <a:gd name="connsiteX2552" fmla="*/ 930593 w 2443162"/>
                <a:gd name="connsiteY2552" fmla="*/ 595313 h 2161222"/>
                <a:gd name="connsiteX2553" fmla="*/ 915353 w 2443162"/>
                <a:gd name="connsiteY2553" fmla="*/ 606743 h 2161222"/>
                <a:gd name="connsiteX2554" fmla="*/ 900113 w 2443162"/>
                <a:gd name="connsiteY2554" fmla="*/ 618173 h 2161222"/>
                <a:gd name="connsiteX2555" fmla="*/ 884873 w 2443162"/>
                <a:gd name="connsiteY2555" fmla="*/ 630555 h 2161222"/>
                <a:gd name="connsiteX2556" fmla="*/ 870585 w 2443162"/>
                <a:gd name="connsiteY2556" fmla="*/ 643890 h 2161222"/>
                <a:gd name="connsiteX2557" fmla="*/ 857250 w 2443162"/>
                <a:gd name="connsiteY2557" fmla="*/ 631508 h 2161222"/>
                <a:gd name="connsiteX2558" fmla="*/ 842963 w 2443162"/>
                <a:gd name="connsiteY2558" fmla="*/ 658178 h 2161222"/>
                <a:gd name="connsiteX2559" fmla="*/ 850583 w 2443162"/>
                <a:gd name="connsiteY2559" fmla="*/ 666750 h 2161222"/>
                <a:gd name="connsiteX2560" fmla="*/ 842963 w 2443162"/>
                <a:gd name="connsiteY2560" fmla="*/ 675323 h 2161222"/>
                <a:gd name="connsiteX2561" fmla="*/ 835343 w 2443162"/>
                <a:gd name="connsiteY2561" fmla="*/ 683895 h 2161222"/>
                <a:gd name="connsiteX2562" fmla="*/ 827723 w 2443162"/>
                <a:gd name="connsiteY2562" fmla="*/ 692468 h 2161222"/>
                <a:gd name="connsiteX2563" fmla="*/ 820103 w 2443162"/>
                <a:gd name="connsiteY2563" fmla="*/ 701040 h 2161222"/>
                <a:gd name="connsiteX2564" fmla="*/ 813435 w 2443162"/>
                <a:gd name="connsiteY2564" fmla="*/ 710565 h 2161222"/>
                <a:gd name="connsiteX2565" fmla="*/ 806768 w 2443162"/>
                <a:gd name="connsiteY2565" fmla="*/ 720090 h 2161222"/>
                <a:gd name="connsiteX2566" fmla="*/ 800100 w 2443162"/>
                <a:gd name="connsiteY2566" fmla="*/ 729615 h 2161222"/>
                <a:gd name="connsiteX2567" fmla="*/ 793433 w 2443162"/>
                <a:gd name="connsiteY2567" fmla="*/ 739140 h 2161222"/>
                <a:gd name="connsiteX2568" fmla="*/ 786765 w 2443162"/>
                <a:gd name="connsiteY2568" fmla="*/ 748665 h 2161222"/>
                <a:gd name="connsiteX2569" fmla="*/ 781050 w 2443162"/>
                <a:gd name="connsiteY2569" fmla="*/ 758190 h 2161222"/>
                <a:gd name="connsiteX2570" fmla="*/ 775335 w 2443162"/>
                <a:gd name="connsiteY2570" fmla="*/ 768668 h 2161222"/>
                <a:gd name="connsiteX2571" fmla="*/ 769620 w 2443162"/>
                <a:gd name="connsiteY2571" fmla="*/ 779145 h 2161222"/>
                <a:gd name="connsiteX2572" fmla="*/ 764858 w 2443162"/>
                <a:gd name="connsiteY2572" fmla="*/ 789623 h 2161222"/>
                <a:gd name="connsiteX2573" fmla="*/ 760095 w 2443162"/>
                <a:gd name="connsiteY2573" fmla="*/ 799148 h 2161222"/>
                <a:gd name="connsiteX2574" fmla="*/ 754380 w 2443162"/>
                <a:gd name="connsiteY2574" fmla="*/ 809625 h 2161222"/>
                <a:gd name="connsiteX2575" fmla="*/ 749618 w 2443162"/>
                <a:gd name="connsiteY2575" fmla="*/ 820103 h 2161222"/>
                <a:gd name="connsiteX2576" fmla="*/ 744855 w 2443162"/>
                <a:gd name="connsiteY2576" fmla="*/ 830580 h 2161222"/>
                <a:gd name="connsiteX2577" fmla="*/ 740093 w 2443162"/>
                <a:gd name="connsiteY2577" fmla="*/ 841058 h 2161222"/>
                <a:gd name="connsiteX2578" fmla="*/ 736283 w 2443162"/>
                <a:gd name="connsiteY2578" fmla="*/ 852488 h 2161222"/>
                <a:gd name="connsiteX2579" fmla="*/ 733425 w 2443162"/>
                <a:gd name="connsiteY2579" fmla="*/ 863918 h 2161222"/>
                <a:gd name="connsiteX2580" fmla="*/ 729615 w 2443162"/>
                <a:gd name="connsiteY2580" fmla="*/ 875348 h 2161222"/>
                <a:gd name="connsiteX2581" fmla="*/ 726758 w 2443162"/>
                <a:gd name="connsiteY2581" fmla="*/ 886778 h 2161222"/>
                <a:gd name="connsiteX2582" fmla="*/ 723900 w 2443162"/>
                <a:gd name="connsiteY2582" fmla="*/ 899160 h 2161222"/>
                <a:gd name="connsiteX2583" fmla="*/ 721043 w 2443162"/>
                <a:gd name="connsiteY2583" fmla="*/ 910590 h 2161222"/>
                <a:gd name="connsiteX2584" fmla="*/ 718185 w 2443162"/>
                <a:gd name="connsiteY2584" fmla="*/ 922020 h 2161222"/>
                <a:gd name="connsiteX2585" fmla="*/ 716280 w 2443162"/>
                <a:gd name="connsiteY2585" fmla="*/ 933450 h 2161222"/>
                <a:gd name="connsiteX2586" fmla="*/ 714375 w 2443162"/>
                <a:gd name="connsiteY2586" fmla="*/ 945833 h 2161222"/>
                <a:gd name="connsiteX2587" fmla="*/ 712470 w 2443162"/>
                <a:gd name="connsiteY2587" fmla="*/ 958215 h 2161222"/>
                <a:gd name="connsiteX2588" fmla="*/ 711518 w 2443162"/>
                <a:gd name="connsiteY2588" fmla="*/ 969645 h 2161222"/>
                <a:gd name="connsiteX2589" fmla="*/ 710565 w 2443162"/>
                <a:gd name="connsiteY2589" fmla="*/ 982028 h 2161222"/>
                <a:gd name="connsiteX2590" fmla="*/ 709613 w 2443162"/>
                <a:gd name="connsiteY2590" fmla="*/ 994410 h 2161222"/>
                <a:gd name="connsiteX2591" fmla="*/ 709613 w 2443162"/>
                <a:gd name="connsiteY2591" fmla="*/ 1006793 h 2161222"/>
                <a:gd name="connsiteX2592" fmla="*/ 570548 w 2443162"/>
                <a:gd name="connsiteY2592" fmla="*/ 1006793 h 2161222"/>
                <a:gd name="connsiteX2593" fmla="*/ 570548 w 2443162"/>
                <a:gd name="connsiteY2593" fmla="*/ 990600 h 2161222"/>
                <a:gd name="connsiteX2594" fmla="*/ 571500 w 2443162"/>
                <a:gd name="connsiteY2594" fmla="*/ 975360 h 2161222"/>
                <a:gd name="connsiteX2595" fmla="*/ 572453 w 2443162"/>
                <a:gd name="connsiteY2595" fmla="*/ 960120 h 2161222"/>
                <a:gd name="connsiteX2596" fmla="*/ 574358 w 2443162"/>
                <a:gd name="connsiteY2596" fmla="*/ 944880 h 2161222"/>
                <a:gd name="connsiteX2597" fmla="*/ 576263 w 2443162"/>
                <a:gd name="connsiteY2597" fmla="*/ 929640 h 2161222"/>
                <a:gd name="connsiteX2598" fmla="*/ 579120 w 2443162"/>
                <a:gd name="connsiteY2598" fmla="*/ 914400 h 2161222"/>
                <a:gd name="connsiteX2599" fmla="*/ 581978 w 2443162"/>
                <a:gd name="connsiteY2599" fmla="*/ 899160 h 2161222"/>
                <a:gd name="connsiteX2600" fmla="*/ 584835 w 2443162"/>
                <a:gd name="connsiteY2600" fmla="*/ 883920 h 2161222"/>
                <a:gd name="connsiteX2601" fmla="*/ 588645 w 2443162"/>
                <a:gd name="connsiteY2601" fmla="*/ 868680 h 2161222"/>
                <a:gd name="connsiteX2602" fmla="*/ 592455 w 2443162"/>
                <a:gd name="connsiteY2602" fmla="*/ 853440 h 2161222"/>
                <a:gd name="connsiteX2603" fmla="*/ 596265 w 2443162"/>
                <a:gd name="connsiteY2603" fmla="*/ 838200 h 2161222"/>
                <a:gd name="connsiteX2604" fmla="*/ 601028 w 2443162"/>
                <a:gd name="connsiteY2604" fmla="*/ 823913 h 2161222"/>
                <a:gd name="connsiteX2605" fmla="*/ 605790 w 2443162"/>
                <a:gd name="connsiteY2605" fmla="*/ 809625 h 2161222"/>
                <a:gd name="connsiteX2606" fmla="*/ 611505 w 2443162"/>
                <a:gd name="connsiteY2606" fmla="*/ 795338 h 2161222"/>
                <a:gd name="connsiteX2607" fmla="*/ 616268 w 2443162"/>
                <a:gd name="connsiteY2607" fmla="*/ 781050 h 2161222"/>
                <a:gd name="connsiteX2608" fmla="*/ 621983 w 2443162"/>
                <a:gd name="connsiteY2608" fmla="*/ 766763 h 2161222"/>
                <a:gd name="connsiteX2609" fmla="*/ 627698 w 2443162"/>
                <a:gd name="connsiteY2609" fmla="*/ 752475 h 2161222"/>
                <a:gd name="connsiteX2610" fmla="*/ 633413 w 2443162"/>
                <a:gd name="connsiteY2610" fmla="*/ 739140 h 2161222"/>
                <a:gd name="connsiteX2611" fmla="*/ 640080 w 2443162"/>
                <a:gd name="connsiteY2611" fmla="*/ 725805 h 2161222"/>
                <a:gd name="connsiteX2612" fmla="*/ 646748 w 2443162"/>
                <a:gd name="connsiteY2612" fmla="*/ 712470 h 2161222"/>
                <a:gd name="connsiteX2613" fmla="*/ 653415 w 2443162"/>
                <a:gd name="connsiteY2613" fmla="*/ 699135 h 2161222"/>
                <a:gd name="connsiteX2614" fmla="*/ 661035 w 2443162"/>
                <a:gd name="connsiteY2614" fmla="*/ 685800 h 2161222"/>
                <a:gd name="connsiteX2615" fmla="*/ 668655 w 2443162"/>
                <a:gd name="connsiteY2615" fmla="*/ 673418 h 2161222"/>
                <a:gd name="connsiteX2616" fmla="*/ 677228 w 2443162"/>
                <a:gd name="connsiteY2616" fmla="*/ 661035 h 2161222"/>
                <a:gd name="connsiteX2617" fmla="*/ 685800 w 2443162"/>
                <a:gd name="connsiteY2617" fmla="*/ 648653 h 2161222"/>
                <a:gd name="connsiteX2618" fmla="*/ 694373 w 2443162"/>
                <a:gd name="connsiteY2618" fmla="*/ 636270 h 2161222"/>
                <a:gd name="connsiteX2619" fmla="*/ 702945 w 2443162"/>
                <a:gd name="connsiteY2619" fmla="*/ 624840 h 2161222"/>
                <a:gd name="connsiteX2620" fmla="*/ 712470 w 2443162"/>
                <a:gd name="connsiteY2620" fmla="*/ 613410 h 2161222"/>
                <a:gd name="connsiteX2621" fmla="*/ 721995 w 2443162"/>
                <a:gd name="connsiteY2621" fmla="*/ 601980 h 2161222"/>
                <a:gd name="connsiteX2622" fmla="*/ 731520 w 2443162"/>
                <a:gd name="connsiteY2622" fmla="*/ 590550 h 2161222"/>
                <a:gd name="connsiteX2623" fmla="*/ 741045 w 2443162"/>
                <a:gd name="connsiteY2623" fmla="*/ 580073 h 2161222"/>
                <a:gd name="connsiteX2624" fmla="*/ 751523 w 2443162"/>
                <a:gd name="connsiteY2624" fmla="*/ 569595 h 2161222"/>
                <a:gd name="connsiteX2625" fmla="*/ 795338 w 2443162"/>
                <a:gd name="connsiteY2625" fmla="*/ 614363 h 2161222"/>
                <a:gd name="connsiteX2626" fmla="*/ 826770 w 2443162"/>
                <a:gd name="connsiteY2626" fmla="*/ 603885 h 2161222"/>
                <a:gd name="connsiteX2627" fmla="*/ 772478 w 2443162"/>
                <a:gd name="connsiteY2627" fmla="*/ 548640 h 2161222"/>
                <a:gd name="connsiteX2628" fmla="*/ 783908 w 2443162"/>
                <a:gd name="connsiteY2628" fmla="*/ 538163 h 2161222"/>
                <a:gd name="connsiteX2629" fmla="*/ 795338 w 2443162"/>
                <a:gd name="connsiteY2629" fmla="*/ 527685 h 2161222"/>
                <a:gd name="connsiteX2630" fmla="*/ 807720 w 2443162"/>
                <a:gd name="connsiteY2630" fmla="*/ 517208 h 2161222"/>
                <a:gd name="connsiteX2631" fmla="*/ 820103 w 2443162"/>
                <a:gd name="connsiteY2631" fmla="*/ 506730 h 2161222"/>
                <a:gd name="connsiteX2632" fmla="*/ 832485 w 2443162"/>
                <a:gd name="connsiteY2632" fmla="*/ 497205 h 2161222"/>
                <a:gd name="connsiteX2633" fmla="*/ 844868 w 2443162"/>
                <a:gd name="connsiteY2633" fmla="*/ 487680 h 2161222"/>
                <a:gd name="connsiteX2634" fmla="*/ 858203 w 2443162"/>
                <a:gd name="connsiteY2634" fmla="*/ 478155 h 2161222"/>
                <a:gd name="connsiteX2635" fmla="*/ 871538 w 2443162"/>
                <a:gd name="connsiteY2635" fmla="*/ 469583 h 2161222"/>
                <a:gd name="connsiteX2636" fmla="*/ 894398 w 2443162"/>
                <a:gd name="connsiteY2636" fmla="*/ 421958 h 2161222"/>
                <a:gd name="connsiteX2637" fmla="*/ 876300 w 2443162"/>
                <a:gd name="connsiteY2637" fmla="*/ 434340 h 2161222"/>
                <a:gd name="connsiteX2638" fmla="*/ 857250 w 2443162"/>
                <a:gd name="connsiteY2638" fmla="*/ 445770 h 2161222"/>
                <a:gd name="connsiteX2639" fmla="*/ 838200 w 2443162"/>
                <a:gd name="connsiteY2639" fmla="*/ 458153 h 2161222"/>
                <a:gd name="connsiteX2640" fmla="*/ 820103 w 2443162"/>
                <a:gd name="connsiteY2640" fmla="*/ 470535 h 2161222"/>
                <a:gd name="connsiteX2641" fmla="*/ 802958 w 2443162"/>
                <a:gd name="connsiteY2641" fmla="*/ 483870 h 2161222"/>
                <a:gd name="connsiteX2642" fmla="*/ 785813 w 2443162"/>
                <a:gd name="connsiteY2642" fmla="*/ 498158 h 2161222"/>
                <a:gd name="connsiteX2643" fmla="*/ 769620 w 2443162"/>
                <a:gd name="connsiteY2643" fmla="*/ 512445 h 2161222"/>
                <a:gd name="connsiteX2644" fmla="*/ 752475 w 2443162"/>
                <a:gd name="connsiteY2644" fmla="*/ 527685 h 2161222"/>
                <a:gd name="connsiteX2645" fmla="*/ 656273 w 2443162"/>
                <a:gd name="connsiteY2645" fmla="*/ 430530 h 2161222"/>
                <a:gd name="connsiteX2646" fmla="*/ 667703 w 2443162"/>
                <a:gd name="connsiteY2646" fmla="*/ 419100 h 2161222"/>
                <a:gd name="connsiteX2647" fmla="*/ 680085 w 2443162"/>
                <a:gd name="connsiteY2647" fmla="*/ 408623 h 2161222"/>
                <a:gd name="connsiteX2648" fmla="*/ 692468 w 2443162"/>
                <a:gd name="connsiteY2648" fmla="*/ 398145 h 2161222"/>
                <a:gd name="connsiteX2649" fmla="*/ 704850 w 2443162"/>
                <a:gd name="connsiteY2649" fmla="*/ 387668 h 2161222"/>
                <a:gd name="connsiteX2650" fmla="*/ 718185 w 2443162"/>
                <a:gd name="connsiteY2650" fmla="*/ 377190 h 2161222"/>
                <a:gd name="connsiteX2651" fmla="*/ 731520 w 2443162"/>
                <a:gd name="connsiteY2651" fmla="*/ 366713 h 2161222"/>
                <a:gd name="connsiteX2652" fmla="*/ 744855 w 2443162"/>
                <a:gd name="connsiteY2652" fmla="*/ 356235 h 2161222"/>
                <a:gd name="connsiteX2653" fmla="*/ 758190 w 2443162"/>
                <a:gd name="connsiteY2653" fmla="*/ 346710 h 2161222"/>
                <a:gd name="connsiteX2654" fmla="*/ 771525 w 2443162"/>
                <a:gd name="connsiteY2654" fmla="*/ 337185 h 2161222"/>
                <a:gd name="connsiteX2655" fmla="*/ 785813 w 2443162"/>
                <a:gd name="connsiteY2655" fmla="*/ 328613 h 2161222"/>
                <a:gd name="connsiteX2656" fmla="*/ 800100 w 2443162"/>
                <a:gd name="connsiteY2656" fmla="*/ 320040 h 2161222"/>
                <a:gd name="connsiteX2657" fmla="*/ 814388 w 2443162"/>
                <a:gd name="connsiteY2657" fmla="*/ 311468 h 2161222"/>
                <a:gd name="connsiteX2658" fmla="*/ 829628 w 2443162"/>
                <a:gd name="connsiteY2658" fmla="*/ 302895 h 2161222"/>
                <a:gd name="connsiteX2659" fmla="*/ 843915 w 2443162"/>
                <a:gd name="connsiteY2659" fmla="*/ 295275 h 2161222"/>
                <a:gd name="connsiteX2660" fmla="*/ 859155 w 2443162"/>
                <a:gd name="connsiteY2660" fmla="*/ 287655 h 2161222"/>
                <a:gd name="connsiteX2661" fmla="*/ 874395 w 2443162"/>
                <a:gd name="connsiteY2661" fmla="*/ 280035 h 2161222"/>
                <a:gd name="connsiteX2662" fmla="*/ 889635 w 2443162"/>
                <a:gd name="connsiteY2662" fmla="*/ 273368 h 2161222"/>
                <a:gd name="connsiteX2663" fmla="*/ 904875 w 2443162"/>
                <a:gd name="connsiteY2663" fmla="*/ 266700 h 2161222"/>
                <a:gd name="connsiteX2664" fmla="*/ 920115 w 2443162"/>
                <a:gd name="connsiteY2664" fmla="*/ 260033 h 2161222"/>
                <a:gd name="connsiteX2665" fmla="*/ 935355 w 2443162"/>
                <a:gd name="connsiteY2665" fmla="*/ 254318 h 2161222"/>
                <a:gd name="connsiteX2666" fmla="*/ 950595 w 2443162"/>
                <a:gd name="connsiteY2666" fmla="*/ 248603 h 2161222"/>
                <a:gd name="connsiteX2667" fmla="*/ 966788 w 2443162"/>
                <a:gd name="connsiteY2667" fmla="*/ 243840 h 2161222"/>
                <a:gd name="connsiteX2668" fmla="*/ 982980 w 2443162"/>
                <a:gd name="connsiteY2668" fmla="*/ 239078 h 2161222"/>
                <a:gd name="connsiteX2669" fmla="*/ 999173 w 2443162"/>
                <a:gd name="connsiteY2669" fmla="*/ 234315 h 2161222"/>
                <a:gd name="connsiteX2670" fmla="*/ 1015365 w 2443162"/>
                <a:gd name="connsiteY2670" fmla="*/ 229553 h 2161222"/>
                <a:gd name="connsiteX2671" fmla="*/ 1031558 w 2443162"/>
                <a:gd name="connsiteY2671" fmla="*/ 224790 h 2161222"/>
                <a:gd name="connsiteX2672" fmla="*/ 1047750 w 2443162"/>
                <a:gd name="connsiteY2672" fmla="*/ 220980 h 2161222"/>
                <a:gd name="connsiteX2673" fmla="*/ 1064895 w 2443162"/>
                <a:gd name="connsiteY2673" fmla="*/ 217170 h 2161222"/>
                <a:gd name="connsiteX2674" fmla="*/ 1081088 w 2443162"/>
                <a:gd name="connsiteY2674" fmla="*/ 214313 h 2161222"/>
                <a:gd name="connsiteX2675" fmla="*/ 1098233 w 2443162"/>
                <a:gd name="connsiteY2675" fmla="*/ 211455 h 2161222"/>
                <a:gd name="connsiteX2676" fmla="*/ 1115378 w 2443162"/>
                <a:gd name="connsiteY2676" fmla="*/ 209550 h 2161222"/>
                <a:gd name="connsiteX2677" fmla="*/ 1132523 w 2443162"/>
                <a:gd name="connsiteY2677" fmla="*/ 207645 h 2161222"/>
                <a:gd name="connsiteX2678" fmla="*/ 1132523 w 2443162"/>
                <a:gd name="connsiteY2678" fmla="*/ 178118 h 2161222"/>
                <a:gd name="connsiteX2679" fmla="*/ 1092518 w 2443162"/>
                <a:gd name="connsiteY2679" fmla="*/ 182880 h 2161222"/>
                <a:gd name="connsiteX2680" fmla="*/ 1053465 w 2443162"/>
                <a:gd name="connsiteY2680" fmla="*/ 189548 h 2161222"/>
                <a:gd name="connsiteX2681" fmla="*/ 1014413 w 2443162"/>
                <a:gd name="connsiteY2681" fmla="*/ 198120 h 2161222"/>
                <a:gd name="connsiteX2682" fmla="*/ 977265 w 2443162"/>
                <a:gd name="connsiteY2682" fmla="*/ 208598 h 2161222"/>
                <a:gd name="connsiteX2683" fmla="*/ 940118 w 2443162"/>
                <a:gd name="connsiteY2683" fmla="*/ 220028 h 2161222"/>
                <a:gd name="connsiteX2684" fmla="*/ 903923 w 2443162"/>
                <a:gd name="connsiteY2684" fmla="*/ 234315 h 2161222"/>
                <a:gd name="connsiteX2685" fmla="*/ 868680 w 2443162"/>
                <a:gd name="connsiteY2685" fmla="*/ 249555 h 2161222"/>
                <a:gd name="connsiteX2686" fmla="*/ 835343 w 2443162"/>
                <a:gd name="connsiteY2686" fmla="*/ 266700 h 2161222"/>
                <a:gd name="connsiteX2687" fmla="*/ 802005 w 2443162"/>
                <a:gd name="connsiteY2687" fmla="*/ 284798 h 2161222"/>
                <a:gd name="connsiteX2688" fmla="*/ 769620 w 2443162"/>
                <a:gd name="connsiteY2688" fmla="*/ 304800 h 2161222"/>
                <a:gd name="connsiteX2689" fmla="*/ 738188 w 2443162"/>
                <a:gd name="connsiteY2689" fmla="*/ 325755 h 2161222"/>
                <a:gd name="connsiteX2690" fmla="*/ 707708 w 2443162"/>
                <a:gd name="connsiteY2690" fmla="*/ 348615 h 2161222"/>
                <a:gd name="connsiteX2691" fmla="*/ 678180 w 2443162"/>
                <a:gd name="connsiteY2691" fmla="*/ 372428 h 2161222"/>
                <a:gd name="connsiteX2692" fmla="*/ 649605 w 2443162"/>
                <a:gd name="connsiteY2692" fmla="*/ 398145 h 2161222"/>
                <a:gd name="connsiteX2693" fmla="*/ 622935 w 2443162"/>
                <a:gd name="connsiteY2693" fmla="*/ 423863 h 2161222"/>
                <a:gd name="connsiteX2694" fmla="*/ 596265 w 2443162"/>
                <a:gd name="connsiteY2694" fmla="*/ 451485 h 2161222"/>
                <a:gd name="connsiteX2695" fmla="*/ 571500 w 2443162"/>
                <a:gd name="connsiteY2695" fmla="*/ 480060 h 2161222"/>
                <a:gd name="connsiteX2696" fmla="*/ 547688 w 2443162"/>
                <a:gd name="connsiteY2696" fmla="*/ 509588 h 2161222"/>
                <a:gd name="connsiteX2697" fmla="*/ 523875 w 2443162"/>
                <a:gd name="connsiteY2697" fmla="*/ 541020 h 2161222"/>
                <a:gd name="connsiteX2698" fmla="*/ 502920 w 2443162"/>
                <a:gd name="connsiteY2698" fmla="*/ 573405 h 2161222"/>
                <a:gd name="connsiteX2699" fmla="*/ 482918 w 2443162"/>
                <a:gd name="connsiteY2699" fmla="*/ 605790 h 2161222"/>
                <a:gd name="connsiteX2700" fmla="*/ 464820 w 2443162"/>
                <a:gd name="connsiteY2700" fmla="*/ 640080 h 2161222"/>
                <a:gd name="connsiteX2701" fmla="*/ 448628 w 2443162"/>
                <a:gd name="connsiteY2701" fmla="*/ 675323 h 2161222"/>
                <a:gd name="connsiteX2702" fmla="*/ 433388 w 2443162"/>
                <a:gd name="connsiteY2702" fmla="*/ 711518 h 2161222"/>
                <a:gd name="connsiteX2703" fmla="*/ 420053 w 2443162"/>
                <a:gd name="connsiteY2703" fmla="*/ 747713 h 2161222"/>
                <a:gd name="connsiteX2704" fmla="*/ 408623 w 2443162"/>
                <a:gd name="connsiteY2704" fmla="*/ 784860 h 2161222"/>
                <a:gd name="connsiteX2705" fmla="*/ 398145 w 2443162"/>
                <a:gd name="connsiteY2705" fmla="*/ 822960 h 2161222"/>
                <a:gd name="connsiteX2706" fmla="*/ 389573 w 2443162"/>
                <a:gd name="connsiteY2706" fmla="*/ 862013 h 2161222"/>
                <a:gd name="connsiteX2707" fmla="*/ 382905 w 2443162"/>
                <a:gd name="connsiteY2707" fmla="*/ 901065 h 2161222"/>
                <a:gd name="connsiteX2708" fmla="*/ 378143 w 2443162"/>
                <a:gd name="connsiteY2708" fmla="*/ 941070 h 2161222"/>
                <a:gd name="connsiteX2709" fmla="*/ 375285 w 2443162"/>
                <a:gd name="connsiteY2709" fmla="*/ 982028 h 2161222"/>
                <a:gd name="connsiteX2710" fmla="*/ 374333 w 2443162"/>
                <a:gd name="connsiteY2710" fmla="*/ 1022985 h 2161222"/>
                <a:gd name="connsiteX2711" fmla="*/ 375285 w 2443162"/>
                <a:gd name="connsiteY2711" fmla="*/ 1066800 h 2161222"/>
                <a:gd name="connsiteX2712" fmla="*/ 378143 w 2443162"/>
                <a:gd name="connsiteY2712" fmla="*/ 1109663 h 2161222"/>
                <a:gd name="connsiteX2713" fmla="*/ 383858 w 2443162"/>
                <a:gd name="connsiteY2713" fmla="*/ 1152525 h 2161222"/>
                <a:gd name="connsiteX2714" fmla="*/ 391478 w 2443162"/>
                <a:gd name="connsiteY2714" fmla="*/ 1193483 h 2161222"/>
                <a:gd name="connsiteX2715" fmla="*/ 401003 w 2443162"/>
                <a:gd name="connsiteY2715" fmla="*/ 1234440 h 2161222"/>
                <a:gd name="connsiteX2716" fmla="*/ 412433 w 2443162"/>
                <a:gd name="connsiteY2716" fmla="*/ 1275398 h 2161222"/>
                <a:gd name="connsiteX2717" fmla="*/ 425768 w 2443162"/>
                <a:gd name="connsiteY2717" fmla="*/ 1314450 h 2161222"/>
                <a:gd name="connsiteX2718" fmla="*/ 441008 w 2443162"/>
                <a:gd name="connsiteY2718" fmla="*/ 1352550 h 2161222"/>
                <a:gd name="connsiteX2719" fmla="*/ 458153 w 2443162"/>
                <a:gd name="connsiteY2719" fmla="*/ 1389698 h 2161222"/>
                <a:gd name="connsiteX2720" fmla="*/ 477203 w 2443162"/>
                <a:gd name="connsiteY2720" fmla="*/ 1425893 h 2161222"/>
                <a:gd name="connsiteX2721" fmla="*/ 498158 w 2443162"/>
                <a:gd name="connsiteY2721" fmla="*/ 1461135 h 2161222"/>
                <a:gd name="connsiteX2722" fmla="*/ 520065 w 2443162"/>
                <a:gd name="connsiteY2722" fmla="*/ 1495425 h 2161222"/>
                <a:gd name="connsiteX2723" fmla="*/ 543878 w 2443162"/>
                <a:gd name="connsiteY2723" fmla="*/ 1528763 h 2161222"/>
                <a:gd name="connsiteX2724" fmla="*/ 568643 w 2443162"/>
                <a:gd name="connsiteY2724" fmla="*/ 1560195 h 2161222"/>
                <a:gd name="connsiteX2725" fmla="*/ 595313 w 2443162"/>
                <a:gd name="connsiteY2725" fmla="*/ 1590675 h 2161222"/>
                <a:gd name="connsiteX2726" fmla="*/ 623888 w 2443162"/>
                <a:gd name="connsiteY2726" fmla="*/ 1620203 h 2161222"/>
                <a:gd name="connsiteX2727" fmla="*/ 653415 w 2443162"/>
                <a:gd name="connsiteY2727" fmla="*/ 1647825 h 2161222"/>
                <a:gd name="connsiteX2728" fmla="*/ 684848 w 2443162"/>
                <a:gd name="connsiteY2728" fmla="*/ 1674495 h 2161222"/>
                <a:gd name="connsiteX2729" fmla="*/ 716280 w 2443162"/>
                <a:gd name="connsiteY2729" fmla="*/ 1700213 h 2161222"/>
                <a:gd name="connsiteX2730" fmla="*/ 749618 w 2443162"/>
                <a:gd name="connsiteY2730" fmla="*/ 1724025 h 2161222"/>
                <a:gd name="connsiteX2731" fmla="*/ 783908 w 2443162"/>
                <a:gd name="connsiteY2731" fmla="*/ 1745933 h 2161222"/>
                <a:gd name="connsiteX2732" fmla="*/ 819150 w 2443162"/>
                <a:gd name="connsiteY2732" fmla="*/ 1766888 h 2161222"/>
                <a:gd name="connsiteX2733" fmla="*/ 855345 w 2443162"/>
                <a:gd name="connsiteY2733" fmla="*/ 1785938 h 2161222"/>
                <a:gd name="connsiteX2734" fmla="*/ 892493 w 2443162"/>
                <a:gd name="connsiteY2734" fmla="*/ 1803083 h 2161222"/>
                <a:gd name="connsiteX2735" fmla="*/ 930593 w 2443162"/>
                <a:gd name="connsiteY2735" fmla="*/ 1818323 h 2161222"/>
                <a:gd name="connsiteX2736" fmla="*/ 969645 w 2443162"/>
                <a:gd name="connsiteY2736" fmla="*/ 1831658 h 2161222"/>
                <a:gd name="connsiteX2737" fmla="*/ 1009650 w 2443162"/>
                <a:gd name="connsiteY2737" fmla="*/ 1843088 h 2161222"/>
                <a:gd name="connsiteX2738" fmla="*/ 1050608 w 2443162"/>
                <a:gd name="connsiteY2738" fmla="*/ 1852613 h 2161222"/>
                <a:gd name="connsiteX2739" fmla="*/ 1091565 w 2443162"/>
                <a:gd name="connsiteY2739" fmla="*/ 1860233 h 2161222"/>
                <a:gd name="connsiteX2740" fmla="*/ 1134428 w 2443162"/>
                <a:gd name="connsiteY2740" fmla="*/ 1864995 h 2161222"/>
                <a:gd name="connsiteX2741" fmla="*/ 1177290 w 2443162"/>
                <a:gd name="connsiteY2741" fmla="*/ 1868805 h 2161222"/>
                <a:gd name="connsiteX2742" fmla="*/ 1221105 w 2443162"/>
                <a:gd name="connsiteY2742" fmla="*/ 1869758 h 2161222"/>
                <a:gd name="connsiteX2743" fmla="*/ 1264920 w 2443162"/>
                <a:gd name="connsiteY2743" fmla="*/ 1868805 h 2161222"/>
                <a:gd name="connsiteX2744" fmla="*/ 1307783 w 2443162"/>
                <a:gd name="connsiteY2744" fmla="*/ 1864995 h 2161222"/>
                <a:gd name="connsiteX2745" fmla="*/ 1349693 w 2443162"/>
                <a:gd name="connsiteY2745" fmla="*/ 1860233 h 2161222"/>
                <a:gd name="connsiteX2746" fmla="*/ 1391603 w 2443162"/>
                <a:gd name="connsiteY2746" fmla="*/ 1852613 h 2161222"/>
                <a:gd name="connsiteX2747" fmla="*/ 1432560 w 2443162"/>
                <a:gd name="connsiteY2747" fmla="*/ 1843088 h 2161222"/>
                <a:gd name="connsiteX2748" fmla="*/ 1472565 w 2443162"/>
                <a:gd name="connsiteY2748" fmla="*/ 1831658 h 2161222"/>
                <a:gd name="connsiteX2749" fmla="*/ 1512570 w 2443162"/>
                <a:gd name="connsiteY2749" fmla="*/ 1818323 h 2161222"/>
                <a:gd name="connsiteX2750" fmla="*/ 1550670 w 2443162"/>
                <a:gd name="connsiteY2750" fmla="*/ 1803083 h 2161222"/>
                <a:gd name="connsiteX2751" fmla="*/ 1587818 w 2443162"/>
                <a:gd name="connsiteY2751" fmla="*/ 1785938 h 2161222"/>
                <a:gd name="connsiteX2752" fmla="*/ 1624965 w 2443162"/>
                <a:gd name="connsiteY2752" fmla="*/ 1766888 h 2161222"/>
                <a:gd name="connsiteX2753" fmla="*/ 1660208 w 2443162"/>
                <a:gd name="connsiteY2753" fmla="*/ 1745933 h 2161222"/>
                <a:gd name="connsiteX2754" fmla="*/ 1694498 w 2443162"/>
                <a:gd name="connsiteY2754" fmla="*/ 1724025 h 2161222"/>
                <a:gd name="connsiteX2755" fmla="*/ 1727835 w 2443162"/>
                <a:gd name="connsiteY2755" fmla="*/ 1700213 h 2161222"/>
                <a:gd name="connsiteX2756" fmla="*/ 1760220 w 2443162"/>
                <a:gd name="connsiteY2756" fmla="*/ 1674495 h 2161222"/>
                <a:gd name="connsiteX2757" fmla="*/ 1790700 w 2443162"/>
                <a:gd name="connsiteY2757" fmla="*/ 1647825 h 2161222"/>
                <a:gd name="connsiteX2758" fmla="*/ 1820228 w 2443162"/>
                <a:gd name="connsiteY2758" fmla="*/ 1620203 h 2161222"/>
                <a:gd name="connsiteX2759" fmla="*/ 1847850 w 2443162"/>
                <a:gd name="connsiteY2759" fmla="*/ 1590675 h 2161222"/>
                <a:gd name="connsiteX2760" fmla="*/ 1874520 w 2443162"/>
                <a:gd name="connsiteY2760" fmla="*/ 1560195 h 2161222"/>
                <a:gd name="connsiteX2761" fmla="*/ 1900238 w 2443162"/>
                <a:gd name="connsiteY2761" fmla="*/ 1528763 h 2161222"/>
                <a:gd name="connsiteX2762" fmla="*/ 1924050 w 2443162"/>
                <a:gd name="connsiteY2762" fmla="*/ 1495425 h 2161222"/>
                <a:gd name="connsiteX2763" fmla="*/ 1945958 w 2443162"/>
                <a:gd name="connsiteY2763" fmla="*/ 1461135 h 2161222"/>
                <a:gd name="connsiteX2764" fmla="*/ 1965960 w 2443162"/>
                <a:gd name="connsiteY2764" fmla="*/ 1425893 h 2161222"/>
                <a:gd name="connsiteX2765" fmla="*/ 1985010 w 2443162"/>
                <a:gd name="connsiteY2765" fmla="*/ 1389698 h 2161222"/>
                <a:gd name="connsiteX2766" fmla="*/ 2002155 w 2443162"/>
                <a:gd name="connsiteY2766" fmla="*/ 1352550 h 2161222"/>
                <a:gd name="connsiteX2767" fmla="*/ 2017395 w 2443162"/>
                <a:gd name="connsiteY2767" fmla="*/ 1314450 h 2161222"/>
                <a:gd name="connsiteX2768" fmla="*/ 2030730 w 2443162"/>
                <a:gd name="connsiteY2768" fmla="*/ 1275398 h 2161222"/>
                <a:gd name="connsiteX2769" fmla="*/ 2042160 w 2443162"/>
                <a:gd name="connsiteY2769" fmla="*/ 1234440 h 2161222"/>
                <a:gd name="connsiteX2770" fmla="*/ 2051685 w 2443162"/>
                <a:gd name="connsiteY2770" fmla="*/ 1193483 h 2161222"/>
                <a:gd name="connsiteX2771" fmla="*/ 2059305 w 2443162"/>
                <a:gd name="connsiteY2771" fmla="*/ 1152525 h 2161222"/>
                <a:gd name="connsiteX2772" fmla="*/ 2065020 w 2443162"/>
                <a:gd name="connsiteY2772" fmla="*/ 1109663 h 2161222"/>
                <a:gd name="connsiteX2773" fmla="*/ 2068830 w 2443162"/>
                <a:gd name="connsiteY2773" fmla="*/ 1066800 h 2161222"/>
                <a:gd name="connsiteX2774" fmla="*/ 2069783 w 2443162"/>
                <a:gd name="connsiteY2774" fmla="*/ 1022985 h 2161222"/>
                <a:gd name="connsiteX2775" fmla="*/ 2068830 w 2443162"/>
                <a:gd name="connsiteY2775" fmla="*/ 982028 h 2161222"/>
                <a:gd name="connsiteX2776" fmla="*/ 2065973 w 2443162"/>
                <a:gd name="connsiteY2776" fmla="*/ 942023 h 2161222"/>
                <a:gd name="connsiteX2777" fmla="*/ 2061210 w 2443162"/>
                <a:gd name="connsiteY2777" fmla="*/ 902018 h 2161222"/>
                <a:gd name="connsiteX2778" fmla="*/ 2054543 w 2443162"/>
                <a:gd name="connsiteY2778" fmla="*/ 862965 h 2161222"/>
                <a:gd name="connsiteX2779" fmla="*/ 2045970 w 2443162"/>
                <a:gd name="connsiteY2779" fmla="*/ 823913 h 2161222"/>
                <a:gd name="connsiteX2780" fmla="*/ 2035493 w 2443162"/>
                <a:gd name="connsiteY2780" fmla="*/ 785813 h 2161222"/>
                <a:gd name="connsiteX2781" fmla="*/ 2024063 w 2443162"/>
                <a:gd name="connsiteY2781" fmla="*/ 748665 h 2161222"/>
                <a:gd name="connsiteX2782" fmla="*/ 2010728 w 2443162"/>
                <a:gd name="connsiteY2782" fmla="*/ 712470 h 2161222"/>
                <a:gd name="connsiteX2783" fmla="*/ 1995488 w 2443162"/>
                <a:gd name="connsiteY2783" fmla="*/ 676275 h 2161222"/>
                <a:gd name="connsiteX2784" fmla="*/ 1979295 w 2443162"/>
                <a:gd name="connsiteY2784" fmla="*/ 641033 h 2161222"/>
                <a:gd name="connsiteX2785" fmla="*/ 1961198 w 2443162"/>
                <a:gd name="connsiteY2785" fmla="*/ 606743 h 2161222"/>
                <a:gd name="connsiteX2786" fmla="*/ 1941195 w 2443162"/>
                <a:gd name="connsiteY2786" fmla="*/ 573405 h 2161222"/>
                <a:gd name="connsiteX2787" fmla="*/ 1920240 w 2443162"/>
                <a:gd name="connsiteY2787" fmla="*/ 541973 h 2161222"/>
                <a:gd name="connsiteX2788" fmla="*/ 1898333 w 2443162"/>
                <a:gd name="connsiteY2788" fmla="*/ 511493 h 2161222"/>
                <a:gd name="connsiteX2789" fmla="*/ 1874520 w 2443162"/>
                <a:gd name="connsiteY2789" fmla="*/ 481013 h 2161222"/>
                <a:gd name="connsiteX2790" fmla="*/ 1848803 w 2443162"/>
                <a:gd name="connsiteY2790" fmla="*/ 452438 h 2161222"/>
                <a:gd name="connsiteX2791" fmla="*/ 1823085 w 2443162"/>
                <a:gd name="connsiteY2791" fmla="*/ 424815 h 2161222"/>
                <a:gd name="connsiteX2792" fmla="*/ 1795463 w 2443162"/>
                <a:gd name="connsiteY2792" fmla="*/ 399098 h 2161222"/>
                <a:gd name="connsiteX2793" fmla="*/ 1766888 w 2443162"/>
                <a:gd name="connsiteY2793" fmla="*/ 373380 h 2161222"/>
                <a:gd name="connsiteX2794" fmla="*/ 1736408 w 2443162"/>
                <a:gd name="connsiteY2794" fmla="*/ 349568 h 2161222"/>
                <a:gd name="connsiteX2795" fmla="*/ 1704975 w 2443162"/>
                <a:gd name="connsiteY2795" fmla="*/ 323850 h 2161222"/>
                <a:gd name="connsiteX2796" fmla="*/ 1672590 w 2443162"/>
                <a:gd name="connsiteY2796" fmla="*/ 302895 h 2161222"/>
                <a:gd name="connsiteX2797" fmla="*/ 1640205 w 2443162"/>
                <a:gd name="connsiteY2797" fmla="*/ 282893 h 2161222"/>
                <a:gd name="connsiteX2798" fmla="*/ 1605915 w 2443162"/>
                <a:gd name="connsiteY2798" fmla="*/ 264795 h 2161222"/>
                <a:gd name="connsiteX2799" fmla="*/ 1570673 w 2443162"/>
                <a:gd name="connsiteY2799" fmla="*/ 247650 h 2161222"/>
                <a:gd name="connsiteX2800" fmla="*/ 1534478 w 2443162"/>
                <a:gd name="connsiteY2800" fmla="*/ 232410 h 2161222"/>
                <a:gd name="connsiteX2801" fmla="*/ 1498283 w 2443162"/>
                <a:gd name="connsiteY2801" fmla="*/ 219075 h 2161222"/>
                <a:gd name="connsiteX2802" fmla="*/ 1461135 w 2443162"/>
                <a:gd name="connsiteY2802" fmla="*/ 206693 h 2161222"/>
                <a:gd name="connsiteX2803" fmla="*/ 1423035 w 2443162"/>
                <a:gd name="connsiteY2803" fmla="*/ 196215 h 2161222"/>
                <a:gd name="connsiteX2804" fmla="*/ 1384935 w 2443162"/>
                <a:gd name="connsiteY2804" fmla="*/ 187643 h 2161222"/>
                <a:gd name="connsiteX2805" fmla="*/ 1344930 w 2443162"/>
                <a:gd name="connsiteY2805" fmla="*/ 180975 h 2161222"/>
                <a:gd name="connsiteX2806" fmla="*/ 1304925 w 2443162"/>
                <a:gd name="connsiteY2806" fmla="*/ 176213 h 2161222"/>
                <a:gd name="connsiteX2807" fmla="*/ 1304925 w 2443162"/>
                <a:gd name="connsiteY2807" fmla="*/ 205740 h 2161222"/>
                <a:gd name="connsiteX2808" fmla="*/ 1322070 w 2443162"/>
                <a:gd name="connsiteY2808" fmla="*/ 207645 h 2161222"/>
                <a:gd name="connsiteX2809" fmla="*/ 1339215 w 2443162"/>
                <a:gd name="connsiteY2809" fmla="*/ 210503 h 2161222"/>
                <a:gd name="connsiteX2810" fmla="*/ 1356360 w 2443162"/>
                <a:gd name="connsiteY2810" fmla="*/ 213360 h 2161222"/>
                <a:gd name="connsiteX2811" fmla="*/ 1373505 w 2443162"/>
                <a:gd name="connsiteY2811" fmla="*/ 216218 h 2161222"/>
                <a:gd name="connsiteX2812" fmla="*/ 1390650 w 2443162"/>
                <a:gd name="connsiteY2812" fmla="*/ 220028 h 2161222"/>
                <a:gd name="connsiteX2813" fmla="*/ 1407795 w 2443162"/>
                <a:gd name="connsiteY2813" fmla="*/ 223838 h 2161222"/>
                <a:gd name="connsiteX2814" fmla="*/ 1424940 w 2443162"/>
                <a:gd name="connsiteY2814" fmla="*/ 227648 h 2161222"/>
                <a:gd name="connsiteX2815" fmla="*/ 1441133 w 2443162"/>
                <a:gd name="connsiteY2815" fmla="*/ 232410 h 2161222"/>
                <a:gd name="connsiteX2816" fmla="*/ 1457325 w 2443162"/>
                <a:gd name="connsiteY2816" fmla="*/ 237173 h 2161222"/>
                <a:gd name="connsiteX2817" fmla="*/ 1473518 w 2443162"/>
                <a:gd name="connsiteY2817" fmla="*/ 242888 h 2161222"/>
                <a:gd name="connsiteX2818" fmla="*/ 1489710 w 2443162"/>
                <a:gd name="connsiteY2818" fmla="*/ 248603 h 2161222"/>
                <a:gd name="connsiteX2819" fmla="*/ 1505903 w 2443162"/>
                <a:gd name="connsiteY2819" fmla="*/ 254318 h 2161222"/>
                <a:gd name="connsiteX2820" fmla="*/ 1522095 w 2443162"/>
                <a:gd name="connsiteY2820" fmla="*/ 260033 h 2161222"/>
                <a:gd name="connsiteX2821" fmla="*/ 1537335 w 2443162"/>
                <a:gd name="connsiteY2821" fmla="*/ 266700 h 2161222"/>
                <a:gd name="connsiteX2822" fmla="*/ 1552575 w 2443162"/>
                <a:gd name="connsiteY2822" fmla="*/ 273368 h 2161222"/>
                <a:gd name="connsiteX2823" fmla="*/ 1567815 w 2443162"/>
                <a:gd name="connsiteY2823" fmla="*/ 280035 h 2161222"/>
                <a:gd name="connsiteX2824" fmla="*/ 1583055 w 2443162"/>
                <a:gd name="connsiteY2824" fmla="*/ 287655 h 2161222"/>
                <a:gd name="connsiteX2825" fmla="*/ 1598295 w 2443162"/>
                <a:gd name="connsiteY2825" fmla="*/ 295275 h 2161222"/>
                <a:gd name="connsiteX2826" fmla="*/ 1613535 w 2443162"/>
                <a:gd name="connsiteY2826" fmla="*/ 302895 h 2161222"/>
                <a:gd name="connsiteX2827" fmla="*/ 1628775 w 2443162"/>
                <a:gd name="connsiteY2827" fmla="*/ 311468 h 2161222"/>
                <a:gd name="connsiteX2828" fmla="*/ 1643063 w 2443162"/>
                <a:gd name="connsiteY2828" fmla="*/ 320040 h 2161222"/>
                <a:gd name="connsiteX2829" fmla="*/ 1657350 w 2443162"/>
                <a:gd name="connsiteY2829" fmla="*/ 329565 h 2161222"/>
                <a:gd name="connsiteX2830" fmla="*/ 1671638 w 2443162"/>
                <a:gd name="connsiteY2830" fmla="*/ 339090 h 2161222"/>
                <a:gd name="connsiteX2831" fmla="*/ 1685925 w 2443162"/>
                <a:gd name="connsiteY2831" fmla="*/ 348615 h 2161222"/>
                <a:gd name="connsiteX2832" fmla="*/ 1700213 w 2443162"/>
                <a:gd name="connsiteY2832" fmla="*/ 358140 h 2161222"/>
                <a:gd name="connsiteX2833" fmla="*/ 1713548 w 2443162"/>
                <a:gd name="connsiteY2833" fmla="*/ 368618 h 2161222"/>
                <a:gd name="connsiteX2834" fmla="*/ 1726883 w 2443162"/>
                <a:gd name="connsiteY2834" fmla="*/ 379095 h 2161222"/>
                <a:gd name="connsiteX2835" fmla="*/ 1740218 w 2443162"/>
                <a:gd name="connsiteY2835" fmla="*/ 389573 h 2161222"/>
                <a:gd name="connsiteX2836" fmla="*/ 1752600 w 2443162"/>
                <a:gd name="connsiteY2836" fmla="*/ 400050 h 2161222"/>
                <a:gd name="connsiteX2837" fmla="*/ 1764983 w 2443162"/>
                <a:gd name="connsiteY2837" fmla="*/ 410528 h 2161222"/>
                <a:gd name="connsiteX2838" fmla="*/ 1777365 w 2443162"/>
                <a:gd name="connsiteY2838" fmla="*/ 421958 h 2161222"/>
                <a:gd name="connsiteX2839" fmla="*/ 1789748 w 2443162"/>
                <a:gd name="connsiteY2839" fmla="*/ 433388 h 2161222"/>
                <a:gd name="connsiteX2840" fmla="*/ 1696403 w 2443162"/>
                <a:gd name="connsiteY2840" fmla="*/ 525780 h 2161222"/>
                <a:gd name="connsiteX2841" fmla="*/ 1699260 w 2443162"/>
                <a:gd name="connsiteY2841" fmla="*/ 511493 h 2161222"/>
                <a:gd name="connsiteX2842" fmla="*/ 1688783 w 2443162"/>
                <a:gd name="connsiteY2842" fmla="*/ 507683 h 2161222"/>
                <a:gd name="connsiteX2843" fmla="*/ 1671638 w 2443162"/>
                <a:gd name="connsiteY2843" fmla="*/ 503873 h 2161222"/>
                <a:gd name="connsiteX2844" fmla="*/ 1675448 w 2443162"/>
                <a:gd name="connsiteY2844" fmla="*/ 493395 h 2161222"/>
                <a:gd name="connsiteX2845" fmla="*/ 1664970 w 2443162"/>
                <a:gd name="connsiteY2845" fmla="*/ 454343 h 2161222"/>
                <a:gd name="connsiteX2846" fmla="*/ 1640205 w 2443162"/>
                <a:gd name="connsiteY2846" fmla="*/ 429578 h 2161222"/>
                <a:gd name="connsiteX2847" fmla="*/ 1569720 w 2443162"/>
                <a:gd name="connsiteY2847" fmla="*/ 390525 h 2161222"/>
                <a:gd name="connsiteX2848" fmla="*/ 1563053 w 2443162"/>
                <a:gd name="connsiteY2848" fmla="*/ 398145 h 2161222"/>
                <a:gd name="connsiteX2849" fmla="*/ 1548765 w 2443162"/>
                <a:gd name="connsiteY2849" fmla="*/ 401955 h 2161222"/>
                <a:gd name="connsiteX2850" fmla="*/ 1566863 w 2443162"/>
                <a:gd name="connsiteY2850" fmla="*/ 430530 h 2161222"/>
                <a:gd name="connsiteX2851" fmla="*/ 1567815 w 2443162"/>
                <a:gd name="connsiteY2851" fmla="*/ 433388 h 2161222"/>
                <a:gd name="connsiteX2852" fmla="*/ 1556385 w 2443162"/>
                <a:gd name="connsiteY2852" fmla="*/ 426720 h 2161222"/>
                <a:gd name="connsiteX2853" fmla="*/ 1544955 w 2443162"/>
                <a:gd name="connsiteY2853" fmla="*/ 421005 h 2161222"/>
                <a:gd name="connsiteX2854" fmla="*/ 1533525 w 2443162"/>
                <a:gd name="connsiteY2854" fmla="*/ 414338 h 2161222"/>
                <a:gd name="connsiteX2855" fmla="*/ 1522095 w 2443162"/>
                <a:gd name="connsiteY2855" fmla="*/ 408623 h 2161222"/>
                <a:gd name="connsiteX2856" fmla="*/ 1516380 w 2443162"/>
                <a:gd name="connsiteY2856" fmla="*/ 402908 h 2161222"/>
                <a:gd name="connsiteX2857" fmla="*/ 1511618 w 2443162"/>
                <a:gd name="connsiteY2857" fmla="*/ 397193 h 2161222"/>
                <a:gd name="connsiteX2858" fmla="*/ 1505903 w 2443162"/>
                <a:gd name="connsiteY2858" fmla="*/ 391478 h 2161222"/>
                <a:gd name="connsiteX2859" fmla="*/ 1501140 w 2443162"/>
                <a:gd name="connsiteY2859" fmla="*/ 385763 h 2161222"/>
                <a:gd name="connsiteX2860" fmla="*/ 1495425 w 2443162"/>
                <a:gd name="connsiteY2860" fmla="*/ 380048 h 2161222"/>
                <a:gd name="connsiteX2861" fmla="*/ 1489710 w 2443162"/>
                <a:gd name="connsiteY2861" fmla="*/ 375285 h 2161222"/>
                <a:gd name="connsiteX2862" fmla="*/ 1483043 w 2443162"/>
                <a:gd name="connsiteY2862" fmla="*/ 369570 h 2161222"/>
                <a:gd name="connsiteX2863" fmla="*/ 1477328 w 2443162"/>
                <a:gd name="connsiteY2863" fmla="*/ 364808 h 2161222"/>
                <a:gd name="connsiteX2864" fmla="*/ 1463993 w 2443162"/>
                <a:gd name="connsiteY2864" fmla="*/ 355283 h 2161222"/>
                <a:gd name="connsiteX2865" fmla="*/ 1449705 w 2443162"/>
                <a:gd name="connsiteY2865" fmla="*/ 346710 h 2161222"/>
                <a:gd name="connsiteX2866" fmla="*/ 1435418 w 2443162"/>
                <a:gd name="connsiteY2866" fmla="*/ 338138 h 2161222"/>
                <a:gd name="connsiteX2867" fmla="*/ 1420178 w 2443162"/>
                <a:gd name="connsiteY2867" fmla="*/ 331470 h 2161222"/>
                <a:gd name="connsiteX2868" fmla="*/ 1404938 w 2443162"/>
                <a:gd name="connsiteY2868" fmla="*/ 324803 h 2161222"/>
                <a:gd name="connsiteX2869" fmla="*/ 1389698 w 2443162"/>
                <a:gd name="connsiteY2869" fmla="*/ 319088 h 2161222"/>
                <a:gd name="connsiteX2870" fmla="*/ 1374458 w 2443162"/>
                <a:gd name="connsiteY2870" fmla="*/ 313373 h 2161222"/>
                <a:gd name="connsiteX2871" fmla="*/ 1359218 w 2443162"/>
                <a:gd name="connsiteY2871" fmla="*/ 308610 h 2161222"/>
                <a:gd name="connsiteX2872" fmla="*/ 1343978 w 2443162"/>
                <a:gd name="connsiteY2872" fmla="*/ 304800 h 2161222"/>
                <a:gd name="connsiteX2873" fmla="*/ 1327785 w 2443162"/>
                <a:gd name="connsiteY2873" fmla="*/ 301943 h 2161222"/>
                <a:gd name="connsiteX2874" fmla="*/ 1312545 w 2443162"/>
                <a:gd name="connsiteY2874" fmla="*/ 300038 h 2161222"/>
                <a:gd name="connsiteX2875" fmla="*/ 1297305 w 2443162"/>
                <a:gd name="connsiteY2875" fmla="*/ 300038 h 2161222"/>
                <a:gd name="connsiteX2876" fmla="*/ 1297305 w 2443162"/>
                <a:gd name="connsiteY2876" fmla="*/ 300038 h 2161222"/>
                <a:gd name="connsiteX2877" fmla="*/ 1543050 w 2443162"/>
                <a:gd name="connsiteY2877" fmla="*/ 619125 h 2161222"/>
                <a:gd name="connsiteX2878" fmla="*/ 1546860 w 2443162"/>
                <a:gd name="connsiteY2878" fmla="*/ 608648 h 2161222"/>
                <a:gd name="connsiteX2879" fmla="*/ 1549718 w 2443162"/>
                <a:gd name="connsiteY2879" fmla="*/ 598170 h 2161222"/>
                <a:gd name="connsiteX2880" fmla="*/ 1552575 w 2443162"/>
                <a:gd name="connsiteY2880" fmla="*/ 587693 h 2161222"/>
                <a:gd name="connsiteX2881" fmla="*/ 1554480 w 2443162"/>
                <a:gd name="connsiteY2881" fmla="*/ 576263 h 2161222"/>
                <a:gd name="connsiteX2882" fmla="*/ 1556385 w 2443162"/>
                <a:gd name="connsiteY2882" fmla="*/ 564833 h 2161222"/>
                <a:gd name="connsiteX2883" fmla="*/ 1557338 w 2443162"/>
                <a:gd name="connsiteY2883" fmla="*/ 552450 h 2161222"/>
                <a:gd name="connsiteX2884" fmla="*/ 1558290 w 2443162"/>
                <a:gd name="connsiteY2884" fmla="*/ 540068 h 2161222"/>
                <a:gd name="connsiteX2885" fmla="*/ 1559243 w 2443162"/>
                <a:gd name="connsiteY2885" fmla="*/ 526733 h 2161222"/>
                <a:gd name="connsiteX2886" fmla="*/ 1559243 w 2443162"/>
                <a:gd name="connsiteY2886" fmla="*/ 517208 h 2161222"/>
                <a:gd name="connsiteX2887" fmla="*/ 1559243 w 2443162"/>
                <a:gd name="connsiteY2887" fmla="*/ 508635 h 2161222"/>
                <a:gd name="connsiteX2888" fmla="*/ 1558290 w 2443162"/>
                <a:gd name="connsiteY2888" fmla="*/ 500063 h 2161222"/>
                <a:gd name="connsiteX2889" fmla="*/ 1557338 w 2443162"/>
                <a:gd name="connsiteY2889" fmla="*/ 491490 h 2161222"/>
                <a:gd name="connsiteX2890" fmla="*/ 1555433 w 2443162"/>
                <a:gd name="connsiteY2890" fmla="*/ 482918 h 2161222"/>
                <a:gd name="connsiteX2891" fmla="*/ 1553528 w 2443162"/>
                <a:gd name="connsiteY2891" fmla="*/ 474345 h 2161222"/>
                <a:gd name="connsiteX2892" fmla="*/ 1550670 w 2443162"/>
                <a:gd name="connsiteY2892" fmla="*/ 465773 h 2161222"/>
                <a:gd name="connsiteX2893" fmla="*/ 1547813 w 2443162"/>
                <a:gd name="connsiteY2893" fmla="*/ 458153 h 2161222"/>
                <a:gd name="connsiteX2894" fmla="*/ 1555433 w 2443162"/>
                <a:gd name="connsiteY2894" fmla="*/ 462915 h 2161222"/>
                <a:gd name="connsiteX2895" fmla="*/ 1564005 w 2443162"/>
                <a:gd name="connsiteY2895" fmla="*/ 467678 h 2161222"/>
                <a:gd name="connsiteX2896" fmla="*/ 1571625 w 2443162"/>
                <a:gd name="connsiteY2896" fmla="*/ 472440 h 2161222"/>
                <a:gd name="connsiteX2897" fmla="*/ 1579245 w 2443162"/>
                <a:gd name="connsiteY2897" fmla="*/ 477203 h 2161222"/>
                <a:gd name="connsiteX2898" fmla="*/ 1583055 w 2443162"/>
                <a:gd name="connsiteY2898" fmla="*/ 495300 h 2161222"/>
                <a:gd name="connsiteX2899" fmla="*/ 1586865 w 2443162"/>
                <a:gd name="connsiteY2899" fmla="*/ 526733 h 2161222"/>
                <a:gd name="connsiteX2900" fmla="*/ 1586865 w 2443162"/>
                <a:gd name="connsiteY2900" fmla="*/ 544830 h 2161222"/>
                <a:gd name="connsiteX2901" fmla="*/ 1623060 w 2443162"/>
                <a:gd name="connsiteY2901" fmla="*/ 590550 h 2161222"/>
                <a:gd name="connsiteX2902" fmla="*/ 1604963 w 2443162"/>
                <a:gd name="connsiteY2902" fmla="*/ 594360 h 2161222"/>
                <a:gd name="connsiteX2903" fmla="*/ 1616393 w 2443162"/>
                <a:gd name="connsiteY2903" fmla="*/ 608648 h 2161222"/>
                <a:gd name="connsiteX2904" fmla="*/ 1584960 w 2443162"/>
                <a:gd name="connsiteY2904" fmla="*/ 639128 h 2161222"/>
                <a:gd name="connsiteX2905" fmla="*/ 1573530 w 2443162"/>
                <a:gd name="connsiteY2905" fmla="*/ 618173 h 2161222"/>
                <a:gd name="connsiteX2906" fmla="*/ 1564958 w 2443162"/>
                <a:gd name="connsiteY2906" fmla="*/ 638175 h 2161222"/>
                <a:gd name="connsiteX2907" fmla="*/ 1559243 w 2443162"/>
                <a:gd name="connsiteY2907" fmla="*/ 633413 h 2161222"/>
                <a:gd name="connsiteX2908" fmla="*/ 1553528 w 2443162"/>
                <a:gd name="connsiteY2908" fmla="*/ 628650 h 2161222"/>
                <a:gd name="connsiteX2909" fmla="*/ 1547813 w 2443162"/>
                <a:gd name="connsiteY2909" fmla="*/ 623888 h 2161222"/>
                <a:gd name="connsiteX2910" fmla="*/ 1543050 w 2443162"/>
                <a:gd name="connsiteY2910" fmla="*/ 619125 h 2161222"/>
                <a:gd name="connsiteX2911" fmla="*/ 1543050 w 2443162"/>
                <a:gd name="connsiteY2911" fmla="*/ 619125 h 2161222"/>
                <a:gd name="connsiteX2912" fmla="*/ 1140143 w 2443162"/>
                <a:gd name="connsiteY2912" fmla="*/ 318135 h 2161222"/>
                <a:gd name="connsiteX2913" fmla="*/ 1129665 w 2443162"/>
                <a:gd name="connsiteY2913" fmla="*/ 322898 h 2161222"/>
                <a:gd name="connsiteX2914" fmla="*/ 1119188 w 2443162"/>
                <a:gd name="connsiteY2914" fmla="*/ 327660 h 2161222"/>
                <a:gd name="connsiteX2915" fmla="*/ 1108710 w 2443162"/>
                <a:gd name="connsiteY2915" fmla="*/ 332423 h 2161222"/>
                <a:gd name="connsiteX2916" fmla="*/ 1098233 w 2443162"/>
                <a:gd name="connsiteY2916" fmla="*/ 337185 h 2161222"/>
                <a:gd name="connsiteX2917" fmla="*/ 1087755 w 2443162"/>
                <a:gd name="connsiteY2917" fmla="*/ 341948 h 2161222"/>
                <a:gd name="connsiteX2918" fmla="*/ 1077278 w 2443162"/>
                <a:gd name="connsiteY2918" fmla="*/ 346710 h 2161222"/>
                <a:gd name="connsiteX2919" fmla="*/ 1066800 w 2443162"/>
                <a:gd name="connsiteY2919" fmla="*/ 351473 h 2161222"/>
                <a:gd name="connsiteX2920" fmla="*/ 1056323 w 2443162"/>
                <a:gd name="connsiteY2920" fmla="*/ 356235 h 2161222"/>
                <a:gd name="connsiteX2921" fmla="*/ 1046798 w 2443162"/>
                <a:gd name="connsiteY2921" fmla="*/ 358140 h 2161222"/>
                <a:gd name="connsiteX2922" fmla="*/ 1038225 w 2443162"/>
                <a:gd name="connsiteY2922" fmla="*/ 360045 h 2161222"/>
                <a:gd name="connsiteX2923" fmla="*/ 1029653 w 2443162"/>
                <a:gd name="connsiteY2923" fmla="*/ 361950 h 2161222"/>
                <a:gd name="connsiteX2924" fmla="*/ 1021080 w 2443162"/>
                <a:gd name="connsiteY2924" fmla="*/ 364808 h 2161222"/>
                <a:gd name="connsiteX2925" fmla="*/ 1012508 w 2443162"/>
                <a:gd name="connsiteY2925" fmla="*/ 367665 h 2161222"/>
                <a:gd name="connsiteX2926" fmla="*/ 1004888 w 2443162"/>
                <a:gd name="connsiteY2926" fmla="*/ 370523 h 2161222"/>
                <a:gd name="connsiteX2927" fmla="*/ 997268 w 2443162"/>
                <a:gd name="connsiteY2927" fmla="*/ 374333 h 2161222"/>
                <a:gd name="connsiteX2928" fmla="*/ 989648 w 2443162"/>
                <a:gd name="connsiteY2928" fmla="*/ 378143 h 2161222"/>
                <a:gd name="connsiteX2929" fmla="*/ 982028 w 2443162"/>
                <a:gd name="connsiteY2929" fmla="*/ 382905 h 2161222"/>
                <a:gd name="connsiteX2930" fmla="*/ 974408 w 2443162"/>
                <a:gd name="connsiteY2930" fmla="*/ 387668 h 2161222"/>
                <a:gd name="connsiteX2931" fmla="*/ 967740 w 2443162"/>
                <a:gd name="connsiteY2931" fmla="*/ 392430 h 2161222"/>
                <a:gd name="connsiteX2932" fmla="*/ 961073 w 2443162"/>
                <a:gd name="connsiteY2932" fmla="*/ 397193 h 2161222"/>
                <a:gd name="connsiteX2933" fmla="*/ 954405 w 2443162"/>
                <a:gd name="connsiteY2933" fmla="*/ 402908 h 2161222"/>
                <a:gd name="connsiteX2934" fmla="*/ 947738 w 2443162"/>
                <a:gd name="connsiteY2934" fmla="*/ 408623 h 2161222"/>
                <a:gd name="connsiteX2935" fmla="*/ 942023 w 2443162"/>
                <a:gd name="connsiteY2935" fmla="*/ 414338 h 2161222"/>
                <a:gd name="connsiteX2936" fmla="*/ 936308 w 2443162"/>
                <a:gd name="connsiteY2936" fmla="*/ 420053 h 2161222"/>
                <a:gd name="connsiteX2937" fmla="*/ 930593 w 2443162"/>
                <a:gd name="connsiteY2937" fmla="*/ 426720 h 2161222"/>
                <a:gd name="connsiteX2938" fmla="*/ 923925 w 2443162"/>
                <a:gd name="connsiteY2938" fmla="*/ 428625 h 2161222"/>
                <a:gd name="connsiteX2939" fmla="*/ 919163 w 2443162"/>
                <a:gd name="connsiteY2939" fmla="*/ 436245 h 2161222"/>
                <a:gd name="connsiteX2940" fmla="*/ 914400 w 2443162"/>
                <a:gd name="connsiteY2940" fmla="*/ 443865 h 2161222"/>
                <a:gd name="connsiteX2941" fmla="*/ 909638 w 2443162"/>
                <a:gd name="connsiteY2941" fmla="*/ 451485 h 2161222"/>
                <a:gd name="connsiteX2942" fmla="*/ 904875 w 2443162"/>
                <a:gd name="connsiteY2942" fmla="*/ 460058 h 2161222"/>
                <a:gd name="connsiteX2943" fmla="*/ 900113 w 2443162"/>
                <a:gd name="connsiteY2943" fmla="*/ 468630 h 2161222"/>
                <a:gd name="connsiteX2944" fmla="*/ 895350 w 2443162"/>
                <a:gd name="connsiteY2944" fmla="*/ 476250 h 2161222"/>
                <a:gd name="connsiteX2945" fmla="*/ 891540 w 2443162"/>
                <a:gd name="connsiteY2945" fmla="*/ 485775 h 2161222"/>
                <a:gd name="connsiteX2946" fmla="*/ 887730 w 2443162"/>
                <a:gd name="connsiteY2946" fmla="*/ 495300 h 2161222"/>
                <a:gd name="connsiteX2947" fmla="*/ 883920 w 2443162"/>
                <a:gd name="connsiteY2947" fmla="*/ 504825 h 2161222"/>
                <a:gd name="connsiteX2948" fmla="*/ 880110 w 2443162"/>
                <a:gd name="connsiteY2948" fmla="*/ 515303 h 2161222"/>
                <a:gd name="connsiteX2949" fmla="*/ 877253 w 2443162"/>
                <a:gd name="connsiteY2949" fmla="*/ 525780 h 2161222"/>
                <a:gd name="connsiteX2950" fmla="*/ 874395 w 2443162"/>
                <a:gd name="connsiteY2950" fmla="*/ 536258 h 2161222"/>
                <a:gd name="connsiteX2951" fmla="*/ 871538 w 2443162"/>
                <a:gd name="connsiteY2951" fmla="*/ 546735 h 2161222"/>
                <a:gd name="connsiteX2952" fmla="*/ 868680 w 2443162"/>
                <a:gd name="connsiteY2952" fmla="*/ 558165 h 2161222"/>
                <a:gd name="connsiteX2953" fmla="*/ 868680 w 2443162"/>
                <a:gd name="connsiteY2953" fmla="*/ 558165 h 2161222"/>
                <a:gd name="connsiteX2954" fmla="*/ 868680 w 2443162"/>
                <a:gd name="connsiteY2954" fmla="*/ 558165 h 2161222"/>
                <a:gd name="connsiteX2955" fmla="*/ 868680 w 2443162"/>
                <a:gd name="connsiteY2955" fmla="*/ 560070 h 2161222"/>
                <a:gd name="connsiteX2956" fmla="*/ 868680 w 2443162"/>
                <a:gd name="connsiteY2956" fmla="*/ 562928 h 2161222"/>
                <a:gd name="connsiteX2957" fmla="*/ 866775 w 2443162"/>
                <a:gd name="connsiteY2957" fmla="*/ 562928 h 2161222"/>
                <a:gd name="connsiteX2958" fmla="*/ 865823 w 2443162"/>
                <a:gd name="connsiteY2958" fmla="*/ 571500 h 2161222"/>
                <a:gd name="connsiteX2959" fmla="*/ 863918 w 2443162"/>
                <a:gd name="connsiteY2959" fmla="*/ 578168 h 2161222"/>
                <a:gd name="connsiteX2960" fmla="*/ 861060 w 2443162"/>
                <a:gd name="connsiteY2960" fmla="*/ 584835 h 2161222"/>
                <a:gd name="connsiteX2961" fmla="*/ 857250 w 2443162"/>
                <a:gd name="connsiteY2961" fmla="*/ 589598 h 2161222"/>
                <a:gd name="connsiteX2962" fmla="*/ 853440 w 2443162"/>
                <a:gd name="connsiteY2962" fmla="*/ 595313 h 2161222"/>
                <a:gd name="connsiteX2963" fmla="*/ 849630 w 2443162"/>
                <a:gd name="connsiteY2963" fmla="*/ 600075 h 2161222"/>
                <a:gd name="connsiteX2964" fmla="*/ 844868 w 2443162"/>
                <a:gd name="connsiteY2964" fmla="*/ 603885 h 2161222"/>
                <a:gd name="connsiteX2965" fmla="*/ 840105 w 2443162"/>
                <a:gd name="connsiteY2965" fmla="*/ 607695 h 2161222"/>
                <a:gd name="connsiteX2966" fmla="*/ 834390 w 2443162"/>
                <a:gd name="connsiteY2966" fmla="*/ 610553 h 2161222"/>
                <a:gd name="connsiteX2967" fmla="*/ 828675 w 2443162"/>
                <a:gd name="connsiteY2967" fmla="*/ 613410 h 2161222"/>
                <a:gd name="connsiteX2968" fmla="*/ 822960 w 2443162"/>
                <a:gd name="connsiteY2968" fmla="*/ 615315 h 2161222"/>
                <a:gd name="connsiteX2969" fmla="*/ 819150 w 2443162"/>
                <a:gd name="connsiteY2969" fmla="*/ 617220 h 2161222"/>
                <a:gd name="connsiteX2970" fmla="*/ 812483 w 2443162"/>
                <a:gd name="connsiteY2970" fmla="*/ 619125 h 2161222"/>
                <a:gd name="connsiteX2971" fmla="*/ 805815 w 2443162"/>
                <a:gd name="connsiteY2971" fmla="*/ 620078 h 2161222"/>
                <a:gd name="connsiteX2972" fmla="*/ 799148 w 2443162"/>
                <a:gd name="connsiteY2972" fmla="*/ 620078 h 2161222"/>
                <a:gd name="connsiteX2973" fmla="*/ 792480 w 2443162"/>
                <a:gd name="connsiteY2973" fmla="*/ 620078 h 2161222"/>
                <a:gd name="connsiteX2974" fmla="*/ 796290 w 2443162"/>
                <a:gd name="connsiteY2974" fmla="*/ 621030 h 2161222"/>
                <a:gd name="connsiteX2975" fmla="*/ 801053 w 2443162"/>
                <a:gd name="connsiteY2975" fmla="*/ 621983 h 2161222"/>
                <a:gd name="connsiteX2976" fmla="*/ 806768 w 2443162"/>
                <a:gd name="connsiteY2976" fmla="*/ 621983 h 2161222"/>
                <a:gd name="connsiteX2977" fmla="*/ 812483 w 2443162"/>
                <a:gd name="connsiteY2977" fmla="*/ 621983 h 2161222"/>
                <a:gd name="connsiteX2978" fmla="*/ 818198 w 2443162"/>
                <a:gd name="connsiteY2978" fmla="*/ 621983 h 2161222"/>
                <a:gd name="connsiteX2979" fmla="*/ 824865 w 2443162"/>
                <a:gd name="connsiteY2979" fmla="*/ 621030 h 2161222"/>
                <a:gd name="connsiteX2980" fmla="*/ 832485 w 2443162"/>
                <a:gd name="connsiteY2980" fmla="*/ 619125 h 2161222"/>
                <a:gd name="connsiteX2981" fmla="*/ 841058 w 2443162"/>
                <a:gd name="connsiteY2981" fmla="*/ 616268 h 2161222"/>
                <a:gd name="connsiteX2982" fmla="*/ 837248 w 2443162"/>
                <a:gd name="connsiteY2982" fmla="*/ 625793 h 2161222"/>
                <a:gd name="connsiteX2983" fmla="*/ 834390 w 2443162"/>
                <a:gd name="connsiteY2983" fmla="*/ 635318 h 2161222"/>
                <a:gd name="connsiteX2984" fmla="*/ 833438 w 2443162"/>
                <a:gd name="connsiteY2984" fmla="*/ 638175 h 2161222"/>
                <a:gd name="connsiteX2985" fmla="*/ 832485 w 2443162"/>
                <a:gd name="connsiteY2985" fmla="*/ 642938 h 2161222"/>
                <a:gd name="connsiteX2986" fmla="*/ 831533 w 2443162"/>
                <a:gd name="connsiteY2986" fmla="*/ 647700 h 2161222"/>
                <a:gd name="connsiteX2987" fmla="*/ 831533 w 2443162"/>
                <a:gd name="connsiteY2987" fmla="*/ 652463 h 2161222"/>
                <a:gd name="connsiteX2988" fmla="*/ 834390 w 2443162"/>
                <a:gd name="connsiteY2988" fmla="*/ 645795 h 2161222"/>
                <a:gd name="connsiteX2989" fmla="*/ 837248 w 2443162"/>
                <a:gd name="connsiteY2989" fmla="*/ 639128 h 2161222"/>
                <a:gd name="connsiteX2990" fmla="*/ 840105 w 2443162"/>
                <a:gd name="connsiteY2990" fmla="*/ 632460 h 2161222"/>
                <a:gd name="connsiteX2991" fmla="*/ 843915 w 2443162"/>
                <a:gd name="connsiteY2991" fmla="*/ 626745 h 2161222"/>
                <a:gd name="connsiteX2992" fmla="*/ 846773 w 2443162"/>
                <a:gd name="connsiteY2992" fmla="*/ 621030 h 2161222"/>
                <a:gd name="connsiteX2993" fmla="*/ 850583 w 2443162"/>
                <a:gd name="connsiteY2993" fmla="*/ 615315 h 2161222"/>
                <a:gd name="connsiteX2994" fmla="*/ 854393 w 2443162"/>
                <a:gd name="connsiteY2994" fmla="*/ 609600 h 2161222"/>
                <a:gd name="connsiteX2995" fmla="*/ 858203 w 2443162"/>
                <a:gd name="connsiteY2995" fmla="*/ 604838 h 2161222"/>
                <a:gd name="connsiteX2996" fmla="*/ 862013 w 2443162"/>
                <a:gd name="connsiteY2996" fmla="*/ 600075 h 2161222"/>
                <a:gd name="connsiteX2997" fmla="*/ 865823 w 2443162"/>
                <a:gd name="connsiteY2997" fmla="*/ 595313 h 2161222"/>
                <a:gd name="connsiteX2998" fmla="*/ 869633 w 2443162"/>
                <a:gd name="connsiteY2998" fmla="*/ 591503 h 2161222"/>
                <a:gd name="connsiteX2999" fmla="*/ 873443 w 2443162"/>
                <a:gd name="connsiteY2999" fmla="*/ 588645 h 2161222"/>
                <a:gd name="connsiteX3000" fmla="*/ 878205 w 2443162"/>
                <a:gd name="connsiteY3000" fmla="*/ 585788 h 2161222"/>
                <a:gd name="connsiteX3001" fmla="*/ 882015 w 2443162"/>
                <a:gd name="connsiteY3001" fmla="*/ 583883 h 2161222"/>
                <a:gd name="connsiteX3002" fmla="*/ 886778 w 2443162"/>
                <a:gd name="connsiteY3002" fmla="*/ 581978 h 2161222"/>
                <a:gd name="connsiteX3003" fmla="*/ 891540 w 2443162"/>
                <a:gd name="connsiteY3003" fmla="*/ 581025 h 2161222"/>
                <a:gd name="connsiteX3004" fmla="*/ 893445 w 2443162"/>
                <a:gd name="connsiteY3004" fmla="*/ 581025 h 2161222"/>
                <a:gd name="connsiteX3005" fmla="*/ 924878 w 2443162"/>
                <a:gd name="connsiteY3005" fmla="*/ 571500 h 2161222"/>
                <a:gd name="connsiteX3006" fmla="*/ 936308 w 2443162"/>
                <a:gd name="connsiteY3006" fmla="*/ 565785 h 2161222"/>
                <a:gd name="connsiteX3007" fmla="*/ 947738 w 2443162"/>
                <a:gd name="connsiteY3007" fmla="*/ 560070 h 2161222"/>
                <a:gd name="connsiteX3008" fmla="*/ 959168 w 2443162"/>
                <a:gd name="connsiteY3008" fmla="*/ 554355 h 2161222"/>
                <a:gd name="connsiteX3009" fmla="*/ 969645 w 2443162"/>
                <a:gd name="connsiteY3009" fmla="*/ 548640 h 2161222"/>
                <a:gd name="connsiteX3010" fmla="*/ 981075 w 2443162"/>
                <a:gd name="connsiteY3010" fmla="*/ 541973 h 2161222"/>
                <a:gd name="connsiteX3011" fmla="*/ 991553 w 2443162"/>
                <a:gd name="connsiteY3011" fmla="*/ 535305 h 2161222"/>
                <a:gd name="connsiteX3012" fmla="*/ 1002030 w 2443162"/>
                <a:gd name="connsiteY3012" fmla="*/ 528638 h 2161222"/>
                <a:gd name="connsiteX3013" fmla="*/ 1012508 w 2443162"/>
                <a:gd name="connsiteY3013" fmla="*/ 521970 h 2161222"/>
                <a:gd name="connsiteX3014" fmla="*/ 1022985 w 2443162"/>
                <a:gd name="connsiteY3014" fmla="*/ 514350 h 2161222"/>
                <a:gd name="connsiteX3015" fmla="*/ 1032510 w 2443162"/>
                <a:gd name="connsiteY3015" fmla="*/ 506730 h 2161222"/>
                <a:gd name="connsiteX3016" fmla="*/ 1042035 w 2443162"/>
                <a:gd name="connsiteY3016" fmla="*/ 498158 h 2161222"/>
                <a:gd name="connsiteX3017" fmla="*/ 1051560 w 2443162"/>
                <a:gd name="connsiteY3017" fmla="*/ 489585 h 2161222"/>
                <a:gd name="connsiteX3018" fmla="*/ 1061085 w 2443162"/>
                <a:gd name="connsiteY3018" fmla="*/ 481013 h 2161222"/>
                <a:gd name="connsiteX3019" fmla="*/ 1070610 w 2443162"/>
                <a:gd name="connsiteY3019" fmla="*/ 471488 h 2161222"/>
                <a:gd name="connsiteX3020" fmla="*/ 1079183 w 2443162"/>
                <a:gd name="connsiteY3020" fmla="*/ 461963 h 2161222"/>
                <a:gd name="connsiteX3021" fmla="*/ 1087755 w 2443162"/>
                <a:gd name="connsiteY3021" fmla="*/ 451485 h 2161222"/>
                <a:gd name="connsiteX3022" fmla="*/ 1144905 w 2443162"/>
                <a:gd name="connsiteY3022" fmla="*/ 416243 h 2161222"/>
                <a:gd name="connsiteX3023" fmla="*/ 1140143 w 2443162"/>
                <a:gd name="connsiteY3023" fmla="*/ 318135 h 2161222"/>
                <a:gd name="connsiteX3024" fmla="*/ 1140143 w 2443162"/>
                <a:gd name="connsiteY3024" fmla="*/ 318135 h 2161222"/>
                <a:gd name="connsiteX3025" fmla="*/ 953453 w 2443162"/>
                <a:gd name="connsiteY3025" fmla="*/ 466725 h 2161222"/>
                <a:gd name="connsiteX3026" fmla="*/ 966788 w 2443162"/>
                <a:gd name="connsiteY3026" fmla="*/ 441008 h 2161222"/>
                <a:gd name="connsiteX3027" fmla="*/ 986790 w 2443162"/>
                <a:gd name="connsiteY3027" fmla="*/ 441008 h 2161222"/>
                <a:gd name="connsiteX3028" fmla="*/ 975360 w 2443162"/>
                <a:gd name="connsiteY3028" fmla="*/ 462915 h 2161222"/>
                <a:gd name="connsiteX3029" fmla="*/ 953453 w 2443162"/>
                <a:gd name="connsiteY3029" fmla="*/ 466725 h 2161222"/>
                <a:gd name="connsiteX3030" fmla="*/ 953453 w 2443162"/>
                <a:gd name="connsiteY3030" fmla="*/ 466725 h 2161222"/>
                <a:gd name="connsiteX3031" fmla="*/ 1222058 w 2443162"/>
                <a:gd name="connsiteY3031" fmla="*/ 0 h 2161222"/>
                <a:gd name="connsiteX3032" fmla="*/ 1204913 w 2443162"/>
                <a:gd name="connsiteY3032" fmla="*/ 0 h 2161222"/>
                <a:gd name="connsiteX3033" fmla="*/ 1186815 w 2443162"/>
                <a:gd name="connsiteY3033" fmla="*/ 6668 h 2161222"/>
                <a:gd name="connsiteX3034" fmla="*/ 1176338 w 2443162"/>
                <a:gd name="connsiteY3034" fmla="*/ 13335 h 2161222"/>
                <a:gd name="connsiteX3035" fmla="*/ 1165860 w 2443162"/>
                <a:gd name="connsiteY3035" fmla="*/ 23813 h 2161222"/>
                <a:gd name="connsiteX3036" fmla="*/ 1158240 w 2443162"/>
                <a:gd name="connsiteY3036" fmla="*/ 38100 h 2161222"/>
                <a:gd name="connsiteX3037" fmla="*/ 1154430 w 2443162"/>
                <a:gd name="connsiteY3037" fmla="*/ 52388 h 2161222"/>
                <a:gd name="connsiteX3038" fmla="*/ 1152525 w 2443162"/>
                <a:gd name="connsiteY3038" fmla="*/ 84773 h 2161222"/>
                <a:gd name="connsiteX3039" fmla="*/ 1152525 w 2443162"/>
                <a:gd name="connsiteY3039" fmla="*/ 120015 h 2161222"/>
                <a:gd name="connsiteX3040" fmla="*/ 1159193 w 2443162"/>
                <a:gd name="connsiteY3040" fmla="*/ 155258 h 2161222"/>
                <a:gd name="connsiteX3041" fmla="*/ 1169670 w 2443162"/>
                <a:gd name="connsiteY3041" fmla="*/ 211455 h 2161222"/>
                <a:gd name="connsiteX3042" fmla="*/ 1180148 w 2443162"/>
                <a:gd name="connsiteY3042" fmla="*/ 657225 h 2161222"/>
                <a:gd name="connsiteX3043" fmla="*/ 1225868 w 2443162"/>
                <a:gd name="connsiteY3043" fmla="*/ 646748 h 2161222"/>
                <a:gd name="connsiteX3044" fmla="*/ 1261110 w 2443162"/>
                <a:gd name="connsiteY3044" fmla="*/ 640080 h 2161222"/>
                <a:gd name="connsiteX3045" fmla="*/ 1271588 w 2443162"/>
                <a:gd name="connsiteY3045" fmla="*/ 212408 h 2161222"/>
                <a:gd name="connsiteX3046" fmla="*/ 1282065 w 2443162"/>
                <a:gd name="connsiteY3046" fmla="*/ 156210 h 2161222"/>
                <a:gd name="connsiteX3047" fmla="*/ 1285875 w 2443162"/>
                <a:gd name="connsiteY3047" fmla="*/ 120968 h 2161222"/>
                <a:gd name="connsiteX3048" fmla="*/ 1289685 w 2443162"/>
                <a:gd name="connsiteY3048" fmla="*/ 85725 h 2161222"/>
                <a:gd name="connsiteX3049" fmla="*/ 1289685 w 2443162"/>
                <a:gd name="connsiteY3049" fmla="*/ 53340 h 2161222"/>
                <a:gd name="connsiteX3050" fmla="*/ 1282065 w 2443162"/>
                <a:gd name="connsiteY3050" fmla="*/ 35243 h 2161222"/>
                <a:gd name="connsiteX3051" fmla="*/ 1278255 w 2443162"/>
                <a:gd name="connsiteY3051" fmla="*/ 24765 h 2161222"/>
                <a:gd name="connsiteX3052" fmla="*/ 1267778 w 2443162"/>
                <a:gd name="connsiteY3052" fmla="*/ 14288 h 2161222"/>
                <a:gd name="connsiteX3053" fmla="*/ 1257300 w 2443162"/>
                <a:gd name="connsiteY3053" fmla="*/ 7620 h 2161222"/>
                <a:gd name="connsiteX3054" fmla="*/ 1240155 w 2443162"/>
                <a:gd name="connsiteY3054" fmla="*/ 0 h 2161222"/>
                <a:gd name="connsiteX3055" fmla="*/ 1222058 w 2443162"/>
                <a:gd name="connsiteY3055" fmla="*/ 0 h 2161222"/>
                <a:gd name="connsiteX3056" fmla="*/ 1222058 w 2443162"/>
                <a:gd name="connsiteY3056" fmla="*/ 0 h 2161222"/>
                <a:gd name="connsiteX3057" fmla="*/ 1386840 w 2443162"/>
                <a:gd name="connsiteY3057" fmla="*/ 280035 h 2161222"/>
                <a:gd name="connsiteX3058" fmla="*/ 1394460 w 2443162"/>
                <a:gd name="connsiteY3058" fmla="*/ 272415 h 2161222"/>
                <a:gd name="connsiteX3059" fmla="*/ 1379220 w 2443162"/>
                <a:gd name="connsiteY3059" fmla="*/ 264795 h 2161222"/>
                <a:gd name="connsiteX3060" fmla="*/ 1335405 w 2443162"/>
                <a:gd name="connsiteY3060" fmla="*/ 264795 h 2161222"/>
                <a:gd name="connsiteX3061" fmla="*/ 1324928 w 2443162"/>
                <a:gd name="connsiteY3061" fmla="*/ 272415 h 2161222"/>
                <a:gd name="connsiteX3062" fmla="*/ 1299210 w 2443162"/>
                <a:gd name="connsiteY3062" fmla="*/ 268605 h 2161222"/>
                <a:gd name="connsiteX3063" fmla="*/ 1299210 w 2443162"/>
                <a:gd name="connsiteY3063" fmla="*/ 276225 h 2161222"/>
                <a:gd name="connsiteX3064" fmla="*/ 1343025 w 2443162"/>
                <a:gd name="connsiteY3064" fmla="*/ 280035 h 2161222"/>
                <a:gd name="connsiteX3065" fmla="*/ 1364933 w 2443162"/>
                <a:gd name="connsiteY3065" fmla="*/ 280035 h 2161222"/>
                <a:gd name="connsiteX3066" fmla="*/ 1386840 w 2443162"/>
                <a:gd name="connsiteY3066" fmla="*/ 280035 h 2161222"/>
                <a:gd name="connsiteX3067" fmla="*/ 1386840 w 2443162"/>
                <a:gd name="connsiteY3067" fmla="*/ 280035 h 2161222"/>
                <a:gd name="connsiteX3068" fmla="*/ 1303973 w 2443162"/>
                <a:gd name="connsiteY3068" fmla="*/ 1173480 h 2161222"/>
                <a:gd name="connsiteX3069" fmla="*/ 1303973 w 2443162"/>
                <a:gd name="connsiteY3069" fmla="*/ 1169670 h 2161222"/>
                <a:gd name="connsiteX3070" fmla="*/ 1296353 w 2443162"/>
                <a:gd name="connsiteY3070" fmla="*/ 1163003 h 2161222"/>
                <a:gd name="connsiteX3071" fmla="*/ 1281113 w 2443162"/>
                <a:gd name="connsiteY3071" fmla="*/ 1152525 h 2161222"/>
                <a:gd name="connsiteX3072" fmla="*/ 1277303 w 2443162"/>
                <a:gd name="connsiteY3072" fmla="*/ 1152525 h 2161222"/>
                <a:gd name="connsiteX3073" fmla="*/ 1277303 w 2443162"/>
                <a:gd name="connsiteY3073" fmla="*/ 1202055 h 2161222"/>
                <a:gd name="connsiteX3074" fmla="*/ 1295400 w 2443162"/>
                <a:gd name="connsiteY3074" fmla="*/ 1187768 h 2161222"/>
                <a:gd name="connsiteX3075" fmla="*/ 1303020 w 2443162"/>
                <a:gd name="connsiteY3075" fmla="*/ 1181100 h 2161222"/>
                <a:gd name="connsiteX3076" fmla="*/ 1303020 w 2443162"/>
                <a:gd name="connsiteY3076" fmla="*/ 1173480 h 2161222"/>
                <a:gd name="connsiteX3077" fmla="*/ 1303973 w 2443162"/>
                <a:gd name="connsiteY3077" fmla="*/ 1173480 h 2161222"/>
                <a:gd name="connsiteX3078" fmla="*/ 1830705 w 2443162"/>
                <a:gd name="connsiteY3078" fmla="*/ 715328 h 2161222"/>
                <a:gd name="connsiteX3079" fmla="*/ 1830705 w 2443162"/>
                <a:gd name="connsiteY3079" fmla="*/ 715328 h 2161222"/>
                <a:gd name="connsiteX3080" fmla="*/ 1836420 w 2443162"/>
                <a:gd name="connsiteY3080" fmla="*/ 717233 h 2161222"/>
                <a:gd name="connsiteX3081" fmla="*/ 1840230 w 2443162"/>
                <a:gd name="connsiteY3081" fmla="*/ 710565 h 2161222"/>
                <a:gd name="connsiteX3082" fmla="*/ 1815465 w 2443162"/>
                <a:gd name="connsiteY3082" fmla="*/ 668655 h 2161222"/>
                <a:gd name="connsiteX3083" fmla="*/ 1786890 w 2443162"/>
                <a:gd name="connsiteY3083" fmla="*/ 625793 h 2161222"/>
                <a:gd name="connsiteX3084" fmla="*/ 1763078 w 2443162"/>
                <a:gd name="connsiteY3084" fmla="*/ 606743 h 2161222"/>
                <a:gd name="connsiteX3085" fmla="*/ 1751648 w 2443162"/>
                <a:gd name="connsiteY3085" fmla="*/ 592455 h 2161222"/>
                <a:gd name="connsiteX3086" fmla="*/ 1740218 w 2443162"/>
                <a:gd name="connsiteY3086" fmla="*/ 578168 h 2161222"/>
                <a:gd name="connsiteX3087" fmla="*/ 1727835 w 2443162"/>
                <a:gd name="connsiteY3087" fmla="*/ 564833 h 2161222"/>
                <a:gd name="connsiteX3088" fmla="*/ 1715453 w 2443162"/>
                <a:gd name="connsiteY3088" fmla="*/ 551498 h 2161222"/>
                <a:gd name="connsiteX3089" fmla="*/ 1812608 w 2443162"/>
                <a:gd name="connsiteY3089" fmla="*/ 454343 h 2161222"/>
                <a:gd name="connsiteX3090" fmla="*/ 1825943 w 2443162"/>
                <a:gd name="connsiteY3090" fmla="*/ 467678 h 2161222"/>
                <a:gd name="connsiteX3091" fmla="*/ 1838325 w 2443162"/>
                <a:gd name="connsiteY3091" fmla="*/ 481965 h 2161222"/>
                <a:gd name="connsiteX3092" fmla="*/ 1850708 w 2443162"/>
                <a:gd name="connsiteY3092" fmla="*/ 496253 h 2161222"/>
                <a:gd name="connsiteX3093" fmla="*/ 1862138 w 2443162"/>
                <a:gd name="connsiteY3093" fmla="*/ 510540 h 2161222"/>
                <a:gd name="connsiteX3094" fmla="*/ 1873568 w 2443162"/>
                <a:gd name="connsiteY3094" fmla="*/ 525780 h 2161222"/>
                <a:gd name="connsiteX3095" fmla="*/ 1884998 w 2443162"/>
                <a:gd name="connsiteY3095" fmla="*/ 541020 h 2161222"/>
                <a:gd name="connsiteX3096" fmla="*/ 1895475 w 2443162"/>
                <a:gd name="connsiteY3096" fmla="*/ 556260 h 2161222"/>
                <a:gd name="connsiteX3097" fmla="*/ 1905953 w 2443162"/>
                <a:gd name="connsiteY3097" fmla="*/ 571500 h 2161222"/>
                <a:gd name="connsiteX3098" fmla="*/ 1916430 w 2443162"/>
                <a:gd name="connsiteY3098" fmla="*/ 586740 h 2161222"/>
                <a:gd name="connsiteX3099" fmla="*/ 1925955 w 2443162"/>
                <a:gd name="connsiteY3099" fmla="*/ 602933 h 2161222"/>
                <a:gd name="connsiteX3100" fmla="*/ 1935480 w 2443162"/>
                <a:gd name="connsiteY3100" fmla="*/ 619125 h 2161222"/>
                <a:gd name="connsiteX3101" fmla="*/ 1945005 w 2443162"/>
                <a:gd name="connsiteY3101" fmla="*/ 635318 h 2161222"/>
                <a:gd name="connsiteX3102" fmla="*/ 1953578 w 2443162"/>
                <a:gd name="connsiteY3102" fmla="*/ 651510 h 2161222"/>
                <a:gd name="connsiteX3103" fmla="*/ 1962150 w 2443162"/>
                <a:gd name="connsiteY3103" fmla="*/ 668655 h 2161222"/>
                <a:gd name="connsiteX3104" fmla="*/ 1969770 w 2443162"/>
                <a:gd name="connsiteY3104" fmla="*/ 685800 h 2161222"/>
                <a:gd name="connsiteX3105" fmla="*/ 1977390 w 2443162"/>
                <a:gd name="connsiteY3105" fmla="*/ 702945 h 2161222"/>
                <a:gd name="connsiteX3106" fmla="*/ 1985010 w 2443162"/>
                <a:gd name="connsiteY3106" fmla="*/ 721043 h 2161222"/>
                <a:gd name="connsiteX3107" fmla="*/ 1991678 w 2443162"/>
                <a:gd name="connsiteY3107" fmla="*/ 739140 h 2161222"/>
                <a:gd name="connsiteX3108" fmla="*/ 1997393 w 2443162"/>
                <a:gd name="connsiteY3108" fmla="*/ 757238 h 2161222"/>
                <a:gd name="connsiteX3109" fmla="*/ 2003108 w 2443162"/>
                <a:gd name="connsiteY3109" fmla="*/ 775335 h 2161222"/>
                <a:gd name="connsiteX3110" fmla="*/ 2008823 w 2443162"/>
                <a:gd name="connsiteY3110" fmla="*/ 794385 h 2161222"/>
                <a:gd name="connsiteX3111" fmla="*/ 2013585 w 2443162"/>
                <a:gd name="connsiteY3111" fmla="*/ 812483 h 2161222"/>
                <a:gd name="connsiteX3112" fmla="*/ 2018348 w 2443162"/>
                <a:gd name="connsiteY3112" fmla="*/ 831533 h 2161222"/>
                <a:gd name="connsiteX3113" fmla="*/ 2023110 w 2443162"/>
                <a:gd name="connsiteY3113" fmla="*/ 850583 h 2161222"/>
                <a:gd name="connsiteX3114" fmla="*/ 2026920 w 2443162"/>
                <a:gd name="connsiteY3114" fmla="*/ 869633 h 2161222"/>
                <a:gd name="connsiteX3115" fmla="*/ 2030730 w 2443162"/>
                <a:gd name="connsiteY3115" fmla="*/ 888683 h 2161222"/>
                <a:gd name="connsiteX3116" fmla="*/ 2033588 w 2443162"/>
                <a:gd name="connsiteY3116" fmla="*/ 907733 h 2161222"/>
                <a:gd name="connsiteX3117" fmla="*/ 2035493 w 2443162"/>
                <a:gd name="connsiteY3117" fmla="*/ 927735 h 2161222"/>
                <a:gd name="connsiteX3118" fmla="*/ 2037398 w 2443162"/>
                <a:gd name="connsiteY3118" fmla="*/ 947738 h 2161222"/>
                <a:gd name="connsiteX3119" fmla="*/ 2038350 w 2443162"/>
                <a:gd name="connsiteY3119" fmla="*/ 967740 h 2161222"/>
                <a:gd name="connsiteX3120" fmla="*/ 2039303 w 2443162"/>
                <a:gd name="connsiteY3120" fmla="*/ 987743 h 2161222"/>
                <a:gd name="connsiteX3121" fmla="*/ 2039303 w 2443162"/>
                <a:gd name="connsiteY3121" fmla="*/ 1007745 h 2161222"/>
                <a:gd name="connsiteX3122" fmla="*/ 1902143 w 2443162"/>
                <a:gd name="connsiteY3122" fmla="*/ 1007745 h 2161222"/>
                <a:gd name="connsiteX3123" fmla="*/ 1901190 w 2443162"/>
                <a:gd name="connsiteY3123" fmla="*/ 987743 h 2161222"/>
                <a:gd name="connsiteX3124" fmla="*/ 1900238 w 2443162"/>
                <a:gd name="connsiteY3124" fmla="*/ 967740 h 2161222"/>
                <a:gd name="connsiteX3125" fmla="*/ 1898333 w 2443162"/>
                <a:gd name="connsiteY3125" fmla="*/ 948690 h 2161222"/>
                <a:gd name="connsiteX3126" fmla="*/ 1896428 w 2443162"/>
                <a:gd name="connsiteY3126" fmla="*/ 929640 h 2161222"/>
                <a:gd name="connsiteX3127" fmla="*/ 1893570 w 2443162"/>
                <a:gd name="connsiteY3127" fmla="*/ 910590 h 2161222"/>
                <a:gd name="connsiteX3128" fmla="*/ 1889760 w 2443162"/>
                <a:gd name="connsiteY3128" fmla="*/ 891540 h 2161222"/>
                <a:gd name="connsiteX3129" fmla="*/ 1885950 w 2443162"/>
                <a:gd name="connsiteY3129" fmla="*/ 872490 h 2161222"/>
                <a:gd name="connsiteX3130" fmla="*/ 1881188 w 2443162"/>
                <a:gd name="connsiteY3130" fmla="*/ 854393 h 2161222"/>
                <a:gd name="connsiteX3131" fmla="*/ 1876425 w 2443162"/>
                <a:gd name="connsiteY3131" fmla="*/ 836295 h 2161222"/>
                <a:gd name="connsiteX3132" fmla="*/ 1871663 w 2443162"/>
                <a:gd name="connsiteY3132" fmla="*/ 818198 h 2161222"/>
                <a:gd name="connsiteX3133" fmla="*/ 1865948 w 2443162"/>
                <a:gd name="connsiteY3133" fmla="*/ 800100 h 2161222"/>
                <a:gd name="connsiteX3134" fmla="*/ 1859280 w 2443162"/>
                <a:gd name="connsiteY3134" fmla="*/ 782955 h 2161222"/>
                <a:gd name="connsiteX3135" fmla="*/ 1852613 w 2443162"/>
                <a:gd name="connsiteY3135" fmla="*/ 765810 h 2161222"/>
                <a:gd name="connsiteX3136" fmla="*/ 1844993 w 2443162"/>
                <a:gd name="connsiteY3136" fmla="*/ 748665 h 2161222"/>
                <a:gd name="connsiteX3137" fmla="*/ 1837373 w 2443162"/>
                <a:gd name="connsiteY3137" fmla="*/ 731520 h 2161222"/>
                <a:gd name="connsiteX3138" fmla="*/ 1830705 w 2443162"/>
                <a:gd name="connsiteY3138" fmla="*/ 715328 h 2161222"/>
                <a:gd name="connsiteX3139" fmla="*/ 1830705 w 2443162"/>
                <a:gd name="connsiteY3139" fmla="*/ 715328 h 2161222"/>
                <a:gd name="connsiteX3140" fmla="*/ 1635443 w 2443162"/>
                <a:gd name="connsiteY3140" fmla="*/ 633413 h 2161222"/>
                <a:gd name="connsiteX3141" fmla="*/ 1635443 w 2443162"/>
                <a:gd name="connsiteY3141" fmla="*/ 633413 h 2161222"/>
                <a:gd name="connsiteX3142" fmla="*/ 1635443 w 2443162"/>
                <a:gd name="connsiteY3142" fmla="*/ 633413 h 2161222"/>
                <a:gd name="connsiteX3143" fmla="*/ 1669733 w 2443162"/>
                <a:gd name="connsiteY3143" fmla="*/ 638175 h 2161222"/>
                <a:gd name="connsiteX3144" fmla="*/ 1676400 w 2443162"/>
                <a:gd name="connsiteY3144" fmla="*/ 648653 h 2161222"/>
                <a:gd name="connsiteX3145" fmla="*/ 1672590 w 2443162"/>
                <a:gd name="connsiteY3145" fmla="*/ 662940 h 2161222"/>
                <a:gd name="connsiteX3146" fmla="*/ 1718310 w 2443162"/>
                <a:gd name="connsiteY3146" fmla="*/ 691515 h 2161222"/>
                <a:gd name="connsiteX3147" fmla="*/ 1725930 w 2443162"/>
                <a:gd name="connsiteY3147" fmla="*/ 687705 h 2161222"/>
                <a:gd name="connsiteX3148" fmla="*/ 1784985 w 2443162"/>
                <a:gd name="connsiteY3148" fmla="*/ 758190 h 2161222"/>
                <a:gd name="connsiteX3149" fmla="*/ 1808798 w 2443162"/>
                <a:gd name="connsiteY3149" fmla="*/ 747713 h 2161222"/>
                <a:gd name="connsiteX3150" fmla="*/ 1809750 w 2443162"/>
                <a:gd name="connsiteY3150" fmla="*/ 746760 h 2161222"/>
                <a:gd name="connsiteX3151" fmla="*/ 1810703 w 2443162"/>
                <a:gd name="connsiteY3151" fmla="*/ 745808 h 2161222"/>
                <a:gd name="connsiteX3152" fmla="*/ 1817370 w 2443162"/>
                <a:gd name="connsiteY3152" fmla="*/ 761048 h 2161222"/>
                <a:gd name="connsiteX3153" fmla="*/ 1824038 w 2443162"/>
                <a:gd name="connsiteY3153" fmla="*/ 776288 h 2161222"/>
                <a:gd name="connsiteX3154" fmla="*/ 1829753 w 2443162"/>
                <a:gd name="connsiteY3154" fmla="*/ 791528 h 2161222"/>
                <a:gd name="connsiteX3155" fmla="*/ 1835468 w 2443162"/>
                <a:gd name="connsiteY3155" fmla="*/ 806768 h 2161222"/>
                <a:gd name="connsiteX3156" fmla="*/ 1840230 w 2443162"/>
                <a:gd name="connsiteY3156" fmla="*/ 822960 h 2161222"/>
                <a:gd name="connsiteX3157" fmla="*/ 1844993 w 2443162"/>
                <a:gd name="connsiteY3157" fmla="*/ 838200 h 2161222"/>
                <a:gd name="connsiteX3158" fmla="*/ 1849755 w 2443162"/>
                <a:gd name="connsiteY3158" fmla="*/ 854393 h 2161222"/>
                <a:gd name="connsiteX3159" fmla="*/ 1853565 w 2443162"/>
                <a:gd name="connsiteY3159" fmla="*/ 870585 h 2161222"/>
                <a:gd name="connsiteX3160" fmla="*/ 1857375 w 2443162"/>
                <a:gd name="connsiteY3160" fmla="*/ 886778 h 2161222"/>
                <a:gd name="connsiteX3161" fmla="*/ 1861185 w 2443162"/>
                <a:gd name="connsiteY3161" fmla="*/ 902970 h 2161222"/>
                <a:gd name="connsiteX3162" fmla="*/ 1864043 w 2443162"/>
                <a:gd name="connsiteY3162" fmla="*/ 920115 h 2161222"/>
                <a:gd name="connsiteX3163" fmla="*/ 1866900 w 2443162"/>
                <a:gd name="connsiteY3163" fmla="*/ 937260 h 2161222"/>
                <a:gd name="connsiteX3164" fmla="*/ 1868805 w 2443162"/>
                <a:gd name="connsiteY3164" fmla="*/ 954405 h 2161222"/>
                <a:gd name="connsiteX3165" fmla="*/ 1870710 w 2443162"/>
                <a:gd name="connsiteY3165" fmla="*/ 971550 h 2161222"/>
                <a:gd name="connsiteX3166" fmla="*/ 1871663 w 2443162"/>
                <a:gd name="connsiteY3166" fmla="*/ 988695 h 2161222"/>
                <a:gd name="connsiteX3167" fmla="*/ 1872615 w 2443162"/>
                <a:gd name="connsiteY3167" fmla="*/ 1006793 h 2161222"/>
                <a:gd name="connsiteX3168" fmla="*/ 1735455 w 2443162"/>
                <a:gd name="connsiteY3168" fmla="*/ 1006793 h 2161222"/>
                <a:gd name="connsiteX3169" fmla="*/ 1734503 w 2443162"/>
                <a:gd name="connsiteY3169" fmla="*/ 993458 h 2161222"/>
                <a:gd name="connsiteX3170" fmla="*/ 1733550 w 2443162"/>
                <a:gd name="connsiteY3170" fmla="*/ 980123 h 2161222"/>
                <a:gd name="connsiteX3171" fmla="*/ 1732598 w 2443162"/>
                <a:gd name="connsiteY3171" fmla="*/ 966788 h 2161222"/>
                <a:gd name="connsiteX3172" fmla="*/ 1730693 w 2443162"/>
                <a:gd name="connsiteY3172" fmla="*/ 953453 h 2161222"/>
                <a:gd name="connsiteX3173" fmla="*/ 1728788 w 2443162"/>
                <a:gd name="connsiteY3173" fmla="*/ 940118 h 2161222"/>
                <a:gd name="connsiteX3174" fmla="*/ 1726883 w 2443162"/>
                <a:gd name="connsiteY3174" fmla="*/ 926783 h 2161222"/>
                <a:gd name="connsiteX3175" fmla="*/ 1724025 w 2443162"/>
                <a:gd name="connsiteY3175" fmla="*/ 913448 h 2161222"/>
                <a:gd name="connsiteX3176" fmla="*/ 1721168 w 2443162"/>
                <a:gd name="connsiteY3176" fmla="*/ 901065 h 2161222"/>
                <a:gd name="connsiteX3177" fmla="*/ 1725930 w 2443162"/>
                <a:gd name="connsiteY3177" fmla="*/ 897255 h 2161222"/>
                <a:gd name="connsiteX3178" fmla="*/ 1732598 w 2443162"/>
                <a:gd name="connsiteY3178" fmla="*/ 855345 h 2161222"/>
                <a:gd name="connsiteX3179" fmla="*/ 1725930 w 2443162"/>
                <a:gd name="connsiteY3179" fmla="*/ 805815 h 2161222"/>
                <a:gd name="connsiteX3180" fmla="*/ 1711643 w 2443162"/>
                <a:gd name="connsiteY3180" fmla="*/ 752475 h 2161222"/>
                <a:gd name="connsiteX3181" fmla="*/ 1672590 w 2443162"/>
                <a:gd name="connsiteY3181" fmla="*/ 696278 h 2161222"/>
                <a:gd name="connsiteX3182" fmla="*/ 1679258 w 2443162"/>
                <a:gd name="connsiteY3182" fmla="*/ 700088 h 2161222"/>
                <a:gd name="connsiteX3183" fmla="*/ 1685925 w 2443162"/>
                <a:gd name="connsiteY3183" fmla="*/ 696278 h 2161222"/>
                <a:gd name="connsiteX3184" fmla="*/ 1654493 w 2443162"/>
                <a:gd name="connsiteY3184" fmla="*/ 675323 h 2161222"/>
                <a:gd name="connsiteX3185" fmla="*/ 1650683 w 2443162"/>
                <a:gd name="connsiteY3185" fmla="*/ 681990 h 2161222"/>
                <a:gd name="connsiteX3186" fmla="*/ 1682115 w 2443162"/>
                <a:gd name="connsiteY3186" fmla="*/ 727710 h 2161222"/>
                <a:gd name="connsiteX3187" fmla="*/ 1700213 w 2443162"/>
                <a:gd name="connsiteY3187" fmla="*/ 762953 h 2161222"/>
                <a:gd name="connsiteX3188" fmla="*/ 1714500 w 2443162"/>
                <a:gd name="connsiteY3188" fmla="*/ 798195 h 2161222"/>
                <a:gd name="connsiteX3189" fmla="*/ 1718310 w 2443162"/>
                <a:gd name="connsiteY3189" fmla="*/ 822960 h 2161222"/>
                <a:gd name="connsiteX3190" fmla="*/ 1725930 w 2443162"/>
                <a:gd name="connsiteY3190" fmla="*/ 864870 h 2161222"/>
                <a:gd name="connsiteX3191" fmla="*/ 1711643 w 2443162"/>
                <a:gd name="connsiteY3191" fmla="*/ 864870 h 2161222"/>
                <a:gd name="connsiteX3192" fmla="*/ 1707833 w 2443162"/>
                <a:gd name="connsiteY3192" fmla="*/ 854393 h 2161222"/>
                <a:gd name="connsiteX3193" fmla="*/ 1704023 w 2443162"/>
                <a:gd name="connsiteY3193" fmla="*/ 843915 h 2161222"/>
                <a:gd name="connsiteX3194" fmla="*/ 1700213 w 2443162"/>
                <a:gd name="connsiteY3194" fmla="*/ 833438 h 2161222"/>
                <a:gd name="connsiteX3195" fmla="*/ 1696403 w 2443162"/>
                <a:gd name="connsiteY3195" fmla="*/ 823913 h 2161222"/>
                <a:gd name="connsiteX3196" fmla="*/ 1700213 w 2443162"/>
                <a:gd name="connsiteY3196" fmla="*/ 818198 h 2161222"/>
                <a:gd name="connsiteX3197" fmla="*/ 1689735 w 2443162"/>
                <a:gd name="connsiteY3197" fmla="*/ 803910 h 2161222"/>
                <a:gd name="connsiteX3198" fmla="*/ 1689735 w 2443162"/>
                <a:gd name="connsiteY3198" fmla="*/ 785813 h 2161222"/>
                <a:gd name="connsiteX3199" fmla="*/ 1679258 w 2443162"/>
                <a:gd name="connsiteY3199" fmla="*/ 775335 h 2161222"/>
                <a:gd name="connsiteX3200" fmla="*/ 1674495 w 2443162"/>
                <a:gd name="connsiteY3200" fmla="*/ 775335 h 2161222"/>
                <a:gd name="connsiteX3201" fmla="*/ 1671638 w 2443162"/>
                <a:gd name="connsiteY3201" fmla="*/ 770573 h 2161222"/>
                <a:gd name="connsiteX3202" fmla="*/ 1668780 w 2443162"/>
                <a:gd name="connsiteY3202" fmla="*/ 766763 h 2161222"/>
                <a:gd name="connsiteX3203" fmla="*/ 1665923 w 2443162"/>
                <a:gd name="connsiteY3203" fmla="*/ 762000 h 2161222"/>
                <a:gd name="connsiteX3204" fmla="*/ 1663065 w 2443162"/>
                <a:gd name="connsiteY3204" fmla="*/ 757238 h 2161222"/>
                <a:gd name="connsiteX3205" fmla="*/ 1664018 w 2443162"/>
                <a:gd name="connsiteY3205" fmla="*/ 757238 h 2161222"/>
                <a:gd name="connsiteX3206" fmla="*/ 1667828 w 2443162"/>
                <a:gd name="connsiteY3206" fmla="*/ 757238 h 2161222"/>
                <a:gd name="connsiteX3207" fmla="*/ 1664018 w 2443162"/>
                <a:gd name="connsiteY3207" fmla="*/ 746760 h 2161222"/>
                <a:gd name="connsiteX3208" fmla="*/ 1670685 w 2443162"/>
                <a:gd name="connsiteY3208" fmla="*/ 742950 h 2161222"/>
                <a:gd name="connsiteX3209" fmla="*/ 1666875 w 2443162"/>
                <a:gd name="connsiteY3209" fmla="*/ 736283 h 2161222"/>
                <a:gd name="connsiteX3210" fmla="*/ 1653540 w 2443162"/>
                <a:gd name="connsiteY3210" fmla="*/ 742950 h 2161222"/>
                <a:gd name="connsiteX3211" fmla="*/ 1653540 w 2443162"/>
                <a:gd name="connsiteY3211" fmla="*/ 741998 h 2161222"/>
                <a:gd name="connsiteX3212" fmla="*/ 1660208 w 2443162"/>
                <a:gd name="connsiteY3212" fmla="*/ 721995 h 2161222"/>
                <a:gd name="connsiteX3213" fmla="*/ 1649730 w 2443162"/>
                <a:gd name="connsiteY3213" fmla="*/ 718185 h 2161222"/>
                <a:gd name="connsiteX3214" fmla="*/ 1644968 w 2443162"/>
                <a:gd name="connsiteY3214" fmla="*/ 727710 h 2161222"/>
                <a:gd name="connsiteX3215" fmla="*/ 1633538 w 2443162"/>
                <a:gd name="connsiteY3215" fmla="*/ 711518 h 2161222"/>
                <a:gd name="connsiteX3216" fmla="*/ 1621155 w 2443162"/>
                <a:gd name="connsiteY3216" fmla="*/ 696278 h 2161222"/>
                <a:gd name="connsiteX3217" fmla="*/ 1608773 w 2443162"/>
                <a:gd name="connsiteY3217" fmla="*/ 681038 h 2161222"/>
                <a:gd name="connsiteX3218" fmla="*/ 1595438 w 2443162"/>
                <a:gd name="connsiteY3218" fmla="*/ 666750 h 2161222"/>
                <a:gd name="connsiteX3219" fmla="*/ 1635443 w 2443162"/>
                <a:gd name="connsiteY3219" fmla="*/ 633413 h 2161222"/>
                <a:gd name="connsiteX3220" fmla="*/ 1635443 w 2443162"/>
                <a:gd name="connsiteY3220" fmla="*/ 633413 h 2161222"/>
                <a:gd name="connsiteX3221" fmla="*/ 1575435 w 2443162"/>
                <a:gd name="connsiteY3221" fmla="*/ 690563 h 2161222"/>
                <a:gd name="connsiteX3222" fmla="*/ 1577340 w 2443162"/>
                <a:gd name="connsiteY3222" fmla="*/ 692468 h 2161222"/>
                <a:gd name="connsiteX3223" fmla="*/ 1578293 w 2443162"/>
                <a:gd name="connsiteY3223" fmla="*/ 691515 h 2161222"/>
                <a:gd name="connsiteX3224" fmla="*/ 1596390 w 2443162"/>
                <a:gd name="connsiteY3224" fmla="*/ 714375 h 2161222"/>
                <a:gd name="connsiteX3225" fmla="*/ 1597343 w 2443162"/>
                <a:gd name="connsiteY3225" fmla="*/ 713423 h 2161222"/>
                <a:gd name="connsiteX3226" fmla="*/ 1608773 w 2443162"/>
                <a:gd name="connsiteY3226" fmla="*/ 727710 h 2161222"/>
                <a:gd name="connsiteX3227" fmla="*/ 1619250 w 2443162"/>
                <a:gd name="connsiteY3227" fmla="*/ 742950 h 2161222"/>
                <a:gd name="connsiteX3228" fmla="*/ 1628775 w 2443162"/>
                <a:gd name="connsiteY3228" fmla="*/ 758190 h 2161222"/>
                <a:gd name="connsiteX3229" fmla="*/ 1638300 w 2443162"/>
                <a:gd name="connsiteY3229" fmla="*/ 773430 h 2161222"/>
                <a:gd name="connsiteX3230" fmla="*/ 1636395 w 2443162"/>
                <a:gd name="connsiteY3230" fmla="*/ 774383 h 2161222"/>
                <a:gd name="connsiteX3231" fmla="*/ 1636395 w 2443162"/>
                <a:gd name="connsiteY3231" fmla="*/ 774383 h 2161222"/>
                <a:gd name="connsiteX3232" fmla="*/ 1623060 w 2443162"/>
                <a:gd name="connsiteY3232" fmla="*/ 778193 h 2161222"/>
                <a:gd name="connsiteX3233" fmla="*/ 1623060 w 2443162"/>
                <a:gd name="connsiteY3233" fmla="*/ 800100 h 2161222"/>
                <a:gd name="connsiteX3234" fmla="*/ 1662113 w 2443162"/>
                <a:gd name="connsiteY3234" fmla="*/ 824865 h 2161222"/>
                <a:gd name="connsiteX3235" fmla="*/ 1663065 w 2443162"/>
                <a:gd name="connsiteY3235" fmla="*/ 824865 h 2161222"/>
                <a:gd name="connsiteX3236" fmla="*/ 1664970 w 2443162"/>
                <a:gd name="connsiteY3236" fmla="*/ 824865 h 2161222"/>
                <a:gd name="connsiteX3237" fmla="*/ 1670685 w 2443162"/>
                <a:gd name="connsiteY3237" fmla="*/ 839153 h 2161222"/>
                <a:gd name="connsiteX3238" fmla="*/ 1676400 w 2443162"/>
                <a:gd name="connsiteY3238" fmla="*/ 853440 h 2161222"/>
                <a:gd name="connsiteX3239" fmla="*/ 1682115 w 2443162"/>
                <a:gd name="connsiteY3239" fmla="*/ 867728 h 2161222"/>
                <a:gd name="connsiteX3240" fmla="*/ 1686878 w 2443162"/>
                <a:gd name="connsiteY3240" fmla="*/ 882968 h 2161222"/>
                <a:gd name="connsiteX3241" fmla="*/ 1684020 w 2443162"/>
                <a:gd name="connsiteY3241" fmla="*/ 884873 h 2161222"/>
                <a:gd name="connsiteX3242" fmla="*/ 1684020 w 2443162"/>
                <a:gd name="connsiteY3242" fmla="*/ 884873 h 2161222"/>
                <a:gd name="connsiteX3243" fmla="*/ 1680210 w 2443162"/>
                <a:gd name="connsiteY3243" fmla="*/ 895350 h 2161222"/>
                <a:gd name="connsiteX3244" fmla="*/ 1665923 w 2443162"/>
                <a:gd name="connsiteY3244" fmla="*/ 902018 h 2161222"/>
                <a:gd name="connsiteX3245" fmla="*/ 1662113 w 2443162"/>
                <a:gd name="connsiteY3245" fmla="*/ 923925 h 2161222"/>
                <a:gd name="connsiteX3246" fmla="*/ 1651635 w 2443162"/>
                <a:gd name="connsiteY3246" fmla="*/ 927735 h 2161222"/>
                <a:gd name="connsiteX3247" fmla="*/ 1644968 w 2443162"/>
                <a:gd name="connsiteY3247" fmla="*/ 938213 h 2161222"/>
                <a:gd name="connsiteX3248" fmla="*/ 1638300 w 2443162"/>
                <a:gd name="connsiteY3248" fmla="*/ 933450 h 2161222"/>
                <a:gd name="connsiteX3249" fmla="*/ 1624013 w 2443162"/>
                <a:gd name="connsiteY3249" fmla="*/ 933450 h 2161222"/>
                <a:gd name="connsiteX3250" fmla="*/ 1630680 w 2443162"/>
                <a:gd name="connsiteY3250" fmla="*/ 922973 h 2161222"/>
                <a:gd name="connsiteX3251" fmla="*/ 1637348 w 2443162"/>
                <a:gd name="connsiteY3251" fmla="*/ 894398 h 2161222"/>
                <a:gd name="connsiteX3252" fmla="*/ 1647825 w 2443162"/>
                <a:gd name="connsiteY3252" fmla="*/ 887730 h 2161222"/>
                <a:gd name="connsiteX3253" fmla="*/ 1619250 w 2443162"/>
                <a:gd name="connsiteY3253" fmla="*/ 862965 h 2161222"/>
                <a:gd name="connsiteX3254" fmla="*/ 1598295 w 2443162"/>
                <a:gd name="connsiteY3254" fmla="*/ 869633 h 2161222"/>
                <a:gd name="connsiteX3255" fmla="*/ 1594485 w 2443162"/>
                <a:gd name="connsiteY3255" fmla="*/ 887730 h 2161222"/>
                <a:gd name="connsiteX3256" fmla="*/ 1583055 w 2443162"/>
                <a:gd name="connsiteY3256" fmla="*/ 902018 h 2161222"/>
                <a:gd name="connsiteX3257" fmla="*/ 1568768 w 2443162"/>
                <a:gd name="connsiteY3257" fmla="*/ 891540 h 2161222"/>
                <a:gd name="connsiteX3258" fmla="*/ 1564958 w 2443162"/>
                <a:gd name="connsiteY3258" fmla="*/ 881063 h 2161222"/>
                <a:gd name="connsiteX3259" fmla="*/ 1571625 w 2443162"/>
                <a:gd name="connsiteY3259" fmla="*/ 877253 h 2161222"/>
                <a:gd name="connsiteX3260" fmla="*/ 1575435 w 2443162"/>
                <a:gd name="connsiteY3260" fmla="*/ 883920 h 2161222"/>
                <a:gd name="connsiteX3261" fmla="*/ 1582103 w 2443162"/>
                <a:gd name="connsiteY3261" fmla="*/ 880110 h 2161222"/>
                <a:gd name="connsiteX3262" fmla="*/ 1578293 w 2443162"/>
                <a:gd name="connsiteY3262" fmla="*/ 869633 h 2161222"/>
                <a:gd name="connsiteX3263" fmla="*/ 1567815 w 2443162"/>
                <a:gd name="connsiteY3263" fmla="*/ 869633 h 2161222"/>
                <a:gd name="connsiteX3264" fmla="*/ 1567815 w 2443162"/>
                <a:gd name="connsiteY3264" fmla="*/ 874395 h 2161222"/>
                <a:gd name="connsiteX3265" fmla="*/ 1564005 w 2443162"/>
                <a:gd name="connsiteY3265" fmla="*/ 874395 h 2161222"/>
                <a:gd name="connsiteX3266" fmla="*/ 1532573 w 2443162"/>
                <a:gd name="connsiteY3266" fmla="*/ 838200 h 2161222"/>
                <a:gd name="connsiteX3267" fmla="*/ 1522095 w 2443162"/>
                <a:gd name="connsiteY3267" fmla="*/ 831533 h 2161222"/>
                <a:gd name="connsiteX3268" fmla="*/ 1525905 w 2443162"/>
                <a:gd name="connsiteY3268" fmla="*/ 827723 h 2161222"/>
                <a:gd name="connsiteX3269" fmla="*/ 1536383 w 2443162"/>
                <a:gd name="connsiteY3269" fmla="*/ 823913 h 2161222"/>
                <a:gd name="connsiteX3270" fmla="*/ 1525905 w 2443162"/>
                <a:gd name="connsiteY3270" fmla="*/ 820103 h 2161222"/>
                <a:gd name="connsiteX3271" fmla="*/ 1515428 w 2443162"/>
                <a:gd name="connsiteY3271" fmla="*/ 823913 h 2161222"/>
                <a:gd name="connsiteX3272" fmla="*/ 1523048 w 2443162"/>
                <a:gd name="connsiteY3272" fmla="*/ 830580 h 2161222"/>
                <a:gd name="connsiteX3273" fmla="*/ 1507808 w 2443162"/>
                <a:gd name="connsiteY3273" fmla="*/ 830580 h 2161222"/>
                <a:gd name="connsiteX3274" fmla="*/ 1500188 w 2443162"/>
                <a:gd name="connsiteY3274" fmla="*/ 820103 h 2161222"/>
                <a:gd name="connsiteX3275" fmla="*/ 1495425 w 2443162"/>
                <a:gd name="connsiteY3275" fmla="*/ 809625 h 2161222"/>
                <a:gd name="connsiteX3276" fmla="*/ 1486853 w 2443162"/>
                <a:gd name="connsiteY3276" fmla="*/ 799148 h 2161222"/>
                <a:gd name="connsiteX3277" fmla="*/ 1478280 w 2443162"/>
                <a:gd name="connsiteY3277" fmla="*/ 789623 h 2161222"/>
                <a:gd name="connsiteX3278" fmla="*/ 1575435 w 2443162"/>
                <a:gd name="connsiteY3278" fmla="*/ 690563 h 2161222"/>
                <a:gd name="connsiteX3279" fmla="*/ 1575435 w 2443162"/>
                <a:gd name="connsiteY3279" fmla="*/ 690563 h 2161222"/>
                <a:gd name="connsiteX3280" fmla="*/ 1484948 w 2443162"/>
                <a:gd name="connsiteY3280" fmla="*/ 841058 h 2161222"/>
                <a:gd name="connsiteX3281" fmla="*/ 1483043 w 2443162"/>
                <a:gd name="connsiteY3281" fmla="*/ 841058 h 2161222"/>
                <a:gd name="connsiteX3282" fmla="*/ 1483043 w 2443162"/>
                <a:gd name="connsiteY3282" fmla="*/ 842010 h 2161222"/>
                <a:gd name="connsiteX3283" fmla="*/ 1479233 w 2443162"/>
                <a:gd name="connsiteY3283" fmla="*/ 859155 h 2161222"/>
                <a:gd name="connsiteX3284" fmla="*/ 1464945 w 2443162"/>
                <a:gd name="connsiteY3284" fmla="*/ 848678 h 2161222"/>
                <a:gd name="connsiteX3285" fmla="*/ 1454468 w 2443162"/>
                <a:gd name="connsiteY3285" fmla="*/ 852488 h 2161222"/>
                <a:gd name="connsiteX3286" fmla="*/ 1461135 w 2443162"/>
                <a:gd name="connsiteY3286" fmla="*/ 862965 h 2161222"/>
                <a:gd name="connsiteX3287" fmla="*/ 1464945 w 2443162"/>
                <a:gd name="connsiteY3287" fmla="*/ 862965 h 2161222"/>
                <a:gd name="connsiteX3288" fmla="*/ 1461135 w 2443162"/>
                <a:gd name="connsiteY3288" fmla="*/ 877253 h 2161222"/>
                <a:gd name="connsiteX3289" fmla="*/ 1454468 w 2443162"/>
                <a:gd name="connsiteY3289" fmla="*/ 869633 h 2161222"/>
                <a:gd name="connsiteX3290" fmla="*/ 1440180 w 2443162"/>
                <a:gd name="connsiteY3290" fmla="*/ 865823 h 2161222"/>
                <a:gd name="connsiteX3291" fmla="*/ 1450658 w 2443162"/>
                <a:gd name="connsiteY3291" fmla="*/ 862013 h 2161222"/>
                <a:gd name="connsiteX3292" fmla="*/ 1450658 w 2443162"/>
                <a:gd name="connsiteY3292" fmla="*/ 858203 h 2161222"/>
                <a:gd name="connsiteX3293" fmla="*/ 1440180 w 2443162"/>
                <a:gd name="connsiteY3293" fmla="*/ 851535 h 2161222"/>
                <a:gd name="connsiteX3294" fmla="*/ 1443990 w 2443162"/>
                <a:gd name="connsiteY3294" fmla="*/ 823913 h 2161222"/>
                <a:gd name="connsiteX3295" fmla="*/ 1443990 w 2443162"/>
                <a:gd name="connsiteY3295" fmla="*/ 823913 h 2161222"/>
                <a:gd name="connsiteX3296" fmla="*/ 1459230 w 2443162"/>
                <a:gd name="connsiteY3296" fmla="*/ 808673 h 2161222"/>
                <a:gd name="connsiteX3297" fmla="*/ 1465898 w 2443162"/>
                <a:gd name="connsiteY3297" fmla="*/ 816293 h 2161222"/>
                <a:gd name="connsiteX3298" fmla="*/ 1471613 w 2443162"/>
                <a:gd name="connsiteY3298" fmla="*/ 823913 h 2161222"/>
                <a:gd name="connsiteX3299" fmla="*/ 1477328 w 2443162"/>
                <a:gd name="connsiteY3299" fmla="*/ 832485 h 2161222"/>
                <a:gd name="connsiteX3300" fmla="*/ 1484948 w 2443162"/>
                <a:gd name="connsiteY3300" fmla="*/ 841058 h 2161222"/>
                <a:gd name="connsiteX3301" fmla="*/ 1484948 w 2443162"/>
                <a:gd name="connsiteY3301" fmla="*/ 841058 h 2161222"/>
                <a:gd name="connsiteX3302" fmla="*/ 1548765 w 2443162"/>
                <a:gd name="connsiteY3302" fmla="*/ 1585913 h 2161222"/>
                <a:gd name="connsiteX3303" fmla="*/ 1562100 w 2443162"/>
                <a:gd name="connsiteY3303" fmla="*/ 1559243 h 2161222"/>
                <a:gd name="connsiteX3304" fmla="*/ 1554480 w 2443162"/>
                <a:gd name="connsiteY3304" fmla="*/ 1544955 h 2161222"/>
                <a:gd name="connsiteX3305" fmla="*/ 1575435 w 2443162"/>
                <a:gd name="connsiteY3305" fmla="*/ 1527810 h 2161222"/>
                <a:gd name="connsiteX3306" fmla="*/ 1575435 w 2443162"/>
                <a:gd name="connsiteY3306" fmla="*/ 1517333 h 2161222"/>
                <a:gd name="connsiteX3307" fmla="*/ 1558290 w 2443162"/>
                <a:gd name="connsiteY3307" fmla="*/ 1506855 h 2161222"/>
                <a:gd name="connsiteX3308" fmla="*/ 1571625 w 2443162"/>
                <a:gd name="connsiteY3308" fmla="*/ 1482090 h 2161222"/>
                <a:gd name="connsiteX3309" fmla="*/ 1592580 w 2443162"/>
                <a:gd name="connsiteY3309" fmla="*/ 1453515 h 2161222"/>
                <a:gd name="connsiteX3310" fmla="*/ 1571625 w 2443162"/>
                <a:gd name="connsiteY3310" fmla="*/ 1432560 h 2161222"/>
                <a:gd name="connsiteX3311" fmla="*/ 1558290 w 2443162"/>
                <a:gd name="connsiteY3311" fmla="*/ 1432560 h 2161222"/>
                <a:gd name="connsiteX3312" fmla="*/ 1548765 w 2443162"/>
                <a:gd name="connsiteY3312" fmla="*/ 1420178 h 2161222"/>
                <a:gd name="connsiteX3313" fmla="*/ 1556385 w 2443162"/>
                <a:gd name="connsiteY3313" fmla="*/ 1414463 h 2161222"/>
                <a:gd name="connsiteX3314" fmla="*/ 1564005 w 2443162"/>
                <a:gd name="connsiteY3314" fmla="*/ 1407795 h 2161222"/>
                <a:gd name="connsiteX3315" fmla="*/ 1570673 w 2443162"/>
                <a:gd name="connsiteY3315" fmla="*/ 1402080 h 2161222"/>
                <a:gd name="connsiteX3316" fmla="*/ 1577340 w 2443162"/>
                <a:gd name="connsiteY3316" fmla="*/ 1395413 h 2161222"/>
                <a:gd name="connsiteX3317" fmla="*/ 1626870 w 2443162"/>
                <a:gd name="connsiteY3317" fmla="*/ 1445895 h 2161222"/>
                <a:gd name="connsiteX3318" fmla="*/ 1626870 w 2443162"/>
                <a:gd name="connsiteY3318" fmla="*/ 1454468 h 2161222"/>
                <a:gd name="connsiteX3319" fmla="*/ 1626870 w 2443162"/>
                <a:gd name="connsiteY3319" fmla="*/ 1454468 h 2161222"/>
                <a:gd name="connsiteX3320" fmla="*/ 1636395 w 2443162"/>
                <a:gd name="connsiteY3320" fmla="*/ 1455420 h 2161222"/>
                <a:gd name="connsiteX3321" fmla="*/ 1673543 w 2443162"/>
                <a:gd name="connsiteY3321" fmla="*/ 1493520 h 2161222"/>
                <a:gd name="connsiteX3322" fmla="*/ 1659255 w 2443162"/>
                <a:gd name="connsiteY3322" fmla="*/ 1506855 h 2161222"/>
                <a:gd name="connsiteX3323" fmla="*/ 1644968 w 2443162"/>
                <a:gd name="connsiteY3323" fmla="*/ 1520190 h 2161222"/>
                <a:gd name="connsiteX3324" fmla="*/ 1629728 w 2443162"/>
                <a:gd name="connsiteY3324" fmla="*/ 1532573 h 2161222"/>
                <a:gd name="connsiteX3325" fmla="*/ 1614488 w 2443162"/>
                <a:gd name="connsiteY3325" fmla="*/ 1544955 h 2161222"/>
                <a:gd name="connsiteX3326" fmla="*/ 1598295 w 2443162"/>
                <a:gd name="connsiteY3326" fmla="*/ 1556385 h 2161222"/>
                <a:gd name="connsiteX3327" fmla="*/ 1582103 w 2443162"/>
                <a:gd name="connsiteY3327" fmla="*/ 1567815 h 2161222"/>
                <a:gd name="connsiteX3328" fmla="*/ 1565910 w 2443162"/>
                <a:gd name="connsiteY3328" fmla="*/ 1578293 h 2161222"/>
                <a:gd name="connsiteX3329" fmla="*/ 1548765 w 2443162"/>
                <a:gd name="connsiteY3329" fmla="*/ 1585913 h 2161222"/>
                <a:gd name="connsiteX3330" fmla="*/ 1548765 w 2443162"/>
                <a:gd name="connsiteY3330" fmla="*/ 1585913 h 2161222"/>
                <a:gd name="connsiteX3331" fmla="*/ 1560195 w 2443162"/>
                <a:gd name="connsiteY3331" fmla="*/ 1335405 h 2161222"/>
                <a:gd name="connsiteX3332" fmla="*/ 1564958 w 2443162"/>
                <a:gd name="connsiteY3332" fmla="*/ 1323023 h 2161222"/>
                <a:gd name="connsiteX3333" fmla="*/ 1550670 w 2443162"/>
                <a:gd name="connsiteY3333" fmla="*/ 1280160 h 2161222"/>
                <a:gd name="connsiteX3334" fmla="*/ 1533525 w 2443162"/>
                <a:gd name="connsiteY3334" fmla="*/ 1308735 h 2161222"/>
                <a:gd name="connsiteX3335" fmla="*/ 1520190 w 2443162"/>
                <a:gd name="connsiteY3335" fmla="*/ 1295400 h 2161222"/>
                <a:gd name="connsiteX3336" fmla="*/ 1525905 w 2443162"/>
                <a:gd name="connsiteY3336" fmla="*/ 1287780 h 2161222"/>
                <a:gd name="connsiteX3337" fmla="*/ 1540193 w 2443162"/>
                <a:gd name="connsiteY3337" fmla="*/ 1263015 h 2161222"/>
                <a:gd name="connsiteX3338" fmla="*/ 1533525 w 2443162"/>
                <a:gd name="connsiteY3338" fmla="*/ 1256348 h 2161222"/>
                <a:gd name="connsiteX3339" fmla="*/ 1544003 w 2443162"/>
                <a:gd name="connsiteY3339" fmla="*/ 1235393 h 2161222"/>
                <a:gd name="connsiteX3340" fmla="*/ 1540193 w 2443162"/>
                <a:gd name="connsiteY3340" fmla="*/ 1218248 h 2161222"/>
                <a:gd name="connsiteX3341" fmla="*/ 1536383 w 2443162"/>
                <a:gd name="connsiteY3341" fmla="*/ 1200150 h 2161222"/>
                <a:gd name="connsiteX3342" fmla="*/ 1522095 w 2443162"/>
                <a:gd name="connsiteY3342" fmla="*/ 1196340 h 2161222"/>
                <a:gd name="connsiteX3343" fmla="*/ 1518285 w 2443162"/>
                <a:gd name="connsiteY3343" fmla="*/ 1206818 h 2161222"/>
                <a:gd name="connsiteX3344" fmla="*/ 1514475 w 2443162"/>
                <a:gd name="connsiteY3344" fmla="*/ 1204913 h 2161222"/>
                <a:gd name="connsiteX3345" fmla="*/ 1522095 w 2443162"/>
                <a:gd name="connsiteY3345" fmla="*/ 1192530 h 2161222"/>
                <a:gd name="connsiteX3346" fmla="*/ 1528763 w 2443162"/>
                <a:gd name="connsiteY3346" fmla="*/ 1180148 h 2161222"/>
                <a:gd name="connsiteX3347" fmla="*/ 1534478 w 2443162"/>
                <a:gd name="connsiteY3347" fmla="*/ 1166813 h 2161222"/>
                <a:gd name="connsiteX3348" fmla="*/ 1540193 w 2443162"/>
                <a:gd name="connsiteY3348" fmla="*/ 1153478 h 2161222"/>
                <a:gd name="connsiteX3349" fmla="*/ 1552575 w 2443162"/>
                <a:gd name="connsiteY3349" fmla="*/ 1147763 h 2161222"/>
                <a:gd name="connsiteX3350" fmla="*/ 1560195 w 2443162"/>
                <a:gd name="connsiteY3350" fmla="*/ 1140143 h 2161222"/>
                <a:gd name="connsiteX3351" fmla="*/ 1564005 w 2443162"/>
                <a:gd name="connsiteY3351" fmla="*/ 1143953 h 2161222"/>
                <a:gd name="connsiteX3352" fmla="*/ 1570673 w 2443162"/>
                <a:gd name="connsiteY3352" fmla="*/ 1133475 h 2161222"/>
                <a:gd name="connsiteX3353" fmla="*/ 1564005 w 2443162"/>
                <a:gd name="connsiteY3353" fmla="*/ 1126808 h 2161222"/>
                <a:gd name="connsiteX3354" fmla="*/ 1570673 w 2443162"/>
                <a:gd name="connsiteY3354" fmla="*/ 1122998 h 2161222"/>
                <a:gd name="connsiteX3355" fmla="*/ 1581150 w 2443162"/>
                <a:gd name="connsiteY3355" fmla="*/ 1126808 h 2161222"/>
                <a:gd name="connsiteX3356" fmla="*/ 1602105 w 2443162"/>
                <a:gd name="connsiteY3356" fmla="*/ 1126808 h 2161222"/>
                <a:gd name="connsiteX3357" fmla="*/ 1616393 w 2443162"/>
                <a:gd name="connsiteY3357" fmla="*/ 1122998 h 2161222"/>
                <a:gd name="connsiteX3358" fmla="*/ 1651635 w 2443162"/>
                <a:gd name="connsiteY3358" fmla="*/ 1112520 h 2161222"/>
                <a:gd name="connsiteX3359" fmla="*/ 1644968 w 2443162"/>
                <a:gd name="connsiteY3359" fmla="*/ 1102043 h 2161222"/>
                <a:gd name="connsiteX3360" fmla="*/ 1641158 w 2443162"/>
                <a:gd name="connsiteY3360" fmla="*/ 1087755 h 2161222"/>
                <a:gd name="connsiteX3361" fmla="*/ 1659255 w 2443162"/>
                <a:gd name="connsiteY3361" fmla="*/ 1094423 h 2161222"/>
                <a:gd name="connsiteX3362" fmla="*/ 1665923 w 2443162"/>
                <a:gd name="connsiteY3362" fmla="*/ 1090613 h 2161222"/>
                <a:gd name="connsiteX3363" fmla="*/ 1662113 w 2443162"/>
                <a:gd name="connsiteY3363" fmla="*/ 1076325 h 2161222"/>
                <a:gd name="connsiteX3364" fmla="*/ 1641158 w 2443162"/>
                <a:gd name="connsiteY3364" fmla="*/ 1083945 h 2161222"/>
                <a:gd name="connsiteX3365" fmla="*/ 1616393 w 2443162"/>
                <a:gd name="connsiteY3365" fmla="*/ 1080135 h 2161222"/>
                <a:gd name="connsiteX3366" fmla="*/ 1599248 w 2443162"/>
                <a:gd name="connsiteY3366" fmla="*/ 1041083 h 2161222"/>
                <a:gd name="connsiteX3367" fmla="*/ 1600200 w 2443162"/>
                <a:gd name="connsiteY3367" fmla="*/ 1041083 h 2161222"/>
                <a:gd name="connsiteX3368" fmla="*/ 1600200 w 2443162"/>
                <a:gd name="connsiteY3368" fmla="*/ 1041083 h 2161222"/>
                <a:gd name="connsiteX3369" fmla="*/ 1598295 w 2443162"/>
                <a:gd name="connsiteY3369" fmla="*/ 1038225 h 2161222"/>
                <a:gd name="connsiteX3370" fmla="*/ 1706880 w 2443162"/>
                <a:gd name="connsiteY3370" fmla="*/ 1038225 h 2161222"/>
                <a:gd name="connsiteX3371" fmla="*/ 1705928 w 2443162"/>
                <a:gd name="connsiteY3371" fmla="*/ 1049655 h 2161222"/>
                <a:gd name="connsiteX3372" fmla="*/ 1704975 w 2443162"/>
                <a:gd name="connsiteY3372" fmla="*/ 1061085 h 2161222"/>
                <a:gd name="connsiteX3373" fmla="*/ 1704023 w 2443162"/>
                <a:gd name="connsiteY3373" fmla="*/ 1072515 h 2161222"/>
                <a:gd name="connsiteX3374" fmla="*/ 1703070 w 2443162"/>
                <a:gd name="connsiteY3374" fmla="*/ 1083945 h 2161222"/>
                <a:gd name="connsiteX3375" fmla="*/ 1702118 w 2443162"/>
                <a:gd name="connsiteY3375" fmla="*/ 1094423 h 2161222"/>
                <a:gd name="connsiteX3376" fmla="*/ 1700213 w 2443162"/>
                <a:gd name="connsiteY3376" fmla="*/ 1104900 h 2161222"/>
                <a:gd name="connsiteX3377" fmla="*/ 1698308 w 2443162"/>
                <a:gd name="connsiteY3377" fmla="*/ 1115378 h 2161222"/>
                <a:gd name="connsiteX3378" fmla="*/ 1696403 w 2443162"/>
                <a:gd name="connsiteY3378" fmla="*/ 1125855 h 2161222"/>
                <a:gd name="connsiteX3379" fmla="*/ 1693545 w 2443162"/>
                <a:gd name="connsiteY3379" fmla="*/ 1136333 h 2161222"/>
                <a:gd name="connsiteX3380" fmla="*/ 1690688 w 2443162"/>
                <a:gd name="connsiteY3380" fmla="*/ 1146810 h 2161222"/>
                <a:gd name="connsiteX3381" fmla="*/ 1687830 w 2443162"/>
                <a:gd name="connsiteY3381" fmla="*/ 1157288 h 2161222"/>
                <a:gd name="connsiteX3382" fmla="*/ 1684973 w 2443162"/>
                <a:gd name="connsiteY3382" fmla="*/ 1167765 h 2161222"/>
                <a:gd name="connsiteX3383" fmla="*/ 1681163 w 2443162"/>
                <a:gd name="connsiteY3383" fmla="*/ 1177290 h 2161222"/>
                <a:gd name="connsiteX3384" fmla="*/ 1677353 w 2443162"/>
                <a:gd name="connsiteY3384" fmla="*/ 1187768 h 2161222"/>
                <a:gd name="connsiteX3385" fmla="*/ 1673543 w 2443162"/>
                <a:gd name="connsiteY3385" fmla="*/ 1198245 h 2161222"/>
                <a:gd name="connsiteX3386" fmla="*/ 1669733 w 2443162"/>
                <a:gd name="connsiteY3386" fmla="*/ 1208723 h 2161222"/>
                <a:gd name="connsiteX3387" fmla="*/ 1664970 w 2443162"/>
                <a:gd name="connsiteY3387" fmla="*/ 1218248 h 2161222"/>
                <a:gd name="connsiteX3388" fmla="*/ 1661160 w 2443162"/>
                <a:gd name="connsiteY3388" fmla="*/ 1227773 h 2161222"/>
                <a:gd name="connsiteX3389" fmla="*/ 1656398 w 2443162"/>
                <a:gd name="connsiteY3389" fmla="*/ 1237298 h 2161222"/>
                <a:gd name="connsiteX3390" fmla="*/ 1651635 w 2443162"/>
                <a:gd name="connsiteY3390" fmla="*/ 1246823 h 2161222"/>
                <a:gd name="connsiteX3391" fmla="*/ 1646873 w 2443162"/>
                <a:gd name="connsiteY3391" fmla="*/ 1256348 h 2161222"/>
                <a:gd name="connsiteX3392" fmla="*/ 1642110 w 2443162"/>
                <a:gd name="connsiteY3392" fmla="*/ 1265873 h 2161222"/>
                <a:gd name="connsiteX3393" fmla="*/ 1636395 w 2443162"/>
                <a:gd name="connsiteY3393" fmla="*/ 1275398 h 2161222"/>
                <a:gd name="connsiteX3394" fmla="*/ 1630680 w 2443162"/>
                <a:gd name="connsiteY3394" fmla="*/ 1284923 h 2161222"/>
                <a:gd name="connsiteX3395" fmla="*/ 1624965 w 2443162"/>
                <a:gd name="connsiteY3395" fmla="*/ 1293495 h 2161222"/>
                <a:gd name="connsiteX3396" fmla="*/ 1619250 w 2443162"/>
                <a:gd name="connsiteY3396" fmla="*/ 1302068 h 2161222"/>
                <a:gd name="connsiteX3397" fmla="*/ 1613535 w 2443162"/>
                <a:gd name="connsiteY3397" fmla="*/ 1310640 h 2161222"/>
                <a:gd name="connsiteX3398" fmla="*/ 1606868 w 2443162"/>
                <a:gd name="connsiteY3398" fmla="*/ 1319213 h 2161222"/>
                <a:gd name="connsiteX3399" fmla="*/ 1600200 w 2443162"/>
                <a:gd name="connsiteY3399" fmla="*/ 1327785 h 2161222"/>
                <a:gd name="connsiteX3400" fmla="*/ 1593533 w 2443162"/>
                <a:gd name="connsiteY3400" fmla="*/ 1336358 h 2161222"/>
                <a:gd name="connsiteX3401" fmla="*/ 1586865 w 2443162"/>
                <a:gd name="connsiteY3401" fmla="*/ 1344930 h 2161222"/>
                <a:gd name="connsiteX3402" fmla="*/ 1579245 w 2443162"/>
                <a:gd name="connsiteY3402" fmla="*/ 1352550 h 2161222"/>
                <a:gd name="connsiteX3403" fmla="*/ 1560195 w 2443162"/>
                <a:gd name="connsiteY3403" fmla="*/ 1335405 h 2161222"/>
                <a:gd name="connsiteX3404" fmla="*/ 1560195 w 2443162"/>
                <a:gd name="connsiteY3404" fmla="*/ 1335405 h 2161222"/>
                <a:gd name="connsiteX3405" fmla="*/ 1503045 w 2443162"/>
                <a:gd name="connsiteY3405" fmla="*/ 1320165 h 2161222"/>
                <a:gd name="connsiteX3406" fmla="*/ 1496378 w 2443162"/>
                <a:gd name="connsiteY3406" fmla="*/ 1321118 h 2161222"/>
                <a:gd name="connsiteX3407" fmla="*/ 1497330 w 2443162"/>
                <a:gd name="connsiteY3407" fmla="*/ 1322070 h 2161222"/>
                <a:gd name="connsiteX3408" fmla="*/ 1493520 w 2443162"/>
                <a:gd name="connsiteY3408" fmla="*/ 1325880 h 2161222"/>
                <a:gd name="connsiteX3409" fmla="*/ 1462088 w 2443162"/>
                <a:gd name="connsiteY3409" fmla="*/ 1319213 h 2161222"/>
                <a:gd name="connsiteX3410" fmla="*/ 1455420 w 2443162"/>
                <a:gd name="connsiteY3410" fmla="*/ 1323023 h 2161222"/>
                <a:gd name="connsiteX3411" fmla="*/ 1437323 w 2443162"/>
                <a:gd name="connsiteY3411" fmla="*/ 1308735 h 2161222"/>
                <a:gd name="connsiteX3412" fmla="*/ 1423035 w 2443162"/>
                <a:gd name="connsiteY3412" fmla="*/ 1304925 h 2161222"/>
                <a:gd name="connsiteX3413" fmla="*/ 1443038 w 2443162"/>
                <a:gd name="connsiteY3413" fmla="*/ 1288733 h 2161222"/>
                <a:gd name="connsiteX3414" fmla="*/ 1443038 w 2443162"/>
                <a:gd name="connsiteY3414" fmla="*/ 1286828 h 2161222"/>
                <a:gd name="connsiteX3415" fmla="*/ 1460183 w 2443162"/>
                <a:gd name="connsiteY3415" fmla="*/ 1278255 h 2161222"/>
                <a:gd name="connsiteX3416" fmla="*/ 1503045 w 2443162"/>
                <a:gd name="connsiteY3416" fmla="*/ 1320165 h 2161222"/>
                <a:gd name="connsiteX3417" fmla="*/ 1503045 w 2443162"/>
                <a:gd name="connsiteY3417" fmla="*/ 1320165 h 2161222"/>
                <a:gd name="connsiteX3418" fmla="*/ 1582103 w 2443162"/>
                <a:gd name="connsiteY3418" fmla="*/ 1006793 h 2161222"/>
                <a:gd name="connsiteX3419" fmla="*/ 1582103 w 2443162"/>
                <a:gd name="connsiteY3419" fmla="*/ 1000125 h 2161222"/>
                <a:gd name="connsiteX3420" fmla="*/ 1596390 w 2443162"/>
                <a:gd name="connsiteY3420" fmla="*/ 989648 h 2161222"/>
                <a:gd name="connsiteX3421" fmla="*/ 1596390 w 2443162"/>
                <a:gd name="connsiteY3421" fmla="*/ 982980 h 2161222"/>
                <a:gd name="connsiteX3422" fmla="*/ 1603058 w 2443162"/>
                <a:gd name="connsiteY3422" fmla="*/ 979170 h 2161222"/>
                <a:gd name="connsiteX3423" fmla="*/ 1620203 w 2443162"/>
                <a:gd name="connsiteY3423" fmla="*/ 975360 h 2161222"/>
                <a:gd name="connsiteX3424" fmla="*/ 1620203 w 2443162"/>
                <a:gd name="connsiteY3424" fmla="*/ 967740 h 2161222"/>
                <a:gd name="connsiteX3425" fmla="*/ 1605915 w 2443162"/>
                <a:gd name="connsiteY3425" fmla="*/ 961073 h 2161222"/>
                <a:gd name="connsiteX3426" fmla="*/ 1630680 w 2443162"/>
                <a:gd name="connsiteY3426" fmla="*/ 946785 h 2161222"/>
                <a:gd name="connsiteX3427" fmla="*/ 1654493 w 2443162"/>
                <a:gd name="connsiteY3427" fmla="*/ 942975 h 2161222"/>
                <a:gd name="connsiteX3428" fmla="*/ 1662113 w 2443162"/>
                <a:gd name="connsiteY3428" fmla="*/ 928688 h 2161222"/>
                <a:gd name="connsiteX3429" fmla="*/ 1676400 w 2443162"/>
                <a:gd name="connsiteY3429" fmla="*/ 922020 h 2161222"/>
                <a:gd name="connsiteX3430" fmla="*/ 1683068 w 2443162"/>
                <a:gd name="connsiteY3430" fmla="*/ 907733 h 2161222"/>
                <a:gd name="connsiteX3431" fmla="*/ 1686878 w 2443162"/>
                <a:gd name="connsiteY3431" fmla="*/ 889635 h 2161222"/>
                <a:gd name="connsiteX3432" fmla="*/ 1686878 w 2443162"/>
                <a:gd name="connsiteY3432" fmla="*/ 891540 h 2161222"/>
                <a:gd name="connsiteX3433" fmla="*/ 1686878 w 2443162"/>
                <a:gd name="connsiteY3433" fmla="*/ 890588 h 2161222"/>
                <a:gd name="connsiteX3434" fmla="*/ 1687830 w 2443162"/>
                <a:gd name="connsiteY3434" fmla="*/ 889635 h 2161222"/>
                <a:gd name="connsiteX3435" fmla="*/ 1688783 w 2443162"/>
                <a:gd name="connsiteY3435" fmla="*/ 894398 h 2161222"/>
                <a:gd name="connsiteX3436" fmla="*/ 1689735 w 2443162"/>
                <a:gd name="connsiteY3436" fmla="*/ 899160 h 2161222"/>
                <a:gd name="connsiteX3437" fmla="*/ 1690688 w 2443162"/>
                <a:gd name="connsiteY3437" fmla="*/ 903923 h 2161222"/>
                <a:gd name="connsiteX3438" fmla="*/ 1691640 w 2443162"/>
                <a:gd name="connsiteY3438" fmla="*/ 908685 h 2161222"/>
                <a:gd name="connsiteX3439" fmla="*/ 1687830 w 2443162"/>
                <a:gd name="connsiteY3439" fmla="*/ 913448 h 2161222"/>
                <a:gd name="connsiteX3440" fmla="*/ 1687830 w 2443162"/>
                <a:gd name="connsiteY3440" fmla="*/ 913448 h 2161222"/>
                <a:gd name="connsiteX3441" fmla="*/ 1678305 w 2443162"/>
                <a:gd name="connsiteY3441" fmla="*/ 949643 h 2161222"/>
                <a:gd name="connsiteX3442" fmla="*/ 1674495 w 2443162"/>
                <a:gd name="connsiteY3442" fmla="*/ 963930 h 2161222"/>
                <a:gd name="connsiteX3443" fmla="*/ 1689735 w 2443162"/>
                <a:gd name="connsiteY3443" fmla="*/ 945833 h 2161222"/>
                <a:gd name="connsiteX3444" fmla="*/ 1696403 w 2443162"/>
                <a:gd name="connsiteY3444" fmla="*/ 935355 h 2161222"/>
                <a:gd name="connsiteX3445" fmla="*/ 1697355 w 2443162"/>
                <a:gd name="connsiteY3445" fmla="*/ 943928 h 2161222"/>
                <a:gd name="connsiteX3446" fmla="*/ 1698308 w 2443162"/>
                <a:gd name="connsiteY3446" fmla="*/ 952500 h 2161222"/>
                <a:gd name="connsiteX3447" fmla="*/ 1699260 w 2443162"/>
                <a:gd name="connsiteY3447" fmla="*/ 962025 h 2161222"/>
                <a:gd name="connsiteX3448" fmla="*/ 1700213 w 2443162"/>
                <a:gd name="connsiteY3448" fmla="*/ 970598 h 2161222"/>
                <a:gd name="connsiteX3449" fmla="*/ 1701165 w 2443162"/>
                <a:gd name="connsiteY3449" fmla="*/ 979170 h 2161222"/>
                <a:gd name="connsiteX3450" fmla="*/ 1701165 w 2443162"/>
                <a:gd name="connsiteY3450" fmla="*/ 987743 h 2161222"/>
                <a:gd name="connsiteX3451" fmla="*/ 1701165 w 2443162"/>
                <a:gd name="connsiteY3451" fmla="*/ 997268 h 2161222"/>
                <a:gd name="connsiteX3452" fmla="*/ 1701165 w 2443162"/>
                <a:gd name="connsiteY3452" fmla="*/ 1006793 h 2161222"/>
                <a:gd name="connsiteX3453" fmla="*/ 1582103 w 2443162"/>
                <a:gd name="connsiteY3453" fmla="*/ 1006793 h 2161222"/>
                <a:gd name="connsiteX3454" fmla="*/ 1582103 w 2443162"/>
                <a:gd name="connsiteY3454" fmla="*/ 1006793 h 2161222"/>
                <a:gd name="connsiteX3455" fmla="*/ 1417320 w 2443162"/>
                <a:gd name="connsiteY3455" fmla="*/ 776288 h 2161222"/>
                <a:gd name="connsiteX3456" fmla="*/ 1415415 w 2443162"/>
                <a:gd name="connsiteY3456" fmla="*/ 778193 h 2161222"/>
                <a:gd name="connsiteX3457" fmla="*/ 1404938 w 2443162"/>
                <a:gd name="connsiteY3457" fmla="*/ 784860 h 2161222"/>
                <a:gd name="connsiteX3458" fmla="*/ 1398270 w 2443162"/>
                <a:gd name="connsiteY3458" fmla="*/ 795338 h 2161222"/>
                <a:gd name="connsiteX3459" fmla="*/ 1391603 w 2443162"/>
                <a:gd name="connsiteY3459" fmla="*/ 788670 h 2161222"/>
                <a:gd name="connsiteX3460" fmla="*/ 1370648 w 2443162"/>
                <a:gd name="connsiteY3460" fmla="*/ 795338 h 2161222"/>
                <a:gd name="connsiteX3461" fmla="*/ 1377315 w 2443162"/>
                <a:gd name="connsiteY3461" fmla="*/ 805815 h 2161222"/>
                <a:gd name="connsiteX3462" fmla="*/ 1391603 w 2443162"/>
                <a:gd name="connsiteY3462" fmla="*/ 798195 h 2161222"/>
                <a:gd name="connsiteX3463" fmla="*/ 1402080 w 2443162"/>
                <a:gd name="connsiteY3463" fmla="*/ 802005 h 2161222"/>
                <a:gd name="connsiteX3464" fmla="*/ 1402080 w 2443162"/>
                <a:gd name="connsiteY3464" fmla="*/ 795338 h 2161222"/>
                <a:gd name="connsiteX3465" fmla="*/ 1408748 w 2443162"/>
                <a:gd name="connsiteY3465" fmla="*/ 791528 h 2161222"/>
                <a:gd name="connsiteX3466" fmla="*/ 1412558 w 2443162"/>
                <a:gd name="connsiteY3466" fmla="*/ 787718 h 2161222"/>
                <a:gd name="connsiteX3467" fmla="*/ 1423035 w 2443162"/>
                <a:gd name="connsiteY3467" fmla="*/ 783908 h 2161222"/>
                <a:gd name="connsiteX3468" fmla="*/ 1431608 w 2443162"/>
                <a:gd name="connsiteY3468" fmla="*/ 783908 h 2161222"/>
                <a:gd name="connsiteX3469" fmla="*/ 1417320 w 2443162"/>
                <a:gd name="connsiteY3469" fmla="*/ 776288 h 2161222"/>
                <a:gd name="connsiteX3470" fmla="*/ 1417320 w 2443162"/>
                <a:gd name="connsiteY3470" fmla="*/ 776288 h 2161222"/>
                <a:gd name="connsiteX3471" fmla="*/ 1674495 w 2443162"/>
                <a:gd name="connsiteY3471" fmla="*/ 1448753 h 2161222"/>
                <a:gd name="connsiteX3472" fmla="*/ 1680210 w 2443162"/>
                <a:gd name="connsiteY3472" fmla="*/ 1441133 h 2161222"/>
                <a:gd name="connsiteX3473" fmla="*/ 1669733 w 2443162"/>
                <a:gd name="connsiteY3473" fmla="*/ 1388745 h 2161222"/>
                <a:gd name="connsiteX3474" fmla="*/ 1663065 w 2443162"/>
                <a:gd name="connsiteY3474" fmla="*/ 1384935 h 2161222"/>
                <a:gd name="connsiteX3475" fmla="*/ 1666875 w 2443162"/>
                <a:gd name="connsiteY3475" fmla="*/ 1377315 h 2161222"/>
                <a:gd name="connsiteX3476" fmla="*/ 1645920 w 2443162"/>
                <a:gd name="connsiteY3476" fmla="*/ 1370648 h 2161222"/>
                <a:gd name="connsiteX3477" fmla="*/ 1639253 w 2443162"/>
                <a:gd name="connsiteY3477" fmla="*/ 1388745 h 2161222"/>
                <a:gd name="connsiteX3478" fmla="*/ 1639253 w 2443162"/>
                <a:gd name="connsiteY3478" fmla="*/ 1413510 h 2161222"/>
                <a:gd name="connsiteX3479" fmla="*/ 1598295 w 2443162"/>
                <a:gd name="connsiteY3479" fmla="*/ 1372553 h 2161222"/>
                <a:gd name="connsiteX3480" fmla="*/ 1605915 w 2443162"/>
                <a:gd name="connsiteY3480" fmla="*/ 1363980 h 2161222"/>
                <a:gd name="connsiteX3481" fmla="*/ 1613535 w 2443162"/>
                <a:gd name="connsiteY3481" fmla="*/ 1355408 h 2161222"/>
                <a:gd name="connsiteX3482" fmla="*/ 1620203 w 2443162"/>
                <a:gd name="connsiteY3482" fmla="*/ 1346835 h 2161222"/>
                <a:gd name="connsiteX3483" fmla="*/ 1627823 w 2443162"/>
                <a:gd name="connsiteY3483" fmla="*/ 1337310 h 2161222"/>
                <a:gd name="connsiteX3484" fmla="*/ 1634490 w 2443162"/>
                <a:gd name="connsiteY3484" fmla="*/ 1328738 h 2161222"/>
                <a:gd name="connsiteX3485" fmla="*/ 1641158 w 2443162"/>
                <a:gd name="connsiteY3485" fmla="*/ 1319213 h 2161222"/>
                <a:gd name="connsiteX3486" fmla="*/ 1647825 w 2443162"/>
                <a:gd name="connsiteY3486" fmla="*/ 1309688 h 2161222"/>
                <a:gd name="connsiteX3487" fmla="*/ 1654493 w 2443162"/>
                <a:gd name="connsiteY3487" fmla="*/ 1300163 h 2161222"/>
                <a:gd name="connsiteX3488" fmla="*/ 1660208 w 2443162"/>
                <a:gd name="connsiteY3488" fmla="*/ 1290638 h 2161222"/>
                <a:gd name="connsiteX3489" fmla="*/ 1665923 w 2443162"/>
                <a:gd name="connsiteY3489" fmla="*/ 1281113 h 2161222"/>
                <a:gd name="connsiteX3490" fmla="*/ 1671638 w 2443162"/>
                <a:gd name="connsiteY3490" fmla="*/ 1270635 h 2161222"/>
                <a:gd name="connsiteX3491" fmla="*/ 1677353 w 2443162"/>
                <a:gd name="connsiteY3491" fmla="*/ 1260158 h 2161222"/>
                <a:gd name="connsiteX3492" fmla="*/ 1683068 w 2443162"/>
                <a:gd name="connsiteY3492" fmla="*/ 1249680 h 2161222"/>
                <a:gd name="connsiteX3493" fmla="*/ 1687830 w 2443162"/>
                <a:gd name="connsiteY3493" fmla="*/ 1239203 h 2161222"/>
                <a:gd name="connsiteX3494" fmla="*/ 1692593 w 2443162"/>
                <a:gd name="connsiteY3494" fmla="*/ 1228725 h 2161222"/>
                <a:gd name="connsiteX3495" fmla="*/ 1697355 w 2443162"/>
                <a:gd name="connsiteY3495" fmla="*/ 1218248 h 2161222"/>
                <a:gd name="connsiteX3496" fmla="*/ 1702118 w 2443162"/>
                <a:gd name="connsiteY3496" fmla="*/ 1207770 h 2161222"/>
                <a:gd name="connsiteX3497" fmla="*/ 1706880 w 2443162"/>
                <a:gd name="connsiteY3497" fmla="*/ 1197293 h 2161222"/>
                <a:gd name="connsiteX3498" fmla="*/ 1710690 w 2443162"/>
                <a:gd name="connsiteY3498" fmla="*/ 1186815 h 2161222"/>
                <a:gd name="connsiteX3499" fmla="*/ 1714500 w 2443162"/>
                <a:gd name="connsiteY3499" fmla="*/ 1176338 h 2161222"/>
                <a:gd name="connsiteX3500" fmla="*/ 1718310 w 2443162"/>
                <a:gd name="connsiteY3500" fmla="*/ 1164908 h 2161222"/>
                <a:gd name="connsiteX3501" fmla="*/ 1721168 w 2443162"/>
                <a:gd name="connsiteY3501" fmla="*/ 1153478 h 2161222"/>
                <a:gd name="connsiteX3502" fmla="*/ 1724025 w 2443162"/>
                <a:gd name="connsiteY3502" fmla="*/ 1142048 h 2161222"/>
                <a:gd name="connsiteX3503" fmla="*/ 1726883 w 2443162"/>
                <a:gd name="connsiteY3503" fmla="*/ 1130618 h 2161222"/>
                <a:gd name="connsiteX3504" fmla="*/ 1728788 w 2443162"/>
                <a:gd name="connsiteY3504" fmla="*/ 1119188 h 2161222"/>
                <a:gd name="connsiteX3505" fmla="*/ 1730693 w 2443162"/>
                <a:gd name="connsiteY3505" fmla="*/ 1107758 h 2161222"/>
                <a:gd name="connsiteX3506" fmla="*/ 1732598 w 2443162"/>
                <a:gd name="connsiteY3506" fmla="*/ 1096328 h 2161222"/>
                <a:gd name="connsiteX3507" fmla="*/ 1734503 w 2443162"/>
                <a:gd name="connsiteY3507" fmla="*/ 1084898 h 2161222"/>
                <a:gd name="connsiteX3508" fmla="*/ 1735455 w 2443162"/>
                <a:gd name="connsiteY3508" fmla="*/ 1072515 h 2161222"/>
                <a:gd name="connsiteX3509" fmla="*/ 1736408 w 2443162"/>
                <a:gd name="connsiteY3509" fmla="*/ 1061085 h 2161222"/>
                <a:gd name="connsiteX3510" fmla="*/ 1736408 w 2443162"/>
                <a:gd name="connsiteY3510" fmla="*/ 1048703 h 2161222"/>
                <a:gd name="connsiteX3511" fmla="*/ 1737360 w 2443162"/>
                <a:gd name="connsiteY3511" fmla="*/ 1036320 h 2161222"/>
                <a:gd name="connsiteX3512" fmla="*/ 1874520 w 2443162"/>
                <a:gd name="connsiteY3512" fmla="*/ 1036320 h 2161222"/>
                <a:gd name="connsiteX3513" fmla="*/ 1873568 w 2443162"/>
                <a:gd name="connsiteY3513" fmla="*/ 1052513 h 2161222"/>
                <a:gd name="connsiteX3514" fmla="*/ 1872615 w 2443162"/>
                <a:gd name="connsiteY3514" fmla="*/ 1067753 h 2161222"/>
                <a:gd name="connsiteX3515" fmla="*/ 1871663 w 2443162"/>
                <a:gd name="connsiteY3515" fmla="*/ 1082993 h 2161222"/>
                <a:gd name="connsiteX3516" fmla="*/ 1869758 w 2443162"/>
                <a:gd name="connsiteY3516" fmla="*/ 1098233 h 2161222"/>
                <a:gd name="connsiteX3517" fmla="*/ 1867853 w 2443162"/>
                <a:gd name="connsiteY3517" fmla="*/ 1113473 h 2161222"/>
                <a:gd name="connsiteX3518" fmla="*/ 1864995 w 2443162"/>
                <a:gd name="connsiteY3518" fmla="*/ 1128713 h 2161222"/>
                <a:gd name="connsiteX3519" fmla="*/ 1862138 w 2443162"/>
                <a:gd name="connsiteY3519" fmla="*/ 1143953 h 2161222"/>
                <a:gd name="connsiteX3520" fmla="*/ 1859280 w 2443162"/>
                <a:gd name="connsiteY3520" fmla="*/ 1159193 h 2161222"/>
                <a:gd name="connsiteX3521" fmla="*/ 1855470 w 2443162"/>
                <a:gd name="connsiteY3521" fmla="*/ 1174433 h 2161222"/>
                <a:gd name="connsiteX3522" fmla="*/ 1851660 w 2443162"/>
                <a:gd name="connsiteY3522" fmla="*/ 1189673 h 2161222"/>
                <a:gd name="connsiteX3523" fmla="*/ 1847850 w 2443162"/>
                <a:gd name="connsiteY3523" fmla="*/ 1203960 h 2161222"/>
                <a:gd name="connsiteX3524" fmla="*/ 1843088 w 2443162"/>
                <a:gd name="connsiteY3524" fmla="*/ 1218248 h 2161222"/>
                <a:gd name="connsiteX3525" fmla="*/ 1838325 w 2443162"/>
                <a:gd name="connsiteY3525" fmla="*/ 1232535 h 2161222"/>
                <a:gd name="connsiteX3526" fmla="*/ 1833563 w 2443162"/>
                <a:gd name="connsiteY3526" fmla="*/ 1246823 h 2161222"/>
                <a:gd name="connsiteX3527" fmla="*/ 1828800 w 2443162"/>
                <a:gd name="connsiteY3527" fmla="*/ 1261110 h 2161222"/>
                <a:gd name="connsiteX3528" fmla="*/ 1823085 w 2443162"/>
                <a:gd name="connsiteY3528" fmla="*/ 1275398 h 2161222"/>
                <a:gd name="connsiteX3529" fmla="*/ 1817370 w 2443162"/>
                <a:gd name="connsiteY3529" fmla="*/ 1288733 h 2161222"/>
                <a:gd name="connsiteX3530" fmla="*/ 1810703 w 2443162"/>
                <a:gd name="connsiteY3530" fmla="*/ 1302068 h 2161222"/>
                <a:gd name="connsiteX3531" fmla="*/ 1804035 w 2443162"/>
                <a:gd name="connsiteY3531" fmla="*/ 1315403 h 2161222"/>
                <a:gd name="connsiteX3532" fmla="*/ 1797368 w 2443162"/>
                <a:gd name="connsiteY3532" fmla="*/ 1328738 h 2161222"/>
                <a:gd name="connsiteX3533" fmla="*/ 1790700 w 2443162"/>
                <a:gd name="connsiteY3533" fmla="*/ 1342073 h 2161222"/>
                <a:gd name="connsiteX3534" fmla="*/ 1783080 w 2443162"/>
                <a:gd name="connsiteY3534" fmla="*/ 1354455 h 2161222"/>
                <a:gd name="connsiteX3535" fmla="*/ 1775460 w 2443162"/>
                <a:gd name="connsiteY3535" fmla="*/ 1366838 h 2161222"/>
                <a:gd name="connsiteX3536" fmla="*/ 1767840 w 2443162"/>
                <a:gd name="connsiteY3536" fmla="*/ 1379220 h 2161222"/>
                <a:gd name="connsiteX3537" fmla="*/ 1759268 w 2443162"/>
                <a:gd name="connsiteY3537" fmla="*/ 1391603 h 2161222"/>
                <a:gd name="connsiteX3538" fmla="*/ 1750695 w 2443162"/>
                <a:gd name="connsiteY3538" fmla="*/ 1403985 h 2161222"/>
                <a:gd name="connsiteX3539" fmla="*/ 1741170 w 2443162"/>
                <a:gd name="connsiteY3539" fmla="*/ 1415415 h 2161222"/>
                <a:gd name="connsiteX3540" fmla="*/ 1732598 w 2443162"/>
                <a:gd name="connsiteY3540" fmla="*/ 1426845 h 2161222"/>
                <a:gd name="connsiteX3541" fmla="*/ 1723073 w 2443162"/>
                <a:gd name="connsiteY3541" fmla="*/ 1438275 h 2161222"/>
                <a:gd name="connsiteX3542" fmla="*/ 1713548 w 2443162"/>
                <a:gd name="connsiteY3542" fmla="*/ 1448753 h 2161222"/>
                <a:gd name="connsiteX3543" fmla="*/ 1704023 w 2443162"/>
                <a:gd name="connsiteY3543" fmla="*/ 1460183 h 2161222"/>
                <a:gd name="connsiteX3544" fmla="*/ 1694498 w 2443162"/>
                <a:gd name="connsiteY3544" fmla="*/ 1470660 h 2161222"/>
                <a:gd name="connsiteX3545" fmla="*/ 1674495 w 2443162"/>
                <a:gd name="connsiteY3545" fmla="*/ 1448753 h 2161222"/>
                <a:gd name="connsiteX3546" fmla="*/ 1674495 w 2443162"/>
                <a:gd name="connsiteY3546" fmla="*/ 1448753 h 2161222"/>
                <a:gd name="connsiteX3547" fmla="*/ 776288 w 2443162"/>
                <a:gd name="connsiteY3547" fmla="*/ 1039178 h 2161222"/>
                <a:gd name="connsiteX3548" fmla="*/ 776288 w 2443162"/>
                <a:gd name="connsiteY3548" fmla="*/ 1039178 h 2161222"/>
                <a:gd name="connsiteX3549" fmla="*/ 765810 w 2443162"/>
                <a:gd name="connsiteY3549" fmla="*/ 1074420 h 2161222"/>
                <a:gd name="connsiteX3550" fmla="*/ 780098 w 2443162"/>
                <a:gd name="connsiteY3550" fmla="*/ 1084898 h 2161222"/>
                <a:gd name="connsiteX3551" fmla="*/ 765810 w 2443162"/>
                <a:gd name="connsiteY3551" fmla="*/ 1105853 h 2161222"/>
                <a:gd name="connsiteX3552" fmla="*/ 744855 w 2443162"/>
                <a:gd name="connsiteY3552" fmla="*/ 1105853 h 2161222"/>
                <a:gd name="connsiteX3553" fmla="*/ 743903 w 2443162"/>
                <a:gd name="connsiteY3553" fmla="*/ 1097280 h 2161222"/>
                <a:gd name="connsiteX3554" fmla="*/ 742950 w 2443162"/>
                <a:gd name="connsiteY3554" fmla="*/ 1088708 h 2161222"/>
                <a:gd name="connsiteX3555" fmla="*/ 741998 w 2443162"/>
                <a:gd name="connsiteY3555" fmla="*/ 1080135 h 2161222"/>
                <a:gd name="connsiteX3556" fmla="*/ 741045 w 2443162"/>
                <a:gd name="connsiteY3556" fmla="*/ 1071563 h 2161222"/>
                <a:gd name="connsiteX3557" fmla="*/ 740093 w 2443162"/>
                <a:gd name="connsiteY3557" fmla="*/ 1062038 h 2161222"/>
                <a:gd name="connsiteX3558" fmla="*/ 740093 w 2443162"/>
                <a:gd name="connsiteY3558" fmla="*/ 1053465 h 2161222"/>
                <a:gd name="connsiteX3559" fmla="*/ 739140 w 2443162"/>
                <a:gd name="connsiteY3559" fmla="*/ 1044893 h 2161222"/>
                <a:gd name="connsiteX3560" fmla="*/ 738188 w 2443162"/>
                <a:gd name="connsiteY3560" fmla="*/ 1035368 h 2161222"/>
                <a:gd name="connsiteX3561" fmla="*/ 780098 w 2443162"/>
                <a:gd name="connsiteY3561" fmla="*/ 1035368 h 2161222"/>
                <a:gd name="connsiteX3562" fmla="*/ 776288 w 2443162"/>
                <a:gd name="connsiteY3562" fmla="*/ 1039178 h 2161222"/>
                <a:gd name="connsiteX3563" fmla="*/ 776288 w 2443162"/>
                <a:gd name="connsiteY3563" fmla="*/ 1039178 h 2161222"/>
                <a:gd name="connsiteX3564" fmla="*/ 711518 w 2443162"/>
                <a:gd name="connsiteY3564" fmla="*/ 1080135 h 2161222"/>
                <a:gd name="connsiteX3565" fmla="*/ 709613 w 2443162"/>
                <a:gd name="connsiteY3565" fmla="*/ 1080135 h 2161222"/>
                <a:gd name="connsiteX3566" fmla="*/ 709613 w 2443162"/>
                <a:gd name="connsiteY3566" fmla="*/ 1081088 h 2161222"/>
                <a:gd name="connsiteX3567" fmla="*/ 691515 w 2443162"/>
                <a:gd name="connsiteY3567" fmla="*/ 1084898 h 2161222"/>
                <a:gd name="connsiteX3568" fmla="*/ 687705 w 2443162"/>
                <a:gd name="connsiteY3568" fmla="*/ 1102043 h 2161222"/>
                <a:gd name="connsiteX3569" fmla="*/ 652463 w 2443162"/>
                <a:gd name="connsiteY3569" fmla="*/ 1144905 h 2161222"/>
                <a:gd name="connsiteX3570" fmla="*/ 656273 w 2443162"/>
                <a:gd name="connsiteY3570" fmla="*/ 1207770 h 2161222"/>
                <a:gd name="connsiteX3571" fmla="*/ 617220 w 2443162"/>
                <a:gd name="connsiteY3571" fmla="*/ 1218248 h 2161222"/>
                <a:gd name="connsiteX3572" fmla="*/ 601028 w 2443162"/>
                <a:gd name="connsiteY3572" fmla="*/ 1218248 h 2161222"/>
                <a:gd name="connsiteX3573" fmla="*/ 594360 w 2443162"/>
                <a:gd name="connsiteY3573" fmla="*/ 1196340 h 2161222"/>
                <a:gd name="connsiteX3574" fmla="*/ 588645 w 2443162"/>
                <a:gd name="connsiteY3574" fmla="*/ 1174433 h 2161222"/>
                <a:gd name="connsiteX3575" fmla="*/ 582930 w 2443162"/>
                <a:gd name="connsiteY3575" fmla="*/ 1152525 h 2161222"/>
                <a:gd name="connsiteX3576" fmla="*/ 579120 w 2443162"/>
                <a:gd name="connsiteY3576" fmla="*/ 1129665 h 2161222"/>
                <a:gd name="connsiteX3577" fmla="*/ 575310 w 2443162"/>
                <a:gd name="connsiteY3577" fmla="*/ 1106805 h 2161222"/>
                <a:gd name="connsiteX3578" fmla="*/ 572453 w 2443162"/>
                <a:gd name="connsiteY3578" fmla="*/ 1083945 h 2161222"/>
                <a:gd name="connsiteX3579" fmla="*/ 571500 w 2443162"/>
                <a:gd name="connsiteY3579" fmla="*/ 1072515 h 2161222"/>
                <a:gd name="connsiteX3580" fmla="*/ 570548 w 2443162"/>
                <a:gd name="connsiteY3580" fmla="*/ 1061085 h 2161222"/>
                <a:gd name="connsiteX3581" fmla="*/ 571500 w 2443162"/>
                <a:gd name="connsiteY3581" fmla="*/ 1047750 h 2161222"/>
                <a:gd name="connsiteX3582" fmla="*/ 571500 w 2443162"/>
                <a:gd name="connsiteY3582" fmla="*/ 1035368 h 2161222"/>
                <a:gd name="connsiteX3583" fmla="*/ 708660 w 2443162"/>
                <a:gd name="connsiteY3583" fmla="*/ 1035368 h 2161222"/>
                <a:gd name="connsiteX3584" fmla="*/ 708660 w 2443162"/>
                <a:gd name="connsiteY3584" fmla="*/ 1046798 h 2161222"/>
                <a:gd name="connsiteX3585" fmla="*/ 709613 w 2443162"/>
                <a:gd name="connsiteY3585" fmla="*/ 1057275 h 2161222"/>
                <a:gd name="connsiteX3586" fmla="*/ 710565 w 2443162"/>
                <a:gd name="connsiteY3586" fmla="*/ 1068705 h 2161222"/>
                <a:gd name="connsiteX3587" fmla="*/ 711518 w 2443162"/>
                <a:gd name="connsiteY3587" fmla="*/ 1080135 h 2161222"/>
                <a:gd name="connsiteX3588" fmla="*/ 711518 w 2443162"/>
                <a:gd name="connsiteY3588" fmla="*/ 1080135 h 2161222"/>
                <a:gd name="connsiteX3589" fmla="*/ 571500 w 2443162"/>
                <a:gd name="connsiteY3589" fmla="*/ 1219200 h 2161222"/>
                <a:gd name="connsiteX3590" fmla="*/ 567690 w 2443162"/>
                <a:gd name="connsiteY3590" fmla="*/ 1219200 h 2161222"/>
                <a:gd name="connsiteX3591" fmla="*/ 567690 w 2443162"/>
                <a:gd name="connsiteY3591" fmla="*/ 1219200 h 2161222"/>
                <a:gd name="connsiteX3592" fmla="*/ 567690 w 2443162"/>
                <a:gd name="connsiteY3592" fmla="*/ 1221105 h 2161222"/>
                <a:gd name="connsiteX3593" fmla="*/ 559118 w 2443162"/>
                <a:gd name="connsiteY3593" fmla="*/ 1221105 h 2161222"/>
                <a:gd name="connsiteX3594" fmla="*/ 552450 w 2443162"/>
                <a:gd name="connsiteY3594" fmla="*/ 1210628 h 2161222"/>
                <a:gd name="connsiteX3595" fmla="*/ 514350 w 2443162"/>
                <a:gd name="connsiteY3595" fmla="*/ 1206818 h 2161222"/>
                <a:gd name="connsiteX3596" fmla="*/ 524828 w 2443162"/>
                <a:gd name="connsiteY3596" fmla="*/ 1223963 h 2161222"/>
                <a:gd name="connsiteX3597" fmla="*/ 490538 w 2443162"/>
                <a:gd name="connsiteY3597" fmla="*/ 1217295 h 2161222"/>
                <a:gd name="connsiteX3598" fmla="*/ 501015 w 2443162"/>
                <a:gd name="connsiteY3598" fmla="*/ 1206818 h 2161222"/>
                <a:gd name="connsiteX3599" fmla="*/ 490538 w 2443162"/>
                <a:gd name="connsiteY3599" fmla="*/ 1200150 h 2161222"/>
                <a:gd name="connsiteX3600" fmla="*/ 466725 w 2443162"/>
                <a:gd name="connsiteY3600" fmla="*/ 1210628 h 2161222"/>
                <a:gd name="connsiteX3601" fmla="*/ 456248 w 2443162"/>
                <a:gd name="connsiteY3601" fmla="*/ 1227773 h 2161222"/>
                <a:gd name="connsiteX3602" fmla="*/ 460058 w 2443162"/>
                <a:gd name="connsiteY3602" fmla="*/ 1265873 h 2161222"/>
                <a:gd name="connsiteX3603" fmla="*/ 491490 w 2443162"/>
                <a:gd name="connsiteY3603" fmla="*/ 1338263 h 2161222"/>
                <a:gd name="connsiteX3604" fmla="*/ 505778 w 2443162"/>
                <a:gd name="connsiteY3604" fmla="*/ 1359218 h 2161222"/>
                <a:gd name="connsiteX3605" fmla="*/ 512445 w 2443162"/>
                <a:gd name="connsiteY3605" fmla="*/ 1363028 h 2161222"/>
                <a:gd name="connsiteX3606" fmla="*/ 491490 w 2443162"/>
                <a:gd name="connsiteY3606" fmla="*/ 1321118 h 2161222"/>
                <a:gd name="connsiteX3607" fmla="*/ 484823 w 2443162"/>
                <a:gd name="connsiteY3607" fmla="*/ 1300163 h 2161222"/>
                <a:gd name="connsiteX3608" fmla="*/ 491490 w 2443162"/>
                <a:gd name="connsiteY3608" fmla="*/ 1293495 h 2161222"/>
                <a:gd name="connsiteX3609" fmla="*/ 487680 w 2443162"/>
                <a:gd name="connsiteY3609" fmla="*/ 1283018 h 2161222"/>
                <a:gd name="connsiteX3610" fmla="*/ 501968 w 2443162"/>
                <a:gd name="connsiteY3610" fmla="*/ 1283018 h 2161222"/>
                <a:gd name="connsiteX3611" fmla="*/ 521970 w 2443162"/>
                <a:gd name="connsiteY3611" fmla="*/ 1313498 h 2161222"/>
                <a:gd name="connsiteX3612" fmla="*/ 525780 w 2443162"/>
                <a:gd name="connsiteY3612" fmla="*/ 1317308 h 2161222"/>
                <a:gd name="connsiteX3613" fmla="*/ 525780 w 2443162"/>
                <a:gd name="connsiteY3613" fmla="*/ 1293495 h 2161222"/>
                <a:gd name="connsiteX3614" fmla="*/ 533400 w 2443162"/>
                <a:gd name="connsiteY3614" fmla="*/ 1300163 h 2161222"/>
                <a:gd name="connsiteX3615" fmla="*/ 537210 w 2443162"/>
                <a:gd name="connsiteY3615" fmla="*/ 1310640 h 2161222"/>
                <a:gd name="connsiteX3616" fmla="*/ 557213 w 2443162"/>
                <a:gd name="connsiteY3616" fmla="*/ 1318260 h 2161222"/>
                <a:gd name="connsiteX3617" fmla="*/ 567690 w 2443162"/>
                <a:gd name="connsiteY3617" fmla="*/ 1310640 h 2161222"/>
                <a:gd name="connsiteX3618" fmla="*/ 572453 w 2443162"/>
                <a:gd name="connsiteY3618" fmla="*/ 1310640 h 2161222"/>
                <a:gd name="connsiteX3619" fmla="*/ 572453 w 2443162"/>
                <a:gd name="connsiteY3619" fmla="*/ 1329690 h 2161222"/>
                <a:gd name="connsiteX3620" fmla="*/ 579120 w 2443162"/>
                <a:gd name="connsiteY3620" fmla="*/ 1343978 h 2161222"/>
                <a:gd name="connsiteX3621" fmla="*/ 593408 w 2443162"/>
                <a:gd name="connsiteY3621" fmla="*/ 1343978 h 2161222"/>
                <a:gd name="connsiteX3622" fmla="*/ 618173 w 2443162"/>
                <a:gd name="connsiteY3622" fmla="*/ 1392555 h 2161222"/>
                <a:gd name="connsiteX3623" fmla="*/ 632460 w 2443162"/>
                <a:gd name="connsiteY3623" fmla="*/ 1396365 h 2161222"/>
                <a:gd name="connsiteX3624" fmla="*/ 639128 w 2443162"/>
                <a:gd name="connsiteY3624" fmla="*/ 1375410 h 2161222"/>
                <a:gd name="connsiteX3625" fmla="*/ 639128 w 2443162"/>
                <a:gd name="connsiteY3625" fmla="*/ 1372553 h 2161222"/>
                <a:gd name="connsiteX3626" fmla="*/ 639128 w 2443162"/>
                <a:gd name="connsiteY3626" fmla="*/ 1372553 h 2161222"/>
                <a:gd name="connsiteX3627" fmla="*/ 639128 w 2443162"/>
                <a:gd name="connsiteY3627" fmla="*/ 1371600 h 2161222"/>
                <a:gd name="connsiteX3628" fmla="*/ 648653 w 2443162"/>
                <a:gd name="connsiteY3628" fmla="*/ 1387793 h 2161222"/>
                <a:gd name="connsiteX3629" fmla="*/ 659130 w 2443162"/>
                <a:gd name="connsiteY3629" fmla="*/ 1403985 h 2161222"/>
                <a:gd name="connsiteX3630" fmla="*/ 669608 w 2443162"/>
                <a:gd name="connsiteY3630" fmla="*/ 1419225 h 2161222"/>
                <a:gd name="connsiteX3631" fmla="*/ 681038 w 2443162"/>
                <a:gd name="connsiteY3631" fmla="*/ 1434465 h 2161222"/>
                <a:gd name="connsiteX3632" fmla="*/ 692468 w 2443162"/>
                <a:gd name="connsiteY3632" fmla="*/ 1449705 h 2161222"/>
                <a:gd name="connsiteX3633" fmla="*/ 704850 w 2443162"/>
                <a:gd name="connsiteY3633" fmla="*/ 1463993 h 2161222"/>
                <a:gd name="connsiteX3634" fmla="*/ 718185 w 2443162"/>
                <a:gd name="connsiteY3634" fmla="*/ 1478280 h 2161222"/>
                <a:gd name="connsiteX3635" fmla="*/ 731520 w 2443162"/>
                <a:gd name="connsiteY3635" fmla="*/ 1492568 h 2161222"/>
                <a:gd name="connsiteX3636" fmla="*/ 635318 w 2443162"/>
                <a:gd name="connsiteY3636" fmla="*/ 1588770 h 2161222"/>
                <a:gd name="connsiteX3637" fmla="*/ 621983 w 2443162"/>
                <a:gd name="connsiteY3637" fmla="*/ 1575435 h 2161222"/>
                <a:gd name="connsiteX3638" fmla="*/ 609600 w 2443162"/>
                <a:gd name="connsiteY3638" fmla="*/ 1561148 h 2161222"/>
                <a:gd name="connsiteX3639" fmla="*/ 597218 w 2443162"/>
                <a:gd name="connsiteY3639" fmla="*/ 1546860 h 2161222"/>
                <a:gd name="connsiteX3640" fmla="*/ 584835 w 2443162"/>
                <a:gd name="connsiteY3640" fmla="*/ 1532573 h 2161222"/>
                <a:gd name="connsiteX3641" fmla="*/ 573405 w 2443162"/>
                <a:gd name="connsiteY3641" fmla="*/ 1517333 h 2161222"/>
                <a:gd name="connsiteX3642" fmla="*/ 561975 w 2443162"/>
                <a:gd name="connsiteY3642" fmla="*/ 1502093 h 2161222"/>
                <a:gd name="connsiteX3643" fmla="*/ 551498 w 2443162"/>
                <a:gd name="connsiteY3643" fmla="*/ 1486853 h 2161222"/>
                <a:gd name="connsiteX3644" fmla="*/ 541020 w 2443162"/>
                <a:gd name="connsiteY3644" fmla="*/ 1471613 h 2161222"/>
                <a:gd name="connsiteX3645" fmla="*/ 530543 w 2443162"/>
                <a:gd name="connsiteY3645" fmla="*/ 1456373 h 2161222"/>
                <a:gd name="connsiteX3646" fmla="*/ 521018 w 2443162"/>
                <a:gd name="connsiteY3646" fmla="*/ 1440180 h 2161222"/>
                <a:gd name="connsiteX3647" fmla="*/ 511493 w 2443162"/>
                <a:gd name="connsiteY3647" fmla="*/ 1423988 h 2161222"/>
                <a:gd name="connsiteX3648" fmla="*/ 501968 w 2443162"/>
                <a:gd name="connsiteY3648" fmla="*/ 1407795 h 2161222"/>
                <a:gd name="connsiteX3649" fmla="*/ 493395 w 2443162"/>
                <a:gd name="connsiteY3649" fmla="*/ 1390650 h 2161222"/>
                <a:gd name="connsiteX3650" fmla="*/ 484823 w 2443162"/>
                <a:gd name="connsiteY3650" fmla="*/ 1373505 h 2161222"/>
                <a:gd name="connsiteX3651" fmla="*/ 476250 w 2443162"/>
                <a:gd name="connsiteY3651" fmla="*/ 1356360 h 2161222"/>
                <a:gd name="connsiteX3652" fmla="*/ 468630 w 2443162"/>
                <a:gd name="connsiteY3652" fmla="*/ 1339215 h 2161222"/>
                <a:gd name="connsiteX3653" fmla="*/ 461010 w 2443162"/>
                <a:gd name="connsiteY3653" fmla="*/ 1321118 h 2161222"/>
                <a:gd name="connsiteX3654" fmla="*/ 454343 w 2443162"/>
                <a:gd name="connsiteY3654" fmla="*/ 1303020 h 2161222"/>
                <a:gd name="connsiteX3655" fmla="*/ 448628 w 2443162"/>
                <a:gd name="connsiteY3655" fmla="*/ 1284923 h 2161222"/>
                <a:gd name="connsiteX3656" fmla="*/ 442913 w 2443162"/>
                <a:gd name="connsiteY3656" fmla="*/ 1266825 h 2161222"/>
                <a:gd name="connsiteX3657" fmla="*/ 437198 w 2443162"/>
                <a:gd name="connsiteY3657" fmla="*/ 1247775 h 2161222"/>
                <a:gd name="connsiteX3658" fmla="*/ 432435 w 2443162"/>
                <a:gd name="connsiteY3658" fmla="*/ 1229678 h 2161222"/>
                <a:gd name="connsiteX3659" fmla="*/ 427673 w 2443162"/>
                <a:gd name="connsiteY3659" fmla="*/ 1210628 h 2161222"/>
                <a:gd name="connsiteX3660" fmla="*/ 422910 w 2443162"/>
                <a:gd name="connsiteY3660" fmla="*/ 1191578 h 2161222"/>
                <a:gd name="connsiteX3661" fmla="*/ 419100 w 2443162"/>
                <a:gd name="connsiteY3661" fmla="*/ 1172528 h 2161222"/>
                <a:gd name="connsiteX3662" fmla="*/ 415290 w 2443162"/>
                <a:gd name="connsiteY3662" fmla="*/ 1153478 h 2161222"/>
                <a:gd name="connsiteX3663" fmla="*/ 412433 w 2443162"/>
                <a:gd name="connsiteY3663" fmla="*/ 1133475 h 2161222"/>
                <a:gd name="connsiteX3664" fmla="*/ 410528 w 2443162"/>
                <a:gd name="connsiteY3664" fmla="*/ 1113473 h 2161222"/>
                <a:gd name="connsiteX3665" fmla="*/ 408623 w 2443162"/>
                <a:gd name="connsiteY3665" fmla="*/ 1093470 h 2161222"/>
                <a:gd name="connsiteX3666" fmla="*/ 406718 w 2443162"/>
                <a:gd name="connsiteY3666" fmla="*/ 1073468 h 2161222"/>
                <a:gd name="connsiteX3667" fmla="*/ 405765 w 2443162"/>
                <a:gd name="connsiteY3667" fmla="*/ 1053465 h 2161222"/>
                <a:gd name="connsiteX3668" fmla="*/ 404813 w 2443162"/>
                <a:gd name="connsiteY3668" fmla="*/ 1033463 h 2161222"/>
                <a:gd name="connsiteX3669" fmla="*/ 542925 w 2443162"/>
                <a:gd name="connsiteY3669" fmla="*/ 1033463 h 2161222"/>
                <a:gd name="connsiteX3670" fmla="*/ 543878 w 2443162"/>
                <a:gd name="connsiteY3670" fmla="*/ 1057275 h 2161222"/>
                <a:gd name="connsiteX3671" fmla="*/ 545783 w 2443162"/>
                <a:gd name="connsiteY3671" fmla="*/ 1081088 h 2161222"/>
                <a:gd name="connsiteX3672" fmla="*/ 548640 w 2443162"/>
                <a:gd name="connsiteY3672" fmla="*/ 1103948 h 2161222"/>
                <a:gd name="connsiteX3673" fmla="*/ 551498 w 2443162"/>
                <a:gd name="connsiteY3673" fmla="*/ 1126808 h 2161222"/>
                <a:gd name="connsiteX3674" fmla="*/ 556260 w 2443162"/>
                <a:gd name="connsiteY3674" fmla="*/ 1149668 h 2161222"/>
                <a:gd name="connsiteX3675" fmla="*/ 561023 w 2443162"/>
                <a:gd name="connsiteY3675" fmla="*/ 1172528 h 2161222"/>
                <a:gd name="connsiteX3676" fmla="*/ 565785 w 2443162"/>
                <a:gd name="connsiteY3676" fmla="*/ 1194435 h 2161222"/>
                <a:gd name="connsiteX3677" fmla="*/ 571500 w 2443162"/>
                <a:gd name="connsiteY3677" fmla="*/ 1219200 h 2161222"/>
                <a:gd name="connsiteX3678" fmla="*/ 571500 w 2443162"/>
                <a:gd name="connsiteY3678" fmla="*/ 1219200 h 2161222"/>
                <a:gd name="connsiteX3679" fmla="*/ 724853 w 2443162"/>
                <a:gd name="connsiteY3679" fmla="*/ 1441133 h 2161222"/>
                <a:gd name="connsiteX3680" fmla="*/ 738188 w 2443162"/>
                <a:gd name="connsiteY3680" fmla="*/ 1431608 h 2161222"/>
                <a:gd name="connsiteX3681" fmla="*/ 769620 w 2443162"/>
                <a:gd name="connsiteY3681" fmla="*/ 1448753 h 2161222"/>
                <a:gd name="connsiteX3682" fmla="*/ 774383 w 2443162"/>
                <a:gd name="connsiteY3682" fmla="*/ 1451610 h 2161222"/>
                <a:gd name="connsiteX3683" fmla="*/ 753428 w 2443162"/>
                <a:gd name="connsiteY3683" fmla="*/ 1472565 h 2161222"/>
                <a:gd name="connsiteX3684" fmla="*/ 745808 w 2443162"/>
                <a:gd name="connsiteY3684" fmla="*/ 1464945 h 2161222"/>
                <a:gd name="connsiteX3685" fmla="*/ 738188 w 2443162"/>
                <a:gd name="connsiteY3685" fmla="*/ 1457325 h 2161222"/>
                <a:gd name="connsiteX3686" fmla="*/ 731520 w 2443162"/>
                <a:gd name="connsiteY3686" fmla="*/ 1449705 h 2161222"/>
                <a:gd name="connsiteX3687" fmla="*/ 724853 w 2443162"/>
                <a:gd name="connsiteY3687" fmla="*/ 1441133 h 2161222"/>
                <a:gd name="connsiteX3688" fmla="*/ 724853 w 2443162"/>
                <a:gd name="connsiteY3688" fmla="*/ 1441133 h 2161222"/>
                <a:gd name="connsiteX3689" fmla="*/ 843915 w 2443162"/>
                <a:gd name="connsiteY3689" fmla="*/ 1323975 h 2161222"/>
                <a:gd name="connsiteX3690" fmla="*/ 847725 w 2443162"/>
                <a:gd name="connsiteY3690" fmla="*/ 1290638 h 2161222"/>
                <a:gd name="connsiteX3691" fmla="*/ 833438 w 2443162"/>
                <a:gd name="connsiteY3691" fmla="*/ 1259205 h 2161222"/>
                <a:gd name="connsiteX3692" fmla="*/ 829628 w 2443162"/>
                <a:gd name="connsiteY3692" fmla="*/ 1205865 h 2161222"/>
                <a:gd name="connsiteX3693" fmla="*/ 812483 w 2443162"/>
                <a:gd name="connsiteY3693" fmla="*/ 1174433 h 2161222"/>
                <a:gd name="connsiteX3694" fmla="*/ 816293 w 2443162"/>
                <a:gd name="connsiteY3694" fmla="*/ 1153478 h 2161222"/>
                <a:gd name="connsiteX3695" fmla="*/ 795338 w 2443162"/>
                <a:gd name="connsiteY3695" fmla="*/ 1114425 h 2161222"/>
                <a:gd name="connsiteX3696" fmla="*/ 778193 w 2443162"/>
                <a:gd name="connsiteY3696" fmla="*/ 1106805 h 2161222"/>
                <a:gd name="connsiteX3697" fmla="*/ 784860 w 2443162"/>
                <a:gd name="connsiteY3697" fmla="*/ 1085850 h 2161222"/>
                <a:gd name="connsiteX3698" fmla="*/ 778193 w 2443162"/>
                <a:gd name="connsiteY3698" fmla="*/ 1067753 h 2161222"/>
                <a:gd name="connsiteX3699" fmla="*/ 784860 w 2443162"/>
                <a:gd name="connsiteY3699" fmla="*/ 1049655 h 2161222"/>
                <a:gd name="connsiteX3700" fmla="*/ 805815 w 2443162"/>
                <a:gd name="connsiteY3700" fmla="*/ 1049655 h 2161222"/>
                <a:gd name="connsiteX3701" fmla="*/ 812483 w 2443162"/>
                <a:gd name="connsiteY3701" fmla="*/ 1040130 h 2161222"/>
                <a:gd name="connsiteX3702" fmla="*/ 812483 w 2443162"/>
                <a:gd name="connsiteY3702" fmla="*/ 1039178 h 2161222"/>
                <a:gd name="connsiteX3703" fmla="*/ 814388 w 2443162"/>
                <a:gd name="connsiteY3703" fmla="*/ 1035368 h 2161222"/>
                <a:gd name="connsiteX3704" fmla="*/ 842010 w 2443162"/>
                <a:gd name="connsiteY3704" fmla="*/ 1035368 h 2161222"/>
                <a:gd name="connsiteX3705" fmla="*/ 843915 w 2443162"/>
                <a:gd name="connsiteY3705" fmla="*/ 1039178 h 2161222"/>
                <a:gd name="connsiteX3706" fmla="*/ 843915 w 2443162"/>
                <a:gd name="connsiteY3706" fmla="*/ 1039178 h 2161222"/>
                <a:gd name="connsiteX3707" fmla="*/ 843915 w 2443162"/>
                <a:gd name="connsiteY3707" fmla="*/ 1039178 h 2161222"/>
                <a:gd name="connsiteX3708" fmla="*/ 843915 w 2443162"/>
                <a:gd name="connsiteY3708" fmla="*/ 1039178 h 2161222"/>
                <a:gd name="connsiteX3709" fmla="*/ 843915 w 2443162"/>
                <a:gd name="connsiteY3709" fmla="*/ 1039178 h 2161222"/>
                <a:gd name="connsiteX3710" fmla="*/ 846773 w 2443162"/>
                <a:gd name="connsiteY3710" fmla="*/ 1049655 h 2161222"/>
                <a:gd name="connsiteX3711" fmla="*/ 843915 w 2443162"/>
                <a:gd name="connsiteY3711" fmla="*/ 1081088 h 2161222"/>
                <a:gd name="connsiteX3712" fmla="*/ 837248 w 2443162"/>
                <a:gd name="connsiteY3712" fmla="*/ 1087755 h 2161222"/>
                <a:gd name="connsiteX3713" fmla="*/ 850583 w 2443162"/>
                <a:gd name="connsiteY3713" fmla="*/ 1112520 h 2161222"/>
                <a:gd name="connsiteX3714" fmla="*/ 843915 w 2443162"/>
                <a:gd name="connsiteY3714" fmla="*/ 1119188 h 2161222"/>
                <a:gd name="connsiteX3715" fmla="*/ 837248 w 2443162"/>
                <a:gd name="connsiteY3715" fmla="*/ 1112520 h 2161222"/>
                <a:gd name="connsiteX3716" fmla="*/ 834390 w 2443162"/>
                <a:gd name="connsiteY3716" fmla="*/ 1112520 h 2161222"/>
                <a:gd name="connsiteX3717" fmla="*/ 841058 w 2443162"/>
                <a:gd name="connsiteY3717" fmla="*/ 1129665 h 2161222"/>
                <a:gd name="connsiteX3718" fmla="*/ 850583 w 2443162"/>
                <a:gd name="connsiteY3718" fmla="*/ 1147763 h 2161222"/>
                <a:gd name="connsiteX3719" fmla="*/ 853440 w 2443162"/>
                <a:gd name="connsiteY3719" fmla="*/ 1147763 h 2161222"/>
                <a:gd name="connsiteX3720" fmla="*/ 856298 w 2443162"/>
                <a:gd name="connsiteY3720" fmla="*/ 1129665 h 2161222"/>
                <a:gd name="connsiteX3721" fmla="*/ 849630 w 2443162"/>
                <a:gd name="connsiteY3721" fmla="*/ 1125855 h 2161222"/>
                <a:gd name="connsiteX3722" fmla="*/ 849630 w 2443162"/>
                <a:gd name="connsiteY3722" fmla="*/ 1114425 h 2161222"/>
                <a:gd name="connsiteX3723" fmla="*/ 849630 w 2443162"/>
                <a:gd name="connsiteY3723" fmla="*/ 1092518 h 2161222"/>
                <a:gd name="connsiteX3724" fmla="*/ 857250 w 2443162"/>
                <a:gd name="connsiteY3724" fmla="*/ 1049655 h 2161222"/>
                <a:gd name="connsiteX3725" fmla="*/ 855345 w 2443162"/>
                <a:gd name="connsiteY3725" fmla="*/ 1044893 h 2161222"/>
                <a:gd name="connsiteX3726" fmla="*/ 849630 w 2443162"/>
                <a:gd name="connsiteY3726" fmla="*/ 1036320 h 2161222"/>
                <a:gd name="connsiteX3727" fmla="*/ 851535 w 2443162"/>
                <a:gd name="connsiteY3727" fmla="*/ 1036320 h 2161222"/>
                <a:gd name="connsiteX3728" fmla="*/ 850583 w 2443162"/>
                <a:gd name="connsiteY3728" fmla="*/ 1033463 h 2161222"/>
                <a:gd name="connsiteX3729" fmla="*/ 878205 w 2443162"/>
                <a:gd name="connsiteY3729" fmla="*/ 1033463 h 2161222"/>
                <a:gd name="connsiteX3730" fmla="*/ 879158 w 2443162"/>
                <a:gd name="connsiteY3730" fmla="*/ 1049655 h 2161222"/>
                <a:gd name="connsiteX3731" fmla="*/ 881063 w 2443162"/>
                <a:gd name="connsiteY3731" fmla="*/ 1064895 h 2161222"/>
                <a:gd name="connsiteX3732" fmla="*/ 882968 w 2443162"/>
                <a:gd name="connsiteY3732" fmla="*/ 1080135 h 2161222"/>
                <a:gd name="connsiteX3733" fmla="*/ 886778 w 2443162"/>
                <a:gd name="connsiteY3733" fmla="*/ 1095375 h 2161222"/>
                <a:gd name="connsiteX3734" fmla="*/ 890588 w 2443162"/>
                <a:gd name="connsiteY3734" fmla="*/ 1110615 h 2161222"/>
                <a:gd name="connsiteX3735" fmla="*/ 895350 w 2443162"/>
                <a:gd name="connsiteY3735" fmla="*/ 1125855 h 2161222"/>
                <a:gd name="connsiteX3736" fmla="*/ 901065 w 2443162"/>
                <a:gd name="connsiteY3736" fmla="*/ 1140143 h 2161222"/>
                <a:gd name="connsiteX3737" fmla="*/ 906780 w 2443162"/>
                <a:gd name="connsiteY3737" fmla="*/ 1154430 h 2161222"/>
                <a:gd name="connsiteX3738" fmla="*/ 912495 w 2443162"/>
                <a:gd name="connsiteY3738" fmla="*/ 1168718 h 2161222"/>
                <a:gd name="connsiteX3739" fmla="*/ 919163 w 2443162"/>
                <a:gd name="connsiteY3739" fmla="*/ 1182053 h 2161222"/>
                <a:gd name="connsiteX3740" fmla="*/ 926783 w 2443162"/>
                <a:gd name="connsiteY3740" fmla="*/ 1195388 h 2161222"/>
                <a:gd name="connsiteX3741" fmla="*/ 934403 w 2443162"/>
                <a:gd name="connsiteY3741" fmla="*/ 1208723 h 2161222"/>
                <a:gd name="connsiteX3742" fmla="*/ 942975 w 2443162"/>
                <a:gd name="connsiteY3742" fmla="*/ 1221105 h 2161222"/>
                <a:gd name="connsiteX3743" fmla="*/ 952500 w 2443162"/>
                <a:gd name="connsiteY3743" fmla="*/ 1232535 h 2161222"/>
                <a:gd name="connsiteX3744" fmla="*/ 962025 w 2443162"/>
                <a:gd name="connsiteY3744" fmla="*/ 1243965 h 2161222"/>
                <a:gd name="connsiteX3745" fmla="*/ 971550 w 2443162"/>
                <a:gd name="connsiteY3745" fmla="*/ 1254443 h 2161222"/>
                <a:gd name="connsiteX3746" fmla="*/ 872490 w 2443162"/>
                <a:gd name="connsiteY3746" fmla="*/ 1353503 h 2161222"/>
                <a:gd name="connsiteX3747" fmla="*/ 865823 w 2443162"/>
                <a:gd name="connsiteY3747" fmla="*/ 1345883 h 2161222"/>
                <a:gd name="connsiteX3748" fmla="*/ 859155 w 2443162"/>
                <a:gd name="connsiteY3748" fmla="*/ 1338263 h 2161222"/>
                <a:gd name="connsiteX3749" fmla="*/ 852488 w 2443162"/>
                <a:gd name="connsiteY3749" fmla="*/ 1330643 h 2161222"/>
                <a:gd name="connsiteX3750" fmla="*/ 843915 w 2443162"/>
                <a:gd name="connsiteY3750" fmla="*/ 1323975 h 2161222"/>
                <a:gd name="connsiteX3751" fmla="*/ 843915 w 2443162"/>
                <a:gd name="connsiteY3751" fmla="*/ 1323975 h 2161222"/>
                <a:gd name="connsiteX3752" fmla="*/ 837248 w 2443162"/>
                <a:gd name="connsiteY3752" fmla="*/ 1006793 h 2161222"/>
                <a:gd name="connsiteX3753" fmla="*/ 825818 w 2443162"/>
                <a:gd name="connsiteY3753" fmla="*/ 989648 h 2161222"/>
                <a:gd name="connsiteX3754" fmla="*/ 825818 w 2443162"/>
                <a:gd name="connsiteY3754" fmla="*/ 964883 h 2161222"/>
                <a:gd name="connsiteX3755" fmla="*/ 843915 w 2443162"/>
                <a:gd name="connsiteY3755" fmla="*/ 954405 h 2161222"/>
                <a:gd name="connsiteX3756" fmla="*/ 872490 w 2443162"/>
                <a:gd name="connsiteY3756" fmla="*/ 958215 h 2161222"/>
                <a:gd name="connsiteX3757" fmla="*/ 879158 w 2443162"/>
                <a:gd name="connsiteY3757" fmla="*/ 964883 h 2161222"/>
                <a:gd name="connsiteX3758" fmla="*/ 879158 w 2443162"/>
                <a:gd name="connsiteY3758" fmla="*/ 966788 h 2161222"/>
                <a:gd name="connsiteX3759" fmla="*/ 881063 w 2443162"/>
                <a:gd name="connsiteY3759" fmla="*/ 973455 h 2161222"/>
                <a:gd name="connsiteX3760" fmla="*/ 880110 w 2443162"/>
                <a:gd name="connsiteY3760" fmla="*/ 982028 h 2161222"/>
                <a:gd name="connsiteX3761" fmla="*/ 879158 w 2443162"/>
                <a:gd name="connsiteY3761" fmla="*/ 989648 h 2161222"/>
                <a:gd name="connsiteX3762" fmla="*/ 878205 w 2443162"/>
                <a:gd name="connsiteY3762" fmla="*/ 998220 h 2161222"/>
                <a:gd name="connsiteX3763" fmla="*/ 878205 w 2443162"/>
                <a:gd name="connsiteY3763" fmla="*/ 1006793 h 2161222"/>
                <a:gd name="connsiteX3764" fmla="*/ 837248 w 2443162"/>
                <a:gd name="connsiteY3764" fmla="*/ 1006793 h 2161222"/>
                <a:gd name="connsiteX3765" fmla="*/ 837248 w 2443162"/>
                <a:gd name="connsiteY3765" fmla="*/ 1006793 h 2161222"/>
                <a:gd name="connsiteX3766" fmla="*/ 907733 w 2443162"/>
                <a:gd name="connsiteY3766" fmla="*/ 1059180 h 2161222"/>
                <a:gd name="connsiteX3767" fmla="*/ 909638 w 2443162"/>
                <a:gd name="connsiteY3767" fmla="*/ 1062990 h 2161222"/>
                <a:gd name="connsiteX3768" fmla="*/ 922973 w 2443162"/>
                <a:gd name="connsiteY3768" fmla="*/ 1078230 h 2161222"/>
                <a:gd name="connsiteX3769" fmla="*/ 943928 w 2443162"/>
                <a:gd name="connsiteY3769" fmla="*/ 1078230 h 2161222"/>
                <a:gd name="connsiteX3770" fmla="*/ 968693 w 2443162"/>
                <a:gd name="connsiteY3770" fmla="*/ 1095375 h 2161222"/>
                <a:gd name="connsiteX3771" fmla="*/ 976313 w 2443162"/>
                <a:gd name="connsiteY3771" fmla="*/ 1091565 h 2161222"/>
                <a:gd name="connsiteX3772" fmla="*/ 993458 w 2443162"/>
                <a:gd name="connsiteY3772" fmla="*/ 1105853 h 2161222"/>
                <a:gd name="connsiteX3773" fmla="*/ 982980 w 2443162"/>
                <a:gd name="connsiteY3773" fmla="*/ 1113473 h 2161222"/>
                <a:gd name="connsiteX3774" fmla="*/ 1003935 w 2443162"/>
                <a:gd name="connsiteY3774" fmla="*/ 1123950 h 2161222"/>
                <a:gd name="connsiteX3775" fmla="*/ 1003935 w 2443162"/>
                <a:gd name="connsiteY3775" fmla="*/ 1109663 h 2161222"/>
                <a:gd name="connsiteX3776" fmla="*/ 1014413 w 2443162"/>
                <a:gd name="connsiteY3776" fmla="*/ 1092518 h 2161222"/>
                <a:gd name="connsiteX3777" fmla="*/ 1024890 w 2443162"/>
                <a:gd name="connsiteY3777" fmla="*/ 1106805 h 2161222"/>
                <a:gd name="connsiteX3778" fmla="*/ 1039178 w 2443162"/>
                <a:gd name="connsiteY3778" fmla="*/ 1121093 h 2161222"/>
                <a:gd name="connsiteX3779" fmla="*/ 1018223 w 2443162"/>
                <a:gd name="connsiteY3779" fmla="*/ 1127760 h 2161222"/>
                <a:gd name="connsiteX3780" fmla="*/ 1024890 w 2443162"/>
                <a:gd name="connsiteY3780" fmla="*/ 1145858 h 2161222"/>
                <a:gd name="connsiteX3781" fmla="*/ 1039178 w 2443162"/>
                <a:gd name="connsiteY3781" fmla="*/ 1138238 h 2161222"/>
                <a:gd name="connsiteX3782" fmla="*/ 1039178 w 2443162"/>
                <a:gd name="connsiteY3782" fmla="*/ 1131570 h 2161222"/>
                <a:gd name="connsiteX3783" fmla="*/ 1049655 w 2443162"/>
                <a:gd name="connsiteY3783" fmla="*/ 1124903 h 2161222"/>
                <a:gd name="connsiteX3784" fmla="*/ 1056323 w 2443162"/>
                <a:gd name="connsiteY3784" fmla="*/ 1093470 h 2161222"/>
                <a:gd name="connsiteX3785" fmla="*/ 1057275 w 2443162"/>
                <a:gd name="connsiteY3785" fmla="*/ 1096328 h 2161222"/>
                <a:gd name="connsiteX3786" fmla="*/ 1057275 w 2443162"/>
                <a:gd name="connsiteY3786" fmla="*/ 1093470 h 2161222"/>
                <a:gd name="connsiteX3787" fmla="*/ 1059180 w 2443162"/>
                <a:gd name="connsiteY3787" fmla="*/ 1090613 h 2161222"/>
                <a:gd name="connsiteX3788" fmla="*/ 1062038 w 2443162"/>
                <a:gd name="connsiteY3788" fmla="*/ 1097280 h 2161222"/>
                <a:gd name="connsiteX3789" fmla="*/ 1064895 w 2443162"/>
                <a:gd name="connsiteY3789" fmla="*/ 1103948 h 2161222"/>
                <a:gd name="connsiteX3790" fmla="*/ 1068705 w 2443162"/>
                <a:gd name="connsiteY3790" fmla="*/ 1109663 h 2161222"/>
                <a:gd name="connsiteX3791" fmla="*/ 1072515 w 2443162"/>
                <a:gd name="connsiteY3791" fmla="*/ 1115378 h 2161222"/>
                <a:gd name="connsiteX3792" fmla="*/ 1076325 w 2443162"/>
                <a:gd name="connsiteY3792" fmla="*/ 1121093 h 2161222"/>
                <a:gd name="connsiteX3793" fmla="*/ 1081088 w 2443162"/>
                <a:gd name="connsiteY3793" fmla="*/ 1126808 h 2161222"/>
                <a:gd name="connsiteX3794" fmla="*/ 1085850 w 2443162"/>
                <a:gd name="connsiteY3794" fmla="*/ 1131570 h 2161222"/>
                <a:gd name="connsiteX3795" fmla="*/ 1090613 w 2443162"/>
                <a:gd name="connsiteY3795" fmla="*/ 1137285 h 2161222"/>
                <a:gd name="connsiteX3796" fmla="*/ 990600 w 2443162"/>
                <a:gd name="connsiteY3796" fmla="*/ 1237298 h 2161222"/>
                <a:gd name="connsiteX3797" fmla="*/ 982028 w 2443162"/>
                <a:gd name="connsiteY3797" fmla="*/ 1227773 h 2161222"/>
                <a:gd name="connsiteX3798" fmla="*/ 974408 w 2443162"/>
                <a:gd name="connsiteY3798" fmla="*/ 1218248 h 2161222"/>
                <a:gd name="connsiteX3799" fmla="*/ 966788 w 2443162"/>
                <a:gd name="connsiteY3799" fmla="*/ 1207770 h 2161222"/>
                <a:gd name="connsiteX3800" fmla="*/ 960120 w 2443162"/>
                <a:gd name="connsiteY3800" fmla="*/ 1197293 h 2161222"/>
                <a:gd name="connsiteX3801" fmla="*/ 953453 w 2443162"/>
                <a:gd name="connsiteY3801" fmla="*/ 1186815 h 2161222"/>
                <a:gd name="connsiteX3802" fmla="*/ 946785 w 2443162"/>
                <a:gd name="connsiteY3802" fmla="*/ 1176338 h 2161222"/>
                <a:gd name="connsiteX3803" fmla="*/ 941070 w 2443162"/>
                <a:gd name="connsiteY3803" fmla="*/ 1165860 h 2161222"/>
                <a:gd name="connsiteX3804" fmla="*/ 935355 w 2443162"/>
                <a:gd name="connsiteY3804" fmla="*/ 1155383 h 2161222"/>
                <a:gd name="connsiteX3805" fmla="*/ 930593 w 2443162"/>
                <a:gd name="connsiteY3805" fmla="*/ 1143953 h 2161222"/>
                <a:gd name="connsiteX3806" fmla="*/ 925830 w 2443162"/>
                <a:gd name="connsiteY3806" fmla="*/ 1132523 h 2161222"/>
                <a:gd name="connsiteX3807" fmla="*/ 921068 w 2443162"/>
                <a:gd name="connsiteY3807" fmla="*/ 1121093 h 2161222"/>
                <a:gd name="connsiteX3808" fmla="*/ 917258 w 2443162"/>
                <a:gd name="connsiteY3808" fmla="*/ 1108710 h 2161222"/>
                <a:gd name="connsiteX3809" fmla="*/ 913448 w 2443162"/>
                <a:gd name="connsiteY3809" fmla="*/ 1096328 h 2161222"/>
                <a:gd name="connsiteX3810" fmla="*/ 910590 w 2443162"/>
                <a:gd name="connsiteY3810" fmla="*/ 1083945 h 2161222"/>
                <a:gd name="connsiteX3811" fmla="*/ 907733 w 2443162"/>
                <a:gd name="connsiteY3811" fmla="*/ 1071563 h 2161222"/>
                <a:gd name="connsiteX3812" fmla="*/ 907733 w 2443162"/>
                <a:gd name="connsiteY3812" fmla="*/ 1059180 h 2161222"/>
                <a:gd name="connsiteX3813" fmla="*/ 907733 w 2443162"/>
                <a:gd name="connsiteY3813" fmla="*/ 1059180 h 2161222"/>
                <a:gd name="connsiteX3814" fmla="*/ 967740 w 2443162"/>
                <a:gd name="connsiteY3814" fmla="*/ 784860 h 2161222"/>
                <a:gd name="connsiteX3815" fmla="*/ 962978 w 2443162"/>
                <a:gd name="connsiteY3815" fmla="*/ 788670 h 2161222"/>
                <a:gd name="connsiteX3816" fmla="*/ 962978 w 2443162"/>
                <a:gd name="connsiteY3816" fmla="*/ 788670 h 2161222"/>
                <a:gd name="connsiteX3817" fmla="*/ 934403 w 2443162"/>
                <a:gd name="connsiteY3817" fmla="*/ 823913 h 2161222"/>
                <a:gd name="connsiteX3818" fmla="*/ 909638 w 2443162"/>
                <a:gd name="connsiteY3818" fmla="*/ 862965 h 2161222"/>
                <a:gd name="connsiteX3819" fmla="*/ 902970 w 2443162"/>
                <a:gd name="connsiteY3819" fmla="*/ 862965 h 2161222"/>
                <a:gd name="connsiteX3820" fmla="*/ 890588 w 2443162"/>
                <a:gd name="connsiteY3820" fmla="*/ 865823 h 2161222"/>
                <a:gd name="connsiteX3821" fmla="*/ 883920 w 2443162"/>
                <a:gd name="connsiteY3821" fmla="*/ 865823 h 2161222"/>
                <a:gd name="connsiteX3822" fmla="*/ 870585 w 2443162"/>
                <a:gd name="connsiteY3822" fmla="*/ 880110 h 2161222"/>
                <a:gd name="connsiteX3823" fmla="*/ 887730 w 2443162"/>
                <a:gd name="connsiteY3823" fmla="*/ 876300 h 2161222"/>
                <a:gd name="connsiteX3824" fmla="*/ 904875 w 2443162"/>
                <a:gd name="connsiteY3824" fmla="*/ 872490 h 2161222"/>
                <a:gd name="connsiteX3825" fmla="*/ 901065 w 2443162"/>
                <a:gd name="connsiteY3825" fmla="*/ 879158 h 2161222"/>
                <a:gd name="connsiteX3826" fmla="*/ 887730 w 2443162"/>
                <a:gd name="connsiteY3826" fmla="*/ 885825 h 2161222"/>
                <a:gd name="connsiteX3827" fmla="*/ 881063 w 2443162"/>
                <a:gd name="connsiteY3827" fmla="*/ 885825 h 2161222"/>
                <a:gd name="connsiteX3828" fmla="*/ 860108 w 2443162"/>
                <a:gd name="connsiteY3828" fmla="*/ 902970 h 2161222"/>
                <a:gd name="connsiteX3829" fmla="*/ 840105 w 2443162"/>
                <a:gd name="connsiteY3829" fmla="*/ 899160 h 2161222"/>
                <a:gd name="connsiteX3830" fmla="*/ 809625 w 2443162"/>
                <a:gd name="connsiteY3830" fmla="*/ 954405 h 2161222"/>
                <a:gd name="connsiteX3831" fmla="*/ 816293 w 2443162"/>
                <a:gd name="connsiteY3831" fmla="*/ 967740 h 2161222"/>
                <a:gd name="connsiteX3832" fmla="*/ 799148 w 2443162"/>
                <a:gd name="connsiteY3832" fmla="*/ 984885 h 2161222"/>
                <a:gd name="connsiteX3833" fmla="*/ 799148 w 2443162"/>
                <a:gd name="connsiteY3833" fmla="*/ 1004888 h 2161222"/>
                <a:gd name="connsiteX3834" fmla="*/ 739140 w 2443162"/>
                <a:gd name="connsiteY3834" fmla="*/ 1004888 h 2161222"/>
                <a:gd name="connsiteX3835" fmla="*/ 739140 w 2443162"/>
                <a:gd name="connsiteY3835" fmla="*/ 993458 h 2161222"/>
                <a:gd name="connsiteX3836" fmla="*/ 740093 w 2443162"/>
                <a:gd name="connsiteY3836" fmla="*/ 982028 h 2161222"/>
                <a:gd name="connsiteX3837" fmla="*/ 741045 w 2443162"/>
                <a:gd name="connsiteY3837" fmla="*/ 970598 h 2161222"/>
                <a:gd name="connsiteX3838" fmla="*/ 741998 w 2443162"/>
                <a:gd name="connsiteY3838" fmla="*/ 959168 h 2161222"/>
                <a:gd name="connsiteX3839" fmla="*/ 743903 w 2443162"/>
                <a:gd name="connsiteY3839" fmla="*/ 948690 h 2161222"/>
                <a:gd name="connsiteX3840" fmla="*/ 745808 w 2443162"/>
                <a:gd name="connsiteY3840" fmla="*/ 937260 h 2161222"/>
                <a:gd name="connsiteX3841" fmla="*/ 747713 w 2443162"/>
                <a:gd name="connsiteY3841" fmla="*/ 926783 h 2161222"/>
                <a:gd name="connsiteX3842" fmla="*/ 750570 w 2443162"/>
                <a:gd name="connsiteY3842" fmla="*/ 915353 h 2161222"/>
                <a:gd name="connsiteX3843" fmla="*/ 752475 w 2443162"/>
                <a:gd name="connsiteY3843" fmla="*/ 904875 h 2161222"/>
                <a:gd name="connsiteX3844" fmla="*/ 755333 w 2443162"/>
                <a:gd name="connsiteY3844" fmla="*/ 894398 h 2161222"/>
                <a:gd name="connsiteX3845" fmla="*/ 758190 w 2443162"/>
                <a:gd name="connsiteY3845" fmla="*/ 883920 h 2161222"/>
                <a:gd name="connsiteX3846" fmla="*/ 761048 w 2443162"/>
                <a:gd name="connsiteY3846" fmla="*/ 873443 h 2161222"/>
                <a:gd name="connsiteX3847" fmla="*/ 764858 w 2443162"/>
                <a:gd name="connsiteY3847" fmla="*/ 862965 h 2161222"/>
                <a:gd name="connsiteX3848" fmla="*/ 768668 w 2443162"/>
                <a:gd name="connsiteY3848" fmla="*/ 853440 h 2161222"/>
                <a:gd name="connsiteX3849" fmla="*/ 772478 w 2443162"/>
                <a:gd name="connsiteY3849" fmla="*/ 842963 h 2161222"/>
                <a:gd name="connsiteX3850" fmla="*/ 776288 w 2443162"/>
                <a:gd name="connsiteY3850" fmla="*/ 833438 h 2161222"/>
                <a:gd name="connsiteX3851" fmla="*/ 780098 w 2443162"/>
                <a:gd name="connsiteY3851" fmla="*/ 823913 h 2161222"/>
                <a:gd name="connsiteX3852" fmla="*/ 784860 w 2443162"/>
                <a:gd name="connsiteY3852" fmla="*/ 813435 h 2161222"/>
                <a:gd name="connsiteX3853" fmla="*/ 789623 w 2443162"/>
                <a:gd name="connsiteY3853" fmla="*/ 803910 h 2161222"/>
                <a:gd name="connsiteX3854" fmla="*/ 794385 w 2443162"/>
                <a:gd name="connsiteY3854" fmla="*/ 794385 h 2161222"/>
                <a:gd name="connsiteX3855" fmla="*/ 799148 w 2443162"/>
                <a:gd name="connsiteY3855" fmla="*/ 784860 h 2161222"/>
                <a:gd name="connsiteX3856" fmla="*/ 803910 w 2443162"/>
                <a:gd name="connsiteY3856" fmla="*/ 775335 h 2161222"/>
                <a:gd name="connsiteX3857" fmla="*/ 809625 w 2443162"/>
                <a:gd name="connsiteY3857" fmla="*/ 765810 h 2161222"/>
                <a:gd name="connsiteX3858" fmla="*/ 815340 w 2443162"/>
                <a:gd name="connsiteY3858" fmla="*/ 756285 h 2161222"/>
                <a:gd name="connsiteX3859" fmla="*/ 821055 w 2443162"/>
                <a:gd name="connsiteY3859" fmla="*/ 746760 h 2161222"/>
                <a:gd name="connsiteX3860" fmla="*/ 826770 w 2443162"/>
                <a:gd name="connsiteY3860" fmla="*/ 738188 h 2161222"/>
                <a:gd name="connsiteX3861" fmla="*/ 833438 w 2443162"/>
                <a:gd name="connsiteY3861" fmla="*/ 729615 h 2161222"/>
                <a:gd name="connsiteX3862" fmla="*/ 840105 w 2443162"/>
                <a:gd name="connsiteY3862" fmla="*/ 721043 h 2161222"/>
                <a:gd name="connsiteX3863" fmla="*/ 846773 w 2443162"/>
                <a:gd name="connsiteY3863" fmla="*/ 712470 h 2161222"/>
                <a:gd name="connsiteX3864" fmla="*/ 853440 w 2443162"/>
                <a:gd name="connsiteY3864" fmla="*/ 703898 h 2161222"/>
                <a:gd name="connsiteX3865" fmla="*/ 860108 w 2443162"/>
                <a:gd name="connsiteY3865" fmla="*/ 695325 h 2161222"/>
                <a:gd name="connsiteX3866" fmla="*/ 867728 w 2443162"/>
                <a:gd name="connsiteY3866" fmla="*/ 687705 h 2161222"/>
                <a:gd name="connsiteX3867" fmla="*/ 967740 w 2443162"/>
                <a:gd name="connsiteY3867" fmla="*/ 784860 h 2161222"/>
                <a:gd name="connsiteX3868" fmla="*/ 967740 w 2443162"/>
                <a:gd name="connsiteY3868" fmla="*/ 784860 h 2161222"/>
                <a:gd name="connsiteX3869" fmla="*/ 1634490 w 2443162"/>
                <a:gd name="connsiteY3869" fmla="*/ 403860 h 2161222"/>
                <a:gd name="connsiteX3870" fmla="*/ 1627823 w 2443162"/>
                <a:gd name="connsiteY3870" fmla="*/ 389573 h 2161222"/>
                <a:gd name="connsiteX3871" fmla="*/ 1609725 w 2443162"/>
                <a:gd name="connsiteY3871" fmla="*/ 379095 h 2161222"/>
                <a:gd name="connsiteX3872" fmla="*/ 1595438 w 2443162"/>
                <a:gd name="connsiteY3872" fmla="*/ 393383 h 2161222"/>
                <a:gd name="connsiteX3873" fmla="*/ 1612583 w 2443162"/>
                <a:gd name="connsiteY3873" fmla="*/ 401003 h 2161222"/>
                <a:gd name="connsiteX3874" fmla="*/ 1633538 w 2443162"/>
                <a:gd name="connsiteY3874" fmla="*/ 415290 h 2161222"/>
                <a:gd name="connsiteX3875" fmla="*/ 1633538 w 2443162"/>
                <a:gd name="connsiteY3875" fmla="*/ 403860 h 2161222"/>
                <a:gd name="connsiteX3876" fmla="*/ 1634490 w 2443162"/>
                <a:gd name="connsiteY3876" fmla="*/ 403860 h 2161222"/>
                <a:gd name="connsiteX3877" fmla="*/ 1553528 w 2443162"/>
                <a:gd name="connsiteY3877" fmla="*/ 796290 h 2161222"/>
                <a:gd name="connsiteX3878" fmla="*/ 1553528 w 2443162"/>
                <a:gd name="connsiteY3878" fmla="*/ 806768 h 2161222"/>
                <a:gd name="connsiteX3879" fmla="*/ 1578293 w 2443162"/>
                <a:gd name="connsiteY3879" fmla="*/ 799148 h 2161222"/>
                <a:gd name="connsiteX3880" fmla="*/ 1584960 w 2443162"/>
                <a:gd name="connsiteY3880" fmla="*/ 784860 h 2161222"/>
                <a:gd name="connsiteX3881" fmla="*/ 1567815 w 2443162"/>
                <a:gd name="connsiteY3881" fmla="*/ 763905 h 2161222"/>
                <a:gd name="connsiteX3882" fmla="*/ 1574483 w 2443162"/>
                <a:gd name="connsiteY3882" fmla="*/ 749618 h 2161222"/>
                <a:gd name="connsiteX3883" fmla="*/ 1599248 w 2443162"/>
                <a:gd name="connsiteY3883" fmla="*/ 763905 h 2161222"/>
                <a:gd name="connsiteX3884" fmla="*/ 1603058 w 2443162"/>
                <a:gd name="connsiteY3884" fmla="*/ 760095 h 2161222"/>
                <a:gd name="connsiteX3885" fmla="*/ 1599248 w 2443162"/>
                <a:gd name="connsiteY3885" fmla="*/ 760095 h 2161222"/>
                <a:gd name="connsiteX3886" fmla="*/ 1592580 w 2443162"/>
                <a:gd name="connsiteY3886" fmla="*/ 749618 h 2161222"/>
                <a:gd name="connsiteX3887" fmla="*/ 1603058 w 2443162"/>
                <a:gd name="connsiteY3887" fmla="*/ 742950 h 2161222"/>
                <a:gd name="connsiteX3888" fmla="*/ 1592580 w 2443162"/>
                <a:gd name="connsiteY3888" fmla="*/ 732473 h 2161222"/>
                <a:gd name="connsiteX3889" fmla="*/ 1571625 w 2443162"/>
                <a:gd name="connsiteY3889" fmla="*/ 742950 h 2161222"/>
                <a:gd name="connsiteX3890" fmla="*/ 1564958 w 2443162"/>
                <a:gd name="connsiteY3890" fmla="*/ 757238 h 2161222"/>
                <a:gd name="connsiteX3891" fmla="*/ 1561148 w 2443162"/>
                <a:gd name="connsiteY3891" fmla="*/ 767715 h 2161222"/>
                <a:gd name="connsiteX3892" fmla="*/ 1571625 w 2443162"/>
                <a:gd name="connsiteY3892" fmla="*/ 782003 h 2161222"/>
                <a:gd name="connsiteX3893" fmla="*/ 1567815 w 2443162"/>
                <a:gd name="connsiteY3893" fmla="*/ 788670 h 2161222"/>
                <a:gd name="connsiteX3894" fmla="*/ 1553528 w 2443162"/>
                <a:gd name="connsiteY3894" fmla="*/ 796290 h 2161222"/>
                <a:gd name="connsiteX3895" fmla="*/ 1553528 w 2443162"/>
                <a:gd name="connsiteY3895" fmla="*/ 796290 h 2161222"/>
                <a:gd name="connsiteX3896" fmla="*/ 547688 w 2443162"/>
                <a:gd name="connsiteY3896" fmla="*/ 1421130 h 2161222"/>
                <a:gd name="connsiteX3897" fmla="*/ 547688 w 2443162"/>
                <a:gd name="connsiteY3897" fmla="*/ 1413510 h 2161222"/>
                <a:gd name="connsiteX3898" fmla="*/ 537210 w 2443162"/>
                <a:gd name="connsiteY3898" fmla="*/ 1385888 h 2161222"/>
                <a:gd name="connsiteX3899" fmla="*/ 522923 w 2443162"/>
                <a:gd name="connsiteY3899" fmla="*/ 1382078 h 2161222"/>
                <a:gd name="connsiteX3900" fmla="*/ 547688 w 2443162"/>
                <a:gd name="connsiteY3900" fmla="*/ 1421130 h 2161222"/>
                <a:gd name="connsiteX3901" fmla="*/ 547688 w 2443162"/>
                <a:gd name="connsiteY3901" fmla="*/ 1421130 h 2161222"/>
                <a:gd name="connsiteX3902" fmla="*/ 1116330 w 2443162"/>
                <a:gd name="connsiteY3902" fmla="*/ 898208 h 2161222"/>
                <a:gd name="connsiteX3903" fmla="*/ 1120140 w 2443162"/>
                <a:gd name="connsiteY3903" fmla="*/ 912495 h 2161222"/>
                <a:gd name="connsiteX3904" fmla="*/ 1126808 w 2443162"/>
                <a:gd name="connsiteY3904" fmla="*/ 926783 h 2161222"/>
                <a:gd name="connsiteX3905" fmla="*/ 1137285 w 2443162"/>
                <a:gd name="connsiteY3905" fmla="*/ 941070 h 2161222"/>
                <a:gd name="connsiteX3906" fmla="*/ 1155383 w 2443162"/>
                <a:gd name="connsiteY3906" fmla="*/ 951548 h 2161222"/>
                <a:gd name="connsiteX3907" fmla="*/ 1155383 w 2443162"/>
                <a:gd name="connsiteY3907" fmla="*/ 941070 h 2161222"/>
                <a:gd name="connsiteX3908" fmla="*/ 1141095 w 2443162"/>
                <a:gd name="connsiteY3908" fmla="*/ 923925 h 2161222"/>
                <a:gd name="connsiteX3909" fmla="*/ 1148715 w 2443162"/>
                <a:gd name="connsiteY3909" fmla="*/ 909638 h 2161222"/>
                <a:gd name="connsiteX3910" fmla="*/ 1155383 w 2443162"/>
                <a:gd name="connsiteY3910" fmla="*/ 905828 h 2161222"/>
                <a:gd name="connsiteX3911" fmla="*/ 1155383 w 2443162"/>
                <a:gd name="connsiteY3911" fmla="*/ 845820 h 2161222"/>
                <a:gd name="connsiteX3912" fmla="*/ 1151573 w 2443162"/>
                <a:gd name="connsiteY3912" fmla="*/ 845820 h 2161222"/>
                <a:gd name="connsiteX3913" fmla="*/ 1137285 w 2443162"/>
                <a:gd name="connsiteY3913" fmla="*/ 856298 h 2161222"/>
                <a:gd name="connsiteX3914" fmla="*/ 1126808 w 2443162"/>
                <a:gd name="connsiteY3914" fmla="*/ 866775 h 2161222"/>
                <a:gd name="connsiteX3915" fmla="*/ 1120140 w 2443162"/>
                <a:gd name="connsiteY3915" fmla="*/ 881063 h 2161222"/>
                <a:gd name="connsiteX3916" fmla="*/ 1116330 w 2443162"/>
                <a:gd name="connsiteY3916" fmla="*/ 898208 h 2161222"/>
                <a:gd name="connsiteX3917" fmla="*/ 1116330 w 2443162"/>
                <a:gd name="connsiteY3917" fmla="*/ 898208 h 2161222"/>
                <a:gd name="connsiteX3918" fmla="*/ 822008 w 2443162"/>
                <a:gd name="connsiteY3918" fmla="*/ 639128 h 2161222"/>
                <a:gd name="connsiteX3919" fmla="*/ 812483 w 2443162"/>
                <a:gd name="connsiteY3919" fmla="*/ 628650 h 2161222"/>
                <a:gd name="connsiteX3920" fmla="*/ 832485 w 2443162"/>
                <a:gd name="connsiteY3920" fmla="*/ 624840 h 2161222"/>
                <a:gd name="connsiteX3921" fmla="*/ 822008 w 2443162"/>
                <a:gd name="connsiteY3921" fmla="*/ 639128 h 2161222"/>
                <a:gd name="connsiteX3922" fmla="*/ 822008 w 2443162"/>
                <a:gd name="connsiteY3922" fmla="*/ 639128 h 2161222"/>
                <a:gd name="connsiteX3923" fmla="*/ 2039303 w 2443162"/>
                <a:gd name="connsiteY3923" fmla="*/ 1035368 h 2161222"/>
                <a:gd name="connsiteX3924" fmla="*/ 1902143 w 2443162"/>
                <a:gd name="connsiteY3924" fmla="*/ 1035368 h 2161222"/>
                <a:gd name="connsiteX3925" fmla="*/ 1901190 w 2443162"/>
                <a:gd name="connsiteY3925" fmla="*/ 1051560 h 2161222"/>
                <a:gd name="connsiteX3926" fmla="*/ 1900238 w 2443162"/>
                <a:gd name="connsiteY3926" fmla="*/ 1067753 h 2161222"/>
                <a:gd name="connsiteX3927" fmla="*/ 1899285 w 2443162"/>
                <a:gd name="connsiteY3927" fmla="*/ 1083945 h 2161222"/>
                <a:gd name="connsiteX3928" fmla="*/ 1897380 w 2443162"/>
                <a:gd name="connsiteY3928" fmla="*/ 1100138 h 2161222"/>
                <a:gd name="connsiteX3929" fmla="*/ 1895475 w 2443162"/>
                <a:gd name="connsiteY3929" fmla="*/ 1115378 h 2161222"/>
                <a:gd name="connsiteX3930" fmla="*/ 1893570 w 2443162"/>
                <a:gd name="connsiteY3930" fmla="*/ 1131570 h 2161222"/>
                <a:gd name="connsiteX3931" fmla="*/ 1890713 w 2443162"/>
                <a:gd name="connsiteY3931" fmla="*/ 1146810 h 2161222"/>
                <a:gd name="connsiteX3932" fmla="*/ 1887855 w 2443162"/>
                <a:gd name="connsiteY3932" fmla="*/ 1162050 h 2161222"/>
                <a:gd name="connsiteX3933" fmla="*/ 1884045 w 2443162"/>
                <a:gd name="connsiteY3933" fmla="*/ 1177290 h 2161222"/>
                <a:gd name="connsiteX3934" fmla="*/ 1880235 w 2443162"/>
                <a:gd name="connsiteY3934" fmla="*/ 1193483 h 2161222"/>
                <a:gd name="connsiteX3935" fmla="*/ 1875473 w 2443162"/>
                <a:gd name="connsiteY3935" fmla="*/ 1208723 h 2161222"/>
                <a:gd name="connsiteX3936" fmla="*/ 1870710 w 2443162"/>
                <a:gd name="connsiteY3936" fmla="*/ 1223963 h 2161222"/>
                <a:gd name="connsiteX3937" fmla="*/ 1865948 w 2443162"/>
                <a:gd name="connsiteY3937" fmla="*/ 1239203 h 2161222"/>
                <a:gd name="connsiteX3938" fmla="*/ 1860233 w 2443162"/>
                <a:gd name="connsiteY3938" fmla="*/ 1253490 h 2161222"/>
                <a:gd name="connsiteX3939" fmla="*/ 1854518 w 2443162"/>
                <a:gd name="connsiteY3939" fmla="*/ 1268730 h 2161222"/>
                <a:gd name="connsiteX3940" fmla="*/ 1848803 w 2443162"/>
                <a:gd name="connsiteY3940" fmla="*/ 1283018 h 2161222"/>
                <a:gd name="connsiteX3941" fmla="*/ 1843088 w 2443162"/>
                <a:gd name="connsiteY3941" fmla="*/ 1297305 h 2161222"/>
                <a:gd name="connsiteX3942" fmla="*/ 1836420 w 2443162"/>
                <a:gd name="connsiteY3942" fmla="*/ 1311593 h 2161222"/>
                <a:gd name="connsiteX3943" fmla="*/ 1829753 w 2443162"/>
                <a:gd name="connsiteY3943" fmla="*/ 1325880 h 2161222"/>
                <a:gd name="connsiteX3944" fmla="*/ 1823085 w 2443162"/>
                <a:gd name="connsiteY3944" fmla="*/ 1340168 h 2161222"/>
                <a:gd name="connsiteX3945" fmla="*/ 1815465 w 2443162"/>
                <a:gd name="connsiteY3945" fmla="*/ 1353503 h 2161222"/>
                <a:gd name="connsiteX3946" fmla="*/ 1807845 w 2443162"/>
                <a:gd name="connsiteY3946" fmla="*/ 1366838 h 2161222"/>
                <a:gd name="connsiteX3947" fmla="*/ 1800225 w 2443162"/>
                <a:gd name="connsiteY3947" fmla="*/ 1380173 h 2161222"/>
                <a:gd name="connsiteX3948" fmla="*/ 1791653 w 2443162"/>
                <a:gd name="connsiteY3948" fmla="*/ 1393508 h 2161222"/>
                <a:gd name="connsiteX3949" fmla="*/ 1783080 w 2443162"/>
                <a:gd name="connsiteY3949" fmla="*/ 1405890 h 2161222"/>
                <a:gd name="connsiteX3950" fmla="*/ 1773555 w 2443162"/>
                <a:gd name="connsiteY3950" fmla="*/ 1418273 h 2161222"/>
                <a:gd name="connsiteX3951" fmla="*/ 1764030 w 2443162"/>
                <a:gd name="connsiteY3951" fmla="*/ 1430655 h 2161222"/>
                <a:gd name="connsiteX3952" fmla="*/ 1754505 w 2443162"/>
                <a:gd name="connsiteY3952" fmla="*/ 1443038 h 2161222"/>
                <a:gd name="connsiteX3953" fmla="*/ 1744028 w 2443162"/>
                <a:gd name="connsiteY3953" fmla="*/ 1455420 h 2161222"/>
                <a:gd name="connsiteX3954" fmla="*/ 1734503 w 2443162"/>
                <a:gd name="connsiteY3954" fmla="*/ 1466850 h 2161222"/>
                <a:gd name="connsiteX3955" fmla="*/ 1724025 w 2443162"/>
                <a:gd name="connsiteY3955" fmla="*/ 1478280 h 2161222"/>
                <a:gd name="connsiteX3956" fmla="*/ 1717358 w 2443162"/>
                <a:gd name="connsiteY3956" fmla="*/ 1489710 h 2161222"/>
                <a:gd name="connsiteX3957" fmla="*/ 1810703 w 2443162"/>
                <a:gd name="connsiteY3957" fmla="*/ 1585913 h 2161222"/>
                <a:gd name="connsiteX3958" fmla="*/ 1824038 w 2443162"/>
                <a:gd name="connsiteY3958" fmla="*/ 1572578 h 2161222"/>
                <a:gd name="connsiteX3959" fmla="*/ 1836420 w 2443162"/>
                <a:gd name="connsiteY3959" fmla="*/ 1558290 h 2161222"/>
                <a:gd name="connsiteX3960" fmla="*/ 1848803 w 2443162"/>
                <a:gd name="connsiteY3960" fmla="*/ 1544003 h 2161222"/>
                <a:gd name="connsiteX3961" fmla="*/ 1860233 w 2443162"/>
                <a:gd name="connsiteY3961" fmla="*/ 1529715 h 2161222"/>
                <a:gd name="connsiteX3962" fmla="*/ 1871663 w 2443162"/>
                <a:gd name="connsiteY3962" fmla="*/ 1515428 h 2161222"/>
                <a:gd name="connsiteX3963" fmla="*/ 1882140 w 2443162"/>
                <a:gd name="connsiteY3963" fmla="*/ 1500188 h 2161222"/>
                <a:gd name="connsiteX3964" fmla="*/ 1892618 w 2443162"/>
                <a:gd name="connsiteY3964" fmla="*/ 1484948 h 2161222"/>
                <a:gd name="connsiteX3965" fmla="*/ 1903095 w 2443162"/>
                <a:gd name="connsiteY3965" fmla="*/ 1469708 h 2161222"/>
                <a:gd name="connsiteX3966" fmla="*/ 1913573 w 2443162"/>
                <a:gd name="connsiteY3966" fmla="*/ 1453515 h 2161222"/>
                <a:gd name="connsiteX3967" fmla="*/ 1924050 w 2443162"/>
                <a:gd name="connsiteY3967" fmla="*/ 1438275 h 2161222"/>
                <a:gd name="connsiteX3968" fmla="*/ 1933575 w 2443162"/>
                <a:gd name="connsiteY3968" fmla="*/ 1422083 h 2161222"/>
                <a:gd name="connsiteX3969" fmla="*/ 1942148 w 2443162"/>
                <a:gd name="connsiteY3969" fmla="*/ 1405890 h 2161222"/>
                <a:gd name="connsiteX3970" fmla="*/ 1950720 w 2443162"/>
                <a:gd name="connsiteY3970" fmla="*/ 1388745 h 2161222"/>
                <a:gd name="connsiteX3971" fmla="*/ 1959293 w 2443162"/>
                <a:gd name="connsiteY3971" fmla="*/ 1372553 h 2161222"/>
                <a:gd name="connsiteX3972" fmla="*/ 1967865 w 2443162"/>
                <a:gd name="connsiteY3972" fmla="*/ 1355408 h 2161222"/>
                <a:gd name="connsiteX3973" fmla="*/ 1975485 w 2443162"/>
                <a:gd name="connsiteY3973" fmla="*/ 1338263 h 2161222"/>
                <a:gd name="connsiteX3974" fmla="*/ 1982153 w 2443162"/>
                <a:gd name="connsiteY3974" fmla="*/ 1321118 h 2161222"/>
                <a:gd name="connsiteX3975" fmla="*/ 1988820 w 2443162"/>
                <a:gd name="connsiteY3975" fmla="*/ 1303973 h 2161222"/>
                <a:gd name="connsiteX3976" fmla="*/ 1994535 w 2443162"/>
                <a:gd name="connsiteY3976" fmla="*/ 1285875 h 2161222"/>
                <a:gd name="connsiteX3977" fmla="*/ 2000250 w 2443162"/>
                <a:gd name="connsiteY3977" fmla="*/ 1267778 h 2161222"/>
                <a:gd name="connsiteX3978" fmla="*/ 2005965 w 2443162"/>
                <a:gd name="connsiteY3978" fmla="*/ 1249680 h 2161222"/>
                <a:gd name="connsiteX3979" fmla="*/ 2011680 w 2443162"/>
                <a:gd name="connsiteY3979" fmla="*/ 1230630 h 2161222"/>
                <a:gd name="connsiteX3980" fmla="*/ 2016443 w 2443162"/>
                <a:gd name="connsiteY3980" fmla="*/ 1211580 h 2161222"/>
                <a:gd name="connsiteX3981" fmla="*/ 2021205 w 2443162"/>
                <a:gd name="connsiteY3981" fmla="*/ 1192530 h 2161222"/>
                <a:gd name="connsiteX3982" fmla="*/ 2025015 w 2443162"/>
                <a:gd name="connsiteY3982" fmla="*/ 1173480 h 2161222"/>
                <a:gd name="connsiteX3983" fmla="*/ 2028825 w 2443162"/>
                <a:gd name="connsiteY3983" fmla="*/ 1154430 h 2161222"/>
                <a:gd name="connsiteX3984" fmla="*/ 2031683 w 2443162"/>
                <a:gd name="connsiteY3984" fmla="*/ 1134428 h 2161222"/>
                <a:gd name="connsiteX3985" fmla="*/ 2034540 w 2443162"/>
                <a:gd name="connsiteY3985" fmla="*/ 1115378 h 2161222"/>
                <a:gd name="connsiteX3986" fmla="*/ 2036445 w 2443162"/>
                <a:gd name="connsiteY3986" fmla="*/ 1095375 h 2161222"/>
                <a:gd name="connsiteX3987" fmla="*/ 2037398 w 2443162"/>
                <a:gd name="connsiteY3987" fmla="*/ 1075373 h 2161222"/>
                <a:gd name="connsiteX3988" fmla="*/ 2038350 w 2443162"/>
                <a:gd name="connsiteY3988" fmla="*/ 1055370 h 2161222"/>
                <a:gd name="connsiteX3989" fmla="*/ 2039303 w 2443162"/>
                <a:gd name="connsiteY3989" fmla="*/ 1035368 h 2161222"/>
                <a:gd name="connsiteX3990" fmla="*/ 2039303 w 2443162"/>
                <a:gd name="connsiteY3990" fmla="*/ 1035368 h 2161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</a:cxnLst>
              <a:rect l="l" t="t" r="r" b="b"/>
              <a:pathLst>
                <a:path w="2443162" h="2161222">
                  <a:moveTo>
                    <a:pt x="404813" y="1006793"/>
                  </a:moveTo>
                  <a:lnTo>
                    <a:pt x="536258" y="1006793"/>
                  </a:lnTo>
                  <a:lnTo>
                    <a:pt x="541973" y="989648"/>
                  </a:lnTo>
                  <a:lnTo>
                    <a:pt x="542925" y="973455"/>
                  </a:lnTo>
                  <a:lnTo>
                    <a:pt x="543878" y="957263"/>
                  </a:lnTo>
                  <a:lnTo>
                    <a:pt x="545783" y="941070"/>
                  </a:lnTo>
                  <a:lnTo>
                    <a:pt x="547688" y="924878"/>
                  </a:lnTo>
                  <a:lnTo>
                    <a:pt x="549593" y="909638"/>
                  </a:lnTo>
                  <a:lnTo>
                    <a:pt x="552450" y="893445"/>
                  </a:lnTo>
                  <a:lnTo>
                    <a:pt x="555308" y="878205"/>
                  </a:lnTo>
                  <a:lnTo>
                    <a:pt x="559118" y="862013"/>
                  </a:lnTo>
                  <a:lnTo>
                    <a:pt x="562928" y="846773"/>
                  </a:lnTo>
                  <a:lnTo>
                    <a:pt x="566738" y="831533"/>
                  </a:lnTo>
                  <a:lnTo>
                    <a:pt x="576263" y="801053"/>
                  </a:lnTo>
                  <a:lnTo>
                    <a:pt x="581978" y="785813"/>
                  </a:lnTo>
                  <a:lnTo>
                    <a:pt x="587693" y="770573"/>
                  </a:lnTo>
                  <a:lnTo>
                    <a:pt x="593408" y="756285"/>
                  </a:lnTo>
                  <a:lnTo>
                    <a:pt x="600075" y="741998"/>
                  </a:lnTo>
                  <a:lnTo>
                    <a:pt x="606743" y="727710"/>
                  </a:lnTo>
                  <a:lnTo>
                    <a:pt x="613410" y="713423"/>
                  </a:lnTo>
                  <a:lnTo>
                    <a:pt x="620078" y="699135"/>
                  </a:lnTo>
                  <a:lnTo>
                    <a:pt x="627698" y="684848"/>
                  </a:lnTo>
                  <a:lnTo>
                    <a:pt x="635318" y="671513"/>
                  </a:lnTo>
                  <a:lnTo>
                    <a:pt x="643890" y="658178"/>
                  </a:lnTo>
                  <a:lnTo>
                    <a:pt x="652463" y="644843"/>
                  </a:lnTo>
                  <a:lnTo>
                    <a:pt x="661035" y="631508"/>
                  </a:lnTo>
                  <a:lnTo>
                    <a:pt x="670560" y="619125"/>
                  </a:lnTo>
                  <a:lnTo>
                    <a:pt x="680085" y="606743"/>
                  </a:lnTo>
                  <a:lnTo>
                    <a:pt x="689610" y="594360"/>
                  </a:lnTo>
                  <a:lnTo>
                    <a:pt x="700088" y="582930"/>
                  </a:lnTo>
                  <a:lnTo>
                    <a:pt x="710565" y="571500"/>
                  </a:lnTo>
                  <a:lnTo>
                    <a:pt x="721043" y="560070"/>
                  </a:lnTo>
                  <a:lnTo>
                    <a:pt x="731520" y="548640"/>
                  </a:lnTo>
                  <a:lnTo>
                    <a:pt x="635318" y="451485"/>
                  </a:lnTo>
                  <a:lnTo>
                    <a:pt x="621983" y="464820"/>
                  </a:lnTo>
                  <a:lnTo>
                    <a:pt x="609600" y="479108"/>
                  </a:lnTo>
                  <a:lnTo>
                    <a:pt x="597218" y="493395"/>
                  </a:lnTo>
                  <a:lnTo>
                    <a:pt x="585788" y="507683"/>
                  </a:lnTo>
                  <a:lnTo>
                    <a:pt x="574358" y="522923"/>
                  </a:lnTo>
                  <a:lnTo>
                    <a:pt x="562928" y="538163"/>
                  </a:lnTo>
                  <a:lnTo>
                    <a:pt x="552450" y="553403"/>
                  </a:lnTo>
                  <a:lnTo>
                    <a:pt x="541973" y="568643"/>
                  </a:lnTo>
                  <a:lnTo>
                    <a:pt x="532448" y="583883"/>
                  </a:lnTo>
                  <a:lnTo>
                    <a:pt x="521970" y="600075"/>
                  </a:lnTo>
                  <a:lnTo>
                    <a:pt x="512445" y="616268"/>
                  </a:lnTo>
                  <a:lnTo>
                    <a:pt x="502920" y="632460"/>
                  </a:lnTo>
                  <a:lnTo>
                    <a:pt x="494348" y="649605"/>
                  </a:lnTo>
                  <a:lnTo>
                    <a:pt x="485775" y="666750"/>
                  </a:lnTo>
                  <a:lnTo>
                    <a:pt x="477203" y="683895"/>
                  </a:lnTo>
                  <a:lnTo>
                    <a:pt x="469583" y="701040"/>
                  </a:lnTo>
                  <a:lnTo>
                    <a:pt x="461963" y="719138"/>
                  </a:lnTo>
                  <a:lnTo>
                    <a:pt x="455295" y="737235"/>
                  </a:lnTo>
                  <a:lnTo>
                    <a:pt x="448628" y="755333"/>
                  </a:lnTo>
                  <a:lnTo>
                    <a:pt x="442913" y="773430"/>
                  </a:lnTo>
                  <a:lnTo>
                    <a:pt x="437198" y="792480"/>
                  </a:lnTo>
                  <a:lnTo>
                    <a:pt x="431483" y="811530"/>
                  </a:lnTo>
                  <a:lnTo>
                    <a:pt x="426720" y="830580"/>
                  </a:lnTo>
                  <a:lnTo>
                    <a:pt x="421958" y="849630"/>
                  </a:lnTo>
                  <a:lnTo>
                    <a:pt x="418148" y="868680"/>
                  </a:lnTo>
                  <a:lnTo>
                    <a:pt x="414338" y="888683"/>
                  </a:lnTo>
                  <a:lnTo>
                    <a:pt x="411480" y="907733"/>
                  </a:lnTo>
                  <a:lnTo>
                    <a:pt x="408623" y="927735"/>
                  </a:lnTo>
                  <a:lnTo>
                    <a:pt x="406718" y="947738"/>
                  </a:lnTo>
                  <a:lnTo>
                    <a:pt x="404813" y="967740"/>
                  </a:lnTo>
                  <a:lnTo>
                    <a:pt x="403860" y="987743"/>
                  </a:lnTo>
                  <a:lnTo>
                    <a:pt x="404813" y="1006793"/>
                  </a:lnTo>
                  <a:lnTo>
                    <a:pt x="404813" y="1006793"/>
                  </a:lnTo>
                  <a:close/>
                  <a:moveTo>
                    <a:pt x="1229678" y="1350645"/>
                  </a:moveTo>
                  <a:lnTo>
                    <a:pt x="1208723" y="1358265"/>
                  </a:lnTo>
                  <a:lnTo>
                    <a:pt x="1198245" y="1362075"/>
                  </a:lnTo>
                  <a:lnTo>
                    <a:pt x="1194435" y="1365885"/>
                  </a:lnTo>
                  <a:lnTo>
                    <a:pt x="1198245" y="1744028"/>
                  </a:lnTo>
                  <a:lnTo>
                    <a:pt x="1202055" y="1768793"/>
                  </a:lnTo>
                  <a:lnTo>
                    <a:pt x="1205865" y="1786890"/>
                  </a:lnTo>
                  <a:lnTo>
                    <a:pt x="1212533" y="1797368"/>
                  </a:lnTo>
                  <a:lnTo>
                    <a:pt x="1219200" y="1801178"/>
                  </a:lnTo>
                  <a:lnTo>
                    <a:pt x="1226820" y="1797368"/>
                  </a:lnTo>
                  <a:lnTo>
                    <a:pt x="1233488" y="1786890"/>
                  </a:lnTo>
                  <a:lnTo>
                    <a:pt x="1237298" y="1768793"/>
                  </a:lnTo>
                  <a:lnTo>
                    <a:pt x="1237298" y="1743075"/>
                  </a:lnTo>
                  <a:lnTo>
                    <a:pt x="1247775" y="1343025"/>
                  </a:lnTo>
                  <a:lnTo>
                    <a:pt x="1229678" y="1350645"/>
                  </a:lnTo>
                  <a:lnTo>
                    <a:pt x="1229678" y="1350645"/>
                  </a:lnTo>
                  <a:close/>
                  <a:moveTo>
                    <a:pt x="1190625" y="1226820"/>
                  </a:moveTo>
                  <a:lnTo>
                    <a:pt x="1226820" y="1216343"/>
                  </a:lnTo>
                  <a:lnTo>
                    <a:pt x="1247775" y="1209675"/>
                  </a:lnTo>
                  <a:lnTo>
                    <a:pt x="1258253" y="806768"/>
                  </a:lnTo>
                  <a:lnTo>
                    <a:pt x="1215390" y="817245"/>
                  </a:lnTo>
                  <a:lnTo>
                    <a:pt x="1183958" y="827723"/>
                  </a:lnTo>
                  <a:lnTo>
                    <a:pt x="1190625" y="1226820"/>
                  </a:lnTo>
                  <a:lnTo>
                    <a:pt x="1190625" y="1226820"/>
                  </a:lnTo>
                  <a:close/>
                  <a:moveTo>
                    <a:pt x="471488" y="374333"/>
                  </a:moveTo>
                  <a:lnTo>
                    <a:pt x="485775" y="352425"/>
                  </a:lnTo>
                  <a:lnTo>
                    <a:pt x="501015" y="328613"/>
                  </a:lnTo>
                  <a:lnTo>
                    <a:pt x="517208" y="304800"/>
                  </a:lnTo>
                  <a:lnTo>
                    <a:pt x="533400" y="280988"/>
                  </a:lnTo>
                  <a:lnTo>
                    <a:pt x="549593" y="259080"/>
                  </a:lnTo>
                  <a:lnTo>
                    <a:pt x="564833" y="238125"/>
                  </a:lnTo>
                  <a:lnTo>
                    <a:pt x="572453" y="229553"/>
                  </a:lnTo>
                  <a:lnTo>
                    <a:pt x="580073" y="220980"/>
                  </a:lnTo>
                  <a:lnTo>
                    <a:pt x="586740" y="214313"/>
                  </a:lnTo>
                  <a:lnTo>
                    <a:pt x="592455" y="208598"/>
                  </a:lnTo>
                  <a:lnTo>
                    <a:pt x="577215" y="212408"/>
                  </a:lnTo>
                  <a:lnTo>
                    <a:pt x="561975" y="217170"/>
                  </a:lnTo>
                  <a:lnTo>
                    <a:pt x="547688" y="221933"/>
                  </a:lnTo>
                  <a:lnTo>
                    <a:pt x="533400" y="226695"/>
                  </a:lnTo>
                  <a:lnTo>
                    <a:pt x="519113" y="232410"/>
                  </a:lnTo>
                  <a:lnTo>
                    <a:pt x="505778" y="239078"/>
                  </a:lnTo>
                  <a:lnTo>
                    <a:pt x="492443" y="245745"/>
                  </a:lnTo>
                  <a:lnTo>
                    <a:pt x="479108" y="253365"/>
                  </a:lnTo>
                  <a:lnTo>
                    <a:pt x="466725" y="260985"/>
                  </a:lnTo>
                  <a:lnTo>
                    <a:pt x="454343" y="269558"/>
                  </a:lnTo>
                  <a:lnTo>
                    <a:pt x="441960" y="278130"/>
                  </a:lnTo>
                  <a:lnTo>
                    <a:pt x="430530" y="287655"/>
                  </a:lnTo>
                  <a:lnTo>
                    <a:pt x="419100" y="298133"/>
                  </a:lnTo>
                  <a:lnTo>
                    <a:pt x="407670" y="308610"/>
                  </a:lnTo>
                  <a:lnTo>
                    <a:pt x="397193" y="319088"/>
                  </a:lnTo>
                  <a:lnTo>
                    <a:pt x="386715" y="329565"/>
                  </a:lnTo>
                  <a:lnTo>
                    <a:pt x="377190" y="340995"/>
                  </a:lnTo>
                  <a:lnTo>
                    <a:pt x="367665" y="352425"/>
                  </a:lnTo>
                  <a:lnTo>
                    <a:pt x="358140" y="363855"/>
                  </a:lnTo>
                  <a:lnTo>
                    <a:pt x="349568" y="376238"/>
                  </a:lnTo>
                  <a:lnTo>
                    <a:pt x="340995" y="388620"/>
                  </a:lnTo>
                  <a:lnTo>
                    <a:pt x="333375" y="401955"/>
                  </a:lnTo>
                  <a:lnTo>
                    <a:pt x="325755" y="415290"/>
                  </a:lnTo>
                  <a:lnTo>
                    <a:pt x="320040" y="428625"/>
                  </a:lnTo>
                  <a:lnTo>
                    <a:pt x="313373" y="441960"/>
                  </a:lnTo>
                  <a:lnTo>
                    <a:pt x="307658" y="456248"/>
                  </a:lnTo>
                  <a:lnTo>
                    <a:pt x="301943" y="470535"/>
                  </a:lnTo>
                  <a:lnTo>
                    <a:pt x="295275" y="483870"/>
                  </a:lnTo>
                  <a:lnTo>
                    <a:pt x="290513" y="498158"/>
                  </a:lnTo>
                  <a:lnTo>
                    <a:pt x="285750" y="513398"/>
                  </a:lnTo>
                  <a:lnTo>
                    <a:pt x="281940" y="528638"/>
                  </a:lnTo>
                  <a:lnTo>
                    <a:pt x="279083" y="542925"/>
                  </a:lnTo>
                  <a:lnTo>
                    <a:pt x="291465" y="530543"/>
                  </a:lnTo>
                  <a:lnTo>
                    <a:pt x="304800" y="519113"/>
                  </a:lnTo>
                  <a:lnTo>
                    <a:pt x="318135" y="507683"/>
                  </a:lnTo>
                  <a:lnTo>
                    <a:pt x="332423" y="497205"/>
                  </a:lnTo>
                  <a:lnTo>
                    <a:pt x="360045" y="476250"/>
                  </a:lnTo>
                  <a:lnTo>
                    <a:pt x="386715" y="455295"/>
                  </a:lnTo>
                  <a:lnTo>
                    <a:pt x="400050" y="445770"/>
                  </a:lnTo>
                  <a:lnTo>
                    <a:pt x="412433" y="435293"/>
                  </a:lnTo>
                  <a:lnTo>
                    <a:pt x="423863" y="424815"/>
                  </a:lnTo>
                  <a:lnTo>
                    <a:pt x="435293" y="415290"/>
                  </a:lnTo>
                  <a:lnTo>
                    <a:pt x="445770" y="404813"/>
                  </a:lnTo>
                  <a:lnTo>
                    <a:pt x="455295" y="394335"/>
                  </a:lnTo>
                  <a:lnTo>
                    <a:pt x="460058" y="389573"/>
                  </a:lnTo>
                  <a:lnTo>
                    <a:pt x="464820" y="384810"/>
                  </a:lnTo>
                  <a:lnTo>
                    <a:pt x="468630" y="379095"/>
                  </a:lnTo>
                  <a:lnTo>
                    <a:pt x="471488" y="374333"/>
                  </a:lnTo>
                  <a:lnTo>
                    <a:pt x="471488" y="374333"/>
                  </a:lnTo>
                  <a:close/>
                  <a:moveTo>
                    <a:pt x="390525" y="633413"/>
                  </a:moveTo>
                  <a:lnTo>
                    <a:pt x="385763" y="641033"/>
                  </a:lnTo>
                  <a:lnTo>
                    <a:pt x="380048" y="648653"/>
                  </a:lnTo>
                  <a:lnTo>
                    <a:pt x="372428" y="657225"/>
                  </a:lnTo>
                  <a:lnTo>
                    <a:pt x="364808" y="664845"/>
                  </a:lnTo>
                  <a:lnTo>
                    <a:pt x="356235" y="673418"/>
                  </a:lnTo>
                  <a:lnTo>
                    <a:pt x="347663" y="681990"/>
                  </a:lnTo>
                  <a:lnTo>
                    <a:pt x="337185" y="690563"/>
                  </a:lnTo>
                  <a:lnTo>
                    <a:pt x="326708" y="699135"/>
                  </a:lnTo>
                  <a:lnTo>
                    <a:pt x="304800" y="717233"/>
                  </a:lnTo>
                  <a:lnTo>
                    <a:pt x="282893" y="737235"/>
                  </a:lnTo>
                  <a:lnTo>
                    <a:pt x="271463" y="747713"/>
                  </a:lnTo>
                  <a:lnTo>
                    <a:pt x="260033" y="758190"/>
                  </a:lnTo>
                  <a:lnTo>
                    <a:pt x="248603" y="769620"/>
                  </a:lnTo>
                  <a:lnTo>
                    <a:pt x="238125" y="782003"/>
                  </a:lnTo>
                  <a:lnTo>
                    <a:pt x="232410" y="788670"/>
                  </a:lnTo>
                  <a:lnTo>
                    <a:pt x="226695" y="797243"/>
                  </a:lnTo>
                  <a:lnTo>
                    <a:pt x="220980" y="806768"/>
                  </a:lnTo>
                  <a:lnTo>
                    <a:pt x="215265" y="816293"/>
                  </a:lnTo>
                  <a:lnTo>
                    <a:pt x="209550" y="826770"/>
                  </a:lnTo>
                  <a:lnTo>
                    <a:pt x="203835" y="838200"/>
                  </a:lnTo>
                  <a:lnTo>
                    <a:pt x="198120" y="849630"/>
                  </a:lnTo>
                  <a:lnTo>
                    <a:pt x="192405" y="861060"/>
                  </a:lnTo>
                  <a:lnTo>
                    <a:pt x="187643" y="873443"/>
                  </a:lnTo>
                  <a:lnTo>
                    <a:pt x="180975" y="884873"/>
                  </a:lnTo>
                  <a:lnTo>
                    <a:pt x="176213" y="897255"/>
                  </a:lnTo>
                  <a:lnTo>
                    <a:pt x="172403" y="909638"/>
                  </a:lnTo>
                  <a:lnTo>
                    <a:pt x="168593" y="922020"/>
                  </a:lnTo>
                  <a:lnTo>
                    <a:pt x="165735" y="933450"/>
                  </a:lnTo>
                  <a:lnTo>
                    <a:pt x="162878" y="944880"/>
                  </a:lnTo>
                  <a:lnTo>
                    <a:pt x="160020" y="956310"/>
                  </a:lnTo>
                  <a:lnTo>
                    <a:pt x="149543" y="860108"/>
                  </a:lnTo>
                  <a:lnTo>
                    <a:pt x="146685" y="841058"/>
                  </a:lnTo>
                  <a:lnTo>
                    <a:pt x="142875" y="822008"/>
                  </a:lnTo>
                  <a:lnTo>
                    <a:pt x="140018" y="802958"/>
                  </a:lnTo>
                  <a:lnTo>
                    <a:pt x="137160" y="782955"/>
                  </a:lnTo>
                  <a:lnTo>
                    <a:pt x="133350" y="763905"/>
                  </a:lnTo>
                  <a:lnTo>
                    <a:pt x="130493" y="743903"/>
                  </a:lnTo>
                  <a:lnTo>
                    <a:pt x="128588" y="723900"/>
                  </a:lnTo>
                  <a:lnTo>
                    <a:pt x="126683" y="703898"/>
                  </a:lnTo>
                  <a:lnTo>
                    <a:pt x="125730" y="683895"/>
                  </a:lnTo>
                  <a:lnTo>
                    <a:pt x="125730" y="663893"/>
                  </a:lnTo>
                  <a:lnTo>
                    <a:pt x="125730" y="643890"/>
                  </a:lnTo>
                  <a:lnTo>
                    <a:pt x="126683" y="623888"/>
                  </a:lnTo>
                  <a:lnTo>
                    <a:pt x="126683" y="614363"/>
                  </a:lnTo>
                  <a:lnTo>
                    <a:pt x="127635" y="603885"/>
                  </a:lnTo>
                  <a:lnTo>
                    <a:pt x="128588" y="594360"/>
                  </a:lnTo>
                  <a:lnTo>
                    <a:pt x="130493" y="584835"/>
                  </a:lnTo>
                  <a:lnTo>
                    <a:pt x="131445" y="575310"/>
                  </a:lnTo>
                  <a:lnTo>
                    <a:pt x="133350" y="565785"/>
                  </a:lnTo>
                  <a:lnTo>
                    <a:pt x="135255" y="556260"/>
                  </a:lnTo>
                  <a:lnTo>
                    <a:pt x="138113" y="546735"/>
                  </a:lnTo>
                  <a:lnTo>
                    <a:pt x="123825" y="570548"/>
                  </a:lnTo>
                  <a:lnTo>
                    <a:pt x="109538" y="596265"/>
                  </a:lnTo>
                  <a:lnTo>
                    <a:pt x="101918" y="609600"/>
                  </a:lnTo>
                  <a:lnTo>
                    <a:pt x="95250" y="622935"/>
                  </a:lnTo>
                  <a:lnTo>
                    <a:pt x="88583" y="636270"/>
                  </a:lnTo>
                  <a:lnTo>
                    <a:pt x="82868" y="649605"/>
                  </a:lnTo>
                  <a:lnTo>
                    <a:pt x="77153" y="662940"/>
                  </a:lnTo>
                  <a:lnTo>
                    <a:pt x="72390" y="676275"/>
                  </a:lnTo>
                  <a:lnTo>
                    <a:pt x="67628" y="690563"/>
                  </a:lnTo>
                  <a:lnTo>
                    <a:pt x="64770" y="704850"/>
                  </a:lnTo>
                  <a:lnTo>
                    <a:pt x="61913" y="719138"/>
                  </a:lnTo>
                  <a:lnTo>
                    <a:pt x="60008" y="734378"/>
                  </a:lnTo>
                  <a:lnTo>
                    <a:pt x="59055" y="741998"/>
                  </a:lnTo>
                  <a:lnTo>
                    <a:pt x="58103" y="749618"/>
                  </a:lnTo>
                  <a:lnTo>
                    <a:pt x="58103" y="757238"/>
                  </a:lnTo>
                  <a:lnTo>
                    <a:pt x="58103" y="764858"/>
                  </a:lnTo>
                  <a:lnTo>
                    <a:pt x="58103" y="775335"/>
                  </a:lnTo>
                  <a:lnTo>
                    <a:pt x="59055" y="785813"/>
                  </a:lnTo>
                  <a:lnTo>
                    <a:pt x="60008" y="796290"/>
                  </a:lnTo>
                  <a:lnTo>
                    <a:pt x="60960" y="806768"/>
                  </a:lnTo>
                  <a:lnTo>
                    <a:pt x="61913" y="817245"/>
                  </a:lnTo>
                  <a:lnTo>
                    <a:pt x="63818" y="827723"/>
                  </a:lnTo>
                  <a:lnTo>
                    <a:pt x="65723" y="837248"/>
                  </a:lnTo>
                  <a:lnTo>
                    <a:pt x="68580" y="846773"/>
                  </a:lnTo>
                  <a:lnTo>
                    <a:pt x="71438" y="856298"/>
                  </a:lnTo>
                  <a:lnTo>
                    <a:pt x="74295" y="865823"/>
                  </a:lnTo>
                  <a:lnTo>
                    <a:pt x="77153" y="875348"/>
                  </a:lnTo>
                  <a:lnTo>
                    <a:pt x="80963" y="884873"/>
                  </a:lnTo>
                  <a:lnTo>
                    <a:pt x="87630" y="902970"/>
                  </a:lnTo>
                  <a:lnTo>
                    <a:pt x="95250" y="920115"/>
                  </a:lnTo>
                  <a:lnTo>
                    <a:pt x="111443" y="955358"/>
                  </a:lnTo>
                  <a:lnTo>
                    <a:pt x="128588" y="990600"/>
                  </a:lnTo>
                  <a:lnTo>
                    <a:pt x="136208" y="1008698"/>
                  </a:lnTo>
                  <a:lnTo>
                    <a:pt x="143828" y="1026795"/>
                  </a:lnTo>
                  <a:lnTo>
                    <a:pt x="150495" y="1044893"/>
                  </a:lnTo>
                  <a:lnTo>
                    <a:pt x="156210" y="1063943"/>
                  </a:lnTo>
                  <a:lnTo>
                    <a:pt x="157163" y="1058228"/>
                  </a:lnTo>
                  <a:lnTo>
                    <a:pt x="158115" y="1051560"/>
                  </a:lnTo>
                  <a:lnTo>
                    <a:pt x="160020" y="1044893"/>
                  </a:lnTo>
                  <a:lnTo>
                    <a:pt x="161925" y="1038225"/>
                  </a:lnTo>
                  <a:lnTo>
                    <a:pt x="164783" y="1031558"/>
                  </a:lnTo>
                  <a:lnTo>
                    <a:pt x="167640" y="1023938"/>
                  </a:lnTo>
                  <a:lnTo>
                    <a:pt x="171450" y="1016318"/>
                  </a:lnTo>
                  <a:lnTo>
                    <a:pt x="175260" y="1008698"/>
                  </a:lnTo>
                  <a:lnTo>
                    <a:pt x="182880" y="992505"/>
                  </a:lnTo>
                  <a:lnTo>
                    <a:pt x="191453" y="976313"/>
                  </a:lnTo>
                  <a:lnTo>
                    <a:pt x="200978" y="960120"/>
                  </a:lnTo>
                  <a:lnTo>
                    <a:pt x="211455" y="943928"/>
                  </a:lnTo>
                  <a:lnTo>
                    <a:pt x="221933" y="927735"/>
                  </a:lnTo>
                  <a:lnTo>
                    <a:pt x="232410" y="912495"/>
                  </a:lnTo>
                  <a:lnTo>
                    <a:pt x="242888" y="897255"/>
                  </a:lnTo>
                  <a:lnTo>
                    <a:pt x="253365" y="883920"/>
                  </a:lnTo>
                  <a:lnTo>
                    <a:pt x="263843" y="870585"/>
                  </a:lnTo>
                  <a:lnTo>
                    <a:pt x="273368" y="859155"/>
                  </a:lnTo>
                  <a:lnTo>
                    <a:pt x="281940" y="848678"/>
                  </a:lnTo>
                  <a:lnTo>
                    <a:pt x="290513" y="840105"/>
                  </a:lnTo>
                  <a:lnTo>
                    <a:pt x="301943" y="824865"/>
                  </a:lnTo>
                  <a:lnTo>
                    <a:pt x="312420" y="811530"/>
                  </a:lnTo>
                  <a:lnTo>
                    <a:pt x="321945" y="799148"/>
                  </a:lnTo>
                  <a:lnTo>
                    <a:pt x="329565" y="787718"/>
                  </a:lnTo>
                  <a:lnTo>
                    <a:pt x="336233" y="777240"/>
                  </a:lnTo>
                  <a:lnTo>
                    <a:pt x="341948" y="766763"/>
                  </a:lnTo>
                  <a:lnTo>
                    <a:pt x="347663" y="756285"/>
                  </a:lnTo>
                  <a:lnTo>
                    <a:pt x="352425" y="745808"/>
                  </a:lnTo>
                  <a:lnTo>
                    <a:pt x="357188" y="735330"/>
                  </a:lnTo>
                  <a:lnTo>
                    <a:pt x="361950" y="724853"/>
                  </a:lnTo>
                  <a:lnTo>
                    <a:pt x="366713" y="713423"/>
                  </a:lnTo>
                  <a:lnTo>
                    <a:pt x="371475" y="701040"/>
                  </a:lnTo>
                  <a:lnTo>
                    <a:pt x="381953" y="672465"/>
                  </a:lnTo>
                  <a:lnTo>
                    <a:pt x="390525" y="633413"/>
                  </a:lnTo>
                  <a:lnTo>
                    <a:pt x="390525" y="633413"/>
                  </a:lnTo>
                  <a:close/>
                  <a:moveTo>
                    <a:pt x="310515" y="882968"/>
                  </a:moveTo>
                  <a:lnTo>
                    <a:pt x="295275" y="902970"/>
                  </a:lnTo>
                  <a:lnTo>
                    <a:pt x="280988" y="922973"/>
                  </a:lnTo>
                  <a:lnTo>
                    <a:pt x="266700" y="942023"/>
                  </a:lnTo>
                  <a:lnTo>
                    <a:pt x="253365" y="961073"/>
                  </a:lnTo>
                  <a:lnTo>
                    <a:pt x="240983" y="979170"/>
                  </a:lnTo>
                  <a:lnTo>
                    <a:pt x="229553" y="998220"/>
                  </a:lnTo>
                  <a:lnTo>
                    <a:pt x="224790" y="1007745"/>
                  </a:lnTo>
                  <a:lnTo>
                    <a:pt x="220028" y="1017270"/>
                  </a:lnTo>
                  <a:lnTo>
                    <a:pt x="215265" y="1026795"/>
                  </a:lnTo>
                  <a:lnTo>
                    <a:pt x="210503" y="1036320"/>
                  </a:lnTo>
                  <a:lnTo>
                    <a:pt x="205740" y="1045845"/>
                  </a:lnTo>
                  <a:lnTo>
                    <a:pt x="201930" y="1055370"/>
                  </a:lnTo>
                  <a:lnTo>
                    <a:pt x="198120" y="1064895"/>
                  </a:lnTo>
                  <a:lnTo>
                    <a:pt x="194310" y="1075373"/>
                  </a:lnTo>
                  <a:lnTo>
                    <a:pt x="191453" y="1085850"/>
                  </a:lnTo>
                  <a:lnTo>
                    <a:pt x="188595" y="1096328"/>
                  </a:lnTo>
                  <a:lnTo>
                    <a:pt x="186690" y="1106805"/>
                  </a:lnTo>
                  <a:lnTo>
                    <a:pt x="184785" y="1118235"/>
                  </a:lnTo>
                  <a:lnTo>
                    <a:pt x="182880" y="1129665"/>
                  </a:lnTo>
                  <a:lnTo>
                    <a:pt x="180975" y="1141095"/>
                  </a:lnTo>
                  <a:lnTo>
                    <a:pt x="180023" y="1153478"/>
                  </a:lnTo>
                  <a:lnTo>
                    <a:pt x="179070" y="1165860"/>
                  </a:lnTo>
                  <a:lnTo>
                    <a:pt x="179070" y="1179195"/>
                  </a:lnTo>
                  <a:lnTo>
                    <a:pt x="179070" y="1192530"/>
                  </a:lnTo>
                  <a:lnTo>
                    <a:pt x="179070" y="1206818"/>
                  </a:lnTo>
                  <a:lnTo>
                    <a:pt x="180023" y="1221105"/>
                  </a:lnTo>
                  <a:lnTo>
                    <a:pt x="177165" y="1208723"/>
                  </a:lnTo>
                  <a:lnTo>
                    <a:pt x="173355" y="1196340"/>
                  </a:lnTo>
                  <a:lnTo>
                    <a:pt x="169545" y="1183958"/>
                  </a:lnTo>
                  <a:lnTo>
                    <a:pt x="165735" y="1171575"/>
                  </a:lnTo>
                  <a:lnTo>
                    <a:pt x="160973" y="1159193"/>
                  </a:lnTo>
                  <a:lnTo>
                    <a:pt x="156210" y="1146810"/>
                  </a:lnTo>
                  <a:lnTo>
                    <a:pt x="150495" y="1134428"/>
                  </a:lnTo>
                  <a:lnTo>
                    <a:pt x="145733" y="1122045"/>
                  </a:lnTo>
                  <a:lnTo>
                    <a:pt x="133350" y="1097280"/>
                  </a:lnTo>
                  <a:lnTo>
                    <a:pt x="120968" y="1072515"/>
                  </a:lnTo>
                  <a:lnTo>
                    <a:pt x="107633" y="1047750"/>
                  </a:lnTo>
                  <a:lnTo>
                    <a:pt x="94298" y="1023938"/>
                  </a:lnTo>
                  <a:lnTo>
                    <a:pt x="81915" y="1000125"/>
                  </a:lnTo>
                  <a:lnTo>
                    <a:pt x="69533" y="976313"/>
                  </a:lnTo>
                  <a:lnTo>
                    <a:pt x="63818" y="964883"/>
                  </a:lnTo>
                  <a:lnTo>
                    <a:pt x="58103" y="953453"/>
                  </a:lnTo>
                  <a:lnTo>
                    <a:pt x="53340" y="942023"/>
                  </a:lnTo>
                  <a:lnTo>
                    <a:pt x="48578" y="930593"/>
                  </a:lnTo>
                  <a:lnTo>
                    <a:pt x="43815" y="919163"/>
                  </a:lnTo>
                  <a:lnTo>
                    <a:pt x="40005" y="907733"/>
                  </a:lnTo>
                  <a:lnTo>
                    <a:pt x="38100" y="899160"/>
                  </a:lnTo>
                  <a:lnTo>
                    <a:pt x="35243" y="887730"/>
                  </a:lnTo>
                  <a:lnTo>
                    <a:pt x="32385" y="876300"/>
                  </a:lnTo>
                  <a:lnTo>
                    <a:pt x="30480" y="865823"/>
                  </a:lnTo>
                  <a:lnTo>
                    <a:pt x="29528" y="855345"/>
                  </a:lnTo>
                  <a:lnTo>
                    <a:pt x="28575" y="843915"/>
                  </a:lnTo>
                  <a:lnTo>
                    <a:pt x="23813" y="867728"/>
                  </a:lnTo>
                  <a:lnTo>
                    <a:pt x="20003" y="890588"/>
                  </a:lnTo>
                  <a:lnTo>
                    <a:pt x="17145" y="912495"/>
                  </a:lnTo>
                  <a:lnTo>
                    <a:pt x="15240" y="933450"/>
                  </a:lnTo>
                  <a:lnTo>
                    <a:pt x="14288" y="952500"/>
                  </a:lnTo>
                  <a:lnTo>
                    <a:pt x="14288" y="971550"/>
                  </a:lnTo>
                  <a:lnTo>
                    <a:pt x="14288" y="989648"/>
                  </a:lnTo>
                  <a:lnTo>
                    <a:pt x="15240" y="1006793"/>
                  </a:lnTo>
                  <a:lnTo>
                    <a:pt x="17145" y="1022985"/>
                  </a:lnTo>
                  <a:lnTo>
                    <a:pt x="20003" y="1038225"/>
                  </a:lnTo>
                  <a:lnTo>
                    <a:pt x="23813" y="1052513"/>
                  </a:lnTo>
                  <a:lnTo>
                    <a:pt x="27623" y="1066800"/>
                  </a:lnTo>
                  <a:lnTo>
                    <a:pt x="32385" y="1081088"/>
                  </a:lnTo>
                  <a:lnTo>
                    <a:pt x="37148" y="1094423"/>
                  </a:lnTo>
                  <a:lnTo>
                    <a:pt x="42863" y="1107758"/>
                  </a:lnTo>
                  <a:lnTo>
                    <a:pt x="49530" y="1120140"/>
                  </a:lnTo>
                  <a:lnTo>
                    <a:pt x="56198" y="1132523"/>
                  </a:lnTo>
                  <a:lnTo>
                    <a:pt x="63818" y="1144905"/>
                  </a:lnTo>
                  <a:lnTo>
                    <a:pt x="71438" y="1157288"/>
                  </a:lnTo>
                  <a:lnTo>
                    <a:pt x="80010" y="1168718"/>
                  </a:lnTo>
                  <a:lnTo>
                    <a:pt x="88583" y="1181100"/>
                  </a:lnTo>
                  <a:lnTo>
                    <a:pt x="98108" y="1192530"/>
                  </a:lnTo>
                  <a:lnTo>
                    <a:pt x="107633" y="1204913"/>
                  </a:lnTo>
                  <a:lnTo>
                    <a:pt x="117158" y="1217295"/>
                  </a:lnTo>
                  <a:lnTo>
                    <a:pt x="138113" y="1242060"/>
                  </a:lnTo>
                  <a:lnTo>
                    <a:pt x="160020" y="1268730"/>
                  </a:lnTo>
                  <a:lnTo>
                    <a:pt x="171450" y="1283018"/>
                  </a:lnTo>
                  <a:lnTo>
                    <a:pt x="182880" y="1297305"/>
                  </a:lnTo>
                  <a:lnTo>
                    <a:pt x="195263" y="1312545"/>
                  </a:lnTo>
                  <a:lnTo>
                    <a:pt x="207645" y="1328738"/>
                  </a:lnTo>
                  <a:lnTo>
                    <a:pt x="206693" y="1317308"/>
                  </a:lnTo>
                  <a:lnTo>
                    <a:pt x="206693" y="1305878"/>
                  </a:lnTo>
                  <a:lnTo>
                    <a:pt x="206693" y="1294448"/>
                  </a:lnTo>
                  <a:lnTo>
                    <a:pt x="207645" y="1283018"/>
                  </a:lnTo>
                  <a:lnTo>
                    <a:pt x="209550" y="1270635"/>
                  </a:lnTo>
                  <a:lnTo>
                    <a:pt x="211455" y="1258253"/>
                  </a:lnTo>
                  <a:lnTo>
                    <a:pt x="214313" y="1245870"/>
                  </a:lnTo>
                  <a:lnTo>
                    <a:pt x="218123" y="1233488"/>
                  </a:lnTo>
                  <a:lnTo>
                    <a:pt x="221933" y="1221105"/>
                  </a:lnTo>
                  <a:lnTo>
                    <a:pt x="226695" y="1207770"/>
                  </a:lnTo>
                  <a:lnTo>
                    <a:pt x="231458" y="1194435"/>
                  </a:lnTo>
                  <a:lnTo>
                    <a:pt x="236220" y="1181100"/>
                  </a:lnTo>
                  <a:lnTo>
                    <a:pt x="246698" y="1154430"/>
                  </a:lnTo>
                  <a:lnTo>
                    <a:pt x="257175" y="1126808"/>
                  </a:lnTo>
                  <a:lnTo>
                    <a:pt x="268605" y="1099185"/>
                  </a:lnTo>
                  <a:lnTo>
                    <a:pt x="279083" y="1070610"/>
                  </a:lnTo>
                  <a:lnTo>
                    <a:pt x="283845" y="1056323"/>
                  </a:lnTo>
                  <a:lnTo>
                    <a:pt x="288608" y="1042035"/>
                  </a:lnTo>
                  <a:lnTo>
                    <a:pt x="293370" y="1026795"/>
                  </a:lnTo>
                  <a:lnTo>
                    <a:pt x="297180" y="1011555"/>
                  </a:lnTo>
                  <a:lnTo>
                    <a:pt x="300990" y="996315"/>
                  </a:lnTo>
                  <a:lnTo>
                    <a:pt x="303848" y="981075"/>
                  </a:lnTo>
                  <a:lnTo>
                    <a:pt x="306705" y="964883"/>
                  </a:lnTo>
                  <a:lnTo>
                    <a:pt x="308610" y="949643"/>
                  </a:lnTo>
                  <a:lnTo>
                    <a:pt x="309563" y="933450"/>
                  </a:lnTo>
                  <a:lnTo>
                    <a:pt x="310515" y="917258"/>
                  </a:lnTo>
                  <a:lnTo>
                    <a:pt x="310515" y="901065"/>
                  </a:lnTo>
                  <a:lnTo>
                    <a:pt x="310515" y="882968"/>
                  </a:lnTo>
                  <a:lnTo>
                    <a:pt x="310515" y="882968"/>
                  </a:lnTo>
                  <a:close/>
                  <a:moveTo>
                    <a:pt x="332423" y="1591628"/>
                  </a:moveTo>
                  <a:lnTo>
                    <a:pt x="328613" y="1579245"/>
                  </a:lnTo>
                  <a:lnTo>
                    <a:pt x="325755" y="1566863"/>
                  </a:lnTo>
                  <a:lnTo>
                    <a:pt x="322898" y="1553528"/>
                  </a:lnTo>
                  <a:lnTo>
                    <a:pt x="320993" y="1540193"/>
                  </a:lnTo>
                  <a:lnTo>
                    <a:pt x="320040" y="1526858"/>
                  </a:lnTo>
                  <a:lnTo>
                    <a:pt x="319088" y="1512570"/>
                  </a:lnTo>
                  <a:lnTo>
                    <a:pt x="319088" y="1498283"/>
                  </a:lnTo>
                  <a:lnTo>
                    <a:pt x="319088" y="1482090"/>
                  </a:lnTo>
                  <a:lnTo>
                    <a:pt x="319088" y="1467803"/>
                  </a:lnTo>
                  <a:lnTo>
                    <a:pt x="320040" y="1453515"/>
                  </a:lnTo>
                  <a:lnTo>
                    <a:pt x="320993" y="1438275"/>
                  </a:lnTo>
                  <a:lnTo>
                    <a:pt x="321945" y="1423035"/>
                  </a:lnTo>
                  <a:lnTo>
                    <a:pt x="323850" y="1390650"/>
                  </a:lnTo>
                  <a:lnTo>
                    <a:pt x="326708" y="1359218"/>
                  </a:lnTo>
                  <a:lnTo>
                    <a:pt x="329565" y="1327785"/>
                  </a:lnTo>
                  <a:lnTo>
                    <a:pt x="331470" y="1296353"/>
                  </a:lnTo>
                  <a:lnTo>
                    <a:pt x="331470" y="1280160"/>
                  </a:lnTo>
                  <a:lnTo>
                    <a:pt x="331470" y="1264920"/>
                  </a:lnTo>
                  <a:lnTo>
                    <a:pt x="331470" y="1248728"/>
                  </a:lnTo>
                  <a:lnTo>
                    <a:pt x="331470" y="1233488"/>
                  </a:lnTo>
                  <a:lnTo>
                    <a:pt x="330518" y="1218248"/>
                  </a:lnTo>
                  <a:lnTo>
                    <a:pt x="328613" y="1203008"/>
                  </a:lnTo>
                  <a:lnTo>
                    <a:pt x="326708" y="1187768"/>
                  </a:lnTo>
                  <a:lnTo>
                    <a:pt x="323850" y="1172528"/>
                  </a:lnTo>
                  <a:lnTo>
                    <a:pt x="320040" y="1157288"/>
                  </a:lnTo>
                  <a:lnTo>
                    <a:pt x="314325" y="1143000"/>
                  </a:lnTo>
                  <a:lnTo>
                    <a:pt x="309563" y="1128713"/>
                  </a:lnTo>
                  <a:lnTo>
                    <a:pt x="303848" y="1114425"/>
                  </a:lnTo>
                  <a:lnTo>
                    <a:pt x="297180" y="1137285"/>
                  </a:lnTo>
                  <a:lnTo>
                    <a:pt x="290513" y="1159193"/>
                  </a:lnTo>
                  <a:lnTo>
                    <a:pt x="283845" y="1181100"/>
                  </a:lnTo>
                  <a:lnTo>
                    <a:pt x="277178" y="1202055"/>
                  </a:lnTo>
                  <a:lnTo>
                    <a:pt x="271463" y="1223963"/>
                  </a:lnTo>
                  <a:lnTo>
                    <a:pt x="265748" y="1244918"/>
                  </a:lnTo>
                  <a:lnTo>
                    <a:pt x="260985" y="1266825"/>
                  </a:lnTo>
                  <a:lnTo>
                    <a:pt x="257175" y="1288733"/>
                  </a:lnTo>
                  <a:lnTo>
                    <a:pt x="256223" y="1300163"/>
                  </a:lnTo>
                  <a:lnTo>
                    <a:pt x="255270" y="1311593"/>
                  </a:lnTo>
                  <a:lnTo>
                    <a:pt x="254318" y="1323023"/>
                  </a:lnTo>
                  <a:lnTo>
                    <a:pt x="253365" y="1334453"/>
                  </a:lnTo>
                  <a:lnTo>
                    <a:pt x="253365" y="1345883"/>
                  </a:lnTo>
                  <a:lnTo>
                    <a:pt x="253365" y="1358265"/>
                  </a:lnTo>
                  <a:lnTo>
                    <a:pt x="253365" y="1370648"/>
                  </a:lnTo>
                  <a:lnTo>
                    <a:pt x="254318" y="1383030"/>
                  </a:lnTo>
                  <a:lnTo>
                    <a:pt x="255270" y="1395413"/>
                  </a:lnTo>
                  <a:lnTo>
                    <a:pt x="256223" y="1407795"/>
                  </a:lnTo>
                  <a:lnTo>
                    <a:pt x="258128" y="1421130"/>
                  </a:lnTo>
                  <a:lnTo>
                    <a:pt x="260033" y="1434465"/>
                  </a:lnTo>
                  <a:lnTo>
                    <a:pt x="262890" y="1447800"/>
                  </a:lnTo>
                  <a:lnTo>
                    <a:pt x="265748" y="1462088"/>
                  </a:lnTo>
                  <a:lnTo>
                    <a:pt x="269558" y="1476375"/>
                  </a:lnTo>
                  <a:lnTo>
                    <a:pt x="273368" y="1490663"/>
                  </a:lnTo>
                  <a:lnTo>
                    <a:pt x="268605" y="1483043"/>
                  </a:lnTo>
                  <a:lnTo>
                    <a:pt x="261938" y="1471613"/>
                  </a:lnTo>
                  <a:lnTo>
                    <a:pt x="252413" y="1456373"/>
                  </a:lnTo>
                  <a:lnTo>
                    <a:pt x="240983" y="1439228"/>
                  </a:lnTo>
                  <a:lnTo>
                    <a:pt x="227648" y="1419225"/>
                  </a:lnTo>
                  <a:lnTo>
                    <a:pt x="211455" y="1397318"/>
                  </a:lnTo>
                  <a:lnTo>
                    <a:pt x="202883" y="1386840"/>
                  </a:lnTo>
                  <a:lnTo>
                    <a:pt x="193358" y="1375410"/>
                  </a:lnTo>
                  <a:lnTo>
                    <a:pt x="183833" y="1363980"/>
                  </a:lnTo>
                  <a:lnTo>
                    <a:pt x="173355" y="1352550"/>
                  </a:lnTo>
                  <a:lnTo>
                    <a:pt x="149543" y="1323975"/>
                  </a:lnTo>
                  <a:lnTo>
                    <a:pt x="124778" y="1295400"/>
                  </a:lnTo>
                  <a:lnTo>
                    <a:pt x="100013" y="1266825"/>
                  </a:lnTo>
                  <a:lnTo>
                    <a:pt x="76200" y="1238250"/>
                  </a:lnTo>
                  <a:lnTo>
                    <a:pt x="64770" y="1219200"/>
                  </a:lnTo>
                  <a:lnTo>
                    <a:pt x="53340" y="1204913"/>
                  </a:lnTo>
                  <a:lnTo>
                    <a:pt x="42863" y="1190625"/>
                  </a:lnTo>
                  <a:lnTo>
                    <a:pt x="32385" y="1176338"/>
                  </a:lnTo>
                  <a:lnTo>
                    <a:pt x="22860" y="1163003"/>
                  </a:lnTo>
                  <a:lnTo>
                    <a:pt x="14288" y="1149668"/>
                  </a:lnTo>
                  <a:lnTo>
                    <a:pt x="6668" y="1137285"/>
                  </a:lnTo>
                  <a:lnTo>
                    <a:pt x="0" y="1124903"/>
                  </a:lnTo>
                  <a:lnTo>
                    <a:pt x="953" y="1154430"/>
                  </a:lnTo>
                  <a:lnTo>
                    <a:pt x="2858" y="1182053"/>
                  </a:lnTo>
                  <a:lnTo>
                    <a:pt x="6668" y="1208723"/>
                  </a:lnTo>
                  <a:lnTo>
                    <a:pt x="12383" y="1234440"/>
                  </a:lnTo>
                  <a:lnTo>
                    <a:pt x="19050" y="1258253"/>
                  </a:lnTo>
                  <a:lnTo>
                    <a:pt x="26670" y="1281113"/>
                  </a:lnTo>
                  <a:lnTo>
                    <a:pt x="36195" y="1303020"/>
                  </a:lnTo>
                  <a:lnTo>
                    <a:pt x="46673" y="1323975"/>
                  </a:lnTo>
                  <a:lnTo>
                    <a:pt x="57150" y="1343025"/>
                  </a:lnTo>
                  <a:lnTo>
                    <a:pt x="69533" y="1362075"/>
                  </a:lnTo>
                  <a:lnTo>
                    <a:pt x="81915" y="1380173"/>
                  </a:lnTo>
                  <a:lnTo>
                    <a:pt x="95250" y="1396365"/>
                  </a:lnTo>
                  <a:lnTo>
                    <a:pt x="109538" y="1412558"/>
                  </a:lnTo>
                  <a:lnTo>
                    <a:pt x="123825" y="1427798"/>
                  </a:lnTo>
                  <a:lnTo>
                    <a:pt x="139065" y="1442085"/>
                  </a:lnTo>
                  <a:lnTo>
                    <a:pt x="154305" y="1455420"/>
                  </a:lnTo>
                  <a:lnTo>
                    <a:pt x="169545" y="1467803"/>
                  </a:lnTo>
                  <a:lnTo>
                    <a:pt x="184785" y="1480185"/>
                  </a:lnTo>
                  <a:lnTo>
                    <a:pt x="200025" y="1490663"/>
                  </a:lnTo>
                  <a:lnTo>
                    <a:pt x="215265" y="1501140"/>
                  </a:lnTo>
                  <a:lnTo>
                    <a:pt x="243840" y="1520190"/>
                  </a:lnTo>
                  <a:lnTo>
                    <a:pt x="269558" y="1537335"/>
                  </a:lnTo>
                  <a:lnTo>
                    <a:pt x="281940" y="1544955"/>
                  </a:lnTo>
                  <a:lnTo>
                    <a:pt x="292418" y="1552575"/>
                  </a:lnTo>
                  <a:lnTo>
                    <a:pt x="302895" y="1559243"/>
                  </a:lnTo>
                  <a:lnTo>
                    <a:pt x="311468" y="1565910"/>
                  </a:lnTo>
                  <a:lnTo>
                    <a:pt x="319088" y="1572578"/>
                  </a:lnTo>
                  <a:lnTo>
                    <a:pt x="325755" y="1578293"/>
                  </a:lnTo>
                  <a:lnTo>
                    <a:pt x="330518" y="1584008"/>
                  </a:lnTo>
                  <a:lnTo>
                    <a:pt x="332423" y="1591628"/>
                  </a:lnTo>
                  <a:lnTo>
                    <a:pt x="332423" y="1591628"/>
                  </a:lnTo>
                  <a:close/>
                  <a:moveTo>
                    <a:pt x="177165" y="813435"/>
                  </a:moveTo>
                  <a:lnTo>
                    <a:pt x="182880" y="797243"/>
                  </a:lnTo>
                  <a:lnTo>
                    <a:pt x="189548" y="782003"/>
                  </a:lnTo>
                  <a:lnTo>
                    <a:pt x="197168" y="766763"/>
                  </a:lnTo>
                  <a:lnTo>
                    <a:pt x="205740" y="753428"/>
                  </a:lnTo>
                  <a:lnTo>
                    <a:pt x="215265" y="740093"/>
                  </a:lnTo>
                  <a:lnTo>
                    <a:pt x="224790" y="727710"/>
                  </a:lnTo>
                  <a:lnTo>
                    <a:pt x="235268" y="716280"/>
                  </a:lnTo>
                  <a:lnTo>
                    <a:pt x="245745" y="704850"/>
                  </a:lnTo>
                  <a:lnTo>
                    <a:pt x="256223" y="694373"/>
                  </a:lnTo>
                  <a:lnTo>
                    <a:pt x="267653" y="683895"/>
                  </a:lnTo>
                  <a:lnTo>
                    <a:pt x="279083" y="673418"/>
                  </a:lnTo>
                  <a:lnTo>
                    <a:pt x="290513" y="663893"/>
                  </a:lnTo>
                  <a:lnTo>
                    <a:pt x="315278" y="643890"/>
                  </a:lnTo>
                  <a:lnTo>
                    <a:pt x="340043" y="624840"/>
                  </a:lnTo>
                  <a:lnTo>
                    <a:pt x="352425" y="615315"/>
                  </a:lnTo>
                  <a:lnTo>
                    <a:pt x="364808" y="605790"/>
                  </a:lnTo>
                  <a:lnTo>
                    <a:pt x="377190" y="595313"/>
                  </a:lnTo>
                  <a:lnTo>
                    <a:pt x="389573" y="584835"/>
                  </a:lnTo>
                  <a:lnTo>
                    <a:pt x="401003" y="574358"/>
                  </a:lnTo>
                  <a:lnTo>
                    <a:pt x="412433" y="563880"/>
                  </a:lnTo>
                  <a:lnTo>
                    <a:pt x="423863" y="553403"/>
                  </a:lnTo>
                  <a:lnTo>
                    <a:pt x="434340" y="541973"/>
                  </a:lnTo>
                  <a:lnTo>
                    <a:pt x="444818" y="529590"/>
                  </a:lnTo>
                  <a:lnTo>
                    <a:pt x="455295" y="516255"/>
                  </a:lnTo>
                  <a:lnTo>
                    <a:pt x="464820" y="502920"/>
                  </a:lnTo>
                  <a:lnTo>
                    <a:pt x="473393" y="488633"/>
                  </a:lnTo>
                  <a:lnTo>
                    <a:pt x="481013" y="473393"/>
                  </a:lnTo>
                  <a:lnTo>
                    <a:pt x="487680" y="458153"/>
                  </a:lnTo>
                  <a:lnTo>
                    <a:pt x="493395" y="441008"/>
                  </a:lnTo>
                  <a:lnTo>
                    <a:pt x="499110" y="422910"/>
                  </a:lnTo>
                  <a:lnTo>
                    <a:pt x="486728" y="434340"/>
                  </a:lnTo>
                  <a:lnTo>
                    <a:pt x="476250" y="445770"/>
                  </a:lnTo>
                  <a:lnTo>
                    <a:pt x="462915" y="456248"/>
                  </a:lnTo>
                  <a:lnTo>
                    <a:pt x="449580" y="465773"/>
                  </a:lnTo>
                  <a:lnTo>
                    <a:pt x="436245" y="475298"/>
                  </a:lnTo>
                  <a:lnTo>
                    <a:pt x="421958" y="484823"/>
                  </a:lnTo>
                  <a:lnTo>
                    <a:pt x="408623" y="493395"/>
                  </a:lnTo>
                  <a:lnTo>
                    <a:pt x="394335" y="502920"/>
                  </a:lnTo>
                  <a:lnTo>
                    <a:pt x="366713" y="521018"/>
                  </a:lnTo>
                  <a:lnTo>
                    <a:pt x="339090" y="540068"/>
                  </a:lnTo>
                  <a:lnTo>
                    <a:pt x="324803" y="550545"/>
                  </a:lnTo>
                  <a:lnTo>
                    <a:pt x="311468" y="561023"/>
                  </a:lnTo>
                  <a:lnTo>
                    <a:pt x="298133" y="572453"/>
                  </a:lnTo>
                  <a:lnTo>
                    <a:pt x="285750" y="581978"/>
                  </a:lnTo>
                  <a:lnTo>
                    <a:pt x="274320" y="594360"/>
                  </a:lnTo>
                  <a:lnTo>
                    <a:pt x="263843" y="606743"/>
                  </a:lnTo>
                  <a:lnTo>
                    <a:pt x="254318" y="619125"/>
                  </a:lnTo>
                  <a:lnTo>
                    <a:pt x="245745" y="631508"/>
                  </a:lnTo>
                  <a:lnTo>
                    <a:pt x="237173" y="643890"/>
                  </a:lnTo>
                  <a:lnTo>
                    <a:pt x="228600" y="657225"/>
                  </a:lnTo>
                  <a:lnTo>
                    <a:pt x="220980" y="670560"/>
                  </a:lnTo>
                  <a:lnTo>
                    <a:pt x="214313" y="684848"/>
                  </a:lnTo>
                  <a:lnTo>
                    <a:pt x="220028" y="663893"/>
                  </a:lnTo>
                  <a:lnTo>
                    <a:pt x="225743" y="642938"/>
                  </a:lnTo>
                  <a:lnTo>
                    <a:pt x="231458" y="621983"/>
                  </a:lnTo>
                  <a:lnTo>
                    <a:pt x="236220" y="601028"/>
                  </a:lnTo>
                  <a:lnTo>
                    <a:pt x="240030" y="580073"/>
                  </a:lnTo>
                  <a:lnTo>
                    <a:pt x="242888" y="560070"/>
                  </a:lnTo>
                  <a:lnTo>
                    <a:pt x="243840" y="550545"/>
                  </a:lnTo>
                  <a:lnTo>
                    <a:pt x="244793" y="541020"/>
                  </a:lnTo>
                  <a:lnTo>
                    <a:pt x="244793" y="531495"/>
                  </a:lnTo>
                  <a:lnTo>
                    <a:pt x="244793" y="521970"/>
                  </a:lnTo>
                  <a:lnTo>
                    <a:pt x="247650" y="496253"/>
                  </a:lnTo>
                  <a:lnTo>
                    <a:pt x="249555" y="477203"/>
                  </a:lnTo>
                  <a:lnTo>
                    <a:pt x="251460" y="461963"/>
                  </a:lnTo>
                  <a:lnTo>
                    <a:pt x="254318" y="449580"/>
                  </a:lnTo>
                  <a:lnTo>
                    <a:pt x="255270" y="443865"/>
                  </a:lnTo>
                  <a:lnTo>
                    <a:pt x="257175" y="438150"/>
                  </a:lnTo>
                  <a:lnTo>
                    <a:pt x="259080" y="431483"/>
                  </a:lnTo>
                  <a:lnTo>
                    <a:pt x="261938" y="423863"/>
                  </a:lnTo>
                  <a:lnTo>
                    <a:pt x="269558" y="405765"/>
                  </a:lnTo>
                  <a:lnTo>
                    <a:pt x="280035" y="381953"/>
                  </a:lnTo>
                  <a:lnTo>
                    <a:pt x="283845" y="375285"/>
                  </a:lnTo>
                  <a:lnTo>
                    <a:pt x="290513" y="365760"/>
                  </a:lnTo>
                  <a:lnTo>
                    <a:pt x="296228" y="356235"/>
                  </a:lnTo>
                  <a:lnTo>
                    <a:pt x="300038" y="349568"/>
                  </a:lnTo>
                  <a:lnTo>
                    <a:pt x="292418" y="355283"/>
                  </a:lnTo>
                  <a:lnTo>
                    <a:pt x="285750" y="360998"/>
                  </a:lnTo>
                  <a:lnTo>
                    <a:pt x="279083" y="366713"/>
                  </a:lnTo>
                  <a:lnTo>
                    <a:pt x="272415" y="372428"/>
                  </a:lnTo>
                  <a:lnTo>
                    <a:pt x="266700" y="376238"/>
                  </a:lnTo>
                  <a:lnTo>
                    <a:pt x="260985" y="381953"/>
                  </a:lnTo>
                  <a:lnTo>
                    <a:pt x="255270" y="387668"/>
                  </a:lnTo>
                  <a:lnTo>
                    <a:pt x="249555" y="393383"/>
                  </a:lnTo>
                  <a:lnTo>
                    <a:pt x="243840" y="400050"/>
                  </a:lnTo>
                  <a:lnTo>
                    <a:pt x="238125" y="406718"/>
                  </a:lnTo>
                  <a:lnTo>
                    <a:pt x="233363" y="412433"/>
                  </a:lnTo>
                  <a:lnTo>
                    <a:pt x="228600" y="420053"/>
                  </a:lnTo>
                  <a:lnTo>
                    <a:pt x="223838" y="426720"/>
                  </a:lnTo>
                  <a:lnTo>
                    <a:pt x="219075" y="433388"/>
                  </a:lnTo>
                  <a:lnTo>
                    <a:pt x="214313" y="440055"/>
                  </a:lnTo>
                  <a:lnTo>
                    <a:pt x="210503" y="446723"/>
                  </a:lnTo>
                  <a:lnTo>
                    <a:pt x="206693" y="454343"/>
                  </a:lnTo>
                  <a:lnTo>
                    <a:pt x="202883" y="461010"/>
                  </a:lnTo>
                  <a:lnTo>
                    <a:pt x="199073" y="468630"/>
                  </a:lnTo>
                  <a:lnTo>
                    <a:pt x="196215" y="476250"/>
                  </a:lnTo>
                  <a:lnTo>
                    <a:pt x="190500" y="491490"/>
                  </a:lnTo>
                  <a:lnTo>
                    <a:pt x="184785" y="507683"/>
                  </a:lnTo>
                  <a:lnTo>
                    <a:pt x="180023" y="523875"/>
                  </a:lnTo>
                  <a:lnTo>
                    <a:pt x="176213" y="541020"/>
                  </a:lnTo>
                  <a:lnTo>
                    <a:pt x="171450" y="557213"/>
                  </a:lnTo>
                  <a:lnTo>
                    <a:pt x="168593" y="575310"/>
                  </a:lnTo>
                  <a:lnTo>
                    <a:pt x="167640" y="590550"/>
                  </a:lnTo>
                  <a:lnTo>
                    <a:pt x="166688" y="605790"/>
                  </a:lnTo>
                  <a:lnTo>
                    <a:pt x="166688" y="621030"/>
                  </a:lnTo>
                  <a:lnTo>
                    <a:pt x="165735" y="635318"/>
                  </a:lnTo>
                  <a:lnTo>
                    <a:pt x="165735" y="650558"/>
                  </a:lnTo>
                  <a:lnTo>
                    <a:pt x="165735" y="664845"/>
                  </a:lnTo>
                  <a:lnTo>
                    <a:pt x="165735" y="679133"/>
                  </a:lnTo>
                  <a:lnTo>
                    <a:pt x="166688" y="693420"/>
                  </a:lnTo>
                  <a:lnTo>
                    <a:pt x="168593" y="721995"/>
                  </a:lnTo>
                  <a:lnTo>
                    <a:pt x="171450" y="751523"/>
                  </a:lnTo>
                  <a:lnTo>
                    <a:pt x="174308" y="782003"/>
                  </a:lnTo>
                  <a:lnTo>
                    <a:pt x="177165" y="813435"/>
                  </a:lnTo>
                  <a:lnTo>
                    <a:pt x="177165" y="813435"/>
                  </a:lnTo>
                  <a:close/>
                  <a:moveTo>
                    <a:pt x="520065" y="1794510"/>
                  </a:moveTo>
                  <a:lnTo>
                    <a:pt x="513398" y="1784033"/>
                  </a:lnTo>
                  <a:lnTo>
                    <a:pt x="506730" y="1772603"/>
                  </a:lnTo>
                  <a:lnTo>
                    <a:pt x="501015" y="1761173"/>
                  </a:lnTo>
                  <a:lnTo>
                    <a:pt x="495300" y="1748790"/>
                  </a:lnTo>
                  <a:lnTo>
                    <a:pt x="490538" y="1736408"/>
                  </a:lnTo>
                  <a:lnTo>
                    <a:pt x="485775" y="1724025"/>
                  </a:lnTo>
                  <a:lnTo>
                    <a:pt x="481965" y="1710690"/>
                  </a:lnTo>
                  <a:lnTo>
                    <a:pt x="478155" y="1697355"/>
                  </a:lnTo>
                  <a:lnTo>
                    <a:pt x="475298" y="1683068"/>
                  </a:lnTo>
                  <a:lnTo>
                    <a:pt x="471488" y="1668780"/>
                  </a:lnTo>
                  <a:lnTo>
                    <a:pt x="468630" y="1654493"/>
                  </a:lnTo>
                  <a:lnTo>
                    <a:pt x="465773" y="1640205"/>
                  </a:lnTo>
                  <a:lnTo>
                    <a:pt x="460058" y="1611630"/>
                  </a:lnTo>
                  <a:lnTo>
                    <a:pt x="454343" y="1582103"/>
                  </a:lnTo>
                  <a:lnTo>
                    <a:pt x="448628" y="1552575"/>
                  </a:lnTo>
                  <a:lnTo>
                    <a:pt x="441960" y="1523048"/>
                  </a:lnTo>
                  <a:lnTo>
                    <a:pt x="438150" y="1507808"/>
                  </a:lnTo>
                  <a:lnTo>
                    <a:pt x="434340" y="1493520"/>
                  </a:lnTo>
                  <a:lnTo>
                    <a:pt x="429578" y="1479233"/>
                  </a:lnTo>
                  <a:lnTo>
                    <a:pt x="424815" y="1464945"/>
                  </a:lnTo>
                  <a:lnTo>
                    <a:pt x="420053" y="1450658"/>
                  </a:lnTo>
                  <a:lnTo>
                    <a:pt x="414338" y="1436370"/>
                  </a:lnTo>
                  <a:lnTo>
                    <a:pt x="407670" y="1423035"/>
                  </a:lnTo>
                  <a:lnTo>
                    <a:pt x="401003" y="1409700"/>
                  </a:lnTo>
                  <a:lnTo>
                    <a:pt x="393383" y="1396365"/>
                  </a:lnTo>
                  <a:lnTo>
                    <a:pt x="384810" y="1383983"/>
                  </a:lnTo>
                  <a:lnTo>
                    <a:pt x="375285" y="1371600"/>
                  </a:lnTo>
                  <a:lnTo>
                    <a:pt x="365760" y="1360170"/>
                  </a:lnTo>
                  <a:lnTo>
                    <a:pt x="366713" y="1385888"/>
                  </a:lnTo>
                  <a:lnTo>
                    <a:pt x="367665" y="1410653"/>
                  </a:lnTo>
                  <a:lnTo>
                    <a:pt x="366713" y="1435418"/>
                  </a:lnTo>
                  <a:lnTo>
                    <a:pt x="366713" y="1458278"/>
                  </a:lnTo>
                  <a:lnTo>
                    <a:pt x="366713" y="1480185"/>
                  </a:lnTo>
                  <a:lnTo>
                    <a:pt x="366713" y="1502093"/>
                  </a:lnTo>
                  <a:lnTo>
                    <a:pt x="366713" y="1523048"/>
                  </a:lnTo>
                  <a:lnTo>
                    <a:pt x="366713" y="1543050"/>
                  </a:lnTo>
                  <a:lnTo>
                    <a:pt x="366713" y="1553528"/>
                  </a:lnTo>
                  <a:lnTo>
                    <a:pt x="367665" y="1563053"/>
                  </a:lnTo>
                  <a:lnTo>
                    <a:pt x="368618" y="1572578"/>
                  </a:lnTo>
                  <a:lnTo>
                    <a:pt x="369570" y="1582103"/>
                  </a:lnTo>
                  <a:lnTo>
                    <a:pt x="371475" y="1591628"/>
                  </a:lnTo>
                  <a:lnTo>
                    <a:pt x="373380" y="1601153"/>
                  </a:lnTo>
                  <a:lnTo>
                    <a:pt x="376238" y="1610678"/>
                  </a:lnTo>
                  <a:lnTo>
                    <a:pt x="379095" y="1620203"/>
                  </a:lnTo>
                  <a:lnTo>
                    <a:pt x="382905" y="1629728"/>
                  </a:lnTo>
                  <a:lnTo>
                    <a:pt x="386715" y="1639253"/>
                  </a:lnTo>
                  <a:lnTo>
                    <a:pt x="390525" y="1648778"/>
                  </a:lnTo>
                  <a:lnTo>
                    <a:pt x="395288" y="1658303"/>
                  </a:lnTo>
                  <a:lnTo>
                    <a:pt x="400050" y="1666875"/>
                  </a:lnTo>
                  <a:lnTo>
                    <a:pt x="405765" y="1676400"/>
                  </a:lnTo>
                  <a:lnTo>
                    <a:pt x="411480" y="1685925"/>
                  </a:lnTo>
                  <a:lnTo>
                    <a:pt x="418148" y="1694498"/>
                  </a:lnTo>
                  <a:lnTo>
                    <a:pt x="405765" y="1684020"/>
                  </a:lnTo>
                  <a:lnTo>
                    <a:pt x="392430" y="1672590"/>
                  </a:lnTo>
                  <a:lnTo>
                    <a:pt x="376238" y="1660208"/>
                  </a:lnTo>
                  <a:lnTo>
                    <a:pt x="359093" y="1646873"/>
                  </a:lnTo>
                  <a:lnTo>
                    <a:pt x="348615" y="1640205"/>
                  </a:lnTo>
                  <a:lnTo>
                    <a:pt x="338138" y="1633538"/>
                  </a:lnTo>
                  <a:lnTo>
                    <a:pt x="327660" y="1626870"/>
                  </a:lnTo>
                  <a:lnTo>
                    <a:pt x="316230" y="1620203"/>
                  </a:lnTo>
                  <a:lnTo>
                    <a:pt x="303848" y="1613535"/>
                  </a:lnTo>
                  <a:lnTo>
                    <a:pt x="290513" y="1607820"/>
                  </a:lnTo>
                  <a:lnTo>
                    <a:pt x="277178" y="1602105"/>
                  </a:lnTo>
                  <a:lnTo>
                    <a:pt x="262890" y="1596390"/>
                  </a:lnTo>
                  <a:lnTo>
                    <a:pt x="254318" y="1593533"/>
                  </a:lnTo>
                  <a:lnTo>
                    <a:pt x="245745" y="1589723"/>
                  </a:lnTo>
                  <a:lnTo>
                    <a:pt x="238125" y="1585913"/>
                  </a:lnTo>
                  <a:lnTo>
                    <a:pt x="230505" y="1581150"/>
                  </a:lnTo>
                  <a:lnTo>
                    <a:pt x="222885" y="1576388"/>
                  </a:lnTo>
                  <a:lnTo>
                    <a:pt x="215265" y="1571625"/>
                  </a:lnTo>
                  <a:lnTo>
                    <a:pt x="207645" y="1566863"/>
                  </a:lnTo>
                  <a:lnTo>
                    <a:pt x="200025" y="1562100"/>
                  </a:lnTo>
                  <a:lnTo>
                    <a:pt x="185738" y="1551623"/>
                  </a:lnTo>
                  <a:lnTo>
                    <a:pt x="172403" y="1541145"/>
                  </a:lnTo>
                  <a:lnTo>
                    <a:pt x="159068" y="1529715"/>
                  </a:lnTo>
                  <a:lnTo>
                    <a:pt x="146685" y="1518285"/>
                  </a:lnTo>
                  <a:lnTo>
                    <a:pt x="134303" y="1505903"/>
                  </a:lnTo>
                  <a:lnTo>
                    <a:pt x="122873" y="1494473"/>
                  </a:lnTo>
                  <a:lnTo>
                    <a:pt x="111443" y="1482090"/>
                  </a:lnTo>
                  <a:lnTo>
                    <a:pt x="100013" y="1470660"/>
                  </a:lnTo>
                  <a:lnTo>
                    <a:pt x="79058" y="1447800"/>
                  </a:lnTo>
                  <a:lnTo>
                    <a:pt x="59055" y="1426845"/>
                  </a:lnTo>
                  <a:lnTo>
                    <a:pt x="65723" y="1443038"/>
                  </a:lnTo>
                  <a:lnTo>
                    <a:pt x="75248" y="1473518"/>
                  </a:lnTo>
                  <a:lnTo>
                    <a:pt x="85725" y="1502093"/>
                  </a:lnTo>
                  <a:lnTo>
                    <a:pt x="97155" y="1528763"/>
                  </a:lnTo>
                  <a:lnTo>
                    <a:pt x="109538" y="1553528"/>
                  </a:lnTo>
                  <a:lnTo>
                    <a:pt x="122873" y="1575435"/>
                  </a:lnTo>
                  <a:lnTo>
                    <a:pt x="137160" y="1596390"/>
                  </a:lnTo>
                  <a:lnTo>
                    <a:pt x="152400" y="1615440"/>
                  </a:lnTo>
                  <a:lnTo>
                    <a:pt x="167640" y="1632585"/>
                  </a:lnTo>
                  <a:lnTo>
                    <a:pt x="183833" y="1648778"/>
                  </a:lnTo>
                  <a:lnTo>
                    <a:pt x="200025" y="1663065"/>
                  </a:lnTo>
                  <a:lnTo>
                    <a:pt x="217170" y="1676400"/>
                  </a:lnTo>
                  <a:lnTo>
                    <a:pt x="234315" y="1687830"/>
                  </a:lnTo>
                  <a:lnTo>
                    <a:pt x="251460" y="1698308"/>
                  </a:lnTo>
                  <a:lnTo>
                    <a:pt x="268605" y="1707833"/>
                  </a:lnTo>
                  <a:lnTo>
                    <a:pt x="286703" y="1716405"/>
                  </a:lnTo>
                  <a:lnTo>
                    <a:pt x="304800" y="1724025"/>
                  </a:lnTo>
                  <a:lnTo>
                    <a:pt x="321945" y="1730693"/>
                  </a:lnTo>
                  <a:lnTo>
                    <a:pt x="339090" y="1736408"/>
                  </a:lnTo>
                  <a:lnTo>
                    <a:pt x="356235" y="1742123"/>
                  </a:lnTo>
                  <a:lnTo>
                    <a:pt x="372428" y="1746885"/>
                  </a:lnTo>
                  <a:lnTo>
                    <a:pt x="404813" y="1755458"/>
                  </a:lnTo>
                  <a:lnTo>
                    <a:pt x="435293" y="1763078"/>
                  </a:lnTo>
                  <a:lnTo>
                    <a:pt x="449580" y="1766888"/>
                  </a:lnTo>
                  <a:lnTo>
                    <a:pt x="462915" y="1770698"/>
                  </a:lnTo>
                  <a:lnTo>
                    <a:pt x="475298" y="1774508"/>
                  </a:lnTo>
                  <a:lnTo>
                    <a:pt x="485775" y="1778318"/>
                  </a:lnTo>
                  <a:lnTo>
                    <a:pt x="496253" y="1783080"/>
                  </a:lnTo>
                  <a:lnTo>
                    <a:pt x="504825" y="1787843"/>
                  </a:lnTo>
                  <a:lnTo>
                    <a:pt x="512445" y="1792605"/>
                  </a:lnTo>
                  <a:lnTo>
                    <a:pt x="520065" y="1794510"/>
                  </a:lnTo>
                  <a:lnTo>
                    <a:pt x="520065" y="1794510"/>
                  </a:lnTo>
                  <a:close/>
                  <a:moveTo>
                    <a:pt x="741045" y="1945958"/>
                  </a:moveTo>
                  <a:lnTo>
                    <a:pt x="736283" y="1939290"/>
                  </a:lnTo>
                  <a:lnTo>
                    <a:pt x="731520" y="1931670"/>
                  </a:lnTo>
                  <a:lnTo>
                    <a:pt x="726758" y="1923098"/>
                  </a:lnTo>
                  <a:lnTo>
                    <a:pt x="723900" y="1914525"/>
                  </a:lnTo>
                  <a:lnTo>
                    <a:pt x="715328" y="1894523"/>
                  </a:lnTo>
                  <a:lnTo>
                    <a:pt x="705803" y="1872615"/>
                  </a:lnTo>
                  <a:lnTo>
                    <a:pt x="696278" y="1848803"/>
                  </a:lnTo>
                  <a:lnTo>
                    <a:pt x="686753" y="1824038"/>
                  </a:lnTo>
                  <a:lnTo>
                    <a:pt x="675323" y="1798320"/>
                  </a:lnTo>
                  <a:lnTo>
                    <a:pt x="662940" y="1772603"/>
                  </a:lnTo>
                  <a:lnTo>
                    <a:pt x="656273" y="1759268"/>
                  </a:lnTo>
                  <a:lnTo>
                    <a:pt x="649605" y="1745933"/>
                  </a:lnTo>
                  <a:lnTo>
                    <a:pt x="641985" y="1732598"/>
                  </a:lnTo>
                  <a:lnTo>
                    <a:pt x="634365" y="1719263"/>
                  </a:lnTo>
                  <a:lnTo>
                    <a:pt x="625793" y="1705928"/>
                  </a:lnTo>
                  <a:lnTo>
                    <a:pt x="617220" y="1693545"/>
                  </a:lnTo>
                  <a:lnTo>
                    <a:pt x="607695" y="1680210"/>
                  </a:lnTo>
                  <a:lnTo>
                    <a:pt x="598170" y="1667828"/>
                  </a:lnTo>
                  <a:lnTo>
                    <a:pt x="587693" y="1655445"/>
                  </a:lnTo>
                  <a:lnTo>
                    <a:pt x="577215" y="1644015"/>
                  </a:lnTo>
                  <a:lnTo>
                    <a:pt x="565785" y="1632585"/>
                  </a:lnTo>
                  <a:lnTo>
                    <a:pt x="554355" y="1622108"/>
                  </a:lnTo>
                  <a:lnTo>
                    <a:pt x="541973" y="1611630"/>
                  </a:lnTo>
                  <a:lnTo>
                    <a:pt x="528638" y="1601153"/>
                  </a:lnTo>
                  <a:lnTo>
                    <a:pt x="515303" y="1591628"/>
                  </a:lnTo>
                  <a:lnTo>
                    <a:pt x="501015" y="1583055"/>
                  </a:lnTo>
                  <a:lnTo>
                    <a:pt x="515303" y="1630680"/>
                  </a:lnTo>
                  <a:lnTo>
                    <a:pt x="527685" y="1675448"/>
                  </a:lnTo>
                  <a:lnTo>
                    <a:pt x="533400" y="1696403"/>
                  </a:lnTo>
                  <a:lnTo>
                    <a:pt x="539115" y="1716405"/>
                  </a:lnTo>
                  <a:lnTo>
                    <a:pt x="545783" y="1736408"/>
                  </a:lnTo>
                  <a:lnTo>
                    <a:pt x="552450" y="1755458"/>
                  </a:lnTo>
                  <a:lnTo>
                    <a:pt x="556260" y="1764983"/>
                  </a:lnTo>
                  <a:lnTo>
                    <a:pt x="560070" y="1773555"/>
                  </a:lnTo>
                  <a:lnTo>
                    <a:pt x="564833" y="1782128"/>
                  </a:lnTo>
                  <a:lnTo>
                    <a:pt x="569595" y="1790700"/>
                  </a:lnTo>
                  <a:lnTo>
                    <a:pt x="574358" y="1799273"/>
                  </a:lnTo>
                  <a:lnTo>
                    <a:pt x="579120" y="1807845"/>
                  </a:lnTo>
                  <a:lnTo>
                    <a:pt x="583883" y="1816418"/>
                  </a:lnTo>
                  <a:lnTo>
                    <a:pt x="589598" y="1824038"/>
                  </a:lnTo>
                  <a:lnTo>
                    <a:pt x="595313" y="1832610"/>
                  </a:lnTo>
                  <a:lnTo>
                    <a:pt x="601980" y="1840230"/>
                  </a:lnTo>
                  <a:lnTo>
                    <a:pt x="608648" y="1847850"/>
                  </a:lnTo>
                  <a:lnTo>
                    <a:pt x="615315" y="1855470"/>
                  </a:lnTo>
                  <a:lnTo>
                    <a:pt x="622935" y="1863090"/>
                  </a:lnTo>
                  <a:lnTo>
                    <a:pt x="631508" y="1870710"/>
                  </a:lnTo>
                  <a:lnTo>
                    <a:pt x="640080" y="1878330"/>
                  </a:lnTo>
                  <a:lnTo>
                    <a:pt x="649605" y="1885950"/>
                  </a:lnTo>
                  <a:lnTo>
                    <a:pt x="634365" y="1878330"/>
                  </a:lnTo>
                  <a:lnTo>
                    <a:pt x="614363" y="1869758"/>
                  </a:lnTo>
                  <a:lnTo>
                    <a:pt x="590550" y="1860233"/>
                  </a:lnTo>
                  <a:lnTo>
                    <a:pt x="563880" y="1850708"/>
                  </a:lnTo>
                  <a:lnTo>
                    <a:pt x="549593" y="1845945"/>
                  </a:lnTo>
                  <a:lnTo>
                    <a:pt x="534353" y="1841183"/>
                  </a:lnTo>
                  <a:lnTo>
                    <a:pt x="519113" y="1836420"/>
                  </a:lnTo>
                  <a:lnTo>
                    <a:pt x="503873" y="1832610"/>
                  </a:lnTo>
                  <a:lnTo>
                    <a:pt x="488633" y="1828800"/>
                  </a:lnTo>
                  <a:lnTo>
                    <a:pt x="473393" y="1824990"/>
                  </a:lnTo>
                  <a:lnTo>
                    <a:pt x="458153" y="1822133"/>
                  </a:lnTo>
                  <a:lnTo>
                    <a:pt x="442913" y="1819275"/>
                  </a:lnTo>
                  <a:lnTo>
                    <a:pt x="429578" y="1817370"/>
                  </a:lnTo>
                  <a:lnTo>
                    <a:pt x="417195" y="1815465"/>
                  </a:lnTo>
                  <a:lnTo>
                    <a:pt x="405765" y="1813560"/>
                  </a:lnTo>
                  <a:lnTo>
                    <a:pt x="394335" y="1811655"/>
                  </a:lnTo>
                  <a:lnTo>
                    <a:pt x="383858" y="1809750"/>
                  </a:lnTo>
                  <a:lnTo>
                    <a:pt x="373380" y="1806893"/>
                  </a:lnTo>
                  <a:lnTo>
                    <a:pt x="363855" y="1804035"/>
                  </a:lnTo>
                  <a:lnTo>
                    <a:pt x="354330" y="1801178"/>
                  </a:lnTo>
                  <a:lnTo>
                    <a:pt x="344805" y="1798320"/>
                  </a:lnTo>
                  <a:lnTo>
                    <a:pt x="336233" y="1795463"/>
                  </a:lnTo>
                  <a:lnTo>
                    <a:pt x="328613" y="1792605"/>
                  </a:lnTo>
                  <a:lnTo>
                    <a:pt x="320993" y="1789748"/>
                  </a:lnTo>
                  <a:lnTo>
                    <a:pt x="306705" y="1783080"/>
                  </a:lnTo>
                  <a:lnTo>
                    <a:pt x="293370" y="1776413"/>
                  </a:lnTo>
                  <a:lnTo>
                    <a:pt x="280988" y="1769745"/>
                  </a:lnTo>
                  <a:lnTo>
                    <a:pt x="269558" y="1763078"/>
                  </a:lnTo>
                  <a:lnTo>
                    <a:pt x="259080" y="1755458"/>
                  </a:lnTo>
                  <a:lnTo>
                    <a:pt x="248603" y="1748790"/>
                  </a:lnTo>
                  <a:lnTo>
                    <a:pt x="238125" y="1741170"/>
                  </a:lnTo>
                  <a:lnTo>
                    <a:pt x="227648" y="1734503"/>
                  </a:lnTo>
                  <a:lnTo>
                    <a:pt x="217170" y="1727835"/>
                  </a:lnTo>
                  <a:lnTo>
                    <a:pt x="205740" y="1721168"/>
                  </a:lnTo>
                  <a:lnTo>
                    <a:pt x="221933" y="1749743"/>
                  </a:lnTo>
                  <a:lnTo>
                    <a:pt x="238125" y="1775460"/>
                  </a:lnTo>
                  <a:lnTo>
                    <a:pt x="255270" y="1798320"/>
                  </a:lnTo>
                  <a:lnTo>
                    <a:pt x="273368" y="1819275"/>
                  </a:lnTo>
                  <a:lnTo>
                    <a:pt x="291465" y="1838325"/>
                  </a:lnTo>
                  <a:lnTo>
                    <a:pt x="309563" y="1855470"/>
                  </a:lnTo>
                  <a:lnTo>
                    <a:pt x="328613" y="1870710"/>
                  </a:lnTo>
                  <a:lnTo>
                    <a:pt x="347663" y="1884045"/>
                  </a:lnTo>
                  <a:lnTo>
                    <a:pt x="366713" y="1895475"/>
                  </a:lnTo>
                  <a:lnTo>
                    <a:pt x="386715" y="1905953"/>
                  </a:lnTo>
                  <a:lnTo>
                    <a:pt x="406718" y="1914525"/>
                  </a:lnTo>
                  <a:lnTo>
                    <a:pt x="426720" y="1921193"/>
                  </a:lnTo>
                  <a:lnTo>
                    <a:pt x="446723" y="1926908"/>
                  </a:lnTo>
                  <a:lnTo>
                    <a:pt x="466725" y="1931670"/>
                  </a:lnTo>
                  <a:lnTo>
                    <a:pt x="486728" y="1935480"/>
                  </a:lnTo>
                  <a:lnTo>
                    <a:pt x="506730" y="1938338"/>
                  </a:lnTo>
                  <a:lnTo>
                    <a:pt x="525780" y="1940243"/>
                  </a:lnTo>
                  <a:lnTo>
                    <a:pt x="544830" y="1941195"/>
                  </a:lnTo>
                  <a:lnTo>
                    <a:pt x="562928" y="1941195"/>
                  </a:lnTo>
                  <a:lnTo>
                    <a:pt x="581025" y="1941195"/>
                  </a:lnTo>
                  <a:lnTo>
                    <a:pt x="615315" y="1940243"/>
                  </a:lnTo>
                  <a:lnTo>
                    <a:pt x="647700" y="1939290"/>
                  </a:lnTo>
                  <a:lnTo>
                    <a:pt x="662940" y="1939290"/>
                  </a:lnTo>
                  <a:lnTo>
                    <a:pt x="677228" y="1939290"/>
                  </a:lnTo>
                  <a:lnTo>
                    <a:pt x="690563" y="1939290"/>
                  </a:lnTo>
                  <a:lnTo>
                    <a:pt x="702945" y="1939290"/>
                  </a:lnTo>
                  <a:lnTo>
                    <a:pt x="714375" y="1940243"/>
                  </a:lnTo>
                  <a:lnTo>
                    <a:pt x="724853" y="1942148"/>
                  </a:lnTo>
                  <a:lnTo>
                    <a:pt x="734378" y="1945005"/>
                  </a:lnTo>
                  <a:lnTo>
                    <a:pt x="741045" y="1945958"/>
                  </a:lnTo>
                  <a:lnTo>
                    <a:pt x="741045" y="1945958"/>
                  </a:lnTo>
                  <a:close/>
                  <a:moveTo>
                    <a:pt x="1972628" y="374333"/>
                  </a:moveTo>
                  <a:lnTo>
                    <a:pt x="1958340" y="352425"/>
                  </a:lnTo>
                  <a:lnTo>
                    <a:pt x="1943100" y="328613"/>
                  </a:lnTo>
                  <a:lnTo>
                    <a:pt x="1926908" y="304800"/>
                  </a:lnTo>
                  <a:lnTo>
                    <a:pt x="1910715" y="280988"/>
                  </a:lnTo>
                  <a:lnTo>
                    <a:pt x="1894523" y="259080"/>
                  </a:lnTo>
                  <a:lnTo>
                    <a:pt x="1879283" y="238125"/>
                  </a:lnTo>
                  <a:lnTo>
                    <a:pt x="1871663" y="229553"/>
                  </a:lnTo>
                  <a:lnTo>
                    <a:pt x="1864995" y="220980"/>
                  </a:lnTo>
                  <a:lnTo>
                    <a:pt x="1858328" y="214313"/>
                  </a:lnTo>
                  <a:lnTo>
                    <a:pt x="1852613" y="208598"/>
                  </a:lnTo>
                  <a:lnTo>
                    <a:pt x="1867853" y="212408"/>
                  </a:lnTo>
                  <a:lnTo>
                    <a:pt x="1883093" y="217170"/>
                  </a:lnTo>
                  <a:lnTo>
                    <a:pt x="1897380" y="221933"/>
                  </a:lnTo>
                  <a:lnTo>
                    <a:pt x="1911668" y="226695"/>
                  </a:lnTo>
                  <a:lnTo>
                    <a:pt x="1925955" y="232410"/>
                  </a:lnTo>
                  <a:lnTo>
                    <a:pt x="1940243" y="239078"/>
                  </a:lnTo>
                  <a:lnTo>
                    <a:pt x="1953578" y="245745"/>
                  </a:lnTo>
                  <a:lnTo>
                    <a:pt x="1966913" y="253365"/>
                  </a:lnTo>
                  <a:lnTo>
                    <a:pt x="1980248" y="260985"/>
                  </a:lnTo>
                  <a:lnTo>
                    <a:pt x="1992630" y="269558"/>
                  </a:lnTo>
                  <a:lnTo>
                    <a:pt x="2005013" y="278130"/>
                  </a:lnTo>
                  <a:lnTo>
                    <a:pt x="2016443" y="287655"/>
                  </a:lnTo>
                  <a:lnTo>
                    <a:pt x="2027873" y="298133"/>
                  </a:lnTo>
                  <a:lnTo>
                    <a:pt x="2038350" y="308610"/>
                  </a:lnTo>
                  <a:lnTo>
                    <a:pt x="2048828" y="319088"/>
                  </a:lnTo>
                  <a:lnTo>
                    <a:pt x="2059305" y="329565"/>
                  </a:lnTo>
                  <a:lnTo>
                    <a:pt x="2069783" y="340995"/>
                  </a:lnTo>
                  <a:lnTo>
                    <a:pt x="2079308" y="352425"/>
                  </a:lnTo>
                  <a:lnTo>
                    <a:pt x="2088833" y="363855"/>
                  </a:lnTo>
                  <a:lnTo>
                    <a:pt x="2097405" y="376238"/>
                  </a:lnTo>
                  <a:lnTo>
                    <a:pt x="2105978" y="388620"/>
                  </a:lnTo>
                  <a:lnTo>
                    <a:pt x="2113598" y="401955"/>
                  </a:lnTo>
                  <a:lnTo>
                    <a:pt x="2121218" y="415290"/>
                  </a:lnTo>
                  <a:lnTo>
                    <a:pt x="2127885" y="428625"/>
                  </a:lnTo>
                  <a:lnTo>
                    <a:pt x="2134553" y="441960"/>
                  </a:lnTo>
                  <a:lnTo>
                    <a:pt x="2141220" y="456248"/>
                  </a:lnTo>
                  <a:lnTo>
                    <a:pt x="2146935" y="470535"/>
                  </a:lnTo>
                  <a:lnTo>
                    <a:pt x="2151698" y="484823"/>
                  </a:lnTo>
                  <a:lnTo>
                    <a:pt x="2156460" y="499110"/>
                  </a:lnTo>
                  <a:lnTo>
                    <a:pt x="2161223" y="514350"/>
                  </a:lnTo>
                  <a:lnTo>
                    <a:pt x="2165033" y="529590"/>
                  </a:lnTo>
                  <a:lnTo>
                    <a:pt x="2168843" y="544830"/>
                  </a:lnTo>
                  <a:lnTo>
                    <a:pt x="2155508" y="532448"/>
                  </a:lnTo>
                  <a:lnTo>
                    <a:pt x="2142173" y="521018"/>
                  </a:lnTo>
                  <a:lnTo>
                    <a:pt x="2127885" y="509588"/>
                  </a:lnTo>
                  <a:lnTo>
                    <a:pt x="2114550" y="499110"/>
                  </a:lnTo>
                  <a:lnTo>
                    <a:pt x="2086928" y="478155"/>
                  </a:lnTo>
                  <a:lnTo>
                    <a:pt x="2060258" y="457200"/>
                  </a:lnTo>
                  <a:lnTo>
                    <a:pt x="2047875" y="447675"/>
                  </a:lnTo>
                  <a:lnTo>
                    <a:pt x="2035493" y="437198"/>
                  </a:lnTo>
                  <a:lnTo>
                    <a:pt x="2024063" y="426720"/>
                  </a:lnTo>
                  <a:lnTo>
                    <a:pt x="2012633" y="417195"/>
                  </a:lnTo>
                  <a:lnTo>
                    <a:pt x="2002155" y="406718"/>
                  </a:lnTo>
                  <a:lnTo>
                    <a:pt x="1992630" y="396240"/>
                  </a:lnTo>
                  <a:lnTo>
                    <a:pt x="1987868" y="391478"/>
                  </a:lnTo>
                  <a:lnTo>
                    <a:pt x="1984058" y="386715"/>
                  </a:lnTo>
                  <a:lnTo>
                    <a:pt x="1980248" y="381000"/>
                  </a:lnTo>
                  <a:lnTo>
                    <a:pt x="1972628" y="374333"/>
                  </a:lnTo>
                  <a:lnTo>
                    <a:pt x="1972628" y="374333"/>
                  </a:lnTo>
                  <a:close/>
                  <a:moveTo>
                    <a:pt x="2059305" y="635318"/>
                  </a:moveTo>
                  <a:lnTo>
                    <a:pt x="2064068" y="642938"/>
                  </a:lnTo>
                  <a:lnTo>
                    <a:pt x="2069783" y="650558"/>
                  </a:lnTo>
                  <a:lnTo>
                    <a:pt x="2076450" y="658178"/>
                  </a:lnTo>
                  <a:lnTo>
                    <a:pt x="2084070" y="665798"/>
                  </a:lnTo>
                  <a:lnTo>
                    <a:pt x="2092643" y="674370"/>
                  </a:lnTo>
                  <a:lnTo>
                    <a:pt x="2102168" y="682943"/>
                  </a:lnTo>
                  <a:lnTo>
                    <a:pt x="2111693" y="691515"/>
                  </a:lnTo>
                  <a:lnTo>
                    <a:pt x="2121218" y="700088"/>
                  </a:lnTo>
                  <a:lnTo>
                    <a:pt x="2142173" y="718185"/>
                  </a:lnTo>
                  <a:lnTo>
                    <a:pt x="2164080" y="738188"/>
                  </a:lnTo>
                  <a:lnTo>
                    <a:pt x="2175510" y="748665"/>
                  </a:lnTo>
                  <a:lnTo>
                    <a:pt x="2186940" y="759143"/>
                  </a:lnTo>
                  <a:lnTo>
                    <a:pt x="2198370" y="770573"/>
                  </a:lnTo>
                  <a:lnTo>
                    <a:pt x="2208848" y="782003"/>
                  </a:lnTo>
                  <a:lnTo>
                    <a:pt x="2214563" y="788670"/>
                  </a:lnTo>
                  <a:lnTo>
                    <a:pt x="2220278" y="797243"/>
                  </a:lnTo>
                  <a:lnTo>
                    <a:pt x="2225993" y="806768"/>
                  </a:lnTo>
                  <a:lnTo>
                    <a:pt x="2231708" y="816293"/>
                  </a:lnTo>
                  <a:lnTo>
                    <a:pt x="2237423" y="826770"/>
                  </a:lnTo>
                  <a:lnTo>
                    <a:pt x="2243138" y="837248"/>
                  </a:lnTo>
                  <a:lnTo>
                    <a:pt x="2248853" y="848678"/>
                  </a:lnTo>
                  <a:lnTo>
                    <a:pt x="2253615" y="860108"/>
                  </a:lnTo>
                  <a:lnTo>
                    <a:pt x="2258378" y="872490"/>
                  </a:lnTo>
                  <a:lnTo>
                    <a:pt x="2263140" y="884873"/>
                  </a:lnTo>
                  <a:lnTo>
                    <a:pt x="2267903" y="897255"/>
                  </a:lnTo>
                  <a:lnTo>
                    <a:pt x="2272665" y="909638"/>
                  </a:lnTo>
                  <a:lnTo>
                    <a:pt x="2276475" y="922020"/>
                  </a:lnTo>
                  <a:lnTo>
                    <a:pt x="2280285" y="934403"/>
                  </a:lnTo>
                  <a:lnTo>
                    <a:pt x="2283143" y="945833"/>
                  </a:lnTo>
                  <a:lnTo>
                    <a:pt x="2286000" y="957263"/>
                  </a:lnTo>
                  <a:lnTo>
                    <a:pt x="2296478" y="862013"/>
                  </a:lnTo>
                  <a:lnTo>
                    <a:pt x="2299335" y="842963"/>
                  </a:lnTo>
                  <a:lnTo>
                    <a:pt x="2302193" y="823913"/>
                  </a:lnTo>
                  <a:lnTo>
                    <a:pt x="2306003" y="804863"/>
                  </a:lnTo>
                  <a:lnTo>
                    <a:pt x="2308860" y="784860"/>
                  </a:lnTo>
                  <a:lnTo>
                    <a:pt x="2311718" y="764858"/>
                  </a:lnTo>
                  <a:lnTo>
                    <a:pt x="2314575" y="744855"/>
                  </a:lnTo>
                  <a:lnTo>
                    <a:pt x="2316480" y="724853"/>
                  </a:lnTo>
                  <a:lnTo>
                    <a:pt x="2318385" y="704850"/>
                  </a:lnTo>
                  <a:lnTo>
                    <a:pt x="2319338" y="684848"/>
                  </a:lnTo>
                  <a:lnTo>
                    <a:pt x="2320290" y="664845"/>
                  </a:lnTo>
                  <a:lnTo>
                    <a:pt x="2320290" y="644843"/>
                  </a:lnTo>
                  <a:lnTo>
                    <a:pt x="2319338" y="624840"/>
                  </a:lnTo>
                  <a:lnTo>
                    <a:pt x="2318385" y="615315"/>
                  </a:lnTo>
                  <a:lnTo>
                    <a:pt x="2317433" y="604838"/>
                  </a:lnTo>
                  <a:lnTo>
                    <a:pt x="2316480" y="595313"/>
                  </a:lnTo>
                  <a:lnTo>
                    <a:pt x="2315528" y="585788"/>
                  </a:lnTo>
                  <a:lnTo>
                    <a:pt x="2313623" y="576263"/>
                  </a:lnTo>
                  <a:lnTo>
                    <a:pt x="2311718" y="566738"/>
                  </a:lnTo>
                  <a:lnTo>
                    <a:pt x="2309813" y="557213"/>
                  </a:lnTo>
                  <a:lnTo>
                    <a:pt x="2306955" y="547688"/>
                  </a:lnTo>
                  <a:lnTo>
                    <a:pt x="2321243" y="573405"/>
                  </a:lnTo>
                  <a:lnTo>
                    <a:pt x="2335530" y="599123"/>
                  </a:lnTo>
                  <a:lnTo>
                    <a:pt x="2342198" y="612458"/>
                  </a:lnTo>
                  <a:lnTo>
                    <a:pt x="2348865" y="625793"/>
                  </a:lnTo>
                  <a:lnTo>
                    <a:pt x="2354580" y="639128"/>
                  </a:lnTo>
                  <a:lnTo>
                    <a:pt x="2360295" y="652463"/>
                  </a:lnTo>
                  <a:lnTo>
                    <a:pt x="2365058" y="665798"/>
                  </a:lnTo>
                  <a:lnTo>
                    <a:pt x="2369820" y="679133"/>
                  </a:lnTo>
                  <a:lnTo>
                    <a:pt x="2374583" y="693420"/>
                  </a:lnTo>
                  <a:lnTo>
                    <a:pt x="2378393" y="707708"/>
                  </a:lnTo>
                  <a:lnTo>
                    <a:pt x="2381250" y="721995"/>
                  </a:lnTo>
                  <a:lnTo>
                    <a:pt x="2383155" y="737235"/>
                  </a:lnTo>
                  <a:lnTo>
                    <a:pt x="2384108" y="744855"/>
                  </a:lnTo>
                  <a:lnTo>
                    <a:pt x="2385060" y="752475"/>
                  </a:lnTo>
                  <a:lnTo>
                    <a:pt x="2385060" y="760095"/>
                  </a:lnTo>
                  <a:lnTo>
                    <a:pt x="2385060" y="767715"/>
                  </a:lnTo>
                  <a:lnTo>
                    <a:pt x="2385060" y="778193"/>
                  </a:lnTo>
                  <a:lnTo>
                    <a:pt x="2385060" y="788670"/>
                  </a:lnTo>
                  <a:lnTo>
                    <a:pt x="2384108" y="799148"/>
                  </a:lnTo>
                  <a:lnTo>
                    <a:pt x="2383155" y="809625"/>
                  </a:lnTo>
                  <a:lnTo>
                    <a:pt x="2381250" y="820103"/>
                  </a:lnTo>
                  <a:lnTo>
                    <a:pt x="2379345" y="830580"/>
                  </a:lnTo>
                  <a:lnTo>
                    <a:pt x="2377440" y="840105"/>
                  </a:lnTo>
                  <a:lnTo>
                    <a:pt x="2375535" y="849630"/>
                  </a:lnTo>
                  <a:lnTo>
                    <a:pt x="2372678" y="859155"/>
                  </a:lnTo>
                  <a:lnTo>
                    <a:pt x="2369820" y="868680"/>
                  </a:lnTo>
                  <a:lnTo>
                    <a:pt x="2366963" y="878205"/>
                  </a:lnTo>
                  <a:lnTo>
                    <a:pt x="2364105" y="887730"/>
                  </a:lnTo>
                  <a:lnTo>
                    <a:pt x="2357438" y="905828"/>
                  </a:lnTo>
                  <a:lnTo>
                    <a:pt x="2349818" y="922973"/>
                  </a:lnTo>
                  <a:lnTo>
                    <a:pt x="2333625" y="958215"/>
                  </a:lnTo>
                  <a:lnTo>
                    <a:pt x="2317433" y="993458"/>
                  </a:lnTo>
                  <a:lnTo>
                    <a:pt x="2309813" y="1011555"/>
                  </a:lnTo>
                  <a:lnTo>
                    <a:pt x="2302193" y="1029653"/>
                  </a:lnTo>
                  <a:lnTo>
                    <a:pt x="2295525" y="1047750"/>
                  </a:lnTo>
                  <a:lnTo>
                    <a:pt x="2288858" y="1066800"/>
                  </a:lnTo>
                  <a:lnTo>
                    <a:pt x="2287905" y="1061085"/>
                  </a:lnTo>
                  <a:lnTo>
                    <a:pt x="2286953" y="1054418"/>
                  </a:lnTo>
                  <a:lnTo>
                    <a:pt x="2285048" y="1047750"/>
                  </a:lnTo>
                  <a:lnTo>
                    <a:pt x="2283143" y="1041083"/>
                  </a:lnTo>
                  <a:lnTo>
                    <a:pt x="2280285" y="1034415"/>
                  </a:lnTo>
                  <a:lnTo>
                    <a:pt x="2277428" y="1026795"/>
                  </a:lnTo>
                  <a:lnTo>
                    <a:pt x="2274570" y="1019175"/>
                  </a:lnTo>
                  <a:lnTo>
                    <a:pt x="2270760" y="1011555"/>
                  </a:lnTo>
                  <a:lnTo>
                    <a:pt x="2263140" y="996315"/>
                  </a:lnTo>
                  <a:lnTo>
                    <a:pt x="2254568" y="980123"/>
                  </a:lnTo>
                  <a:lnTo>
                    <a:pt x="2245043" y="963930"/>
                  </a:lnTo>
                  <a:lnTo>
                    <a:pt x="2235518" y="947738"/>
                  </a:lnTo>
                  <a:lnTo>
                    <a:pt x="2225993" y="932498"/>
                  </a:lnTo>
                  <a:lnTo>
                    <a:pt x="2215515" y="917258"/>
                  </a:lnTo>
                  <a:lnTo>
                    <a:pt x="2205038" y="902018"/>
                  </a:lnTo>
                  <a:lnTo>
                    <a:pt x="2194560" y="888683"/>
                  </a:lnTo>
                  <a:lnTo>
                    <a:pt x="2185035" y="875348"/>
                  </a:lnTo>
                  <a:lnTo>
                    <a:pt x="2176463" y="863918"/>
                  </a:lnTo>
                  <a:lnTo>
                    <a:pt x="2167890" y="853440"/>
                  </a:lnTo>
                  <a:lnTo>
                    <a:pt x="2160270" y="844868"/>
                  </a:lnTo>
                  <a:lnTo>
                    <a:pt x="2148840" y="829628"/>
                  </a:lnTo>
                  <a:lnTo>
                    <a:pt x="2138363" y="816293"/>
                  </a:lnTo>
                  <a:lnTo>
                    <a:pt x="2129790" y="803910"/>
                  </a:lnTo>
                  <a:lnTo>
                    <a:pt x="2122170" y="792480"/>
                  </a:lnTo>
                  <a:lnTo>
                    <a:pt x="2115503" y="782003"/>
                  </a:lnTo>
                  <a:lnTo>
                    <a:pt x="2109788" y="771525"/>
                  </a:lnTo>
                  <a:lnTo>
                    <a:pt x="2105025" y="761048"/>
                  </a:lnTo>
                  <a:lnTo>
                    <a:pt x="2100263" y="750570"/>
                  </a:lnTo>
                  <a:lnTo>
                    <a:pt x="2095500" y="740093"/>
                  </a:lnTo>
                  <a:lnTo>
                    <a:pt x="2091690" y="729615"/>
                  </a:lnTo>
                  <a:lnTo>
                    <a:pt x="2086928" y="718185"/>
                  </a:lnTo>
                  <a:lnTo>
                    <a:pt x="2082165" y="705803"/>
                  </a:lnTo>
                  <a:lnTo>
                    <a:pt x="2072640" y="677228"/>
                  </a:lnTo>
                  <a:lnTo>
                    <a:pt x="2059305" y="635318"/>
                  </a:lnTo>
                  <a:lnTo>
                    <a:pt x="2059305" y="635318"/>
                  </a:lnTo>
                  <a:close/>
                  <a:moveTo>
                    <a:pt x="2132648" y="882968"/>
                  </a:moveTo>
                  <a:lnTo>
                    <a:pt x="2147888" y="902970"/>
                  </a:lnTo>
                  <a:lnTo>
                    <a:pt x="2162175" y="922020"/>
                  </a:lnTo>
                  <a:lnTo>
                    <a:pt x="2176463" y="941070"/>
                  </a:lnTo>
                  <a:lnTo>
                    <a:pt x="2189798" y="960120"/>
                  </a:lnTo>
                  <a:lnTo>
                    <a:pt x="2202180" y="978218"/>
                  </a:lnTo>
                  <a:lnTo>
                    <a:pt x="2212658" y="997268"/>
                  </a:lnTo>
                  <a:lnTo>
                    <a:pt x="2217420" y="1006793"/>
                  </a:lnTo>
                  <a:lnTo>
                    <a:pt x="2222183" y="1016318"/>
                  </a:lnTo>
                  <a:lnTo>
                    <a:pt x="2226945" y="1025843"/>
                  </a:lnTo>
                  <a:lnTo>
                    <a:pt x="2231708" y="1035368"/>
                  </a:lnTo>
                  <a:lnTo>
                    <a:pt x="2235518" y="1044893"/>
                  </a:lnTo>
                  <a:lnTo>
                    <a:pt x="2239328" y="1054418"/>
                  </a:lnTo>
                  <a:lnTo>
                    <a:pt x="2243138" y="1063943"/>
                  </a:lnTo>
                  <a:lnTo>
                    <a:pt x="2245995" y="1074420"/>
                  </a:lnTo>
                  <a:lnTo>
                    <a:pt x="2248853" y="1084898"/>
                  </a:lnTo>
                  <a:lnTo>
                    <a:pt x="2251710" y="1095375"/>
                  </a:lnTo>
                  <a:lnTo>
                    <a:pt x="2254568" y="1105853"/>
                  </a:lnTo>
                  <a:lnTo>
                    <a:pt x="2256473" y="1117283"/>
                  </a:lnTo>
                  <a:lnTo>
                    <a:pt x="2258378" y="1128713"/>
                  </a:lnTo>
                  <a:lnTo>
                    <a:pt x="2259330" y="1140143"/>
                  </a:lnTo>
                  <a:lnTo>
                    <a:pt x="2260283" y="1152525"/>
                  </a:lnTo>
                  <a:lnTo>
                    <a:pt x="2261235" y="1164908"/>
                  </a:lnTo>
                  <a:lnTo>
                    <a:pt x="2261235" y="1178243"/>
                  </a:lnTo>
                  <a:lnTo>
                    <a:pt x="2261235" y="1191578"/>
                  </a:lnTo>
                  <a:lnTo>
                    <a:pt x="2261235" y="1205865"/>
                  </a:lnTo>
                  <a:lnTo>
                    <a:pt x="2261235" y="1220153"/>
                  </a:lnTo>
                  <a:lnTo>
                    <a:pt x="2264093" y="1207770"/>
                  </a:lnTo>
                  <a:lnTo>
                    <a:pt x="2266950" y="1195388"/>
                  </a:lnTo>
                  <a:lnTo>
                    <a:pt x="2270760" y="1183005"/>
                  </a:lnTo>
                  <a:lnTo>
                    <a:pt x="2274570" y="1170623"/>
                  </a:lnTo>
                  <a:lnTo>
                    <a:pt x="2279333" y="1158240"/>
                  </a:lnTo>
                  <a:lnTo>
                    <a:pt x="2284095" y="1145858"/>
                  </a:lnTo>
                  <a:lnTo>
                    <a:pt x="2288858" y="1133475"/>
                  </a:lnTo>
                  <a:lnTo>
                    <a:pt x="2294573" y="1121093"/>
                  </a:lnTo>
                  <a:lnTo>
                    <a:pt x="2306003" y="1096328"/>
                  </a:lnTo>
                  <a:lnTo>
                    <a:pt x="2319338" y="1072515"/>
                  </a:lnTo>
                  <a:lnTo>
                    <a:pt x="2331720" y="1047750"/>
                  </a:lnTo>
                  <a:lnTo>
                    <a:pt x="2345055" y="1023938"/>
                  </a:lnTo>
                  <a:lnTo>
                    <a:pt x="2357438" y="1000125"/>
                  </a:lnTo>
                  <a:lnTo>
                    <a:pt x="2369820" y="976313"/>
                  </a:lnTo>
                  <a:lnTo>
                    <a:pt x="2375535" y="964883"/>
                  </a:lnTo>
                  <a:lnTo>
                    <a:pt x="2381250" y="953453"/>
                  </a:lnTo>
                  <a:lnTo>
                    <a:pt x="2386013" y="942023"/>
                  </a:lnTo>
                  <a:lnTo>
                    <a:pt x="2390775" y="930593"/>
                  </a:lnTo>
                  <a:lnTo>
                    <a:pt x="2395538" y="919163"/>
                  </a:lnTo>
                  <a:lnTo>
                    <a:pt x="2399348" y="907733"/>
                  </a:lnTo>
                  <a:lnTo>
                    <a:pt x="2403158" y="896303"/>
                  </a:lnTo>
                  <a:lnTo>
                    <a:pt x="2406015" y="884873"/>
                  </a:lnTo>
                  <a:lnTo>
                    <a:pt x="2408873" y="874395"/>
                  </a:lnTo>
                  <a:lnTo>
                    <a:pt x="2410778" y="863918"/>
                  </a:lnTo>
                  <a:lnTo>
                    <a:pt x="2411730" y="853440"/>
                  </a:lnTo>
                  <a:lnTo>
                    <a:pt x="2412683" y="842963"/>
                  </a:lnTo>
                  <a:lnTo>
                    <a:pt x="2417445" y="866775"/>
                  </a:lnTo>
                  <a:lnTo>
                    <a:pt x="2421255" y="889635"/>
                  </a:lnTo>
                  <a:lnTo>
                    <a:pt x="2424113" y="911543"/>
                  </a:lnTo>
                  <a:lnTo>
                    <a:pt x="2426018" y="931545"/>
                  </a:lnTo>
                  <a:lnTo>
                    <a:pt x="2426970" y="950595"/>
                  </a:lnTo>
                  <a:lnTo>
                    <a:pt x="2426970" y="969645"/>
                  </a:lnTo>
                  <a:lnTo>
                    <a:pt x="2426970" y="987743"/>
                  </a:lnTo>
                  <a:lnTo>
                    <a:pt x="2426018" y="1004888"/>
                  </a:lnTo>
                  <a:lnTo>
                    <a:pt x="2424113" y="1021080"/>
                  </a:lnTo>
                  <a:lnTo>
                    <a:pt x="2421255" y="1036320"/>
                  </a:lnTo>
                  <a:lnTo>
                    <a:pt x="2418398" y="1050608"/>
                  </a:lnTo>
                  <a:lnTo>
                    <a:pt x="2413635" y="1064895"/>
                  </a:lnTo>
                  <a:lnTo>
                    <a:pt x="2408873" y="1079183"/>
                  </a:lnTo>
                  <a:lnTo>
                    <a:pt x="2404110" y="1092518"/>
                  </a:lnTo>
                  <a:lnTo>
                    <a:pt x="2398395" y="1105853"/>
                  </a:lnTo>
                  <a:lnTo>
                    <a:pt x="2392680" y="1118235"/>
                  </a:lnTo>
                  <a:lnTo>
                    <a:pt x="2386013" y="1130618"/>
                  </a:lnTo>
                  <a:lnTo>
                    <a:pt x="2378393" y="1143000"/>
                  </a:lnTo>
                  <a:lnTo>
                    <a:pt x="2369820" y="1155383"/>
                  </a:lnTo>
                  <a:lnTo>
                    <a:pt x="2361248" y="1166813"/>
                  </a:lnTo>
                  <a:lnTo>
                    <a:pt x="2352675" y="1179195"/>
                  </a:lnTo>
                  <a:lnTo>
                    <a:pt x="2343150" y="1190625"/>
                  </a:lnTo>
                  <a:lnTo>
                    <a:pt x="2333625" y="1203008"/>
                  </a:lnTo>
                  <a:lnTo>
                    <a:pt x="2323148" y="1215390"/>
                  </a:lnTo>
                  <a:lnTo>
                    <a:pt x="2302193" y="1240155"/>
                  </a:lnTo>
                  <a:lnTo>
                    <a:pt x="2280285" y="1266825"/>
                  </a:lnTo>
                  <a:lnTo>
                    <a:pt x="2268855" y="1281113"/>
                  </a:lnTo>
                  <a:lnTo>
                    <a:pt x="2257425" y="1295400"/>
                  </a:lnTo>
                  <a:lnTo>
                    <a:pt x="2245995" y="1310640"/>
                  </a:lnTo>
                  <a:lnTo>
                    <a:pt x="2233613" y="1326833"/>
                  </a:lnTo>
                  <a:lnTo>
                    <a:pt x="2234565" y="1315403"/>
                  </a:lnTo>
                  <a:lnTo>
                    <a:pt x="2234565" y="1303973"/>
                  </a:lnTo>
                  <a:lnTo>
                    <a:pt x="2234565" y="1292543"/>
                  </a:lnTo>
                  <a:lnTo>
                    <a:pt x="2233613" y="1281113"/>
                  </a:lnTo>
                  <a:lnTo>
                    <a:pt x="2231708" y="1268730"/>
                  </a:lnTo>
                  <a:lnTo>
                    <a:pt x="2228850" y="1256348"/>
                  </a:lnTo>
                  <a:lnTo>
                    <a:pt x="2225993" y="1243965"/>
                  </a:lnTo>
                  <a:lnTo>
                    <a:pt x="2222183" y="1231583"/>
                  </a:lnTo>
                  <a:lnTo>
                    <a:pt x="2218373" y="1219200"/>
                  </a:lnTo>
                  <a:lnTo>
                    <a:pt x="2213610" y="1205865"/>
                  </a:lnTo>
                  <a:lnTo>
                    <a:pt x="2208848" y="1192530"/>
                  </a:lnTo>
                  <a:lnTo>
                    <a:pt x="2204085" y="1179195"/>
                  </a:lnTo>
                  <a:lnTo>
                    <a:pt x="2193608" y="1152525"/>
                  </a:lnTo>
                  <a:lnTo>
                    <a:pt x="2182178" y="1124903"/>
                  </a:lnTo>
                  <a:lnTo>
                    <a:pt x="2171700" y="1097280"/>
                  </a:lnTo>
                  <a:lnTo>
                    <a:pt x="2161223" y="1068705"/>
                  </a:lnTo>
                  <a:lnTo>
                    <a:pt x="2156460" y="1054418"/>
                  </a:lnTo>
                  <a:lnTo>
                    <a:pt x="2151698" y="1040130"/>
                  </a:lnTo>
                  <a:lnTo>
                    <a:pt x="2146935" y="1024890"/>
                  </a:lnTo>
                  <a:lnTo>
                    <a:pt x="2142173" y="1009650"/>
                  </a:lnTo>
                  <a:lnTo>
                    <a:pt x="2138363" y="994410"/>
                  </a:lnTo>
                  <a:lnTo>
                    <a:pt x="2135505" y="979170"/>
                  </a:lnTo>
                  <a:lnTo>
                    <a:pt x="2132648" y="962978"/>
                  </a:lnTo>
                  <a:lnTo>
                    <a:pt x="2130743" y="947738"/>
                  </a:lnTo>
                  <a:lnTo>
                    <a:pt x="2128838" y="931545"/>
                  </a:lnTo>
                  <a:lnTo>
                    <a:pt x="2128838" y="915353"/>
                  </a:lnTo>
                  <a:lnTo>
                    <a:pt x="2128838" y="899160"/>
                  </a:lnTo>
                  <a:lnTo>
                    <a:pt x="2132648" y="882968"/>
                  </a:lnTo>
                  <a:lnTo>
                    <a:pt x="2132648" y="882968"/>
                  </a:lnTo>
                  <a:close/>
                  <a:moveTo>
                    <a:pt x="2111693" y="1592580"/>
                  </a:moveTo>
                  <a:lnTo>
                    <a:pt x="2115503" y="1580198"/>
                  </a:lnTo>
                  <a:lnTo>
                    <a:pt x="2118360" y="1567815"/>
                  </a:lnTo>
                  <a:lnTo>
                    <a:pt x="2121218" y="1554480"/>
                  </a:lnTo>
                  <a:lnTo>
                    <a:pt x="2123123" y="1541145"/>
                  </a:lnTo>
                  <a:lnTo>
                    <a:pt x="2124075" y="1527810"/>
                  </a:lnTo>
                  <a:lnTo>
                    <a:pt x="2125028" y="1513523"/>
                  </a:lnTo>
                  <a:lnTo>
                    <a:pt x="2125028" y="1499235"/>
                  </a:lnTo>
                  <a:lnTo>
                    <a:pt x="2125028" y="1483995"/>
                  </a:lnTo>
                  <a:lnTo>
                    <a:pt x="2125028" y="1468755"/>
                  </a:lnTo>
                  <a:lnTo>
                    <a:pt x="2124075" y="1453515"/>
                  </a:lnTo>
                  <a:lnTo>
                    <a:pt x="2123123" y="1438275"/>
                  </a:lnTo>
                  <a:lnTo>
                    <a:pt x="2122170" y="1423035"/>
                  </a:lnTo>
                  <a:lnTo>
                    <a:pt x="2119313" y="1391603"/>
                  </a:lnTo>
                  <a:lnTo>
                    <a:pt x="2116455" y="1360170"/>
                  </a:lnTo>
                  <a:lnTo>
                    <a:pt x="2114550" y="1328738"/>
                  </a:lnTo>
                  <a:lnTo>
                    <a:pt x="2112645" y="1297305"/>
                  </a:lnTo>
                  <a:lnTo>
                    <a:pt x="2111693" y="1281113"/>
                  </a:lnTo>
                  <a:lnTo>
                    <a:pt x="2111693" y="1265873"/>
                  </a:lnTo>
                  <a:lnTo>
                    <a:pt x="2112645" y="1249680"/>
                  </a:lnTo>
                  <a:lnTo>
                    <a:pt x="2112645" y="1233488"/>
                  </a:lnTo>
                  <a:lnTo>
                    <a:pt x="2113598" y="1217295"/>
                  </a:lnTo>
                  <a:lnTo>
                    <a:pt x="2115503" y="1202055"/>
                  </a:lnTo>
                  <a:lnTo>
                    <a:pt x="2117408" y="1185863"/>
                  </a:lnTo>
                  <a:lnTo>
                    <a:pt x="2120265" y="1170623"/>
                  </a:lnTo>
                  <a:lnTo>
                    <a:pt x="2124075" y="1155383"/>
                  </a:lnTo>
                  <a:lnTo>
                    <a:pt x="2128838" y="1140143"/>
                  </a:lnTo>
                  <a:lnTo>
                    <a:pt x="2134553" y="1124903"/>
                  </a:lnTo>
                  <a:lnTo>
                    <a:pt x="2140268" y="1109663"/>
                  </a:lnTo>
                  <a:lnTo>
                    <a:pt x="2146935" y="1132523"/>
                  </a:lnTo>
                  <a:lnTo>
                    <a:pt x="2153603" y="1154430"/>
                  </a:lnTo>
                  <a:lnTo>
                    <a:pt x="2160270" y="1176338"/>
                  </a:lnTo>
                  <a:lnTo>
                    <a:pt x="2165985" y="1197293"/>
                  </a:lnTo>
                  <a:lnTo>
                    <a:pt x="2171700" y="1219200"/>
                  </a:lnTo>
                  <a:lnTo>
                    <a:pt x="2177415" y="1240155"/>
                  </a:lnTo>
                  <a:lnTo>
                    <a:pt x="2182178" y="1262063"/>
                  </a:lnTo>
                  <a:lnTo>
                    <a:pt x="2185988" y="1283970"/>
                  </a:lnTo>
                  <a:lnTo>
                    <a:pt x="2187893" y="1295400"/>
                  </a:lnTo>
                  <a:lnTo>
                    <a:pt x="2188845" y="1306830"/>
                  </a:lnTo>
                  <a:lnTo>
                    <a:pt x="2189798" y="1318260"/>
                  </a:lnTo>
                  <a:lnTo>
                    <a:pt x="2189798" y="1329690"/>
                  </a:lnTo>
                  <a:lnTo>
                    <a:pt x="2190750" y="1341120"/>
                  </a:lnTo>
                  <a:lnTo>
                    <a:pt x="2190750" y="1353503"/>
                  </a:lnTo>
                  <a:lnTo>
                    <a:pt x="2190750" y="1365885"/>
                  </a:lnTo>
                  <a:lnTo>
                    <a:pt x="2190750" y="1378268"/>
                  </a:lnTo>
                  <a:lnTo>
                    <a:pt x="2189798" y="1390650"/>
                  </a:lnTo>
                  <a:lnTo>
                    <a:pt x="2188845" y="1403033"/>
                  </a:lnTo>
                  <a:lnTo>
                    <a:pt x="2186940" y="1416368"/>
                  </a:lnTo>
                  <a:lnTo>
                    <a:pt x="2185035" y="1429703"/>
                  </a:lnTo>
                  <a:lnTo>
                    <a:pt x="2182178" y="1443038"/>
                  </a:lnTo>
                  <a:lnTo>
                    <a:pt x="2179320" y="1457325"/>
                  </a:lnTo>
                  <a:lnTo>
                    <a:pt x="2175510" y="1471613"/>
                  </a:lnTo>
                  <a:lnTo>
                    <a:pt x="2171700" y="1485900"/>
                  </a:lnTo>
                  <a:lnTo>
                    <a:pt x="2176463" y="1478280"/>
                  </a:lnTo>
                  <a:lnTo>
                    <a:pt x="2184083" y="1466850"/>
                  </a:lnTo>
                  <a:lnTo>
                    <a:pt x="2193608" y="1451610"/>
                  </a:lnTo>
                  <a:lnTo>
                    <a:pt x="2205038" y="1434465"/>
                  </a:lnTo>
                  <a:lnTo>
                    <a:pt x="2218373" y="1414463"/>
                  </a:lnTo>
                  <a:lnTo>
                    <a:pt x="2233613" y="1392555"/>
                  </a:lnTo>
                  <a:lnTo>
                    <a:pt x="2242185" y="1382078"/>
                  </a:lnTo>
                  <a:lnTo>
                    <a:pt x="2250758" y="1370648"/>
                  </a:lnTo>
                  <a:lnTo>
                    <a:pt x="2260283" y="1359218"/>
                  </a:lnTo>
                  <a:lnTo>
                    <a:pt x="2269808" y="1347788"/>
                  </a:lnTo>
                  <a:lnTo>
                    <a:pt x="2293620" y="1319213"/>
                  </a:lnTo>
                  <a:lnTo>
                    <a:pt x="2318385" y="1290638"/>
                  </a:lnTo>
                  <a:lnTo>
                    <a:pt x="2343150" y="1262063"/>
                  </a:lnTo>
                  <a:lnTo>
                    <a:pt x="2366963" y="1233488"/>
                  </a:lnTo>
                  <a:lnTo>
                    <a:pt x="2378393" y="1219200"/>
                  </a:lnTo>
                  <a:lnTo>
                    <a:pt x="2389823" y="1204913"/>
                  </a:lnTo>
                  <a:lnTo>
                    <a:pt x="2400300" y="1190625"/>
                  </a:lnTo>
                  <a:lnTo>
                    <a:pt x="2410778" y="1176338"/>
                  </a:lnTo>
                  <a:lnTo>
                    <a:pt x="2420303" y="1163003"/>
                  </a:lnTo>
                  <a:lnTo>
                    <a:pt x="2428875" y="1149668"/>
                  </a:lnTo>
                  <a:lnTo>
                    <a:pt x="2436495" y="1137285"/>
                  </a:lnTo>
                  <a:lnTo>
                    <a:pt x="2443163" y="1124903"/>
                  </a:lnTo>
                  <a:lnTo>
                    <a:pt x="2442210" y="1153478"/>
                  </a:lnTo>
                  <a:lnTo>
                    <a:pt x="2439353" y="1181100"/>
                  </a:lnTo>
                  <a:lnTo>
                    <a:pt x="2435543" y="1207770"/>
                  </a:lnTo>
                  <a:lnTo>
                    <a:pt x="2429828" y="1233488"/>
                  </a:lnTo>
                  <a:lnTo>
                    <a:pt x="2423160" y="1257300"/>
                  </a:lnTo>
                  <a:lnTo>
                    <a:pt x="2415540" y="1280160"/>
                  </a:lnTo>
                  <a:lnTo>
                    <a:pt x="2406015" y="1302068"/>
                  </a:lnTo>
                  <a:lnTo>
                    <a:pt x="2395538" y="1323023"/>
                  </a:lnTo>
                  <a:lnTo>
                    <a:pt x="2384108" y="1343025"/>
                  </a:lnTo>
                  <a:lnTo>
                    <a:pt x="2372678" y="1362075"/>
                  </a:lnTo>
                  <a:lnTo>
                    <a:pt x="2359343" y="1380173"/>
                  </a:lnTo>
                  <a:lnTo>
                    <a:pt x="2346008" y="1396365"/>
                  </a:lnTo>
                  <a:lnTo>
                    <a:pt x="2331720" y="1412558"/>
                  </a:lnTo>
                  <a:lnTo>
                    <a:pt x="2317433" y="1427798"/>
                  </a:lnTo>
                  <a:lnTo>
                    <a:pt x="2303145" y="1442085"/>
                  </a:lnTo>
                  <a:lnTo>
                    <a:pt x="2287905" y="1455420"/>
                  </a:lnTo>
                  <a:lnTo>
                    <a:pt x="2272665" y="1467803"/>
                  </a:lnTo>
                  <a:lnTo>
                    <a:pt x="2257425" y="1480185"/>
                  </a:lnTo>
                  <a:lnTo>
                    <a:pt x="2242185" y="1490663"/>
                  </a:lnTo>
                  <a:lnTo>
                    <a:pt x="2227898" y="1502093"/>
                  </a:lnTo>
                  <a:lnTo>
                    <a:pt x="2199323" y="1521143"/>
                  </a:lnTo>
                  <a:lnTo>
                    <a:pt x="2172653" y="1538288"/>
                  </a:lnTo>
                  <a:lnTo>
                    <a:pt x="2161223" y="1545908"/>
                  </a:lnTo>
                  <a:lnTo>
                    <a:pt x="2149793" y="1553528"/>
                  </a:lnTo>
                  <a:lnTo>
                    <a:pt x="2139315" y="1560195"/>
                  </a:lnTo>
                  <a:lnTo>
                    <a:pt x="2129790" y="1566863"/>
                  </a:lnTo>
                  <a:lnTo>
                    <a:pt x="2122170" y="1573530"/>
                  </a:lnTo>
                  <a:lnTo>
                    <a:pt x="2116455" y="1579245"/>
                  </a:lnTo>
                  <a:lnTo>
                    <a:pt x="2111693" y="1584960"/>
                  </a:lnTo>
                  <a:lnTo>
                    <a:pt x="2111693" y="1592580"/>
                  </a:lnTo>
                  <a:lnTo>
                    <a:pt x="2111693" y="1592580"/>
                  </a:lnTo>
                  <a:close/>
                  <a:moveTo>
                    <a:pt x="1925003" y="1794510"/>
                  </a:moveTo>
                  <a:lnTo>
                    <a:pt x="1931670" y="1784033"/>
                  </a:lnTo>
                  <a:lnTo>
                    <a:pt x="1938338" y="1772603"/>
                  </a:lnTo>
                  <a:lnTo>
                    <a:pt x="1944053" y="1761173"/>
                  </a:lnTo>
                  <a:lnTo>
                    <a:pt x="1948815" y="1748790"/>
                  </a:lnTo>
                  <a:lnTo>
                    <a:pt x="1953578" y="1736408"/>
                  </a:lnTo>
                  <a:lnTo>
                    <a:pt x="1958340" y="1724025"/>
                  </a:lnTo>
                  <a:lnTo>
                    <a:pt x="1962150" y="1710690"/>
                  </a:lnTo>
                  <a:lnTo>
                    <a:pt x="1965960" y="1697355"/>
                  </a:lnTo>
                  <a:lnTo>
                    <a:pt x="1969770" y="1683068"/>
                  </a:lnTo>
                  <a:lnTo>
                    <a:pt x="1972628" y="1668780"/>
                  </a:lnTo>
                  <a:lnTo>
                    <a:pt x="1975485" y="1654493"/>
                  </a:lnTo>
                  <a:lnTo>
                    <a:pt x="1978343" y="1640205"/>
                  </a:lnTo>
                  <a:lnTo>
                    <a:pt x="1984058" y="1611630"/>
                  </a:lnTo>
                  <a:lnTo>
                    <a:pt x="1989773" y="1582103"/>
                  </a:lnTo>
                  <a:lnTo>
                    <a:pt x="1995488" y="1552575"/>
                  </a:lnTo>
                  <a:lnTo>
                    <a:pt x="2002155" y="1523048"/>
                  </a:lnTo>
                  <a:lnTo>
                    <a:pt x="2005965" y="1507808"/>
                  </a:lnTo>
                  <a:lnTo>
                    <a:pt x="2009775" y="1493520"/>
                  </a:lnTo>
                  <a:lnTo>
                    <a:pt x="2014538" y="1479233"/>
                  </a:lnTo>
                  <a:lnTo>
                    <a:pt x="2019300" y="1464945"/>
                  </a:lnTo>
                  <a:lnTo>
                    <a:pt x="2025015" y="1450658"/>
                  </a:lnTo>
                  <a:lnTo>
                    <a:pt x="2030730" y="1436370"/>
                  </a:lnTo>
                  <a:lnTo>
                    <a:pt x="2037398" y="1423035"/>
                  </a:lnTo>
                  <a:lnTo>
                    <a:pt x="2044065" y="1409700"/>
                  </a:lnTo>
                  <a:lnTo>
                    <a:pt x="2051685" y="1396365"/>
                  </a:lnTo>
                  <a:lnTo>
                    <a:pt x="2060258" y="1383983"/>
                  </a:lnTo>
                  <a:lnTo>
                    <a:pt x="2069783" y="1371600"/>
                  </a:lnTo>
                  <a:lnTo>
                    <a:pt x="2080260" y="1360170"/>
                  </a:lnTo>
                  <a:lnTo>
                    <a:pt x="2079308" y="1385888"/>
                  </a:lnTo>
                  <a:lnTo>
                    <a:pt x="2078355" y="1410653"/>
                  </a:lnTo>
                  <a:lnTo>
                    <a:pt x="2078355" y="1435418"/>
                  </a:lnTo>
                  <a:lnTo>
                    <a:pt x="2078355" y="1458278"/>
                  </a:lnTo>
                  <a:lnTo>
                    <a:pt x="2079308" y="1480185"/>
                  </a:lnTo>
                  <a:lnTo>
                    <a:pt x="2079308" y="1502093"/>
                  </a:lnTo>
                  <a:lnTo>
                    <a:pt x="2079308" y="1523048"/>
                  </a:lnTo>
                  <a:lnTo>
                    <a:pt x="2079308" y="1543050"/>
                  </a:lnTo>
                  <a:lnTo>
                    <a:pt x="2078355" y="1553528"/>
                  </a:lnTo>
                  <a:lnTo>
                    <a:pt x="2077403" y="1563053"/>
                  </a:lnTo>
                  <a:lnTo>
                    <a:pt x="2076450" y="1572578"/>
                  </a:lnTo>
                  <a:lnTo>
                    <a:pt x="2075498" y="1582103"/>
                  </a:lnTo>
                  <a:lnTo>
                    <a:pt x="2073593" y="1591628"/>
                  </a:lnTo>
                  <a:lnTo>
                    <a:pt x="2071688" y="1601153"/>
                  </a:lnTo>
                  <a:lnTo>
                    <a:pt x="2069783" y="1610678"/>
                  </a:lnTo>
                  <a:lnTo>
                    <a:pt x="2066925" y="1620203"/>
                  </a:lnTo>
                  <a:lnTo>
                    <a:pt x="2064068" y="1629728"/>
                  </a:lnTo>
                  <a:lnTo>
                    <a:pt x="2060258" y="1639253"/>
                  </a:lnTo>
                  <a:lnTo>
                    <a:pt x="2055495" y="1648778"/>
                  </a:lnTo>
                  <a:lnTo>
                    <a:pt x="2050733" y="1658303"/>
                  </a:lnTo>
                  <a:lnTo>
                    <a:pt x="2045018" y="1666875"/>
                  </a:lnTo>
                  <a:lnTo>
                    <a:pt x="2039303" y="1676400"/>
                  </a:lnTo>
                  <a:lnTo>
                    <a:pt x="2033588" y="1685925"/>
                  </a:lnTo>
                  <a:lnTo>
                    <a:pt x="2026920" y="1694498"/>
                  </a:lnTo>
                  <a:lnTo>
                    <a:pt x="2038350" y="1684020"/>
                  </a:lnTo>
                  <a:lnTo>
                    <a:pt x="2052638" y="1672590"/>
                  </a:lnTo>
                  <a:lnTo>
                    <a:pt x="2067878" y="1660208"/>
                  </a:lnTo>
                  <a:lnTo>
                    <a:pt x="2085023" y="1646873"/>
                  </a:lnTo>
                  <a:lnTo>
                    <a:pt x="2094548" y="1640205"/>
                  </a:lnTo>
                  <a:lnTo>
                    <a:pt x="2105025" y="1633538"/>
                  </a:lnTo>
                  <a:lnTo>
                    <a:pt x="2115503" y="1626870"/>
                  </a:lnTo>
                  <a:lnTo>
                    <a:pt x="2126933" y="1620203"/>
                  </a:lnTo>
                  <a:lnTo>
                    <a:pt x="2139315" y="1613535"/>
                  </a:lnTo>
                  <a:lnTo>
                    <a:pt x="2151698" y="1607820"/>
                  </a:lnTo>
                  <a:lnTo>
                    <a:pt x="2165033" y="1602105"/>
                  </a:lnTo>
                  <a:lnTo>
                    <a:pt x="2179320" y="1596390"/>
                  </a:lnTo>
                  <a:lnTo>
                    <a:pt x="2187893" y="1593533"/>
                  </a:lnTo>
                  <a:lnTo>
                    <a:pt x="2195513" y="1589723"/>
                  </a:lnTo>
                  <a:lnTo>
                    <a:pt x="2204085" y="1585913"/>
                  </a:lnTo>
                  <a:lnTo>
                    <a:pt x="2211705" y="1581150"/>
                  </a:lnTo>
                  <a:lnTo>
                    <a:pt x="2219325" y="1576388"/>
                  </a:lnTo>
                  <a:lnTo>
                    <a:pt x="2226945" y="1571625"/>
                  </a:lnTo>
                  <a:lnTo>
                    <a:pt x="2234565" y="1566863"/>
                  </a:lnTo>
                  <a:lnTo>
                    <a:pt x="2242185" y="1562100"/>
                  </a:lnTo>
                  <a:lnTo>
                    <a:pt x="2256473" y="1551623"/>
                  </a:lnTo>
                  <a:lnTo>
                    <a:pt x="2269808" y="1541145"/>
                  </a:lnTo>
                  <a:lnTo>
                    <a:pt x="2283143" y="1529715"/>
                  </a:lnTo>
                  <a:lnTo>
                    <a:pt x="2295525" y="1518285"/>
                  </a:lnTo>
                  <a:lnTo>
                    <a:pt x="2307908" y="1505903"/>
                  </a:lnTo>
                  <a:lnTo>
                    <a:pt x="2319338" y="1494473"/>
                  </a:lnTo>
                  <a:lnTo>
                    <a:pt x="2330768" y="1482090"/>
                  </a:lnTo>
                  <a:lnTo>
                    <a:pt x="2341245" y="1470660"/>
                  </a:lnTo>
                  <a:lnTo>
                    <a:pt x="2362200" y="1447800"/>
                  </a:lnTo>
                  <a:lnTo>
                    <a:pt x="2382203" y="1426845"/>
                  </a:lnTo>
                  <a:lnTo>
                    <a:pt x="2375535" y="1443038"/>
                  </a:lnTo>
                  <a:lnTo>
                    <a:pt x="2366010" y="1473518"/>
                  </a:lnTo>
                  <a:lnTo>
                    <a:pt x="2355533" y="1502093"/>
                  </a:lnTo>
                  <a:lnTo>
                    <a:pt x="2344103" y="1528763"/>
                  </a:lnTo>
                  <a:lnTo>
                    <a:pt x="2331720" y="1553528"/>
                  </a:lnTo>
                  <a:lnTo>
                    <a:pt x="2318385" y="1575435"/>
                  </a:lnTo>
                  <a:lnTo>
                    <a:pt x="2304098" y="1596390"/>
                  </a:lnTo>
                  <a:lnTo>
                    <a:pt x="2288858" y="1615440"/>
                  </a:lnTo>
                  <a:lnTo>
                    <a:pt x="2273618" y="1632585"/>
                  </a:lnTo>
                  <a:lnTo>
                    <a:pt x="2257425" y="1648778"/>
                  </a:lnTo>
                  <a:lnTo>
                    <a:pt x="2241233" y="1663065"/>
                  </a:lnTo>
                  <a:lnTo>
                    <a:pt x="2225040" y="1676400"/>
                  </a:lnTo>
                  <a:lnTo>
                    <a:pt x="2207895" y="1687830"/>
                  </a:lnTo>
                  <a:lnTo>
                    <a:pt x="2190750" y="1698308"/>
                  </a:lnTo>
                  <a:lnTo>
                    <a:pt x="2172653" y="1707833"/>
                  </a:lnTo>
                  <a:lnTo>
                    <a:pt x="2155508" y="1716405"/>
                  </a:lnTo>
                  <a:lnTo>
                    <a:pt x="2137410" y="1724025"/>
                  </a:lnTo>
                  <a:lnTo>
                    <a:pt x="2120265" y="1730693"/>
                  </a:lnTo>
                  <a:lnTo>
                    <a:pt x="2103120" y="1736408"/>
                  </a:lnTo>
                  <a:lnTo>
                    <a:pt x="2085975" y="1742123"/>
                  </a:lnTo>
                  <a:lnTo>
                    <a:pt x="2068830" y="1746885"/>
                  </a:lnTo>
                  <a:lnTo>
                    <a:pt x="2036445" y="1755458"/>
                  </a:lnTo>
                  <a:lnTo>
                    <a:pt x="2005965" y="1763078"/>
                  </a:lnTo>
                  <a:lnTo>
                    <a:pt x="1991678" y="1766888"/>
                  </a:lnTo>
                  <a:lnTo>
                    <a:pt x="1978343" y="1770698"/>
                  </a:lnTo>
                  <a:lnTo>
                    <a:pt x="1965960" y="1774508"/>
                  </a:lnTo>
                  <a:lnTo>
                    <a:pt x="1954530" y="1778318"/>
                  </a:lnTo>
                  <a:lnTo>
                    <a:pt x="1944053" y="1783080"/>
                  </a:lnTo>
                  <a:lnTo>
                    <a:pt x="1934528" y="1787843"/>
                  </a:lnTo>
                  <a:lnTo>
                    <a:pt x="1926908" y="1792605"/>
                  </a:lnTo>
                  <a:lnTo>
                    <a:pt x="1925003" y="1794510"/>
                  </a:lnTo>
                  <a:lnTo>
                    <a:pt x="1925003" y="1794510"/>
                  </a:lnTo>
                  <a:close/>
                  <a:moveTo>
                    <a:pt x="1703070" y="1945958"/>
                  </a:moveTo>
                  <a:lnTo>
                    <a:pt x="1707833" y="1939290"/>
                  </a:lnTo>
                  <a:lnTo>
                    <a:pt x="1712595" y="1931670"/>
                  </a:lnTo>
                  <a:lnTo>
                    <a:pt x="1717358" y="1923098"/>
                  </a:lnTo>
                  <a:lnTo>
                    <a:pt x="1722120" y="1914525"/>
                  </a:lnTo>
                  <a:lnTo>
                    <a:pt x="1730693" y="1894523"/>
                  </a:lnTo>
                  <a:lnTo>
                    <a:pt x="1740218" y="1872615"/>
                  </a:lnTo>
                  <a:lnTo>
                    <a:pt x="1749743" y="1848803"/>
                  </a:lnTo>
                  <a:lnTo>
                    <a:pt x="1760220" y="1824038"/>
                  </a:lnTo>
                  <a:lnTo>
                    <a:pt x="1771650" y="1798320"/>
                  </a:lnTo>
                  <a:lnTo>
                    <a:pt x="1784033" y="1772603"/>
                  </a:lnTo>
                  <a:lnTo>
                    <a:pt x="1790700" y="1759268"/>
                  </a:lnTo>
                  <a:lnTo>
                    <a:pt x="1797368" y="1745933"/>
                  </a:lnTo>
                  <a:lnTo>
                    <a:pt x="1804988" y="1732598"/>
                  </a:lnTo>
                  <a:lnTo>
                    <a:pt x="1812608" y="1719263"/>
                  </a:lnTo>
                  <a:lnTo>
                    <a:pt x="1820228" y="1705928"/>
                  </a:lnTo>
                  <a:lnTo>
                    <a:pt x="1828800" y="1693545"/>
                  </a:lnTo>
                  <a:lnTo>
                    <a:pt x="1838325" y="1680210"/>
                  </a:lnTo>
                  <a:lnTo>
                    <a:pt x="1847850" y="1667828"/>
                  </a:lnTo>
                  <a:lnTo>
                    <a:pt x="1858328" y="1655445"/>
                  </a:lnTo>
                  <a:lnTo>
                    <a:pt x="1868805" y="1644015"/>
                  </a:lnTo>
                  <a:lnTo>
                    <a:pt x="1879283" y="1632585"/>
                  </a:lnTo>
                  <a:lnTo>
                    <a:pt x="1891665" y="1622108"/>
                  </a:lnTo>
                  <a:lnTo>
                    <a:pt x="1904048" y="1611630"/>
                  </a:lnTo>
                  <a:lnTo>
                    <a:pt x="1917383" y="1601153"/>
                  </a:lnTo>
                  <a:lnTo>
                    <a:pt x="1931670" y="1591628"/>
                  </a:lnTo>
                  <a:lnTo>
                    <a:pt x="1945958" y="1583055"/>
                  </a:lnTo>
                  <a:lnTo>
                    <a:pt x="1931670" y="1630680"/>
                  </a:lnTo>
                  <a:lnTo>
                    <a:pt x="1919288" y="1675448"/>
                  </a:lnTo>
                  <a:lnTo>
                    <a:pt x="1913573" y="1696403"/>
                  </a:lnTo>
                  <a:lnTo>
                    <a:pt x="1907858" y="1716405"/>
                  </a:lnTo>
                  <a:lnTo>
                    <a:pt x="1902143" y="1736408"/>
                  </a:lnTo>
                  <a:lnTo>
                    <a:pt x="1895475" y="1755458"/>
                  </a:lnTo>
                  <a:lnTo>
                    <a:pt x="1891665" y="1764983"/>
                  </a:lnTo>
                  <a:lnTo>
                    <a:pt x="1887855" y="1773555"/>
                  </a:lnTo>
                  <a:lnTo>
                    <a:pt x="1884045" y="1782128"/>
                  </a:lnTo>
                  <a:lnTo>
                    <a:pt x="1879283" y="1790700"/>
                  </a:lnTo>
                  <a:lnTo>
                    <a:pt x="1874520" y="1799273"/>
                  </a:lnTo>
                  <a:lnTo>
                    <a:pt x="1869758" y="1807845"/>
                  </a:lnTo>
                  <a:lnTo>
                    <a:pt x="1864043" y="1816418"/>
                  </a:lnTo>
                  <a:lnTo>
                    <a:pt x="1858328" y="1824038"/>
                  </a:lnTo>
                  <a:lnTo>
                    <a:pt x="1852613" y="1832610"/>
                  </a:lnTo>
                  <a:lnTo>
                    <a:pt x="1846898" y="1840230"/>
                  </a:lnTo>
                  <a:lnTo>
                    <a:pt x="1840230" y="1847850"/>
                  </a:lnTo>
                  <a:lnTo>
                    <a:pt x="1832610" y="1855470"/>
                  </a:lnTo>
                  <a:lnTo>
                    <a:pt x="1824990" y="1863090"/>
                  </a:lnTo>
                  <a:lnTo>
                    <a:pt x="1817370" y="1870710"/>
                  </a:lnTo>
                  <a:lnTo>
                    <a:pt x="1808798" y="1878330"/>
                  </a:lnTo>
                  <a:lnTo>
                    <a:pt x="1800225" y="1885950"/>
                  </a:lnTo>
                  <a:lnTo>
                    <a:pt x="1815465" y="1878330"/>
                  </a:lnTo>
                  <a:lnTo>
                    <a:pt x="1835468" y="1869758"/>
                  </a:lnTo>
                  <a:lnTo>
                    <a:pt x="1859280" y="1860233"/>
                  </a:lnTo>
                  <a:lnTo>
                    <a:pt x="1885950" y="1850708"/>
                  </a:lnTo>
                  <a:lnTo>
                    <a:pt x="1900238" y="1845945"/>
                  </a:lnTo>
                  <a:lnTo>
                    <a:pt x="1914525" y="1841183"/>
                  </a:lnTo>
                  <a:lnTo>
                    <a:pt x="1929765" y="1836420"/>
                  </a:lnTo>
                  <a:lnTo>
                    <a:pt x="1945005" y="1832610"/>
                  </a:lnTo>
                  <a:lnTo>
                    <a:pt x="1960245" y="1828800"/>
                  </a:lnTo>
                  <a:lnTo>
                    <a:pt x="1975485" y="1824990"/>
                  </a:lnTo>
                  <a:lnTo>
                    <a:pt x="1990725" y="1822133"/>
                  </a:lnTo>
                  <a:lnTo>
                    <a:pt x="2005965" y="1819275"/>
                  </a:lnTo>
                  <a:lnTo>
                    <a:pt x="2019300" y="1817370"/>
                  </a:lnTo>
                  <a:lnTo>
                    <a:pt x="2031683" y="1815465"/>
                  </a:lnTo>
                  <a:lnTo>
                    <a:pt x="2043113" y="1813560"/>
                  </a:lnTo>
                  <a:lnTo>
                    <a:pt x="2054543" y="1811655"/>
                  </a:lnTo>
                  <a:lnTo>
                    <a:pt x="2065020" y="1809750"/>
                  </a:lnTo>
                  <a:lnTo>
                    <a:pt x="2075498" y="1806893"/>
                  </a:lnTo>
                  <a:lnTo>
                    <a:pt x="2085023" y="1804035"/>
                  </a:lnTo>
                  <a:lnTo>
                    <a:pt x="2094548" y="1801178"/>
                  </a:lnTo>
                  <a:lnTo>
                    <a:pt x="2103120" y="1798320"/>
                  </a:lnTo>
                  <a:lnTo>
                    <a:pt x="2111693" y="1795463"/>
                  </a:lnTo>
                  <a:lnTo>
                    <a:pt x="2120265" y="1792605"/>
                  </a:lnTo>
                  <a:lnTo>
                    <a:pt x="2127885" y="1789748"/>
                  </a:lnTo>
                  <a:lnTo>
                    <a:pt x="2142173" y="1783080"/>
                  </a:lnTo>
                  <a:lnTo>
                    <a:pt x="2155508" y="1776413"/>
                  </a:lnTo>
                  <a:lnTo>
                    <a:pt x="2167890" y="1769745"/>
                  </a:lnTo>
                  <a:lnTo>
                    <a:pt x="2179320" y="1763078"/>
                  </a:lnTo>
                  <a:lnTo>
                    <a:pt x="2189798" y="1755458"/>
                  </a:lnTo>
                  <a:lnTo>
                    <a:pt x="2200275" y="1748790"/>
                  </a:lnTo>
                  <a:lnTo>
                    <a:pt x="2210753" y="1741170"/>
                  </a:lnTo>
                  <a:lnTo>
                    <a:pt x="2221230" y="1734503"/>
                  </a:lnTo>
                  <a:lnTo>
                    <a:pt x="2232660" y="1727835"/>
                  </a:lnTo>
                  <a:lnTo>
                    <a:pt x="2244090" y="1721168"/>
                  </a:lnTo>
                  <a:lnTo>
                    <a:pt x="2227898" y="1749743"/>
                  </a:lnTo>
                  <a:lnTo>
                    <a:pt x="2211705" y="1775460"/>
                  </a:lnTo>
                  <a:lnTo>
                    <a:pt x="2194560" y="1798320"/>
                  </a:lnTo>
                  <a:lnTo>
                    <a:pt x="2177415" y="1819275"/>
                  </a:lnTo>
                  <a:lnTo>
                    <a:pt x="2159318" y="1838325"/>
                  </a:lnTo>
                  <a:lnTo>
                    <a:pt x="2140268" y="1855470"/>
                  </a:lnTo>
                  <a:lnTo>
                    <a:pt x="2121218" y="1870710"/>
                  </a:lnTo>
                  <a:lnTo>
                    <a:pt x="2102168" y="1884045"/>
                  </a:lnTo>
                  <a:lnTo>
                    <a:pt x="2082165" y="1895475"/>
                  </a:lnTo>
                  <a:lnTo>
                    <a:pt x="2062163" y="1905953"/>
                  </a:lnTo>
                  <a:lnTo>
                    <a:pt x="2042160" y="1914525"/>
                  </a:lnTo>
                  <a:lnTo>
                    <a:pt x="2022158" y="1921193"/>
                  </a:lnTo>
                  <a:lnTo>
                    <a:pt x="2002155" y="1926908"/>
                  </a:lnTo>
                  <a:lnTo>
                    <a:pt x="1982153" y="1931670"/>
                  </a:lnTo>
                  <a:lnTo>
                    <a:pt x="1962150" y="1935480"/>
                  </a:lnTo>
                  <a:lnTo>
                    <a:pt x="1943100" y="1938338"/>
                  </a:lnTo>
                  <a:lnTo>
                    <a:pt x="1924050" y="1940243"/>
                  </a:lnTo>
                  <a:lnTo>
                    <a:pt x="1905000" y="1941195"/>
                  </a:lnTo>
                  <a:lnTo>
                    <a:pt x="1885950" y="1941195"/>
                  </a:lnTo>
                  <a:lnTo>
                    <a:pt x="1867853" y="1941195"/>
                  </a:lnTo>
                  <a:lnTo>
                    <a:pt x="1833563" y="1940243"/>
                  </a:lnTo>
                  <a:lnTo>
                    <a:pt x="1801178" y="1939290"/>
                  </a:lnTo>
                  <a:lnTo>
                    <a:pt x="1785938" y="1939290"/>
                  </a:lnTo>
                  <a:lnTo>
                    <a:pt x="1771650" y="1939290"/>
                  </a:lnTo>
                  <a:lnTo>
                    <a:pt x="1758315" y="1939290"/>
                  </a:lnTo>
                  <a:lnTo>
                    <a:pt x="1745933" y="1939290"/>
                  </a:lnTo>
                  <a:lnTo>
                    <a:pt x="1734503" y="1940243"/>
                  </a:lnTo>
                  <a:lnTo>
                    <a:pt x="1724025" y="1942148"/>
                  </a:lnTo>
                  <a:lnTo>
                    <a:pt x="1714500" y="1945005"/>
                  </a:lnTo>
                  <a:lnTo>
                    <a:pt x="1703070" y="1945958"/>
                  </a:lnTo>
                  <a:lnTo>
                    <a:pt x="1703070" y="1945958"/>
                  </a:lnTo>
                  <a:close/>
                  <a:moveTo>
                    <a:pt x="2267903" y="813435"/>
                  </a:moveTo>
                  <a:lnTo>
                    <a:pt x="2262188" y="797243"/>
                  </a:lnTo>
                  <a:lnTo>
                    <a:pt x="2255520" y="782003"/>
                  </a:lnTo>
                  <a:lnTo>
                    <a:pt x="2247900" y="766763"/>
                  </a:lnTo>
                  <a:lnTo>
                    <a:pt x="2239328" y="753428"/>
                  </a:lnTo>
                  <a:lnTo>
                    <a:pt x="2230755" y="740093"/>
                  </a:lnTo>
                  <a:lnTo>
                    <a:pt x="2220278" y="727710"/>
                  </a:lnTo>
                  <a:lnTo>
                    <a:pt x="2210753" y="716280"/>
                  </a:lnTo>
                  <a:lnTo>
                    <a:pt x="2200275" y="704850"/>
                  </a:lnTo>
                  <a:lnTo>
                    <a:pt x="2188845" y="694373"/>
                  </a:lnTo>
                  <a:lnTo>
                    <a:pt x="2177415" y="683895"/>
                  </a:lnTo>
                  <a:lnTo>
                    <a:pt x="2165985" y="673418"/>
                  </a:lnTo>
                  <a:lnTo>
                    <a:pt x="2153603" y="663893"/>
                  </a:lnTo>
                  <a:lnTo>
                    <a:pt x="2128838" y="643890"/>
                  </a:lnTo>
                  <a:lnTo>
                    <a:pt x="2103120" y="624840"/>
                  </a:lnTo>
                  <a:lnTo>
                    <a:pt x="2090738" y="615315"/>
                  </a:lnTo>
                  <a:lnTo>
                    <a:pt x="2078355" y="605790"/>
                  </a:lnTo>
                  <a:lnTo>
                    <a:pt x="2065973" y="595313"/>
                  </a:lnTo>
                  <a:lnTo>
                    <a:pt x="2053590" y="584835"/>
                  </a:lnTo>
                  <a:lnTo>
                    <a:pt x="2042160" y="574358"/>
                  </a:lnTo>
                  <a:lnTo>
                    <a:pt x="2030730" y="563880"/>
                  </a:lnTo>
                  <a:lnTo>
                    <a:pt x="2020253" y="553403"/>
                  </a:lnTo>
                  <a:lnTo>
                    <a:pt x="2009775" y="541973"/>
                  </a:lnTo>
                  <a:lnTo>
                    <a:pt x="1999298" y="529590"/>
                  </a:lnTo>
                  <a:lnTo>
                    <a:pt x="1989773" y="516255"/>
                  </a:lnTo>
                  <a:lnTo>
                    <a:pt x="1980248" y="502920"/>
                  </a:lnTo>
                  <a:lnTo>
                    <a:pt x="1971675" y="488633"/>
                  </a:lnTo>
                  <a:lnTo>
                    <a:pt x="1964055" y="473393"/>
                  </a:lnTo>
                  <a:lnTo>
                    <a:pt x="1957388" y="458153"/>
                  </a:lnTo>
                  <a:lnTo>
                    <a:pt x="1950720" y="441008"/>
                  </a:lnTo>
                  <a:lnTo>
                    <a:pt x="1945958" y="422910"/>
                  </a:lnTo>
                  <a:lnTo>
                    <a:pt x="1957388" y="434340"/>
                  </a:lnTo>
                  <a:lnTo>
                    <a:pt x="1969770" y="444818"/>
                  </a:lnTo>
                  <a:lnTo>
                    <a:pt x="1982153" y="455295"/>
                  </a:lnTo>
                  <a:lnTo>
                    <a:pt x="1995488" y="464820"/>
                  </a:lnTo>
                  <a:lnTo>
                    <a:pt x="2008823" y="474345"/>
                  </a:lnTo>
                  <a:lnTo>
                    <a:pt x="2022158" y="483870"/>
                  </a:lnTo>
                  <a:lnTo>
                    <a:pt x="2036445" y="492443"/>
                  </a:lnTo>
                  <a:lnTo>
                    <a:pt x="2050733" y="501968"/>
                  </a:lnTo>
                  <a:lnTo>
                    <a:pt x="2079308" y="520065"/>
                  </a:lnTo>
                  <a:lnTo>
                    <a:pt x="2106930" y="539115"/>
                  </a:lnTo>
                  <a:lnTo>
                    <a:pt x="2121218" y="549593"/>
                  </a:lnTo>
                  <a:lnTo>
                    <a:pt x="2134553" y="560070"/>
                  </a:lnTo>
                  <a:lnTo>
                    <a:pt x="2147888" y="571500"/>
                  </a:lnTo>
                  <a:lnTo>
                    <a:pt x="2161223" y="582930"/>
                  </a:lnTo>
                  <a:lnTo>
                    <a:pt x="2172653" y="595313"/>
                  </a:lnTo>
                  <a:lnTo>
                    <a:pt x="2183130" y="607695"/>
                  </a:lnTo>
                  <a:lnTo>
                    <a:pt x="2192655" y="620078"/>
                  </a:lnTo>
                  <a:lnTo>
                    <a:pt x="2201228" y="632460"/>
                  </a:lnTo>
                  <a:lnTo>
                    <a:pt x="2208848" y="644843"/>
                  </a:lnTo>
                  <a:lnTo>
                    <a:pt x="2216468" y="658178"/>
                  </a:lnTo>
                  <a:lnTo>
                    <a:pt x="2223135" y="671513"/>
                  </a:lnTo>
                  <a:lnTo>
                    <a:pt x="2230755" y="685800"/>
                  </a:lnTo>
                  <a:lnTo>
                    <a:pt x="2225040" y="664845"/>
                  </a:lnTo>
                  <a:lnTo>
                    <a:pt x="2220278" y="643890"/>
                  </a:lnTo>
                  <a:lnTo>
                    <a:pt x="2214563" y="622935"/>
                  </a:lnTo>
                  <a:lnTo>
                    <a:pt x="2209800" y="600075"/>
                  </a:lnTo>
                  <a:lnTo>
                    <a:pt x="2205990" y="579120"/>
                  </a:lnTo>
                  <a:lnTo>
                    <a:pt x="2202180" y="559118"/>
                  </a:lnTo>
                  <a:lnTo>
                    <a:pt x="2201228" y="549593"/>
                  </a:lnTo>
                  <a:lnTo>
                    <a:pt x="2200275" y="540068"/>
                  </a:lnTo>
                  <a:lnTo>
                    <a:pt x="2199323" y="530543"/>
                  </a:lnTo>
                  <a:lnTo>
                    <a:pt x="2199323" y="521018"/>
                  </a:lnTo>
                  <a:lnTo>
                    <a:pt x="2196465" y="495300"/>
                  </a:lnTo>
                  <a:lnTo>
                    <a:pt x="2194560" y="476250"/>
                  </a:lnTo>
                  <a:lnTo>
                    <a:pt x="2192655" y="461010"/>
                  </a:lnTo>
                  <a:lnTo>
                    <a:pt x="2189798" y="448628"/>
                  </a:lnTo>
                  <a:lnTo>
                    <a:pt x="2187893" y="442913"/>
                  </a:lnTo>
                  <a:lnTo>
                    <a:pt x="2185988" y="437198"/>
                  </a:lnTo>
                  <a:lnTo>
                    <a:pt x="2184083" y="430530"/>
                  </a:lnTo>
                  <a:lnTo>
                    <a:pt x="2181225" y="422910"/>
                  </a:lnTo>
                  <a:lnTo>
                    <a:pt x="2174558" y="404813"/>
                  </a:lnTo>
                  <a:lnTo>
                    <a:pt x="2164080" y="381000"/>
                  </a:lnTo>
                  <a:lnTo>
                    <a:pt x="2160270" y="374333"/>
                  </a:lnTo>
                  <a:lnTo>
                    <a:pt x="2154555" y="364808"/>
                  </a:lnTo>
                  <a:lnTo>
                    <a:pt x="2148840" y="355283"/>
                  </a:lnTo>
                  <a:lnTo>
                    <a:pt x="2145030" y="348615"/>
                  </a:lnTo>
                  <a:lnTo>
                    <a:pt x="2152650" y="354330"/>
                  </a:lnTo>
                  <a:lnTo>
                    <a:pt x="2160270" y="360045"/>
                  </a:lnTo>
                  <a:lnTo>
                    <a:pt x="2166938" y="365760"/>
                  </a:lnTo>
                  <a:lnTo>
                    <a:pt x="2173605" y="371475"/>
                  </a:lnTo>
                  <a:lnTo>
                    <a:pt x="2180273" y="377190"/>
                  </a:lnTo>
                  <a:lnTo>
                    <a:pt x="2185988" y="382905"/>
                  </a:lnTo>
                  <a:lnTo>
                    <a:pt x="2191703" y="388620"/>
                  </a:lnTo>
                  <a:lnTo>
                    <a:pt x="2197418" y="394335"/>
                  </a:lnTo>
                  <a:lnTo>
                    <a:pt x="2203133" y="400050"/>
                  </a:lnTo>
                  <a:lnTo>
                    <a:pt x="2207895" y="406718"/>
                  </a:lnTo>
                  <a:lnTo>
                    <a:pt x="2213610" y="412433"/>
                  </a:lnTo>
                  <a:lnTo>
                    <a:pt x="2218373" y="419100"/>
                  </a:lnTo>
                  <a:lnTo>
                    <a:pt x="2223135" y="425768"/>
                  </a:lnTo>
                  <a:lnTo>
                    <a:pt x="2227898" y="432435"/>
                  </a:lnTo>
                  <a:lnTo>
                    <a:pt x="2232660" y="439103"/>
                  </a:lnTo>
                  <a:lnTo>
                    <a:pt x="2236470" y="445770"/>
                  </a:lnTo>
                  <a:lnTo>
                    <a:pt x="2244090" y="460058"/>
                  </a:lnTo>
                  <a:lnTo>
                    <a:pt x="2250758" y="475298"/>
                  </a:lnTo>
                  <a:lnTo>
                    <a:pt x="2257425" y="490538"/>
                  </a:lnTo>
                  <a:lnTo>
                    <a:pt x="2263140" y="506730"/>
                  </a:lnTo>
                  <a:lnTo>
                    <a:pt x="2267903" y="522923"/>
                  </a:lnTo>
                  <a:lnTo>
                    <a:pt x="2272665" y="540068"/>
                  </a:lnTo>
                  <a:lnTo>
                    <a:pt x="2276475" y="557213"/>
                  </a:lnTo>
                  <a:lnTo>
                    <a:pt x="2279333" y="575310"/>
                  </a:lnTo>
                  <a:lnTo>
                    <a:pt x="2281238" y="590550"/>
                  </a:lnTo>
                  <a:lnTo>
                    <a:pt x="2282190" y="605790"/>
                  </a:lnTo>
                  <a:lnTo>
                    <a:pt x="2283143" y="621030"/>
                  </a:lnTo>
                  <a:lnTo>
                    <a:pt x="2283143" y="635318"/>
                  </a:lnTo>
                  <a:lnTo>
                    <a:pt x="2284095" y="650558"/>
                  </a:lnTo>
                  <a:lnTo>
                    <a:pt x="2283143" y="664845"/>
                  </a:lnTo>
                  <a:lnTo>
                    <a:pt x="2283143" y="679133"/>
                  </a:lnTo>
                  <a:lnTo>
                    <a:pt x="2282190" y="693420"/>
                  </a:lnTo>
                  <a:lnTo>
                    <a:pt x="2280285" y="721995"/>
                  </a:lnTo>
                  <a:lnTo>
                    <a:pt x="2277428" y="751523"/>
                  </a:lnTo>
                  <a:lnTo>
                    <a:pt x="2273618" y="782003"/>
                  </a:lnTo>
                  <a:lnTo>
                    <a:pt x="2267903" y="813435"/>
                  </a:lnTo>
                  <a:lnTo>
                    <a:pt x="2267903" y="813435"/>
                  </a:lnTo>
                  <a:close/>
                  <a:moveTo>
                    <a:pt x="422910" y="1971675"/>
                  </a:moveTo>
                  <a:lnTo>
                    <a:pt x="438150" y="1981200"/>
                  </a:lnTo>
                  <a:lnTo>
                    <a:pt x="454343" y="1987868"/>
                  </a:lnTo>
                  <a:lnTo>
                    <a:pt x="471488" y="1992630"/>
                  </a:lnTo>
                  <a:lnTo>
                    <a:pt x="489585" y="1996440"/>
                  </a:lnTo>
                  <a:lnTo>
                    <a:pt x="508635" y="1998345"/>
                  </a:lnTo>
                  <a:lnTo>
                    <a:pt x="528638" y="1998345"/>
                  </a:lnTo>
                  <a:lnTo>
                    <a:pt x="549593" y="1998345"/>
                  </a:lnTo>
                  <a:lnTo>
                    <a:pt x="570548" y="1996440"/>
                  </a:lnTo>
                  <a:lnTo>
                    <a:pt x="592455" y="1993583"/>
                  </a:lnTo>
                  <a:lnTo>
                    <a:pt x="615315" y="1989773"/>
                  </a:lnTo>
                  <a:lnTo>
                    <a:pt x="639128" y="1985010"/>
                  </a:lnTo>
                  <a:lnTo>
                    <a:pt x="663893" y="1980248"/>
                  </a:lnTo>
                  <a:lnTo>
                    <a:pt x="714375" y="1968818"/>
                  </a:lnTo>
                  <a:lnTo>
                    <a:pt x="765810" y="1957388"/>
                  </a:lnTo>
                  <a:lnTo>
                    <a:pt x="792480" y="1951673"/>
                  </a:lnTo>
                  <a:lnTo>
                    <a:pt x="820103" y="1945958"/>
                  </a:lnTo>
                  <a:lnTo>
                    <a:pt x="847725" y="1941195"/>
                  </a:lnTo>
                  <a:lnTo>
                    <a:pt x="875348" y="1935480"/>
                  </a:lnTo>
                  <a:lnTo>
                    <a:pt x="903923" y="1930718"/>
                  </a:lnTo>
                  <a:lnTo>
                    <a:pt x="932498" y="1926908"/>
                  </a:lnTo>
                  <a:lnTo>
                    <a:pt x="961073" y="1924050"/>
                  </a:lnTo>
                  <a:lnTo>
                    <a:pt x="989648" y="1922145"/>
                  </a:lnTo>
                  <a:lnTo>
                    <a:pt x="1018223" y="1921193"/>
                  </a:lnTo>
                  <a:lnTo>
                    <a:pt x="1046798" y="1922145"/>
                  </a:lnTo>
                  <a:lnTo>
                    <a:pt x="1076325" y="1924050"/>
                  </a:lnTo>
                  <a:lnTo>
                    <a:pt x="1104900" y="1927860"/>
                  </a:lnTo>
                  <a:lnTo>
                    <a:pt x="1134428" y="1932623"/>
                  </a:lnTo>
                  <a:lnTo>
                    <a:pt x="1163003" y="1939290"/>
                  </a:lnTo>
                  <a:lnTo>
                    <a:pt x="1192530" y="1948815"/>
                  </a:lnTo>
                  <a:lnTo>
                    <a:pt x="1221105" y="1959293"/>
                  </a:lnTo>
                  <a:lnTo>
                    <a:pt x="1258253" y="1948815"/>
                  </a:lnTo>
                  <a:lnTo>
                    <a:pt x="1293495" y="1940243"/>
                  </a:lnTo>
                  <a:lnTo>
                    <a:pt x="1326833" y="1933575"/>
                  </a:lnTo>
                  <a:lnTo>
                    <a:pt x="1359218" y="1928813"/>
                  </a:lnTo>
                  <a:lnTo>
                    <a:pt x="1390650" y="1925003"/>
                  </a:lnTo>
                  <a:lnTo>
                    <a:pt x="1421130" y="1923098"/>
                  </a:lnTo>
                  <a:lnTo>
                    <a:pt x="1449705" y="1923098"/>
                  </a:lnTo>
                  <a:lnTo>
                    <a:pt x="1478280" y="1924050"/>
                  </a:lnTo>
                  <a:lnTo>
                    <a:pt x="1504950" y="1925955"/>
                  </a:lnTo>
                  <a:lnTo>
                    <a:pt x="1530668" y="1928813"/>
                  </a:lnTo>
                  <a:lnTo>
                    <a:pt x="1556385" y="1932623"/>
                  </a:lnTo>
                  <a:lnTo>
                    <a:pt x="1581150" y="1937385"/>
                  </a:lnTo>
                  <a:lnTo>
                    <a:pt x="1604963" y="1942148"/>
                  </a:lnTo>
                  <a:lnTo>
                    <a:pt x="1627823" y="1946910"/>
                  </a:lnTo>
                  <a:lnTo>
                    <a:pt x="1650683" y="1952625"/>
                  </a:lnTo>
                  <a:lnTo>
                    <a:pt x="1673543" y="1958340"/>
                  </a:lnTo>
                  <a:lnTo>
                    <a:pt x="1717358" y="1969770"/>
                  </a:lnTo>
                  <a:lnTo>
                    <a:pt x="1759268" y="1980248"/>
                  </a:lnTo>
                  <a:lnTo>
                    <a:pt x="1780223" y="1985010"/>
                  </a:lnTo>
                  <a:lnTo>
                    <a:pt x="1801178" y="1989773"/>
                  </a:lnTo>
                  <a:lnTo>
                    <a:pt x="1822133" y="1993583"/>
                  </a:lnTo>
                  <a:lnTo>
                    <a:pt x="1843088" y="1996440"/>
                  </a:lnTo>
                  <a:lnTo>
                    <a:pt x="1864043" y="1998345"/>
                  </a:lnTo>
                  <a:lnTo>
                    <a:pt x="1884998" y="1998345"/>
                  </a:lnTo>
                  <a:lnTo>
                    <a:pt x="1906905" y="1998345"/>
                  </a:lnTo>
                  <a:lnTo>
                    <a:pt x="1928813" y="1996440"/>
                  </a:lnTo>
                  <a:lnTo>
                    <a:pt x="1951673" y="1993583"/>
                  </a:lnTo>
                  <a:lnTo>
                    <a:pt x="1974533" y="1987868"/>
                  </a:lnTo>
                  <a:lnTo>
                    <a:pt x="1998345" y="1981200"/>
                  </a:lnTo>
                  <a:lnTo>
                    <a:pt x="2023110" y="1972628"/>
                  </a:lnTo>
                  <a:lnTo>
                    <a:pt x="2001203" y="1992630"/>
                  </a:lnTo>
                  <a:lnTo>
                    <a:pt x="1978343" y="2009775"/>
                  </a:lnTo>
                  <a:lnTo>
                    <a:pt x="1955483" y="2025015"/>
                  </a:lnTo>
                  <a:lnTo>
                    <a:pt x="1931670" y="2038350"/>
                  </a:lnTo>
                  <a:lnTo>
                    <a:pt x="1907858" y="2048828"/>
                  </a:lnTo>
                  <a:lnTo>
                    <a:pt x="1883093" y="2057400"/>
                  </a:lnTo>
                  <a:lnTo>
                    <a:pt x="1857375" y="2064068"/>
                  </a:lnTo>
                  <a:lnTo>
                    <a:pt x="1831658" y="2069783"/>
                  </a:lnTo>
                  <a:lnTo>
                    <a:pt x="1805940" y="2073593"/>
                  </a:lnTo>
                  <a:lnTo>
                    <a:pt x="1779270" y="2075498"/>
                  </a:lnTo>
                  <a:lnTo>
                    <a:pt x="1752600" y="2076450"/>
                  </a:lnTo>
                  <a:lnTo>
                    <a:pt x="1726883" y="2076450"/>
                  </a:lnTo>
                  <a:lnTo>
                    <a:pt x="1701165" y="2074545"/>
                  </a:lnTo>
                  <a:lnTo>
                    <a:pt x="1674495" y="2071688"/>
                  </a:lnTo>
                  <a:lnTo>
                    <a:pt x="1648778" y="2068830"/>
                  </a:lnTo>
                  <a:lnTo>
                    <a:pt x="1623060" y="2064068"/>
                  </a:lnTo>
                  <a:lnTo>
                    <a:pt x="1597343" y="2059305"/>
                  </a:lnTo>
                  <a:lnTo>
                    <a:pt x="1571625" y="2053590"/>
                  </a:lnTo>
                  <a:lnTo>
                    <a:pt x="1546860" y="2047875"/>
                  </a:lnTo>
                  <a:lnTo>
                    <a:pt x="1522095" y="2042160"/>
                  </a:lnTo>
                  <a:lnTo>
                    <a:pt x="1474470" y="2029778"/>
                  </a:lnTo>
                  <a:lnTo>
                    <a:pt x="1428750" y="2018348"/>
                  </a:lnTo>
                  <a:lnTo>
                    <a:pt x="1406843" y="2012633"/>
                  </a:lnTo>
                  <a:lnTo>
                    <a:pt x="1385888" y="2006918"/>
                  </a:lnTo>
                  <a:lnTo>
                    <a:pt x="1365885" y="2002155"/>
                  </a:lnTo>
                  <a:lnTo>
                    <a:pt x="1346835" y="1997393"/>
                  </a:lnTo>
                  <a:lnTo>
                    <a:pt x="1328738" y="1994535"/>
                  </a:lnTo>
                  <a:lnTo>
                    <a:pt x="1311593" y="1991678"/>
                  </a:lnTo>
                  <a:lnTo>
                    <a:pt x="1295400" y="1990725"/>
                  </a:lnTo>
                  <a:lnTo>
                    <a:pt x="1280160" y="1990725"/>
                  </a:lnTo>
                  <a:lnTo>
                    <a:pt x="1298258" y="2000250"/>
                  </a:lnTo>
                  <a:lnTo>
                    <a:pt x="1315403" y="2009775"/>
                  </a:lnTo>
                  <a:lnTo>
                    <a:pt x="1330643" y="2019300"/>
                  </a:lnTo>
                  <a:lnTo>
                    <a:pt x="1345883" y="2028825"/>
                  </a:lnTo>
                  <a:lnTo>
                    <a:pt x="1361123" y="2039303"/>
                  </a:lnTo>
                  <a:lnTo>
                    <a:pt x="1375410" y="2048828"/>
                  </a:lnTo>
                  <a:lnTo>
                    <a:pt x="1388745" y="2059305"/>
                  </a:lnTo>
                  <a:lnTo>
                    <a:pt x="1402080" y="2069783"/>
                  </a:lnTo>
                  <a:lnTo>
                    <a:pt x="1414463" y="2080260"/>
                  </a:lnTo>
                  <a:lnTo>
                    <a:pt x="1425893" y="2090738"/>
                  </a:lnTo>
                  <a:lnTo>
                    <a:pt x="1437323" y="2101215"/>
                  </a:lnTo>
                  <a:lnTo>
                    <a:pt x="1447800" y="2111693"/>
                  </a:lnTo>
                  <a:lnTo>
                    <a:pt x="1458278" y="2122170"/>
                  </a:lnTo>
                  <a:lnTo>
                    <a:pt x="1468755" y="2132648"/>
                  </a:lnTo>
                  <a:lnTo>
                    <a:pt x="1478280" y="2143125"/>
                  </a:lnTo>
                  <a:lnTo>
                    <a:pt x="1487805" y="2153603"/>
                  </a:lnTo>
                  <a:lnTo>
                    <a:pt x="1472565" y="2155508"/>
                  </a:lnTo>
                  <a:lnTo>
                    <a:pt x="1458278" y="2157413"/>
                  </a:lnTo>
                  <a:lnTo>
                    <a:pt x="1443990" y="2159318"/>
                  </a:lnTo>
                  <a:lnTo>
                    <a:pt x="1428750" y="2161223"/>
                  </a:lnTo>
                  <a:lnTo>
                    <a:pt x="1421130" y="2149793"/>
                  </a:lnTo>
                  <a:lnTo>
                    <a:pt x="1413510" y="2138363"/>
                  </a:lnTo>
                  <a:lnTo>
                    <a:pt x="1403985" y="2127885"/>
                  </a:lnTo>
                  <a:lnTo>
                    <a:pt x="1394460" y="2117408"/>
                  </a:lnTo>
                  <a:lnTo>
                    <a:pt x="1383983" y="2106930"/>
                  </a:lnTo>
                  <a:lnTo>
                    <a:pt x="1372553" y="2096453"/>
                  </a:lnTo>
                  <a:lnTo>
                    <a:pt x="1360170" y="2085975"/>
                  </a:lnTo>
                  <a:lnTo>
                    <a:pt x="1346835" y="2075498"/>
                  </a:lnTo>
                  <a:lnTo>
                    <a:pt x="1333500" y="2065020"/>
                  </a:lnTo>
                  <a:lnTo>
                    <a:pt x="1319213" y="2054543"/>
                  </a:lnTo>
                  <a:lnTo>
                    <a:pt x="1303973" y="2044065"/>
                  </a:lnTo>
                  <a:lnTo>
                    <a:pt x="1288733" y="2034540"/>
                  </a:lnTo>
                  <a:lnTo>
                    <a:pt x="1272540" y="2025015"/>
                  </a:lnTo>
                  <a:lnTo>
                    <a:pt x="1255395" y="2015490"/>
                  </a:lnTo>
                  <a:lnTo>
                    <a:pt x="1237298" y="2005965"/>
                  </a:lnTo>
                  <a:lnTo>
                    <a:pt x="1218248" y="1996440"/>
                  </a:lnTo>
                  <a:lnTo>
                    <a:pt x="1202055" y="2002155"/>
                  </a:lnTo>
                  <a:lnTo>
                    <a:pt x="1186815" y="2007870"/>
                  </a:lnTo>
                  <a:lnTo>
                    <a:pt x="1171575" y="2014538"/>
                  </a:lnTo>
                  <a:lnTo>
                    <a:pt x="1156335" y="2021205"/>
                  </a:lnTo>
                  <a:lnTo>
                    <a:pt x="1141095" y="2028825"/>
                  </a:lnTo>
                  <a:lnTo>
                    <a:pt x="1126808" y="2037398"/>
                  </a:lnTo>
                  <a:lnTo>
                    <a:pt x="1112520" y="2045970"/>
                  </a:lnTo>
                  <a:lnTo>
                    <a:pt x="1098233" y="2056448"/>
                  </a:lnTo>
                  <a:lnTo>
                    <a:pt x="1084898" y="2066925"/>
                  </a:lnTo>
                  <a:lnTo>
                    <a:pt x="1071563" y="2078355"/>
                  </a:lnTo>
                  <a:lnTo>
                    <a:pt x="1059180" y="2089785"/>
                  </a:lnTo>
                  <a:lnTo>
                    <a:pt x="1046798" y="2102168"/>
                  </a:lnTo>
                  <a:lnTo>
                    <a:pt x="1035368" y="2115503"/>
                  </a:lnTo>
                  <a:lnTo>
                    <a:pt x="1023938" y="2129790"/>
                  </a:lnTo>
                  <a:lnTo>
                    <a:pt x="1012508" y="2145030"/>
                  </a:lnTo>
                  <a:lnTo>
                    <a:pt x="1002030" y="2160270"/>
                  </a:lnTo>
                  <a:lnTo>
                    <a:pt x="987743" y="2158365"/>
                  </a:lnTo>
                  <a:lnTo>
                    <a:pt x="972503" y="2156460"/>
                  </a:lnTo>
                  <a:lnTo>
                    <a:pt x="958215" y="2154555"/>
                  </a:lnTo>
                  <a:lnTo>
                    <a:pt x="943928" y="2152650"/>
                  </a:lnTo>
                  <a:lnTo>
                    <a:pt x="954405" y="2142173"/>
                  </a:lnTo>
                  <a:lnTo>
                    <a:pt x="964883" y="2131695"/>
                  </a:lnTo>
                  <a:lnTo>
                    <a:pt x="975360" y="2121218"/>
                  </a:lnTo>
                  <a:lnTo>
                    <a:pt x="985838" y="2110740"/>
                  </a:lnTo>
                  <a:lnTo>
                    <a:pt x="997268" y="2100263"/>
                  </a:lnTo>
                  <a:lnTo>
                    <a:pt x="1008698" y="2089785"/>
                  </a:lnTo>
                  <a:lnTo>
                    <a:pt x="1021080" y="2079308"/>
                  </a:lnTo>
                  <a:lnTo>
                    <a:pt x="1033463" y="2068830"/>
                  </a:lnTo>
                  <a:lnTo>
                    <a:pt x="1045845" y="2058353"/>
                  </a:lnTo>
                  <a:lnTo>
                    <a:pt x="1059180" y="2047875"/>
                  </a:lnTo>
                  <a:lnTo>
                    <a:pt x="1073468" y="2037398"/>
                  </a:lnTo>
                  <a:lnTo>
                    <a:pt x="1087755" y="2027873"/>
                  </a:lnTo>
                  <a:lnTo>
                    <a:pt x="1102995" y="2018348"/>
                  </a:lnTo>
                  <a:lnTo>
                    <a:pt x="1119188" y="2008823"/>
                  </a:lnTo>
                  <a:lnTo>
                    <a:pt x="1135380" y="2000250"/>
                  </a:lnTo>
                  <a:lnTo>
                    <a:pt x="1152525" y="1990725"/>
                  </a:lnTo>
                  <a:lnTo>
                    <a:pt x="1141095" y="1989773"/>
                  </a:lnTo>
                  <a:lnTo>
                    <a:pt x="1127760" y="1989773"/>
                  </a:lnTo>
                  <a:lnTo>
                    <a:pt x="1113473" y="1991678"/>
                  </a:lnTo>
                  <a:lnTo>
                    <a:pt x="1098233" y="1993583"/>
                  </a:lnTo>
                  <a:lnTo>
                    <a:pt x="1081088" y="1997393"/>
                  </a:lnTo>
                  <a:lnTo>
                    <a:pt x="1062990" y="2002155"/>
                  </a:lnTo>
                  <a:lnTo>
                    <a:pt x="1043940" y="2006918"/>
                  </a:lnTo>
                  <a:lnTo>
                    <a:pt x="1022985" y="2011680"/>
                  </a:lnTo>
                  <a:lnTo>
                    <a:pt x="979170" y="2023110"/>
                  </a:lnTo>
                  <a:lnTo>
                    <a:pt x="932498" y="2035493"/>
                  </a:lnTo>
                  <a:lnTo>
                    <a:pt x="907733" y="2041208"/>
                  </a:lnTo>
                  <a:lnTo>
                    <a:pt x="882968" y="2046923"/>
                  </a:lnTo>
                  <a:lnTo>
                    <a:pt x="857250" y="2052638"/>
                  </a:lnTo>
                  <a:lnTo>
                    <a:pt x="831533" y="2057400"/>
                  </a:lnTo>
                  <a:lnTo>
                    <a:pt x="805815" y="2062163"/>
                  </a:lnTo>
                  <a:lnTo>
                    <a:pt x="779145" y="2065973"/>
                  </a:lnTo>
                  <a:lnTo>
                    <a:pt x="752475" y="2068830"/>
                  </a:lnTo>
                  <a:lnTo>
                    <a:pt x="725805" y="2070735"/>
                  </a:lnTo>
                  <a:lnTo>
                    <a:pt x="699135" y="2071688"/>
                  </a:lnTo>
                  <a:lnTo>
                    <a:pt x="672465" y="2071688"/>
                  </a:lnTo>
                  <a:lnTo>
                    <a:pt x="645795" y="2069783"/>
                  </a:lnTo>
                  <a:lnTo>
                    <a:pt x="619125" y="2065973"/>
                  </a:lnTo>
                  <a:lnTo>
                    <a:pt x="593408" y="2061210"/>
                  </a:lnTo>
                  <a:lnTo>
                    <a:pt x="567690" y="2054543"/>
                  </a:lnTo>
                  <a:lnTo>
                    <a:pt x="541973" y="2045970"/>
                  </a:lnTo>
                  <a:lnTo>
                    <a:pt x="516255" y="2035493"/>
                  </a:lnTo>
                  <a:lnTo>
                    <a:pt x="491490" y="2023110"/>
                  </a:lnTo>
                  <a:lnTo>
                    <a:pt x="467678" y="2007870"/>
                  </a:lnTo>
                  <a:lnTo>
                    <a:pt x="443865" y="1990725"/>
                  </a:lnTo>
                  <a:lnTo>
                    <a:pt x="422910" y="1971675"/>
                  </a:lnTo>
                  <a:lnTo>
                    <a:pt x="422910" y="1971675"/>
                  </a:lnTo>
                  <a:close/>
                  <a:moveTo>
                    <a:pt x="1270635" y="1442085"/>
                  </a:moveTo>
                  <a:lnTo>
                    <a:pt x="1270635" y="1456373"/>
                  </a:lnTo>
                  <a:lnTo>
                    <a:pt x="1272540" y="1469708"/>
                  </a:lnTo>
                  <a:lnTo>
                    <a:pt x="1272540" y="1483043"/>
                  </a:lnTo>
                  <a:lnTo>
                    <a:pt x="1272540" y="1496378"/>
                  </a:lnTo>
                  <a:lnTo>
                    <a:pt x="1285875" y="1504950"/>
                  </a:lnTo>
                  <a:lnTo>
                    <a:pt x="1300163" y="1513523"/>
                  </a:lnTo>
                  <a:lnTo>
                    <a:pt x="1306830" y="1518285"/>
                  </a:lnTo>
                  <a:lnTo>
                    <a:pt x="1313498" y="1523048"/>
                  </a:lnTo>
                  <a:lnTo>
                    <a:pt x="1320165" y="1528763"/>
                  </a:lnTo>
                  <a:lnTo>
                    <a:pt x="1326833" y="1534478"/>
                  </a:lnTo>
                  <a:lnTo>
                    <a:pt x="1333500" y="1541145"/>
                  </a:lnTo>
                  <a:lnTo>
                    <a:pt x="1340168" y="1548765"/>
                  </a:lnTo>
                  <a:lnTo>
                    <a:pt x="1345883" y="1556385"/>
                  </a:lnTo>
                  <a:lnTo>
                    <a:pt x="1351598" y="1564958"/>
                  </a:lnTo>
                  <a:lnTo>
                    <a:pt x="1357313" y="1574483"/>
                  </a:lnTo>
                  <a:lnTo>
                    <a:pt x="1362075" y="1584008"/>
                  </a:lnTo>
                  <a:lnTo>
                    <a:pt x="1366838" y="1594485"/>
                  </a:lnTo>
                  <a:lnTo>
                    <a:pt x="1370648" y="1605915"/>
                  </a:lnTo>
                  <a:lnTo>
                    <a:pt x="1370648" y="1597343"/>
                  </a:lnTo>
                  <a:lnTo>
                    <a:pt x="1370648" y="1589723"/>
                  </a:lnTo>
                  <a:lnTo>
                    <a:pt x="1370648" y="1583055"/>
                  </a:lnTo>
                  <a:lnTo>
                    <a:pt x="1370648" y="1575435"/>
                  </a:lnTo>
                  <a:lnTo>
                    <a:pt x="1369695" y="1568768"/>
                  </a:lnTo>
                  <a:lnTo>
                    <a:pt x="1368743" y="1562100"/>
                  </a:lnTo>
                  <a:lnTo>
                    <a:pt x="1367790" y="1555433"/>
                  </a:lnTo>
                  <a:lnTo>
                    <a:pt x="1366838" y="1548765"/>
                  </a:lnTo>
                  <a:lnTo>
                    <a:pt x="1364933" y="1542098"/>
                  </a:lnTo>
                  <a:lnTo>
                    <a:pt x="1363028" y="1536383"/>
                  </a:lnTo>
                  <a:lnTo>
                    <a:pt x="1361123" y="1530668"/>
                  </a:lnTo>
                  <a:lnTo>
                    <a:pt x="1358265" y="1524953"/>
                  </a:lnTo>
                  <a:lnTo>
                    <a:pt x="1355408" y="1519238"/>
                  </a:lnTo>
                  <a:lnTo>
                    <a:pt x="1352550" y="1513523"/>
                  </a:lnTo>
                  <a:lnTo>
                    <a:pt x="1349693" y="1507808"/>
                  </a:lnTo>
                  <a:lnTo>
                    <a:pt x="1346835" y="1502093"/>
                  </a:lnTo>
                  <a:lnTo>
                    <a:pt x="1343025" y="1497330"/>
                  </a:lnTo>
                  <a:lnTo>
                    <a:pt x="1339215" y="1492568"/>
                  </a:lnTo>
                  <a:lnTo>
                    <a:pt x="1335405" y="1487805"/>
                  </a:lnTo>
                  <a:lnTo>
                    <a:pt x="1331595" y="1483043"/>
                  </a:lnTo>
                  <a:lnTo>
                    <a:pt x="1326833" y="1478280"/>
                  </a:lnTo>
                  <a:lnTo>
                    <a:pt x="1323975" y="1476375"/>
                  </a:lnTo>
                  <a:lnTo>
                    <a:pt x="1319213" y="1471613"/>
                  </a:lnTo>
                  <a:lnTo>
                    <a:pt x="1314450" y="1467803"/>
                  </a:lnTo>
                  <a:lnTo>
                    <a:pt x="1303973" y="1460183"/>
                  </a:lnTo>
                  <a:lnTo>
                    <a:pt x="1292543" y="1453515"/>
                  </a:lnTo>
                  <a:lnTo>
                    <a:pt x="1281113" y="1447800"/>
                  </a:lnTo>
                  <a:lnTo>
                    <a:pt x="1270635" y="1442085"/>
                  </a:lnTo>
                  <a:lnTo>
                    <a:pt x="1270635" y="1442085"/>
                  </a:lnTo>
                  <a:close/>
                  <a:moveTo>
                    <a:pt x="1282065" y="1024890"/>
                  </a:moveTo>
                  <a:lnTo>
                    <a:pt x="1282065" y="1036320"/>
                  </a:lnTo>
                  <a:lnTo>
                    <a:pt x="1282065" y="1048703"/>
                  </a:lnTo>
                  <a:lnTo>
                    <a:pt x="1282065" y="1060133"/>
                  </a:lnTo>
                  <a:lnTo>
                    <a:pt x="1281113" y="1071563"/>
                  </a:lnTo>
                  <a:lnTo>
                    <a:pt x="1282065" y="1082993"/>
                  </a:lnTo>
                  <a:lnTo>
                    <a:pt x="1282065" y="1094423"/>
                  </a:lnTo>
                  <a:lnTo>
                    <a:pt x="1281113" y="1105853"/>
                  </a:lnTo>
                  <a:lnTo>
                    <a:pt x="1281113" y="1117283"/>
                  </a:lnTo>
                  <a:lnTo>
                    <a:pt x="1292543" y="1121093"/>
                  </a:lnTo>
                  <a:lnTo>
                    <a:pt x="1303020" y="1125855"/>
                  </a:lnTo>
                  <a:lnTo>
                    <a:pt x="1307783" y="1128713"/>
                  </a:lnTo>
                  <a:lnTo>
                    <a:pt x="1312545" y="1131570"/>
                  </a:lnTo>
                  <a:lnTo>
                    <a:pt x="1317308" y="1134428"/>
                  </a:lnTo>
                  <a:lnTo>
                    <a:pt x="1321118" y="1138238"/>
                  </a:lnTo>
                  <a:lnTo>
                    <a:pt x="1324928" y="1142048"/>
                  </a:lnTo>
                  <a:lnTo>
                    <a:pt x="1327785" y="1145858"/>
                  </a:lnTo>
                  <a:lnTo>
                    <a:pt x="1330643" y="1150620"/>
                  </a:lnTo>
                  <a:lnTo>
                    <a:pt x="1332548" y="1155383"/>
                  </a:lnTo>
                  <a:lnTo>
                    <a:pt x="1333500" y="1160145"/>
                  </a:lnTo>
                  <a:lnTo>
                    <a:pt x="1334453" y="1165860"/>
                  </a:lnTo>
                  <a:lnTo>
                    <a:pt x="1334453" y="1172528"/>
                  </a:lnTo>
                  <a:lnTo>
                    <a:pt x="1334453" y="1179195"/>
                  </a:lnTo>
                  <a:lnTo>
                    <a:pt x="1333500" y="1186815"/>
                  </a:lnTo>
                  <a:lnTo>
                    <a:pt x="1331595" y="1193483"/>
                  </a:lnTo>
                  <a:lnTo>
                    <a:pt x="1327785" y="1199198"/>
                  </a:lnTo>
                  <a:lnTo>
                    <a:pt x="1323023" y="1204913"/>
                  </a:lnTo>
                  <a:lnTo>
                    <a:pt x="1317308" y="1210628"/>
                  </a:lnTo>
                  <a:lnTo>
                    <a:pt x="1310640" y="1215390"/>
                  </a:lnTo>
                  <a:lnTo>
                    <a:pt x="1303020" y="1220153"/>
                  </a:lnTo>
                  <a:lnTo>
                    <a:pt x="1294448" y="1223963"/>
                  </a:lnTo>
                  <a:lnTo>
                    <a:pt x="1284923" y="1227773"/>
                  </a:lnTo>
                  <a:lnTo>
                    <a:pt x="1275398" y="1231583"/>
                  </a:lnTo>
                  <a:lnTo>
                    <a:pt x="1265873" y="1235393"/>
                  </a:lnTo>
                  <a:lnTo>
                    <a:pt x="1255395" y="1239203"/>
                  </a:lnTo>
                  <a:lnTo>
                    <a:pt x="1233488" y="1245870"/>
                  </a:lnTo>
                  <a:lnTo>
                    <a:pt x="1210628" y="1252538"/>
                  </a:lnTo>
                  <a:lnTo>
                    <a:pt x="1199198" y="1256348"/>
                  </a:lnTo>
                  <a:lnTo>
                    <a:pt x="1187768" y="1260158"/>
                  </a:lnTo>
                  <a:lnTo>
                    <a:pt x="1177290" y="1263968"/>
                  </a:lnTo>
                  <a:lnTo>
                    <a:pt x="1166813" y="1268730"/>
                  </a:lnTo>
                  <a:lnTo>
                    <a:pt x="1156335" y="1273493"/>
                  </a:lnTo>
                  <a:lnTo>
                    <a:pt x="1146810" y="1278255"/>
                  </a:lnTo>
                  <a:lnTo>
                    <a:pt x="1137285" y="1283970"/>
                  </a:lnTo>
                  <a:lnTo>
                    <a:pt x="1128713" y="1290638"/>
                  </a:lnTo>
                  <a:lnTo>
                    <a:pt x="1121093" y="1297305"/>
                  </a:lnTo>
                  <a:lnTo>
                    <a:pt x="1114425" y="1304925"/>
                  </a:lnTo>
                  <a:lnTo>
                    <a:pt x="1108710" y="1313498"/>
                  </a:lnTo>
                  <a:lnTo>
                    <a:pt x="1103948" y="1322070"/>
                  </a:lnTo>
                  <a:lnTo>
                    <a:pt x="1100138" y="1332548"/>
                  </a:lnTo>
                  <a:lnTo>
                    <a:pt x="1097280" y="1343025"/>
                  </a:lnTo>
                  <a:lnTo>
                    <a:pt x="1096328" y="1354455"/>
                  </a:lnTo>
                  <a:lnTo>
                    <a:pt x="1096328" y="1365885"/>
                  </a:lnTo>
                  <a:lnTo>
                    <a:pt x="1097280" y="1370648"/>
                  </a:lnTo>
                  <a:lnTo>
                    <a:pt x="1097280" y="1374458"/>
                  </a:lnTo>
                  <a:lnTo>
                    <a:pt x="1098233" y="1378268"/>
                  </a:lnTo>
                  <a:lnTo>
                    <a:pt x="1099185" y="1382078"/>
                  </a:lnTo>
                  <a:lnTo>
                    <a:pt x="1100138" y="1385888"/>
                  </a:lnTo>
                  <a:lnTo>
                    <a:pt x="1101090" y="1389698"/>
                  </a:lnTo>
                  <a:lnTo>
                    <a:pt x="1102043" y="1393508"/>
                  </a:lnTo>
                  <a:lnTo>
                    <a:pt x="1103948" y="1396365"/>
                  </a:lnTo>
                  <a:lnTo>
                    <a:pt x="1107758" y="1402080"/>
                  </a:lnTo>
                  <a:lnTo>
                    <a:pt x="1112520" y="1407795"/>
                  </a:lnTo>
                  <a:lnTo>
                    <a:pt x="1117283" y="1412558"/>
                  </a:lnTo>
                  <a:lnTo>
                    <a:pt x="1122998" y="1418273"/>
                  </a:lnTo>
                  <a:lnTo>
                    <a:pt x="1134428" y="1427798"/>
                  </a:lnTo>
                  <a:lnTo>
                    <a:pt x="1145858" y="1436370"/>
                  </a:lnTo>
                  <a:lnTo>
                    <a:pt x="1157288" y="1443990"/>
                  </a:lnTo>
                  <a:lnTo>
                    <a:pt x="1167765" y="1451610"/>
                  </a:lnTo>
                  <a:lnTo>
                    <a:pt x="1166813" y="1441133"/>
                  </a:lnTo>
                  <a:lnTo>
                    <a:pt x="1166813" y="1430655"/>
                  </a:lnTo>
                  <a:lnTo>
                    <a:pt x="1165860" y="1420178"/>
                  </a:lnTo>
                  <a:lnTo>
                    <a:pt x="1165860" y="1409700"/>
                  </a:lnTo>
                  <a:lnTo>
                    <a:pt x="1165860" y="1399223"/>
                  </a:lnTo>
                  <a:lnTo>
                    <a:pt x="1165860" y="1388745"/>
                  </a:lnTo>
                  <a:lnTo>
                    <a:pt x="1164908" y="1378268"/>
                  </a:lnTo>
                  <a:lnTo>
                    <a:pt x="1164908" y="1367790"/>
                  </a:lnTo>
                  <a:lnTo>
                    <a:pt x="1164908" y="1364933"/>
                  </a:lnTo>
                  <a:lnTo>
                    <a:pt x="1165860" y="1362075"/>
                  </a:lnTo>
                  <a:lnTo>
                    <a:pt x="1166813" y="1359218"/>
                  </a:lnTo>
                  <a:lnTo>
                    <a:pt x="1167765" y="1356360"/>
                  </a:lnTo>
                  <a:lnTo>
                    <a:pt x="1169670" y="1354455"/>
                  </a:lnTo>
                  <a:lnTo>
                    <a:pt x="1171575" y="1351598"/>
                  </a:lnTo>
                  <a:lnTo>
                    <a:pt x="1173480" y="1349693"/>
                  </a:lnTo>
                  <a:lnTo>
                    <a:pt x="1175385" y="1347788"/>
                  </a:lnTo>
                  <a:lnTo>
                    <a:pt x="1181100" y="1343025"/>
                  </a:lnTo>
                  <a:lnTo>
                    <a:pt x="1187768" y="1339215"/>
                  </a:lnTo>
                  <a:lnTo>
                    <a:pt x="1194435" y="1335405"/>
                  </a:lnTo>
                  <a:lnTo>
                    <a:pt x="1203008" y="1331595"/>
                  </a:lnTo>
                  <a:lnTo>
                    <a:pt x="1211580" y="1327785"/>
                  </a:lnTo>
                  <a:lnTo>
                    <a:pt x="1221105" y="1323975"/>
                  </a:lnTo>
                  <a:lnTo>
                    <a:pt x="1230630" y="1320165"/>
                  </a:lnTo>
                  <a:lnTo>
                    <a:pt x="1241108" y="1316355"/>
                  </a:lnTo>
                  <a:lnTo>
                    <a:pt x="1262063" y="1309688"/>
                  </a:lnTo>
                  <a:lnTo>
                    <a:pt x="1283018" y="1303020"/>
                  </a:lnTo>
                  <a:lnTo>
                    <a:pt x="1298258" y="1298258"/>
                  </a:lnTo>
                  <a:lnTo>
                    <a:pt x="1313498" y="1293495"/>
                  </a:lnTo>
                  <a:lnTo>
                    <a:pt x="1328738" y="1288733"/>
                  </a:lnTo>
                  <a:lnTo>
                    <a:pt x="1343025" y="1283018"/>
                  </a:lnTo>
                  <a:lnTo>
                    <a:pt x="1349693" y="1280160"/>
                  </a:lnTo>
                  <a:lnTo>
                    <a:pt x="1356360" y="1277303"/>
                  </a:lnTo>
                  <a:lnTo>
                    <a:pt x="1363028" y="1273493"/>
                  </a:lnTo>
                  <a:lnTo>
                    <a:pt x="1368743" y="1269683"/>
                  </a:lnTo>
                  <a:lnTo>
                    <a:pt x="1374458" y="1265873"/>
                  </a:lnTo>
                  <a:lnTo>
                    <a:pt x="1380173" y="1262063"/>
                  </a:lnTo>
                  <a:lnTo>
                    <a:pt x="1385888" y="1258253"/>
                  </a:lnTo>
                  <a:lnTo>
                    <a:pt x="1390650" y="1253490"/>
                  </a:lnTo>
                  <a:lnTo>
                    <a:pt x="1395413" y="1248728"/>
                  </a:lnTo>
                  <a:lnTo>
                    <a:pt x="1400175" y="1243965"/>
                  </a:lnTo>
                  <a:lnTo>
                    <a:pt x="1404938" y="1239203"/>
                  </a:lnTo>
                  <a:lnTo>
                    <a:pt x="1408748" y="1234440"/>
                  </a:lnTo>
                  <a:lnTo>
                    <a:pt x="1412558" y="1228725"/>
                  </a:lnTo>
                  <a:lnTo>
                    <a:pt x="1416368" y="1223010"/>
                  </a:lnTo>
                  <a:lnTo>
                    <a:pt x="1419225" y="1217295"/>
                  </a:lnTo>
                  <a:lnTo>
                    <a:pt x="1422083" y="1211580"/>
                  </a:lnTo>
                  <a:lnTo>
                    <a:pt x="1423988" y="1204913"/>
                  </a:lnTo>
                  <a:lnTo>
                    <a:pt x="1425893" y="1198245"/>
                  </a:lnTo>
                  <a:lnTo>
                    <a:pt x="1426845" y="1191578"/>
                  </a:lnTo>
                  <a:lnTo>
                    <a:pt x="1427798" y="1183958"/>
                  </a:lnTo>
                  <a:lnTo>
                    <a:pt x="1428750" y="1177290"/>
                  </a:lnTo>
                  <a:lnTo>
                    <a:pt x="1428750" y="1169670"/>
                  </a:lnTo>
                  <a:lnTo>
                    <a:pt x="1428750" y="1162050"/>
                  </a:lnTo>
                  <a:lnTo>
                    <a:pt x="1427798" y="1153478"/>
                  </a:lnTo>
                  <a:lnTo>
                    <a:pt x="1427798" y="1147763"/>
                  </a:lnTo>
                  <a:lnTo>
                    <a:pt x="1426845" y="1142048"/>
                  </a:lnTo>
                  <a:lnTo>
                    <a:pt x="1425893" y="1136333"/>
                  </a:lnTo>
                  <a:lnTo>
                    <a:pt x="1424940" y="1130618"/>
                  </a:lnTo>
                  <a:lnTo>
                    <a:pt x="1423035" y="1124903"/>
                  </a:lnTo>
                  <a:lnTo>
                    <a:pt x="1421130" y="1119188"/>
                  </a:lnTo>
                  <a:lnTo>
                    <a:pt x="1419225" y="1113473"/>
                  </a:lnTo>
                  <a:lnTo>
                    <a:pt x="1416368" y="1108710"/>
                  </a:lnTo>
                  <a:lnTo>
                    <a:pt x="1413510" y="1103948"/>
                  </a:lnTo>
                  <a:lnTo>
                    <a:pt x="1409700" y="1099185"/>
                  </a:lnTo>
                  <a:lnTo>
                    <a:pt x="1405890" y="1094423"/>
                  </a:lnTo>
                  <a:lnTo>
                    <a:pt x="1402080" y="1089660"/>
                  </a:lnTo>
                  <a:lnTo>
                    <a:pt x="1398270" y="1084898"/>
                  </a:lnTo>
                  <a:lnTo>
                    <a:pt x="1393508" y="1080135"/>
                  </a:lnTo>
                  <a:lnTo>
                    <a:pt x="1388745" y="1076325"/>
                  </a:lnTo>
                  <a:lnTo>
                    <a:pt x="1383983" y="1072515"/>
                  </a:lnTo>
                  <a:lnTo>
                    <a:pt x="1373505" y="1064895"/>
                  </a:lnTo>
                  <a:lnTo>
                    <a:pt x="1363028" y="1058228"/>
                  </a:lnTo>
                  <a:lnTo>
                    <a:pt x="1351598" y="1051560"/>
                  </a:lnTo>
                  <a:lnTo>
                    <a:pt x="1339215" y="1044893"/>
                  </a:lnTo>
                  <a:lnTo>
                    <a:pt x="1325880" y="1039178"/>
                  </a:lnTo>
                  <a:lnTo>
                    <a:pt x="1312545" y="1033463"/>
                  </a:lnTo>
                  <a:lnTo>
                    <a:pt x="1298258" y="1027748"/>
                  </a:lnTo>
                  <a:lnTo>
                    <a:pt x="1282065" y="1024890"/>
                  </a:lnTo>
                  <a:lnTo>
                    <a:pt x="1282065" y="1024890"/>
                  </a:lnTo>
                  <a:close/>
                  <a:moveTo>
                    <a:pt x="1297305" y="300038"/>
                  </a:moveTo>
                  <a:lnTo>
                    <a:pt x="1295400" y="344805"/>
                  </a:lnTo>
                  <a:lnTo>
                    <a:pt x="1294448" y="343853"/>
                  </a:lnTo>
                  <a:lnTo>
                    <a:pt x="1294448" y="353378"/>
                  </a:lnTo>
                  <a:lnTo>
                    <a:pt x="1292543" y="395288"/>
                  </a:lnTo>
                  <a:lnTo>
                    <a:pt x="1311593" y="399098"/>
                  </a:lnTo>
                  <a:lnTo>
                    <a:pt x="1329690" y="403860"/>
                  </a:lnTo>
                  <a:lnTo>
                    <a:pt x="1338263" y="406718"/>
                  </a:lnTo>
                  <a:lnTo>
                    <a:pt x="1345883" y="409575"/>
                  </a:lnTo>
                  <a:lnTo>
                    <a:pt x="1353503" y="412433"/>
                  </a:lnTo>
                  <a:lnTo>
                    <a:pt x="1361123" y="415290"/>
                  </a:lnTo>
                  <a:lnTo>
                    <a:pt x="1368743" y="418148"/>
                  </a:lnTo>
                  <a:lnTo>
                    <a:pt x="1375410" y="421005"/>
                  </a:lnTo>
                  <a:lnTo>
                    <a:pt x="1382078" y="423863"/>
                  </a:lnTo>
                  <a:lnTo>
                    <a:pt x="1388745" y="427673"/>
                  </a:lnTo>
                  <a:lnTo>
                    <a:pt x="1394460" y="431483"/>
                  </a:lnTo>
                  <a:lnTo>
                    <a:pt x="1400175" y="435293"/>
                  </a:lnTo>
                  <a:lnTo>
                    <a:pt x="1405890" y="439103"/>
                  </a:lnTo>
                  <a:lnTo>
                    <a:pt x="1410653" y="442913"/>
                  </a:lnTo>
                  <a:lnTo>
                    <a:pt x="1415415" y="447675"/>
                  </a:lnTo>
                  <a:lnTo>
                    <a:pt x="1420178" y="451485"/>
                  </a:lnTo>
                  <a:lnTo>
                    <a:pt x="1423988" y="456248"/>
                  </a:lnTo>
                  <a:lnTo>
                    <a:pt x="1427798" y="461010"/>
                  </a:lnTo>
                  <a:lnTo>
                    <a:pt x="1431608" y="465773"/>
                  </a:lnTo>
                  <a:lnTo>
                    <a:pt x="1434465" y="470535"/>
                  </a:lnTo>
                  <a:lnTo>
                    <a:pt x="1437323" y="475298"/>
                  </a:lnTo>
                  <a:lnTo>
                    <a:pt x="1440180" y="481013"/>
                  </a:lnTo>
                  <a:lnTo>
                    <a:pt x="1442085" y="485775"/>
                  </a:lnTo>
                  <a:lnTo>
                    <a:pt x="1443990" y="491490"/>
                  </a:lnTo>
                  <a:lnTo>
                    <a:pt x="1444943" y="497205"/>
                  </a:lnTo>
                  <a:lnTo>
                    <a:pt x="1445895" y="502920"/>
                  </a:lnTo>
                  <a:lnTo>
                    <a:pt x="1446848" y="508635"/>
                  </a:lnTo>
                  <a:lnTo>
                    <a:pt x="1446848" y="514350"/>
                  </a:lnTo>
                  <a:lnTo>
                    <a:pt x="1446848" y="520065"/>
                  </a:lnTo>
                  <a:lnTo>
                    <a:pt x="1446848" y="526733"/>
                  </a:lnTo>
                  <a:lnTo>
                    <a:pt x="1446848" y="534353"/>
                  </a:lnTo>
                  <a:lnTo>
                    <a:pt x="1445895" y="541020"/>
                  </a:lnTo>
                  <a:lnTo>
                    <a:pt x="1444943" y="548640"/>
                  </a:lnTo>
                  <a:lnTo>
                    <a:pt x="1443990" y="555308"/>
                  </a:lnTo>
                  <a:lnTo>
                    <a:pt x="1426845" y="547688"/>
                  </a:lnTo>
                  <a:lnTo>
                    <a:pt x="1408748" y="541020"/>
                  </a:lnTo>
                  <a:lnTo>
                    <a:pt x="1390650" y="534353"/>
                  </a:lnTo>
                  <a:lnTo>
                    <a:pt x="1372553" y="528638"/>
                  </a:lnTo>
                  <a:lnTo>
                    <a:pt x="1353503" y="523875"/>
                  </a:lnTo>
                  <a:lnTo>
                    <a:pt x="1334453" y="519113"/>
                  </a:lnTo>
                  <a:lnTo>
                    <a:pt x="1315403" y="515303"/>
                  </a:lnTo>
                  <a:lnTo>
                    <a:pt x="1296353" y="512445"/>
                  </a:lnTo>
                  <a:lnTo>
                    <a:pt x="1296353" y="541020"/>
                  </a:lnTo>
                  <a:lnTo>
                    <a:pt x="1314450" y="543878"/>
                  </a:lnTo>
                  <a:lnTo>
                    <a:pt x="1331595" y="547688"/>
                  </a:lnTo>
                  <a:lnTo>
                    <a:pt x="1348740" y="552450"/>
                  </a:lnTo>
                  <a:lnTo>
                    <a:pt x="1365885" y="557213"/>
                  </a:lnTo>
                  <a:lnTo>
                    <a:pt x="1383030" y="562928"/>
                  </a:lnTo>
                  <a:lnTo>
                    <a:pt x="1399223" y="568643"/>
                  </a:lnTo>
                  <a:lnTo>
                    <a:pt x="1416368" y="575310"/>
                  </a:lnTo>
                  <a:lnTo>
                    <a:pt x="1432560" y="581978"/>
                  </a:lnTo>
                  <a:lnTo>
                    <a:pt x="1429703" y="586740"/>
                  </a:lnTo>
                  <a:lnTo>
                    <a:pt x="1425893" y="591503"/>
                  </a:lnTo>
                  <a:lnTo>
                    <a:pt x="1422083" y="596265"/>
                  </a:lnTo>
                  <a:lnTo>
                    <a:pt x="1418273" y="601028"/>
                  </a:lnTo>
                  <a:lnTo>
                    <a:pt x="1414463" y="604838"/>
                  </a:lnTo>
                  <a:lnTo>
                    <a:pt x="1409700" y="608648"/>
                  </a:lnTo>
                  <a:lnTo>
                    <a:pt x="1404938" y="612458"/>
                  </a:lnTo>
                  <a:lnTo>
                    <a:pt x="1400175" y="616268"/>
                  </a:lnTo>
                  <a:lnTo>
                    <a:pt x="1395413" y="620078"/>
                  </a:lnTo>
                  <a:lnTo>
                    <a:pt x="1389698" y="623888"/>
                  </a:lnTo>
                  <a:lnTo>
                    <a:pt x="1384935" y="627698"/>
                  </a:lnTo>
                  <a:lnTo>
                    <a:pt x="1379220" y="630555"/>
                  </a:lnTo>
                  <a:lnTo>
                    <a:pt x="1366838" y="637223"/>
                  </a:lnTo>
                  <a:lnTo>
                    <a:pt x="1353503" y="642938"/>
                  </a:lnTo>
                  <a:lnTo>
                    <a:pt x="1340168" y="648653"/>
                  </a:lnTo>
                  <a:lnTo>
                    <a:pt x="1324928" y="654368"/>
                  </a:lnTo>
                  <a:lnTo>
                    <a:pt x="1309688" y="659130"/>
                  </a:lnTo>
                  <a:lnTo>
                    <a:pt x="1293495" y="663893"/>
                  </a:lnTo>
                  <a:lnTo>
                    <a:pt x="1277303" y="668655"/>
                  </a:lnTo>
                  <a:lnTo>
                    <a:pt x="1260158" y="673418"/>
                  </a:lnTo>
                  <a:lnTo>
                    <a:pt x="1242060" y="677228"/>
                  </a:lnTo>
                  <a:lnTo>
                    <a:pt x="1223010" y="681990"/>
                  </a:lnTo>
                  <a:lnTo>
                    <a:pt x="1202055" y="686753"/>
                  </a:lnTo>
                  <a:lnTo>
                    <a:pt x="1180148" y="691515"/>
                  </a:lnTo>
                  <a:lnTo>
                    <a:pt x="1169670" y="694373"/>
                  </a:lnTo>
                  <a:lnTo>
                    <a:pt x="1159193" y="697230"/>
                  </a:lnTo>
                  <a:lnTo>
                    <a:pt x="1147763" y="701040"/>
                  </a:lnTo>
                  <a:lnTo>
                    <a:pt x="1136333" y="704850"/>
                  </a:lnTo>
                  <a:lnTo>
                    <a:pt x="1125855" y="708660"/>
                  </a:lnTo>
                  <a:lnTo>
                    <a:pt x="1115378" y="713423"/>
                  </a:lnTo>
                  <a:lnTo>
                    <a:pt x="1104900" y="718185"/>
                  </a:lnTo>
                  <a:lnTo>
                    <a:pt x="1094423" y="722948"/>
                  </a:lnTo>
                  <a:lnTo>
                    <a:pt x="1083945" y="727710"/>
                  </a:lnTo>
                  <a:lnTo>
                    <a:pt x="1073468" y="733425"/>
                  </a:lnTo>
                  <a:lnTo>
                    <a:pt x="1062990" y="739140"/>
                  </a:lnTo>
                  <a:lnTo>
                    <a:pt x="1053465" y="744855"/>
                  </a:lnTo>
                  <a:lnTo>
                    <a:pt x="1043940" y="751523"/>
                  </a:lnTo>
                  <a:lnTo>
                    <a:pt x="1035368" y="758190"/>
                  </a:lnTo>
                  <a:lnTo>
                    <a:pt x="1026795" y="765810"/>
                  </a:lnTo>
                  <a:lnTo>
                    <a:pt x="1019175" y="773430"/>
                  </a:lnTo>
                  <a:lnTo>
                    <a:pt x="1011555" y="782003"/>
                  </a:lnTo>
                  <a:lnTo>
                    <a:pt x="1004888" y="790575"/>
                  </a:lnTo>
                  <a:lnTo>
                    <a:pt x="998220" y="800100"/>
                  </a:lnTo>
                  <a:lnTo>
                    <a:pt x="992505" y="809625"/>
                  </a:lnTo>
                  <a:lnTo>
                    <a:pt x="987743" y="820103"/>
                  </a:lnTo>
                  <a:lnTo>
                    <a:pt x="982980" y="830580"/>
                  </a:lnTo>
                  <a:lnTo>
                    <a:pt x="979170" y="841058"/>
                  </a:lnTo>
                  <a:lnTo>
                    <a:pt x="976313" y="852488"/>
                  </a:lnTo>
                  <a:lnTo>
                    <a:pt x="974408" y="863918"/>
                  </a:lnTo>
                  <a:lnTo>
                    <a:pt x="972503" y="876300"/>
                  </a:lnTo>
                  <a:lnTo>
                    <a:pt x="972503" y="889635"/>
                  </a:lnTo>
                  <a:lnTo>
                    <a:pt x="972503" y="902970"/>
                  </a:lnTo>
                  <a:lnTo>
                    <a:pt x="973455" y="914400"/>
                  </a:lnTo>
                  <a:lnTo>
                    <a:pt x="975360" y="924878"/>
                  </a:lnTo>
                  <a:lnTo>
                    <a:pt x="977265" y="935355"/>
                  </a:lnTo>
                  <a:lnTo>
                    <a:pt x="980123" y="945833"/>
                  </a:lnTo>
                  <a:lnTo>
                    <a:pt x="983933" y="955358"/>
                  </a:lnTo>
                  <a:lnTo>
                    <a:pt x="987743" y="964883"/>
                  </a:lnTo>
                  <a:lnTo>
                    <a:pt x="992505" y="973455"/>
                  </a:lnTo>
                  <a:lnTo>
                    <a:pt x="997268" y="982028"/>
                  </a:lnTo>
                  <a:lnTo>
                    <a:pt x="1002030" y="989648"/>
                  </a:lnTo>
                  <a:lnTo>
                    <a:pt x="1007745" y="997268"/>
                  </a:lnTo>
                  <a:lnTo>
                    <a:pt x="1013460" y="1004888"/>
                  </a:lnTo>
                  <a:lnTo>
                    <a:pt x="1019175" y="1011555"/>
                  </a:lnTo>
                  <a:lnTo>
                    <a:pt x="1025843" y="1018223"/>
                  </a:lnTo>
                  <a:lnTo>
                    <a:pt x="1032510" y="1023938"/>
                  </a:lnTo>
                  <a:lnTo>
                    <a:pt x="1039178" y="1029653"/>
                  </a:lnTo>
                  <a:lnTo>
                    <a:pt x="1045845" y="1035368"/>
                  </a:lnTo>
                  <a:lnTo>
                    <a:pt x="1053465" y="1041083"/>
                  </a:lnTo>
                  <a:lnTo>
                    <a:pt x="1061085" y="1045845"/>
                  </a:lnTo>
                  <a:lnTo>
                    <a:pt x="1068705" y="1050608"/>
                  </a:lnTo>
                  <a:lnTo>
                    <a:pt x="1076325" y="1055370"/>
                  </a:lnTo>
                  <a:lnTo>
                    <a:pt x="1083945" y="1059180"/>
                  </a:lnTo>
                  <a:lnTo>
                    <a:pt x="1091565" y="1062990"/>
                  </a:lnTo>
                  <a:lnTo>
                    <a:pt x="1099185" y="1066800"/>
                  </a:lnTo>
                  <a:lnTo>
                    <a:pt x="1106805" y="1069658"/>
                  </a:lnTo>
                  <a:lnTo>
                    <a:pt x="1122045" y="1075373"/>
                  </a:lnTo>
                  <a:lnTo>
                    <a:pt x="1136333" y="1080135"/>
                  </a:lnTo>
                  <a:lnTo>
                    <a:pt x="1149668" y="1083945"/>
                  </a:lnTo>
                  <a:lnTo>
                    <a:pt x="1162050" y="1087755"/>
                  </a:lnTo>
                  <a:lnTo>
                    <a:pt x="1161098" y="1075373"/>
                  </a:lnTo>
                  <a:lnTo>
                    <a:pt x="1161098" y="1062990"/>
                  </a:lnTo>
                  <a:lnTo>
                    <a:pt x="1161098" y="1050608"/>
                  </a:lnTo>
                  <a:lnTo>
                    <a:pt x="1161098" y="1038225"/>
                  </a:lnTo>
                  <a:lnTo>
                    <a:pt x="1160145" y="1025843"/>
                  </a:lnTo>
                  <a:lnTo>
                    <a:pt x="1160145" y="1011555"/>
                  </a:lnTo>
                  <a:lnTo>
                    <a:pt x="1160145" y="999173"/>
                  </a:lnTo>
                  <a:lnTo>
                    <a:pt x="1159193" y="986790"/>
                  </a:lnTo>
                  <a:lnTo>
                    <a:pt x="1152525" y="982980"/>
                  </a:lnTo>
                  <a:lnTo>
                    <a:pt x="1145858" y="979170"/>
                  </a:lnTo>
                  <a:lnTo>
                    <a:pt x="1139190" y="975360"/>
                  </a:lnTo>
                  <a:lnTo>
                    <a:pt x="1132523" y="971550"/>
                  </a:lnTo>
                  <a:lnTo>
                    <a:pt x="1126808" y="966788"/>
                  </a:lnTo>
                  <a:lnTo>
                    <a:pt x="1121093" y="962025"/>
                  </a:lnTo>
                  <a:lnTo>
                    <a:pt x="1115378" y="957263"/>
                  </a:lnTo>
                  <a:lnTo>
                    <a:pt x="1110615" y="951548"/>
                  </a:lnTo>
                  <a:lnTo>
                    <a:pt x="1105853" y="945833"/>
                  </a:lnTo>
                  <a:lnTo>
                    <a:pt x="1102043" y="939165"/>
                  </a:lnTo>
                  <a:lnTo>
                    <a:pt x="1098233" y="932498"/>
                  </a:lnTo>
                  <a:lnTo>
                    <a:pt x="1095375" y="924878"/>
                  </a:lnTo>
                  <a:lnTo>
                    <a:pt x="1094423" y="921068"/>
                  </a:lnTo>
                  <a:lnTo>
                    <a:pt x="1093470" y="917258"/>
                  </a:lnTo>
                  <a:lnTo>
                    <a:pt x="1092518" y="912495"/>
                  </a:lnTo>
                  <a:lnTo>
                    <a:pt x="1091565" y="907733"/>
                  </a:lnTo>
                  <a:lnTo>
                    <a:pt x="1091565" y="902970"/>
                  </a:lnTo>
                  <a:lnTo>
                    <a:pt x="1091565" y="898208"/>
                  </a:lnTo>
                  <a:lnTo>
                    <a:pt x="1091565" y="893445"/>
                  </a:lnTo>
                  <a:lnTo>
                    <a:pt x="1091565" y="888683"/>
                  </a:lnTo>
                  <a:lnTo>
                    <a:pt x="1092518" y="881063"/>
                  </a:lnTo>
                  <a:lnTo>
                    <a:pt x="1093470" y="874395"/>
                  </a:lnTo>
                  <a:lnTo>
                    <a:pt x="1096328" y="867728"/>
                  </a:lnTo>
                  <a:lnTo>
                    <a:pt x="1099185" y="862013"/>
                  </a:lnTo>
                  <a:lnTo>
                    <a:pt x="1102995" y="856298"/>
                  </a:lnTo>
                  <a:lnTo>
                    <a:pt x="1106805" y="850583"/>
                  </a:lnTo>
                  <a:lnTo>
                    <a:pt x="1111568" y="845820"/>
                  </a:lnTo>
                  <a:lnTo>
                    <a:pt x="1117283" y="841058"/>
                  </a:lnTo>
                  <a:lnTo>
                    <a:pt x="1122998" y="836295"/>
                  </a:lnTo>
                  <a:lnTo>
                    <a:pt x="1129665" y="831533"/>
                  </a:lnTo>
                  <a:lnTo>
                    <a:pt x="1136333" y="826770"/>
                  </a:lnTo>
                  <a:lnTo>
                    <a:pt x="1143953" y="822960"/>
                  </a:lnTo>
                  <a:lnTo>
                    <a:pt x="1152525" y="818198"/>
                  </a:lnTo>
                  <a:lnTo>
                    <a:pt x="1161098" y="814388"/>
                  </a:lnTo>
                  <a:lnTo>
                    <a:pt x="1170623" y="810578"/>
                  </a:lnTo>
                  <a:lnTo>
                    <a:pt x="1180148" y="806768"/>
                  </a:lnTo>
                  <a:lnTo>
                    <a:pt x="1200150" y="800100"/>
                  </a:lnTo>
                  <a:lnTo>
                    <a:pt x="1220153" y="794385"/>
                  </a:lnTo>
                  <a:lnTo>
                    <a:pt x="1242060" y="788670"/>
                  </a:lnTo>
                  <a:lnTo>
                    <a:pt x="1263968" y="782955"/>
                  </a:lnTo>
                  <a:lnTo>
                    <a:pt x="1308735" y="771525"/>
                  </a:lnTo>
                  <a:lnTo>
                    <a:pt x="1353503" y="759143"/>
                  </a:lnTo>
                  <a:lnTo>
                    <a:pt x="1370648" y="753428"/>
                  </a:lnTo>
                  <a:lnTo>
                    <a:pt x="1386840" y="747713"/>
                  </a:lnTo>
                  <a:lnTo>
                    <a:pt x="1402080" y="741998"/>
                  </a:lnTo>
                  <a:lnTo>
                    <a:pt x="1416368" y="736283"/>
                  </a:lnTo>
                  <a:lnTo>
                    <a:pt x="1430655" y="730568"/>
                  </a:lnTo>
                  <a:lnTo>
                    <a:pt x="1443038" y="724853"/>
                  </a:lnTo>
                  <a:lnTo>
                    <a:pt x="1455420" y="718185"/>
                  </a:lnTo>
                  <a:lnTo>
                    <a:pt x="1465898" y="712470"/>
                  </a:lnTo>
                  <a:lnTo>
                    <a:pt x="1476375" y="705803"/>
                  </a:lnTo>
                  <a:lnTo>
                    <a:pt x="1485900" y="699135"/>
                  </a:lnTo>
                  <a:lnTo>
                    <a:pt x="1494473" y="692468"/>
                  </a:lnTo>
                  <a:lnTo>
                    <a:pt x="1503045" y="685800"/>
                  </a:lnTo>
                  <a:lnTo>
                    <a:pt x="1510665" y="679133"/>
                  </a:lnTo>
                  <a:lnTo>
                    <a:pt x="1517333" y="671513"/>
                  </a:lnTo>
                  <a:lnTo>
                    <a:pt x="1523048" y="663893"/>
                  </a:lnTo>
                  <a:lnTo>
                    <a:pt x="1528763" y="656273"/>
                  </a:lnTo>
                  <a:lnTo>
                    <a:pt x="1533525" y="661035"/>
                  </a:lnTo>
                  <a:lnTo>
                    <a:pt x="1539240" y="665798"/>
                  </a:lnTo>
                  <a:lnTo>
                    <a:pt x="1544003" y="670560"/>
                  </a:lnTo>
                  <a:lnTo>
                    <a:pt x="1548765" y="675323"/>
                  </a:lnTo>
                  <a:lnTo>
                    <a:pt x="1547813" y="676275"/>
                  </a:lnTo>
                  <a:lnTo>
                    <a:pt x="1548765" y="676275"/>
                  </a:lnTo>
                  <a:lnTo>
                    <a:pt x="1549718" y="676275"/>
                  </a:lnTo>
                  <a:lnTo>
                    <a:pt x="1554480" y="681038"/>
                  </a:lnTo>
                  <a:lnTo>
                    <a:pt x="1457325" y="769620"/>
                  </a:lnTo>
                  <a:lnTo>
                    <a:pt x="1450658" y="763905"/>
                  </a:lnTo>
                  <a:lnTo>
                    <a:pt x="1443990" y="758190"/>
                  </a:lnTo>
                  <a:lnTo>
                    <a:pt x="1437323" y="752475"/>
                  </a:lnTo>
                  <a:lnTo>
                    <a:pt x="1430655" y="747713"/>
                  </a:lnTo>
                  <a:lnTo>
                    <a:pt x="1400175" y="757238"/>
                  </a:lnTo>
                  <a:lnTo>
                    <a:pt x="1410653" y="763905"/>
                  </a:lnTo>
                  <a:lnTo>
                    <a:pt x="1420178" y="771525"/>
                  </a:lnTo>
                  <a:lnTo>
                    <a:pt x="1429703" y="779145"/>
                  </a:lnTo>
                  <a:lnTo>
                    <a:pt x="1439228" y="787718"/>
                  </a:lnTo>
                  <a:lnTo>
                    <a:pt x="1401128" y="826770"/>
                  </a:lnTo>
                  <a:lnTo>
                    <a:pt x="1399223" y="824865"/>
                  </a:lnTo>
                  <a:lnTo>
                    <a:pt x="1357313" y="831533"/>
                  </a:lnTo>
                  <a:lnTo>
                    <a:pt x="1349693" y="842010"/>
                  </a:lnTo>
                  <a:lnTo>
                    <a:pt x="1340168" y="842010"/>
                  </a:lnTo>
                  <a:lnTo>
                    <a:pt x="1362075" y="819150"/>
                  </a:lnTo>
                  <a:lnTo>
                    <a:pt x="1355408" y="816293"/>
                  </a:lnTo>
                  <a:lnTo>
                    <a:pt x="1332548" y="845820"/>
                  </a:lnTo>
                  <a:lnTo>
                    <a:pt x="1337310" y="845820"/>
                  </a:lnTo>
                  <a:lnTo>
                    <a:pt x="1337310" y="856298"/>
                  </a:lnTo>
                  <a:lnTo>
                    <a:pt x="1343978" y="860108"/>
                  </a:lnTo>
                  <a:lnTo>
                    <a:pt x="1347788" y="870585"/>
                  </a:lnTo>
                  <a:lnTo>
                    <a:pt x="1335405" y="870585"/>
                  </a:lnTo>
                  <a:lnTo>
                    <a:pt x="1321118" y="870585"/>
                  </a:lnTo>
                  <a:lnTo>
                    <a:pt x="1285875" y="853440"/>
                  </a:lnTo>
                  <a:lnTo>
                    <a:pt x="1282065" y="998220"/>
                  </a:lnTo>
                  <a:lnTo>
                    <a:pt x="1313498" y="1008698"/>
                  </a:lnTo>
                  <a:lnTo>
                    <a:pt x="1344930" y="1022985"/>
                  </a:lnTo>
                  <a:lnTo>
                    <a:pt x="1373505" y="1037273"/>
                  </a:lnTo>
                  <a:lnTo>
                    <a:pt x="1398270" y="1058228"/>
                  </a:lnTo>
                  <a:lnTo>
                    <a:pt x="1423035" y="1079183"/>
                  </a:lnTo>
                  <a:lnTo>
                    <a:pt x="1440180" y="1106805"/>
                  </a:lnTo>
                  <a:lnTo>
                    <a:pt x="1450658" y="1138238"/>
                  </a:lnTo>
                  <a:lnTo>
                    <a:pt x="1454468" y="1156335"/>
                  </a:lnTo>
                  <a:lnTo>
                    <a:pt x="1454468" y="1173480"/>
                  </a:lnTo>
                  <a:lnTo>
                    <a:pt x="1450658" y="1208723"/>
                  </a:lnTo>
                  <a:lnTo>
                    <a:pt x="1440180" y="1237298"/>
                  </a:lnTo>
                  <a:lnTo>
                    <a:pt x="1419225" y="1265873"/>
                  </a:lnTo>
                  <a:lnTo>
                    <a:pt x="1394460" y="1286828"/>
                  </a:lnTo>
                  <a:lnTo>
                    <a:pt x="1390650" y="1290638"/>
                  </a:lnTo>
                  <a:lnTo>
                    <a:pt x="1378268" y="1298258"/>
                  </a:lnTo>
                  <a:lnTo>
                    <a:pt x="1369695" y="1303020"/>
                  </a:lnTo>
                  <a:lnTo>
                    <a:pt x="1361123" y="1307783"/>
                  </a:lnTo>
                  <a:lnTo>
                    <a:pt x="1352550" y="1311593"/>
                  </a:lnTo>
                  <a:lnTo>
                    <a:pt x="1343025" y="1315403"/>
                  </a:lnTo>
                  <a:lnTo>
                    <a:pt x="1334453" y="1319213"/>
                  </a:lnTo>
                  <a:lnTo>
                    <a:pt x="1286828" y="1333500"/>
                  </a:lnTo>
                  <a:lnTo>
                    <a:pt x="1282065" y="1334453"/>
                  </a:lnTo>
                  <a:lnTo>
                    <a:pt x="1276350" y="1335405"/>
                  </a:lnTo>
                  <a:lnTo>
                    <a:pt x="1276350" y="1337310"/>
                  </a:lnTo>
                  <a:lnTo>
                    <a:pt x="1274445" y="1337310"/>
                  </a:lnTo>
                  <a:lnTo>
                    <a:pt x="1270635" y="1414463"/>
                  </a:lnTo>
                  <a:lnTo>
                    <a:pt x="1295400" y="1424940"/>
                  </a:lnTo>
                  <a:lnTo>
                    <a:pt x="1320165" y="1439228"/>
                  </a:lnTo>
                  <a:lnTo>
                    <a:pt x="1341120" y="1457325"/>
                  </a:lnTo>
                  <a:lnTo>
                    <a:pt x="1362075" y="1478280"/>
                  </a:lnTo>
                  <a:lnTo>
                    <a:pt x="1367790" y="1487805"/>
                  </a:lnTo>
                  <a:lnTo>
                    <a:pt x="1379220" y="1509713"/>
                  </a:lnTo>
                  <a:lnTo>
                    <a:pt x="1389698" y="1534478"/>
                  </a:lnTo>
                  <a:lnTo>
                    <a:pt x="1396365" y="1569720"/>
                  </a:lnTo>
                  <a:lnTo>
                    <a:pt x="1396365" y="1612583"/>
                  </a:lnTo>
                  <a:lnTo>
                    <a:pt x="1396365" y="1633538"/>
                  </a:lnTo>
                  <a:lnTo>
                    <a:pt x="1389698" y="1644015"/>
                  </a:lnTo>
                  <a:lnTo>
                    <a:pt x="1382078" y="1650683"/>
                  </a:lnTo>
                  <a:lnTo>
                    <a:pt x="1382078" y="1650683"/>
                  </a:lnTo>
                  <a:lnTo>
                    <a:pt x="1383030" y="1651635"/>
                  </a:lnTo>
                  <a:lnTo>
                    <a:pt x="1367790" y="1655445"/>
                  </a:lnTo>
                  <a:lnTo>
                    <a:pt x="1353503" y="1659255"/>
                  </a:lnTo>
                  <a:lnTo>
                    <a:pt x="1338263" y="1662113"/>
                  </a:lnTo>
                  <a:lnTo>
                    <a:pt x="1323023" y="1664970"/>
                  </a:lnTo>
                  <a:lnTo>
                    <a:pt x="1307783" y="1666875"/>
                  </a:lnTo>
                  <a:lnTo>
                    <a:pt x="1292543" y="1668780"/>
                  </a:lnTo>
                  <a:lnTo>
                    <a:pt x="1277303" y="1669733"/>
                  </a:lnTo>
                  <a:lnTo>
                    <a:pt x="1262063" y="1670685"/>
                  </a:lnTo>
                  <a:lnTo>
                    <a:pt x="1261110" y="1700213"/>
                  </a:lnTo>
                  <a:lnTo>
                    <a:pt x="1276350" y="1699260"/>
                  </a:lnTo>
                  <a:lnTo>
                    <a:pt x="1291590" y="1697355"/>
                  </a:lnTo>
                  <a:lnTo>
                    <a:pt x="1306830" y="1695450"/>
                  </a:lnTo>
                  <a:lnTo>
                    <a:pt x="1322070" y="1693545"/>
                  </a:lnTo>
                  <a:lnTo>
                    <a:pt x="1337310" y="1691640"/>
                  </a:lnTo>
                  <a:lnTo>
                    <a:pt x="1352550" y="1688783"/>
                  </a:lnTo>
                  <a:lnTo>
                    <a:pt x="1367790" y="1685925"/>
                  </a:lnTo>
                  <a:lnTo>
                    <a:pt x="1383030" y="1682115"/>
                  </a:lnTo>
                  <a:lnTo>
                    <a:pt x="1397318" y="1678305"/>
                  </a:lnTo>
                  <a:lnTo>
                    <a:pt x="1412558" y="1674495"/>
                  </a:lnTo>
                  <a:lnTo>
                    <a:pt x="1426845" y="1669733"/>
                  </a:lnTo>
                  <a:lnTo>
                    <a:pt x="1441133" y="1664970"/>
                  </a:lnTo>
                  <a:lnTo>
                    <a:pt x="1455420" y="1659255"/>
                  </a:lnTo>
                  <a:lnTo>
                    <a:pt x="1469708" y="1654493"/>
                  </a:lnTo>
                  <a:lnTo>
                    <a:pt x="1483995" y="1648778"/>
                  </a:lnTo>
                  <a:lnTo>
                    <a:pt x="1497330" y="1643063"/>
                  </a:lnTo>
                  <a:lnTo>
                    <a:pt x="1510665" y="1637348"/>
                  </a:lnTo>
                  <a:lnTo>
                    <a:pt x="1524000" y="1630680"/>
                  </a:lnTo>
                  <a:lnTo>
                    <a:pt x="1537335" y="1624013"/>
                  </a:lnTo>
                  <a:lnTo>
                    <a:pt x="1550670" y="1616393"/>
                  </a:lnTo>
                  <a:lnTo>
                    <a:pt x="1564005" y="1609725"/>
                  </a:lnTo>
                  <a:lnTo>
                    <a:pt x="1576388" y="1602105"/>
                  </a:lnTo>
                  <a:lnTo>
                    <a:pt x="1588770" y="1594485"/>
                  </a:lnTo>
                  <a:lnTo>
                    <a:pt x="1601153" y="1585913"/>
                  </a:lnTo>
                  <a:lnTo>
                    <a:pt x="1612583" y="1577340"/>
                  </a:lnTo>
                  <a:lnTo>
                    <a:pt x="1624965" y="1568768"/>
                  </a:lnTo>
                  <a:lnTo>
                    <a:pt x="1636395" y="1560195"/>
                  </a:lnTo>
                  <a:lnTo>
                    <a:pt x="1647825" y="1550670"/>
                  </a:lnTo>
                  <a:lnTo>
                    <a:pt x="1659255" y="1541145"/>
                  </a:lnTo>
                  <a:lnTo>
                    <a:pt x="1670685" y="1531620"/>
                  </a:lnTo>
                  <a:lnTo>
                    <a:pt x="1681163" y="1522095"/>
                  </a:lnTo>
                  <a:lnTo>
                    <a:pt x="1691640" y="1511618"/>
                  </a:lnTo>
                  <a:lnTo>
                    <a:pt x="1788795" y="1608773"/>
                  </a:lnTo>
                  <a:lnTo>
                    <a:pt x="1774508" y="1622108"/>
                  </a:lnTo>
                  <a:lnTo>
                    <a:pt x="1760220" y="1635443"/>
                  </a:lnTo>
                  <a:lnTo>
                    <a:pt x="1745933" y="1647825"/>
                  </a:lnTo>
                  <a:lnTo>
                    <a:pt x="1730693" y="1660208"/>
                  </a:lnTo>
                  <a:lnTo>
                    <a:pt x="1715453" y="1671638"/>
                  </a:lnTo>
                  <a:lnTo>
                    <a:pt x="1700213" y="1683068"/>
                  </a:lnTo>
                  <a:lnTo>
                    <a:pt x="1684973" y="1694498"/>
                  </a:lnTo>
                  <a:lnTo>
                    <a:pt x="1669733" y="1704975"/>
                  </a:lnTo>
                  <a:lnTo>
                    <a:pt x="1653540" y="1715453"/>
                  </a:lnTo>
                  <a:lnTo>
                    <a:pt x="1637348" y="1724978"/>
                  </a:lnTo>
                  <a:lnTo>
                    <a:pt x="1621155" y="1734503"/>
                  </a:lnTo>
                  <a:lnTo>
                    <a:pt x="1604010" y="1744028"/>
                  </a:lnTo>
                  <a:lnTo>
                    <a:pt x="1586865" y="1752600"/>
                  </a:lnTo>
                  <a:lnTo>
                    <a:pt x="1569720" y="1761173"/>
                  </a:lnTo>
                  <a:lnTo>
                    <a:pt x="1552575" y="1769745"/>
                  </a:lnTo>
                  <a:lnTo>
                    <a:pt x="1534478" y="1777365"/>
                  </a:lnTo>
                  <a:lnTo>
                    <a:pt x="1516380" y="1784985"/>
                  </a:lnTo>
                  <a:lnTo>
                    <a:pt x="1498283" y="1791653"/>
                  </a:lnTo>
                  <a:lnTo>
                    <a:pt x="1479233" y="1798320"/>
                  </a:lnTo>
                  <a:lnTo>
                    <a:pt x="1460183" y="1804035"/>
                  </a:lnTo>
                  <a:lnTo>
                    <a:pt x="1441133" y="1808798"/>
                  </a:lnTo>
                  <a:lnTo>
                    <a:pt x="1422083" y="1813560"/>
                  </a:lnTo>
                  <a:lnTo>
                    <a:pt x="1403033" y="1818323"/>
                  </a:lnTo>
                  <a:lnTo>
                    <a:pt x="1383030" y="1822133"/>
                  </a:lnTo>
                  <a:lnTo>
                    <a:pt x="1363028" y="1825943"/>
                  </a:lnTo>
                  <a:lnTo>
                    <a:pt x="1343025" y="1828800"/>
                  </a:lnTo>
                  <a:lnTo>
                    <a:pt x="1323023" y="1831658"/>
                  </a:lnTo>
                  <a:lnTo>
                    <a:pt x="1303020" y="1833563"/>
                  </a:lnTo>
                  <a:lnTo>
                    <a:pt x="1283018" y="1835468"/>
                  </a:lnTo>
                  <a:lnTo>
                    <a:pt x="1262063" y="1836420"/>
                  </a:lnTo>
                  <a:lnTo>
                    <a:pt x="1242060" y="1837373"/>
                  </a:lnTo>
                  <a:lnTo>
                    <a:pt x="1221105" y="1837373"/>
                  </a:lnTo>
                  <a:lnTo>
                    <a:pt x="1201103" y="1837373"/>
                  </a:lnTo>
                  <a:lnTo>
                    <a:pt x="1181100" y="1836420"/>
                  </a:lnTo>
                  <a:lnTo>
                    <a:pt x="1161098" y="1835468"/>
                  </a:lnTo>
                  <a:lnTo>
                    <a:pt x="1141095" y="1833563"/>
                  </a:lnTo>
                  <a:lnTo>
                    <a:pt x="1121093" y="1831658"/>
                  </a:lnTo>
                  <a:lnTo>
                    <a:pt x="1101090" y="1828800"/>
                  </a:lnTo>
                  <a:lnTo>
                    <a:pt x="1081088" y="1825943"/>
                  </a:lnTo>
                  <a:lnTo>
                    <a:pt x="1062038" y="1822133"/>
                  </a:lnTo>
                  <a:lnTo>
                    <a:pt x="1042035" y="1817370"/>
                  </a:lnTo>
                  <a:lnTo>
                    <a:pt x="1022985" y="1812608"/>
                  </a:lnTo>
                  <a:lnTo>
                    <a:pt x="1003935" y="1807845"/>
                  </a:lnTo>
                  <a:lnTo>
                    <a:pt x="984885" y="1802130"/>
                  </a:lnTo>
                  <a:lnTo>
                    <a:pt x="966788" y="1796415"/>
                  </a:lnTo>
                  <a:lnTo>
                    <a:pt x="947738" y="1789748"/>
                  </a:lnTo>
                  <a:lnTo>
                    <a:pt x="929640" y="1783080"/>
                  </a:lnTo>
                  <a:lnTo>
                    <a:pt x="911543" y="1775460"/>
                  </a:lnTo>
                  <a:lnTo>
                    <a:pt x="893445" y="1767840"/>
                  </a:lnTo>
                  <a:lnTo>
                    <a:pt x="876300" y="1760220"/>
                  </a:lnTo>
                  <a:lnTo>
                    <a:pt x="859155" y="1751648"/>
                  </a:lnTo>
                  <a:lnTo>
                    <a:pt x="842010" y="1743075"/>
                  </a:lnTo>
                  <a:lnTo>
                    <a:pt x="824865" y="1733550"/>
                  </a:lnTo>
                  <a:lnTo>
                    <a:pt x="808673" y="1724025"/>
                  </a:lnTo>
                  <a:lnTo>
                    <a:pt x="792480" y="1714500"/>
                  </a:lnTo>
                  <a:lnTo>
                    <a:pt x="776288" y="1704023"/>
                  </a:lnTo>
                  <a:lnTo>
                    <a:pt x="760095" y="1693545"/>
                  </a:lnTo>
                  <a:lnTo>
                    <a:pt x="744855" y="1683068"/>
                  </a:lnTo>
                  <a:lnTo>
                    <a:pt x="729615" y="1671638"/>
                  </a:lnTo>
                  <a:lnTo>
                    <a:pt x="714375" y="1660208"/>
                  </a:lnTo>
                  <a:lnTo>
                    <a:pt x="699135" y="1647825"/>
                  </a:lnTo>
                  <a:lnTo>
                    <a:pt x="683895" y="1635443"/>
                  </a:lnTo>
                  <a:lnTo>
                    <a:pt x="669608" y="1622108"/>
                  </a:lnTo>
                  <a:lnTo>
                    <a:pt x="655320" y="1608773"/>
                  </a:lnTo>
                  <a:lnTo>
                    <a:pt x="753428" y="1514475"/>
                  </a:lnTo>
                  <a:lnTo>
                    <a:pt x="763905" y="1524000"/>
                  </a:lnTo>
                  <a:lnTo>
                    <a:pt x="774383" y="1533525"/>
                  </a:lnTo>
                  <a:lnTo>
                    <a:pt x="784860" y="1543050"/>
                  </a:lnTo>
                  <a:lnTo>
                    <a:pt x="795338" y="1551623"/>
                  </a:lnTo>
                  <a:lnTo>
                    <a:pt x="805815" y="1560195"/>
                  </a:lnTo>
                  <a:lnTo>
                    <a:pt x="817245" y="1568768"/>
                  </a:lnTo>
                  <a:lnTo>
                    <a:pt x="827723" y="1577340"/>
                  </a:lnTo>
                  <a:lnTo>
                    <a:pt x="839153" y="1584960"/>
                  </a:lnTo>
                  <a:lnTo>
                    <a:pt x="850583" y="1592580"/>
                  </a:lnTo>
                  <a:lnTo>
                    <a:pt x="862965" y="1600200"/>
                  </a:lnTo>
                  <a:lnTo>
                    <a:pt x="874395" y="1607820"/>
                  </a:lnTo>
                  <a:lnTo>
                    <a:pt x="886778" y="1614488"/>
                  </a:lnTo>
                  <a:lnTo>
                    <a:pt x="899160" y="1621155"/>
                  </a:lnTo>
                  <a:lnTo>
                    <a:pt x="911543" y="1627823"/>
                  </a:lnTo>
                  <a:lnTo>
                    <a:pt x="923925" y="1633538"/>
                  </a:lnTo>
                  <a:lnTo>
                    <a:pt x="936308" y="1639253"/>
                  </a:lnTo>
                  <a:lnTo>
                    <a:pt x="949643" y="1644968"/>
                  </a:lnTo>
                  <a:lnTo>
                    <a:pt x="962978" y="1650683"/>
                  </a:lnTo>
                  <a:lnTo>
                    <a:pt x="976313" y="1656398"/>
                  </a:lnTo>
                  <a:lnTo>
                    <a:pt x="989648" y="1661160"/>
                  </a:lnTo>
                  <a:lnTo>
                    <a:pt x="1002983" y="1665923"/>
                  </a:lnTo>
                  <a:lnTo>
                    <a:pt x="1016318" y="1670685"/>
                  </a:lnTo>
                  <a:lnTo>
                    <a:pt x="1029653" y="1675448"/>
                  </a:lnTo>
                  <a:lnTo>
                    <a:pt x="1043940" y="1679258"/>
                  </a:lnTo>
                  <a:lnTo>
                    <a:pt x="1058228" y="1683068"/>
                  </a:lnTo>
                  <a:lnTo>
                    <a:pt x="1072515" y="1685925"/>
                  </a:lnTo>
                  <a:lnTo>
                    <a:pt x="1086803" y="1688783"/>
                  </a:lnTo>
                  <a:lnTo>
                    <a:pt x="1101090" y="1691640"/>
                  </a:lnTo>
                  <a:lnTo>
                    <a:pt x="1115378" y="1694498"/>
                  </a:lnTo>
                  <a:lnTo>
                    <a:pt x="1129665" y="1696403"/>
                  </a:lnTo>
                  <a:lnTo>
                    <a:pt x="1143953" y="1698308"/>
                  </a:lnTo>
                  <a:lnTo>
                    <a:pt x="1159193" y="1700213"/>
                  </a:lnTo>
                  <a:lnTo>
                    <a:pt x="1159193" y="1670685"/>
                  </a:lnTo>
                  <a:lnTo>
                    <a:pt x="1145858" y="1669733"/>
                  </a:lnTo>
                  <a:lnTo>
                    <a:pt x="1131570" y="1667828"/>
                  </a:lnTo>
                  <a:lnTo>
                    <a:pt x="1118235" y="1665923"/>
                  </a:lnTo>
                  <a:lnTo>
                    <a:pt x="1103948" y="1663065"/>
                  </a:lnTo>
                  <a:lnTo>
                    <a:pt x="1090613" y="1660208"/>
                  </a:lnTo>
                  <a:lnTo>
                    <a:pt x="1077278" y="1657350"/>
                  </a:lnTo>
                  <a:lnTo>
                    <a:pt x="1063943" y="1654493"/>
                  </a:lnTo>
                  <a:lnTo>
                    <a:pt x="1050608" y="1650683"/>
                  </a:lnTo>
                  <a:lnTo>
                    <a:pt x="1037273" y="1646873"/>
                  </a:lnTo>
                  <a:lnTo>
                    <a:pt x="1023938" y="1643063"/>
                  </a:lnTo>
                  <a:lnTo>
                    <a:pt x="1011555" y="1638300"/>
                  </a:lnTo>
                  <a:lnTo>
                    <a:pt x="999173" y="1633538"/>
                  </a:lnTo>
                  <a:lnTo>
                    <a:pt x="986790" y="1628775"/>
                  </a:lnTo>
                  <a:lnTo>
                    <a:pt x="974408" y="1624013"/>
                  </a:lnTo>
                  <a:lnTo>
                    <a:pt x="962025" y="1618298"/>
                  </a:lnTo>
                  <a:lnTo>
                    <a:pt x="949643" y="1612583"/>
                  </a:lnTo>
                  <a:lnTo>
                    <a:pt x="937260" y="1606868"/>
                  </a:lnTo>
                  <a:lnTo>
                    <a:pt x="925830" y="1601153"/>
                  </a:lnTo>
                  <a:lnTo>
                    <a:pt x="914400" y="1595438"/>
                  </a:lnTo>
                  <a:lnTo>
                    <a:pt x="902970" y="1588770"/>
                  </a:lnTo>
                  <a:lnTo>
                    <a:pt x="891540" y="1582103"/>
                  </a:lnTo>
                  <a:lnTo>
                    <a:pt x="880110" y="1575435"/>
                  </a:lnTo>
                  <a:lnTo>
                    <a:pt x="868680" y="1568768"/>
                  </a:lnTo>
                  <a:lnTo>
                    <a:pt x="858203" y="1561148"/>
                  </a:lnTo>
                  <a:lnTo>
                    <a:pt x="847725" y="1553528"/>
                  </a:lnTo>
                  <a:lnTo>
                    <a:pt x="837248" y="1545908"/>
                  </a:lnTo>
                  <a:lnTo>
                    <a:pt x="826770" y="1537335"/>
                  </a:lnTo>
                  <a:lnTo>
                    <a:pt x="816293" y="1528763"/>
                  </a:lnTo>
                  <a:lnTo>
                    <a:pt x="805815" y="1520190"/>
                  </a:lnTo>
                  <a:lnTo>
                    <a:pt x="795338" y="1511618"/>
                  </a:lnTo>
                  <a:lnTo>
                    <a:pt x="785813" y="1503045"/>
                  </a:lnTo>
                  <a:lnTo>
                    <a:pt x="776288" y="1494473"/>
                  </a:lnTo>
                  <a:lnTo>
                    <a:pt x="801053" y="1469708"/>
                  </a:lnTo>
                  <a:lnTo>
                    <a:pt x="802958" y="1470660"/>
                  </a:lnTo>
                  <a:lnTo>
                    <a:pt x="839153" y="1473518"/>
                  </a:lnTo>
                  <a:lnTo>
                    <a:pt x="857250" y="1452563"/>
                  </a:lnTo>
                  <a:lnTo>
                    <a:pt x="906780" y="1456373"/>
                  </a:lnTo>
                  <a:lnTo>
                    <a:pt x="914400" y="1438275"/>
                  </a:lnTo>
                  <a:lnTo>
                    <a:pt x="914400" y="1431608"/>
                  </a:lnTo>
                  <a:lnTo>
                    <a:pt x="916305" y="1432560"/>
                  </a:lnTo>
                  <a:lnTo>
                    <a:pt x="916305" y="1431608"/>
                  </a:lnTo>
                  <a:lnTo>
                    <a:pt x="916305" y="1431608"/>
                  </a:lnTo>
                  <a:lnTo>
                    <a:pt x="929640" y="1441133"/>
                  </a:lnTo>
                  <a:lnTo>
                    <a:pt x="942975" y="1450658"/>
                  </a:lnTo>
                  <a:lnTo>
                    <a:pt x="957263" y="1459230"/>
                  </a:lnTo>
                  <a:lnTo>
                    <a:pt x="971550" y="1467803"/>
                  </a:lnTo>
                  <a:lnTo>
                    <a:pt x="986790" y="1475423"/>
                  </a:lnTo>
                  <a:lnTo>
                    <a:pt x="1002030" y="1483043"/>
                  </a:lnTo>
                  <a:lnTo>
                    <a:pt x="1017270" y="1489710"/>
                  </a:lnTo>
                  <a:lnTo>
                    <a:pt x="1032510" y="1496378"/>
                  </a:lnTo>
                  <a:lnTo>
                    <a:pt x="1047750" y="1502093"/>
                  </a:lnTo>
                  <a:lnTo>
                    <a:pt x="1062990" y="1507808"/>
                  </a:lnTo>
                  <a:lnTo>
                    <a:pt x="1079183" y="1512570"/>
                  </a:lnTo>
                  <a:lnTo>
                    <a:pt x="1095375" y="1517333"/>
                  </a:lnTo>
                  <a:lnTo>
                    <a:pt x="1111568" y="1522095"/>
                  </a:lnTo>
                  <a:lnTo>
                    <a:pt x="1128713" y="1525905"/>
                  </a:lnTo>
                  <a:lnTo>
                    <a:pt x="1145858" y="1528763"/>
                  </a:lnTo>
                  <a:lnTo>
                    <a:pt x="1163003" y="1531620"/>
                  </a:lnTo>
                  <a:lnTo>
                    <a:pt x="1163003" y="1501140"/>
                  </a:lnTo>
                  <a:lnTo>
                    <a:pt x="1143953" y="1498283"/>
                  </a:lnTo>
                  <a:lnTo>
                    <a:pt x="1124903" y="1494473"/>
                  </a:lnTo>
                  <a:lnTo>
                    <a:pt x="1105853" y="1489710"/>
                  </a:lnTo>
                  <a:lnTo>
                    <a:pt x="1087755" y="1484948"/>
                  </a:lnTo>
                  <a:lnTo>
                    <a:pt x="1069658" y="1479233"/>
                  </a:lnTo>
                  <a:lnTo>
                    <a:pt x="1051560" y="1472565"/>
                  </a:lnTo>
                  <a:lnTo>
                    <a:pt x="1034415" y="1465898"/>
                  </a:lnTo>
                  <a:lnTo>
                    <a:pt x="1017270" y="1458278"/>
                  </a:lnTo>
                  <a:lnTo>
                    <a:pt x="1001078" y="1449705"/>
                  </a:lnTo>
                  <a:lnTo>
                    <a:pt x="984885" y="1441133"/>
                  </a:lnTo>
                  <a:lnTo>
                    <a:pt x="969645" y="1431608"/>
                  </a:lnTo>
                  <a:lnTo>
                    <a:pt x="954405" y="1421130"/>
                  </a:lnTo>
                  <a:lnTo>
                    <a:pt x="939165" y="1410653"/>
                  </a:lnTo>
                  <a:lnTo>
                    <a:pt x="924878" y="1399223"/>
                  </a:lnTo>
                  <a:lnTo>
                    <a:pt x="910590" y="1387793"/>
                  </a:lnTo>
                  <a:lnTo>
                    <a:pt x="897255" y="1375410"/>
                  </a:lnTo>
                  <a:lnTo>
                    <a:pt x="995363" y="1277303"/>
                  </a:lnTo>
                  <a:lnTo>
                    <a:pt x="1003935" y="1284923"/>
                  </a:lnTo>
                  <a:lnTo>
                    <a:pt x="1012508" y="1292543"/>
                  </a:lnTo>
                  <a:lnTo>
                    <a:pt x="1022033" y="1299210"/>
                  </a:lnTo>
                  <a:lnTo>
                    <a:pt x="1031558" y="1305878"/>
                  </a:lnTo>
                  <a:lnTo>
                    <a:pt x="1041083" y="1312545"/>
                  </a:lnTo>
                  <a:lnTo>
                    <a:pt x="1051560" y="1318260"/>
                  </a:lnTo>
                  <a:lnTo>
                    <a:pt x="1062038" y="1323975"/>
                  </a:lnTo>
                  <a:lnTo>
                    <a:pt x="1072515" y="1329690"/>
                  </a:lnTo>
                  <a:lnTo>
                    <a:pt x="1072515" y="1327785"/>
                  </a:lnTo>
                  <a:lnTo>
                    <a:pt x="1076325" y="1313498"/>
                  </a:lnTo>
                  <a:lnTo>
                    <a:pt x="1081088" y="1303973"/>
                  </a:lnTo>
                  <a:lnTo>
                    <a:pt x="1071563" y="1299210"/>
                  </a:lnTo>
                  <a:lnTo>
                    <a:pt x="1062038" y="1294448"/>
                  </a:lnTo>
                  <a:lnTo>
                    <a:pt x="1053465" y="1289685"/>
                  </a:lnTo>
                  <a:lnTo>
                    <a:pt x="1044893" y="1283970"/>
                  </a:lnTo>
                  <a:lnTo>
                    <a:pt x="1036320" y="1278255"/>
                  </a:lnTo>
                  <a:lnTo>
                    <a:pt x="1027748" y="1271588"/>
                  </a:lnTo>
                  <a:lnTo>
                    <a:pt x="1019175" y="1264920"/>
                  </a:lnTo>
                  <a:lnTo>
                    <a:pt x="1011555" y="1258253"/>
                  </a:lnTo>
                  <a:lnTo>
                    <a:pt x="1110615" y="1159193"/>
                  </a:lnTo>
                  <a:lnTo>
                    <a:pt x="1116330" y="1163955"/>
                  </a:lnTo>
                  <a:lnTo>
                    <a:pt x="1122045" y="1168718"/>
                  </a:lnTo>
                  <a:lnTo>
                    <a:pt x="1128713" y="1172528"/>
                  </a:lnTo>
                  <a:lnTo>
                    <a:pt x="1134428" y="1176338"/>
                  </a:lnTo>
                  <a:lnTo>
                    <a:pt x="1141095" y="1180148"/>
                  </a:lnTo>
                  <a:lnTo>
                    <a:pt x="1147763" y="1183958"/>
                  </a:lnTo>
                  <a:lnTo>
                    <a:pt x="1154430" y="1186815"/>
                  </a:lnTo>
                  <a:lnTo>
                    <a:pt x="1161098" y="1189673"/>
                  </a:lnTo>
                  <a:lnTo>
                    <a:pt x="1161098" y="1161098"/>
                  </a:lnTo>
                  <a:lnTo>
                    <a:pt x="1152525" y="1157288"/>
                  </a:lnTo>
                  <a:lnTo>
                    <a:pt x="1143953" y="1152525"/>
                  </a:lnTo>
                  <a:lnTo>
                    <a:pt x="1135380" y="1147763"/>
                  </a:lnTo>
                  <a:lnTo>
                    <a:pt x="1127760" y="1142048"/>
                  </a:lnTo>
                  <a:lnTo>
                    <a:pt x="1157288" y="1112520"/>
                  </a:lnTo>
                  <a:lnTo>
                    <a:pt x="1126808" y="1102043"/>
                  </a:lnTo>
                  <a:lnTo>
                    <a:pt x="1106805" y="1122045"/>
                  </a:lnTo>
                  <a:lnTo>
                    <a:pt x="1101090" y="1114425"/>
                  </a:lnTo>
                  <a:lnTo>
                    <a:pt x="1095375" y="1105853"/>
                  </a:lnTo>
                  <a:lnTo>
                    <a:pt x="1089660" y="1097280"/>
                  </a:lnTo>
                  <a:lnTo>
                    <a:pt x="1084898" y="1087755"/>
                  </a:lnTo>
                  <a:lnTo>
                    <a:pt x="1064895" y="1081088"/>
                  </a:lnTo>
                  <a:lnTo>
                    <a:pt x="1061085" y="1079183"/>
                  </a:lnTo>
                  <a:lnTo>
                    <a:pt x="1059180" y="1078230"/>
                  </a:lnTo>
                  <a:lnTo>
                    <a:pt x="1034415" y="1063943"/>
                  </a:lnTo>
                  <a:lnTo>
                    <a:pt x="1013460" y="1049655"/>
                  </a:lnTo>
                  <a:lnTo>
                    <a:pt x="995363" y="1031558"/>
                  </a:lnTo>
                  <a:lnTo>
                    <a:pt x="978218" y="1014413"/>
                  </a:lnTo>
                  <a:lnTo>
                    <a:pt x="967740" y="993458"/>
                  </a:lnTo>
                  <a:lnTo>
                    <a:pt x="957263" y="972503"/>
                  </a:lnTo>
                  <a:lnTo>
                    <a:pt x="950595" y="947738"/>
                  </a:lnTo>
                  <a:lnTo>
                    <a:pt x="942975" y="922973"/>
                  </a:lnTo>
                  <a:lnTo>
                    <a:pt x="942975" y="894398"/>
                  </a:lnTo>
                  <a:lnTo>
                    <a:pt x="945833" y="862013"/>
                  </a:lnTo>
                  <a:lnTo>
                    <a:pt x="951548" y="832485"/>
                  </a:lnTo>
                  <a:lnTo>
                    <a:pt x="953453" y="824865"/>
                  </a:lnTo>
                  <a:lnTo>
                    <a:pt x="969645" y="788670"/>
                  </a:lnTo>
                  <a:lnTo>
                    <a:pt x="975360" y="778193"/>
                  </a:lnTo>
                  <a:lnTo>
                    <a:pt x="973455" y="780098"/>
                  </a:lnTo>
                  <a:lnTo>
                    <a:pt x="975360" y="775335"/>
                  </a:lnTo>
                  <a:lnTo>
                    <a:pt x="986790" y="761048"/>
                  </a:lnTo>
                  <a:lnTo>
                    <a:pt x="891540" y="665798"/>
                  </a:lnTo>
                  <a:lnTo>
                    <a:pt x="904875" y="653415"/>
                  </a:lnTo>
                  <a:lnTo>
                    <a:pt x="919163" y="641985"/>
                  </a:lnTo>
                  <a:lnTo>
                    <a:pt x="933450" y="631508"/>
                  </a:lnTo>
                  <a:lnTo>
                    <a:pt x="948690" y="621030"/>
                  </a:lnTo>
                  <a:lnTo>
                    <a:pt x="963930" y="610553"/>
                  </a:lnTo>
                  <a:lnTo>
                    <a:pt x="979170" y="601028"/>
                  </a:lnTo>
                  <a:lnTo>
                    <a:pt x="994410" y="592455"/>
                  </a:lnTo>
                  <a:lnTo>
                    <a:pt x="1009650" y="583883"/>
                  </a:lnTo>
                  <a:lnTo>
                    <a:pt x="1025843" y="576263"/>
                  </a:lnTo>
                  <a:lnTo>
                    <a:pt x="1042035" y="569595"/>
                  </a:lnTo>
                  <a:lnTo>
                    <a:pt x="1059180" y="562928"/>
                  </a:lnTo>
                  <a:lnTo>
                    <a:pt x="1076325" y="557213"/>
                  </a:lnTo>
                  <a:lnTo>
                    <a:pt x="1093470" y="551498"/>
                  </a:lnTo>
                  <a:lnTo>
                    <a:pt x="1111568" y="546735"/>
                  </a:lnTo>
                  <a:lnTo>
                    <a:pt x="1129665" y="542925"/>
                  </a:lnTo>
                  <a:lnTo>
                    <a:pt x="1148715" y="539115"/>
                  </a:lnTo>
                  <a:lnTo>
                    <a:pt x="1148715" y="509588"/>
                  </a:lnTo>
                  <a:lnTo>
                    <a:pt x="1128713" y="513398"/>
                  </a:lnTo>
                  <a:lnTo>
                    <a:pt x="1108710" y="517208"/>
                  </a:lnTo>
                  <a:lnTo>
                    <a:pt x="1089660" y="521970"/>
                  </a:lnTo>
                  <a:lnTo>
                    <a:pt x="1070610" y="527685"/>
                  </a:lnTo>
                  <a:lnTo>
                    <a:pt x="1051560" y="533400"/>
                  </a:lnTo>
                  <a:lnTo>
                    <a:pt x="1033463" y="540068"/>
                  </a:lnTo>
                  <a:lnTo>
                    <a:pt x="1015365" y="547688"/>
                  </a:lnTo>
                  <a:lnTo>
                    <a:pt x="997268" y="555308"/>
                  </a:lnTo>
                  <a:lnTo>
                    <a:pt x="980123" y="564833"/>
                  </a:lnTo>
                  <a:lnTo>
                    <a:pt x="962978" y="574358"/>
                  </a:lnTo>
                  <a:lnTo>
                    <a:pt x="946785" y="584835"/>
                  </a:lnTo>
                  <a:lnTo>
                    <a:pt x="930593" y="595313"/>
                  </a:lnTo>
                  <a:lnTo>
                    <a:pt x="915353" y="606743"/>
                  </a:lnTo>
                  <a:lnTo>
                    <a:pt x="900113" y="618173"/>
                  </a:lnTo>
                  <a:lnTo>
                    <a:pt x="884873" y="630555"/>
                  </a:lnTo>
                  <a:lnTo>
                    <a:pt x="870585" y="643890"/>
                  </a:lnTo>
                  <a:lnTo>
                    <a:pt x="857250" y="631508"/>
                  </a:lnTo>
                  <a:lnTo>
                    <a:pt x="842963" y="658178"/>
                  </a:lnTo>
                  <a:lnTo>
                    <a:pt x="850583" y="666750"/>
                  </a:lnTo>
                  <a:lnTo>
                    <a:pt x="842963" y="675323"/>
                  </a:lnTo>
                  <a:lnTo>
                    <a:pt x="835343" y="683895"/>
                  </a:lnTo>
                  <a:lnTo>
                    <a:pt x="827723" y="692468"/>
                  </a:lnTo>
                  <a:lnTo>
                    <a:pt x="820103" y="701040"/>
                  </a:lnTo>
                  <a:lnTo>
                    <a:pt x="813435" y="710565"/>
                  </a:lnTo>
                  <a:lnTo>
                    <a:pt x="806768" y="720090"/>
                  </a:lnTo>
                  <a:lnTo>
                    <a:pt x="800100" y="729615"/>
                  </a:lnTo>
                  <a:lnTo>
                    <a:pt x="793433" y="739140"/>
                  </a:lnTo>
                  <a:lnTo>
                    <a:pt x="786765" y="748665"/>
                  </a:lnTo>
                  <a:lnTo>
                    <a:pt x="781050" y="758190"/>
                  </a:lnTo>
                  <a:lnTo>
                    <a:pt x="775335" y="768668"/>
                  </a:lnTo>
                  <a:lnTo>
                    <a:pt x="769620" y="779145"/>
                  </a:lnTo>
                  <a:lnTo>
                    <a:pt x="764858" y="789623"/>
                  </a:lnTo>
                  <a:lnTo>
                    <a:pt x="760095" y="799148"/>
                  </a:lnTo>
                  <a:lnTo>
                    <a:pt x="754380" y="809625"/>
                  </a:lnTo>
                  <a:lnTo>
                    <a:pt x="749618" y="820103"/>
                  </a:lnTo>
                  <a:lnTo>
                    <a:pt x="744855" y="830580"/>
                  </a:lnTo>
                  <a:lnTo>
                    <a:pt x="740093" y="841058"/>
                  </a:lnTo>
                  <a:lnTo>
                    <a:pt x="736283" y="852488"/>
                  </a:lnTo>
                  <a:lnTo>
                    <a:pt x="733425" y="863918"/>
                  </a:lnTo>
                  <a:lnTo>
                    <a:pt x="729615" y="875348"/>
                  </a:lnTo>
                  <a:lnTo>
                    <a:pt x="726758" y="886778"/>
                  </a:lnTo>
                  <a:lnTo>
                    <a:pt x="723900" y="899160"/>
                  </a:lnTo>
                  <a:lnTo>
                    <a:pt x="721043" y="910590"/>
                  </a:lnTo>
                  <a:lnTo>
                    <a:pt x="718185" y="922020"/>
                  </a:lnTo>
                  <a:lnTo>
                    <a:pt x="716280" y="933450"/>
                  </a:lnTo>
                  <a:lnTo>
                    <a:pt x="714375" y="945833"/>
                  </a:lnTo>
                  <a:lnTo>
                    <a:pt x="712470" y="958215"/>
                  </a:lnTo>
                  <a:lnTo>
                    <a:pt x="711518" y="969645"/>
                  </a:lnTo>
                  <a:lnTo>
                    <a:pt x="710565" y="982028"/>
                  </a:lnTo>
                  <a:lnTo>
                    <a:pt x="709613" y="994410"/>
                  </a:lnTo>
                  <a:lnTo>
                    <a:pt x="709613" y="1006793"/>
                  </a:lnTo>
                  <a:lnTo>
                    <a:pt x="570548" y="1006793"/>
                  </a:lnTo>
                  <a:lnTo>
                    <a:pt x="570548" y="990600"/>
                  </a:lnTo>
                  <a:lnTo>
                    <a:pt x="571500" y="975360"/>
                  </a:lnTo>
                  <a:lnTo>
                    <a:pt x="572453" y="960120"/>
                  </a:lnTo>
                  <a:lnTo>
                    <a:pt x="574358" y="944880"/>
                  </a:lnTo>
                  <a:lnTo>
                    <a:pt x="576263" y="929640"/>
                  </a:lnTo>
                  <a:lnTo>
                    <a:pt x="579120" y="914400"/>
                  </a:lnTo>
                  <a:lnTo>
                    <a:pt x="581978" y="899160"/>
                  </a:lnTo>
                  <a:lnTo>
                    <a:pt x="584835" y="883920"/>
                  </a:lnTo>
                  <a:lnTo>
                    <a:pt x="588645" y="868680"/>
                  </a:lnTo>
                  <a:lnTo>
                    <a:pt x="592455" y="853440"/>
                  </a:lnTo>
                  <a:lnTo>
                    <a:pt x="596265" y="838200"/>
                  </a:lnTo>
                  <a:lnTo>
                    <a:pt x="601028" y="823913"/>
                  </a:lnTo>
                  <a:lnTo>
                    <a:pt x="605790" y="809625"/>
                  </a:lnTo>
                  <a:lnTo>
                    <a:pt x="611505" y="795338"/>
                  </a:lnTo>
                  <a:lnTo>
                    <a:pt x="616268" y="781050"/>
                  </a:lnTo>
                  <a:lnTo>
                    <a:pt x="621983" y="766763"/>
                  </a:lnTo>
                  <a:lnTo>
                    <a:pt x="627698" y="752475"/>
                  </a:lnTo>
                  <a:lnTo>
                    <a:pt x="633413" y="739140"/>
                  </a:lnTo>
                  <a:lnTo>
                    <a:pt x="640080" y="725805"/>
                  </a:lnTo>
                  <a:lnTo>
                    <a:pt x="646748" y="712470"/>
                  </a:lnTo>
                  <a:lnTo>
                    <a:pt x="653415" y="699135"/>
                  </a:lnTo>
                  <a:lnTo>
                    <a:pt x="661035" y="685800"/>
                  </a:lnTo>
                  <a:lnTo>
                    <a:pt x="668655" y="673418"/>
                  </a:lnTo>
                  <a:lnTo>
                    <a:pt x="677228" y="661035"/>
                  </a:lnTo>
                  <a:lnTo>
                    <a:pt x="685800" y="648653"/>
                  </a:lnTo>
                  <a:lnTo>
                    <a:pt x="694373" y="636270"/>
                  </a:lnTo>
                  <a:lnTo>
                    <a:pt x="702945" y="624840"/>
                  </a:lnTo>
                  <a:lnTo>
                    <a:pt x="712470" y="613410"/>
                  </a:lnTo>
                  <a:lnTo>
                    <a:pt x="721995" y="601980"/>
                  </a:lnTo>
                  <a:lnTo>
                    <a:pt x="731520" y="590550"/>
                  </a:lnTo>
                  <a:lnTo>
                    <a:pt x="741045" y="580073"/>
                  </a:lnTo>
                  <a:lnTo>
                    <a:pt x="751523" y="569595"/>
                  </a:lnTo>
                  <a:lnTo>
                    <a:pt x="795338" y="614363"/>
                  </a:lnTo>
                  <a:lnTo>
                    <a:pt x="826770" y="603885"/>
                  </a:lnTo>
                  <a:lnTo>
                    <a:pt x="772478" y="548640"/>
                  </a:lnTo>
                  <a:lnTo>
                    <a:pt x="783908" y="538163"/>
                  </a:lnTo>
                  <a:lnTo>
                    <a:pt x="795338" y="527685"/>
                  </a:lnTo>
                  <a:lnTo>
                    <a:pt x="807720" y="517208"/>
                  </a:lnTo>
                  <a:lnTo>
                    <a:pt x="820103" y="506730"/>
                  </a:lnTo>
                  <a:lnTo>
                    <a:pt x="832485" y="497205"/>
                  </a:lnTo>
                  <a:lnTo>
                    <a:pt x="844868" y="487680"/>
                  </a:lnTo>
                  <a:lnTo>
                    <a:pt x="858203" y="478155"/>
                  </a:lnTo>
                  <a:lnTo>
                    <a:pt x="871538" y="469583"/>
                  </a:lnTo>
                  <a:lnTo>
                    <a:pt x="894398" y="421958"/>
                  </a:lnTo>
                  <a:lnTo>
                    <a:pt x="876300" y="434340"/>
                  </a:lnTo>
                  <a:lnTo>
                    <a:pt x="857250" y="445770"/>
                  </a:lnTo>
                  <a:lnTo>
                    <a:pt x="838200" y="458153"/>
                  </a:lnTo>
                  <a:lnTo>
                    <a:pt x="820103" y="470535"/>
                  </a:lnTo>
                  <a:lnTo>
                    <a:pt x="802958" y="483870"/>
                  </a:lnTo>
                  <a:lnTo>
                    <a:pt x="785813" y="498158"/>
                  </a:lnTo>
                  <a:lnTo>
                    <a:pt x="769620" y="512445"/>
                  </a:lnTo>
                  <a:lnTo>
                    <a:pt x="752475" y="527685"/>
                  </a:lnTo>
                  <a:lnTo>
                    <a:pt x="656273" y="430530"/>
                  </a:lnTo>
                  <a:lnTo>
                    <a:pt x="667703" y="419100"/>
                  </a:lnTo>
                  <a:lnTo>
                    <a:pt x="680085" y="408623"/>
                  </a:lnTo>
                  <a:lnTo>
                    <a:pt x="692468" y="398145"/>
                  </a:lnTo>
                  <a:lnTo>
                    <a:pt x="704850" y="387668"/>
                  </a:lnTo>
                  <a:lnTo>
                    <a:pt x="718185" y="377190"/>
                  </a:lnTo>
                  <a:lnTo>
                    <a:pt x="731520" y="366713"/>
                  </a:lnTo>
                  <a:lnTo>
                    <a:pt x="744855" y="356235"/>
                  </a:lnTo>
                  <a:lnTo>
                    <a:pt x="758190" y="346710"/>
                  </a:lnTo>
                  <a:lnTo>
                    <a:pt x="771525" y="337185"/>
                  </a:lnTo>
                  <a:lnTo>
                    <a:pt x="785813" y="328613"/>
                  </a:lnTo>
                  <a:lnTo>
                    <a:pt x="800100" y="320040"/>
                  </a:lnTo>
                  <a:lnTo>
                    <a:pt x="814388" y="311468"/>
                  </a:lnTo>
                  <a:lnTo>
                    <a:pt x="829628" y="302895"/>
                  </a:lnTo>
                  <a:lnTo>
                    <a:pt x="843915" y="295275"/>
                  </a:lnTo>
                  <a:lnTo>
                    <a:pt x="859155" y="287655"/>
                  </a:lnTo>
                  <a:lnTo>
                    <a:pt x="874395" y="280035"/>
                  </a:lnTo>
                  <a:lnTo>
                    <a:pt x="889635" y="273368"/>
                  </a:lnTo>
                  <a:lnTo>
                    <a:pt x="904875" y="266700"/>
                  </a:lnTo>
                  <a:lnTo>
                    <a:pt x="920115" y="260033"/>
                  </a:lnTo>
                  <a:lnTo>
                    <a:pt x="935355" y="254318"/>
                  </a:lnTo>
                  <a:lnTo>
                    <a:pt x="950595" y="248603"/>
                  </a:lnTo>
                  <a:lnTo>
                    <a:pt x="966788" y="243840"/>
                  </a:lnTo>
                  <a:lnTo>
                    <a:pt x="982980" y="239078"/>
                  </a:lnTo>
                  <a:lnTo>
                    <a:pt x="999173" y="234315"/>
                  </a:lnTo>
                  <a:lnTo>
                    <a:pt x="1015365" y="229553"/>
                  </a:lnTo>
                  <a:lnTo>
                    <a:pt x="1031558" y="224790"/>
                  </a:lnTo>
                  <a:lnTo>
                    <a:pt x="1047750" y="220980"/>
                  </a:lnTo>
                  <a:lnTo>
                    <a:pt x="1064895" y="217170"/>
                  </a:lnTo>
                  <a:lnTo>
                    <a:pt x="1081088" y="214313"/>
                  </a:lnTo>
                  <a:lnTo>
                    <a:pt x="1098233" y="211455"/>
                  </a:lnTo>
                  <a:lnTo>
                    <a:pt x="1115378" y="209550"/>
                  </a:lnTo>
                  <a:lnTo>
                    <a:pt x="1132523" y="207645"/>
                  </a:lnTo>
                  <a:lnTo>
                    <a:pt x="1132523" y="178118"/>
                  </a:lnTo>
                  <a:lnTo>
                    <a:pt x="1092518" y="182880"/>
                  </a:lnTo>
                  <a:lnTo>
                    <a:pt x="1053465" y="189548"/>
                  </a:lnTo>
                  <a:lnTo>
                    <a:pt x="1014413" y="198120"/>
                  </a:lnTo>
                  <a:lnTo>
                    <a:pt x="977265" y="208598"/>
                  </a:lnTo>
                  <a:lnTo>
                    <a:pt x="940118" y="220028"/>
                  </a:lnTo>
                  <a:lnTo>
                    <a:pt x="903923" y="234315"/>
                  </a:lnTo>
                  <a:lnTo>
                    <a:pt x="868680" y="249555"/>
                  </a:lnTo>
                  <a:lnTo>
                    <a:pt x="835343" y="266700"/>
                  </a:lnTo>
                  <a:lnTo>
                    <a:pt x="802005" y="284798"/>
                  </a:lnTo>
                  <a:lnTo>
                    <a:pt x="769620" y="304800"/>
                  </a:lnTo>
                  <a:lnTo>
                    <a:pt x="738188" y="325755"/>
                  </a:lnTo>
                  <a:lnTo>
                    <a:pt x="707708" y="348615"/>
                  </a:lnTo>
                  <a:lnTo>
                    <a:pt x="678180" y="372428"/>
                  </a:lnTo>
                  <a:lnTo>
                    <a:pt x="649605" y="398145"/>
                  </a:lnTo>
                  <a:lnTo>
                    <a:pt x="622935" y="423863"/>
                  </a:lnTo>
                  <a:lnTo>
                    <a:pt x="596265" y="451485"/>
                  </a:lnTo>
                  <a:lnTo>
                    <a:pt x="571500" y="480060"/>
                  </a:lnTo>
                  <a:lnTo>
                    <a:pt x="547688" y="509588"/>
                  </a:lnTo>
                  <a:lnTo>
                    <a:pt x="523875" y="541020"/>
                  </a:lnTo>
                  <a:lnTo>
                    <a:pt x="502920" y="573405"/>
                  </a:lnTo>
                  <a:lnTo>
                    <a:pt x="482918" y="605790"/>
                  </a:lnTo>
                  <a:lnTo>
                    <a:pt x="464820" y="640080"/>
                  </a:lnTo>
                  <a:lnTo>
                    <a:pt x="448628" y="675323"/>
                  </a:lnTo>
                  <a:lnTo>
                    <a:pt x="433388" y="711518"/>
                  </a:lnTo>
                  <a:lnTo>
                    <a:pt x="420053" y="747713"/>
                  </a:lnTo>
                  <a:lnTo>
                    <a:pt x="408623" y="784860"/>
                  </a:lnTo>
                  <a:lnTo>
                    <a:pt x="398145" y="822960"/>
                  </a:lnTo>
                  <a:lnTo>
                    <a:pt x="389573" y="862013"/>
                  </a:lnTo>
                  <a:lnTo>
                    <a:pt x="382905" y="901065"/>
                  </a:lnTo>
                  <a:lnTo>
                    <a:pt x="378143" y="941070"/>
                  </a:lnTo>
                  <a:lnTo>
                    <a:pt x="375285" y="982028"/>
                  </a:lnTo>
                  <a:lnTo>
                    <a:pt x="374333" y="1022985"/>
                  </a:lnTo>
                  <a:lnTo>
                    <a:pt x="375285" y="1066800"/>
                  </a:lnTo>
                  <a:lnTo>
                    <a:pt x="378143" y="1109663"/>
                  </a:lnTo>
                  <a:lnTo>
                    <a:pt x="383858" y="1152525"/>
                  </a:lnTo>
                  <a:lnTo>
                    <a:pt x="391478" y="1193483"/>
                  </a:lnTo>
                  <a:lnTo>
                    <a:pt x="401003" y="1234440"/>
                  </a:lnTo>
                  <a:lnTo>
                    <a:pt x="412433" y="1275398"/>
                  </a:lnTo>
                  <a:lnTo>
                    <a:pt x="425768" y="1314450"/>
                  </a:lnTo>
                  <a:lnTo>
                    <a:pt x="441008" y="1352550"/>
                  </a:lnTo>
                  <a:lnTo>
                    <a:pt x="458153" y="1389698"/>
                  </a:lnTo>
                  <a:lnTo>
                    <a:pt x="477203" y="1425893"/>
                  </a:lnTo>
                  <a:lnTo>
                    <a:pt x="498158" y="1461135"/>
                  </a:lnTo>
                  <a:lnTo>
                    <a:pt x="520065" y="1495425"/>
                  </a:lnTo>
                  <a:lnTo>
                    <a:pt x="543878" y="1528763"/>
                  </a:lnTo>
                  <a:lnTo>
                    <a:pt x="568643" y="1560195"/>
                  </a:lnTo>
                  <a:lnTo>
                    <a:pt x="595313" y="1590675"/>
                  </a:lnTo>
                  <a:lnTo>
                    <a:pt x="623888" y="1620203"/>
                  </a:lnTo>
                  <a:lnTo>
                    <a:pt x="653415" y="1647825"/>
                  </a:lnTo>
                  <a:lnTo>
                    <a:pt x="684848" y="1674495"/>
                  </a:lnTo>
                  <a:lnTo>
                    <a:pt x="716280" y="1700213"/>
                  </a:lnTo>
                  <a:lnTo>
                    <a:pt x="749618" y="1724025"/>
                  </a:lnTo>
                  <a:lnTo>
                    <a:pt x="783908" y="1745933"/>
                  </a:lnTo>
                  <a:lnTo>
                    <a:pt x="819150" y="1766888"/>
                  </a:lnTo>
                  <a:lnTo>
                    <a:pt x="855345" y="1785938"/>
                  </a:lnTo>
                  <a:lnTo>
                    <a:pt x="892493" y="1803083"/>
                  </a:lnTo>
                  <a:lnTo>
                    <a:pt x="930593" y="1818323"/>
                  </a:lnTo>
                  <a:lnTo>
                    <a:pt x="969645" y="1831658"/>
                  </a:lnTo>
                  <a:lnTo>
                    <a:pt x="1009650" y="1843088"/>
                  </a:lnTo>
                  <a:lnTo>
                    <a:pt x="1050608" y="1852613"/>
                  </a:lnTo>
                  <a:lnTo>
                    <a:pt x="1091565" y="1860233"/>
                  </a:lnTo>
                  <a:lnTo>
                    <a:pt x="1134428" y="1864995"/>
                  </a:lnTo>
                  <a:lnTo>
                    <a:pt x="1177290" y="1868805"/>
                  </a:lnTo>
                  <a:lnTo>
                    <a:pt x="1221105" y="1869758"/>
                  </a:lnTo>
                  <a:lnTo>
                    <a:pt x="1264920" y="1868805"/>
                  </a:lnTo>
                  <a:lnTo>
                    <a:pt x="1307783" y="1864995"/>
                  </a:lnTo>
                  <a:lnTo>
                    <a:pt x="1349693" y="1860233"/>
                  </a:lnTo>
                  <a:lnTo>
                    <a:pt x="1391603" y="1852613"/>
                  </a:lnTo>
                  <a:lnTo>
                    <a:pt x="1432560" y="1843088"/>
                  </a:lnTo>
                  <a:lnTo>
                    <a:pt x="1472565" y="1831658"/>
                  </a:lnTo>
                  <a:lnTo>
                    <a:pt x="1512570" y="1818323"/>
                  </a:lnTo>
                  <a:lnTo>
                    <a:pt x="1550670" y="1803083"/>
                  </a:lnTo>
                  <a:lnTo>
                    <a:pt x="1587818" y="1785938"/>
                  </a:lnTo>
                  <a:lnTo>
                    <a:pt x="1624965" y="1766888"/>
                  </a:lnTo>
                  <a:lnTo>
                    <a:pt x="1660208" y="1745933"/>
                  </a:lnTo>
                  <a:lnTo>
                    <a:pt x="1694498" y="1724025"/>
                  </a:lnTo>
                  <a:lnTo>
                    <a:pt x="1727835" y="1700213"/>
                  </a:lnTo>
                  <a:lnTo>
                    <a:pt x="1760220" y="1674495"/>
                  </a:lnTo>
                  <a:lnTo>
                    <a:pt x="1790700" y="1647825"/>
                  </a:lnTo>
                  <a:lnTo>
                    <a:pt x="1820228" y="1620203"/>
                  </a:lnTo>
                  <a:lnTo>
                    <a:pt x="1847850" y="1590675"/>
                  </a:lnTo>
                  <a:lnTo>
                    <a:pt x="1874520" y="1560195"/>
                  </a:lnTo>
                  <a:lnTo>
                    <a:pt x="1900238" y="1528763"/>
                  </a:lnTo>
                  <a:lnTo>
                    <a:pt x="1924050" y="1495425"/>
                  </a:lnTo>
                  <a:lnTo>
                    <a:pt x="1945958" y="1461135"/>
                  </a:lnTo>
                  <a:lnTo>
                    <a:pt x="1965960" y="1425893"/>
                  </a:lnTo>
                  <a:lnTo>
                    <a:pt x="1985010" y="1389698"/>
                  </a:lnTo>
                  <a:lnTo>
                    <a:pt x="2002155" y="1352550"/>
                  </a:lnTo>
                  <a:lnTo>
                    <a:pt x="2017395" y="1314450"/>
                  </a:lnTo>
                  <a:lnTo>
                    <a:pt x="2030730" y="1275398"/>
                  </a:lnTo>
                  <a:lnTo>
                    <a:pt x="2042160" y="1234440"/>
                  </a:lnTo>
                  <a:lnTo>
                    <a:pt x="2051685" y="1193483"/>
                  </a:lnTo>
                  <a:lnTo>
                    <a:pt x="2059305" y="1152525"/>
                  </a:lnTo>
                  <a:lnTo>
                    <a:pt x="2065020" y="1109663"/>
                  </a:lnTo>
                  <a:lnTo>
                    <a:pt x="2068830" y="1066800"/>
                  </a:lnTo>
                  <a:lnTo>
                    <a:pt x="2069783" y="1022985"/>
                  </a:lnTo>
                  <a:lnTo>
                    <a:pt x="2068830" y="982028"/>
                  </a:lnTo>
                  <a:lnTo>
                    <a:pt x="2065973" y="942023"/>
                  </a:lnTo>
                  <a:lnTo>
                    <a:pt x="2061210" y="902018"/>
                  </a:lnTo>
                  <a:lnTo>
                    <a:pt x="2054543" y="862965"/>
                  </a:lnTo>
                  <a:lnTo>
                    <a:pt x="2045970" y="823913"/>
                  </a:lnTo>
                  <a:lnTo>
                    <a:pt x="2035493" y="785813"/>
                  </a:lnTo>
                  <a:lnTo>
                    <a:pt x="2024063" y="748665"/>
                  </a:lnTo>
                  <a:lnTo>
                    <a:pt x="2010728" y="712470"/>
                  </a:lnTo>
                  <a:lnTo>
                    <a:pt x="1995488" y="676275"/>
                  </a:lnTo>
                  <a:lnTo>
                    <a:pt x="1979295" y="641033"/>
                  </a:lnTo>
                  <a:lnTo>
                    <a:pt x="1961198" y="606743"/>
                  </a:lnTo>
                  <a:lnTo>
                    <a:pt x="1941195" y="573405"/>
                  </a:lnTo>
                  <a:lnTo>
                    <a:pt x="1920240" y="541973"/>
                  </a:lnTo>
                  <a:lnTo>
                    <a:pt x="1898333" y="511493"/>
                  </a:lnTo>
                  <a:lnTo>
                    <a:pt x="1874520" y="481013"/>
                  </a:lnTo>
                  <a:lnTo>
                    <a:pt x="1848803" y="452438"/>
                  </a:lnTo>
                  <a:lnTo>
                    <a:pt x="1823085" y="424815"/>
                  </a:lnTo>
                  <a:lnTo>
                    <a:pt x="1795463" y="399098"/>
                  </a:lnTo>
                  <a:lnTo>
                    <a:pt x="1766888" y="373380"/>
                  </a:lnTo>
                  <a:lnTo>
                    <a:pt x="1736408" y="349568"/>
                  </a:lnTo>
                  <a:lnTo>
                    <a:pt x="1704975" y="323850"/>
                  </a:lnTo>
                  <a:lnTo>
                    <a:pt x="1672590" y="302895"/>
                  </a:lnTo>
                  <a:lnTo>
                    <a:pt x="1640205" y="282893"/>
                  </a:lnTo>
                  <a:lnTo>
                    <a:pt x="1605915" y="264795"/>
                  </a:lnTo>
                  <a:lnTo>
                    <a:pt x="1570673" y="247650"/>
                  </a:lnTo>
                  <a:lnTo>
                    <a:pt x="1534478" y="232410"/>
                  </a:lnTo>
                  <a:lnTo>
                    <a:pt x="1498283" y="219075"/>
                  </a:lnTo>
                  <a:lnTo>
                    <a:pt x="1461135" y="206693"/>
                  </a:lnTo>
                  <a:lnTo>
                    <a:pt x="1423035" y="196215"/>
                  </a:lnTo>
                  <a:lnTo>
                    <a:pt x="1384935" y="187643"/>
                  </a:lnTo>
                  <a:lnTo>
                    <a:pt x="1344930" y="180975"/>
                  </a:lnTo>
                  <a:lnTo>
                    <a:pt x="1304925" y="176213"/>
                  </a:lnTo>
                  <a:lnTo>
                    <a:pt x="1304925" y="205740"/>
                  </a:lnTo>
                  <a:lnTo>
                    <a:pt x="1322070" y="207645"/>
                  </a:lnTo>
                  <a:lnTo>
                    <a:pt x="1339215" y="210503"/>
                  </a:lnTo>
                  <a:lnTo>
                    <a:pt x="1356360" y="213360"/>
                  </a:lnTo>
                  <a:lnTo>
                    <a:pt x="1373505" y="216218"/>
                  </a:lnTo>
                  <a:lnTo>
                    <a:pt x="1390650" y="220028"/>
                  </a:lnTo>
                  <a:lnTo>
                    <a:pt x="1407795" y="223838"/>
                  </a:lnTo>
                  <a:lnTo>
                    <a:pt x="1424940" y="227648"/>
                  </a:lnTo>
                  <a:lnTo>
                    <a:pt x="1441133" y="232410"/>
                  </a:lnTo>
                  <a:lnTo>
                    <a:pt x="1457325" y="237173"/>
                  </a:lnTo>
                  <a:lnTo>
                    <a:pt x="1473518" y="242888"/>
                  </a:lnTo>
                  <a:lnTo>
                    <a:pt x="1489710" y="248603"/>
                  </a:lnTo>
                  <a:lnTo>
                    <a:pt x="1505903" y="254318"/>
                  </a:lnTo>
                  <a:lnTo>
                    <a:pt x="1522095" y="260033"/>
                  </a:lnTo>
                  <a:lnTo>
                    <a:pt x="1537335" y="266700"/>
                  </a:lnTo>
                  <a:lnTo>
                    <a:pt x="1552575" y="273368"/>
                  </a:lnTo>
                  <a:lnTo>
                    <a:pt x="1567815" y="280035"/>
                  </a:lnTo>
                  <a:lnTo>
                    <a:pt x="1583055" y="287655"/>
                  </a:lnTo>
                  <a:lnTo>
                    <a:pt x="1598295" y="295275"/>
                  </a:lnTo>
                  <a:lnTo>
                    <a:pt x="1613535" y="302895"/>
                  </a:lnTo>
                  <a:lnTo>
                    <a:pt x="1628775" y="311468"/>
                  </a:lnTo>
                  <a:lnTo>
                    <a:pt x="1643063" y="320040"/>
                  </a:lnTo>
                  <a:lnTo>
                    <a:pt x="1657350" y="329565"/>
                  </a:lnTo>
                  <a:lnTo>
                    <a:pt x="1671638" y="339090"/>
                  </a:lnTo>
                  <a:lnTo>
                    <a:pt x="1685925" y="348615"/>
                  </a:lnTo>
                  <a:lnTo>
                    <a:pt x="1700213" y="358140"/>
                  </a:lnTo>
                  <a:lnTo>
                    <a:pt x="1713548" y="368618"/>
                  </a:lnTo>
                  <a:lnTo>
                    <a:pt x="1726883" y="379095"/>
                  </a:lnTo>
                  <a:lnTo>
                    <a:pt x="1740218" y="389573"/>
                  </a:lnTo>
                  <a:lnTo>
                    <a:pt x="1752600" y="400050"/>
                  </a:lnTo>
                  <a:lnTo>
                    <a:pt x="1764983" y="410528"/>
                  </a:lnTo>
                  <a:lnTo>
                    <a:pt x="1777365" y="421958"/>
                  </a:lnTo>
                  <a:lnTo>
                    <a:pt x="1789748" y="433388"/>
                  </a:lnTo>
                  <a:lnTo>
                    <a:pt x="1696403" y="525780"/>
                  </a:lnTo>
                  <a:lnTo>
                    <a:pt x="1699260" y="511493"/>
                  </a:lnTo>
                  <a:lnTo>
                    <a:pt x="1688783" y="507683"/>
                  </a:lnTo>
                  <a:lnTo>
                    <a:pt x="1671638" y="503873"/>
                  </a:lnTo>
                  <a:lnTo>
                    <a:pt x="1675448" y="493395"/>
                  </a:lnTo>
                  <a:lnTo>
                    <a:pt x="1664970" y="454343"/>
                  </a:lnTo>
                  <a:lnTo>
                    <a:pt x="1640205" y="429578"/>
                  </a:lnTo>
                  <a:lnTo>
                    <a:pt x="1569720" y="390525"/>
                  </a:lnTo>
                  <a:lnTo>
                    <a:pt x="1563053" y="398145"/>
                  </a:lnTo>
                  <a:lnTo>
                    <a:pt x="1548765" y="401955"/>
                  </a:lnTo>
                  <a:lnTo>
                    <a:pt x="1566863" y="430530"/>
                  </a:lnTo>
                  <a:lnTo>
                    <a:pt x="1567815" y="433388"/>
                  </a:lnTo>
                  <a:lnTo>
                    <a:pt x="1556385" y="426720"/>
                  </a:lnTo>
                  <a:lnTo>
                    <a:pt x="1544955" y="421005"/>
                  </a:lnTo>
                  <a:lnTo>
                    <a:pt x="1533525" y="414338"/>
                  </a:lnTo>
                  <a:lnTo>
                    <a:pt x="1522095" y="408623"/>
                  </a:lnTo>
                  <a:lnTo>
                    <a:pt x="1516380" y="402908"/>
                  </a:lnTo>
                  <a:lnTo>
                    <a:pt x="1511618" y="397193"/>
                  </a:lnTo>
                  <a:lnTo>
                    <a:pt x="1505903" y="391478"/>
                  </a:lnTo>
                  <a:lnTo>
                    <a:pt x="1501140" y="385763"/>
                  </a:lnTo>
                  <a:lnTo>
                    <a:pt x="1495425" y="380048"/>
                  </a:lnTo>
                  <a:lnTo>
                    <a:pt x="1489710" y="375285"/>
                  </a:lnTo>
                  <a:lnTo>
                    <a:pt x="1483043" y="369570"/>
                  </a:lnTo>
                  <a:lnTo>
                    <a:pt x="1477328" y="364808"/>
                  </a:lnTo>
                  <a:lnTo>
                    <a:pt x="1463993" y="355283"/>
                  </a:lnTo>
                  <a:lnTo>
                    <a:pt x="1449705" y="346710"/>
                  </a:lnTo>
                  <a:lnTo>
                    <a:pt x="1435418" y="338138"/>
                  </a:lnTo>
                  <a:lnTo>
                    <a:pt x="1420178" y="331470"/>
                  </a:lnTo>
                  <a:lnTo>
                    <a:pt x="1404938" y="324803"/>
                  </a:lnTo>
                  <a:lnTo>
                    <a:pt x="1389698" y="319088"/>
                  </a:lnTo>
                  <a:lnTo>
                    <a:pt x="1374458" y="313373"/>
                  </a:lnTo>
                  <a:lnTo>
                    <a:pt x="1359218" y="308610"/>
                  </a:lnTo>
                  <a:lnTo>
                    <a:pt x="1343978" y="304800"/>
                  </a:lnTo>
                  <a:lnTo>
                    <a:pt x="1327785" y="301943"/>
                  </a:lnTo>
                  <a:lnTo>
                    <a:pt x="1312545" y="300038"/>
                  </a:lnTo>
                  <a:lnTo>
                    <a:pt x="1297305" y="300038"/>
                  </a:lnTo>
                  <a:lnTo>
                    <a:pt x="1297305" y="300038"/>
                  </a:lnTo>
                  <a:close/>
                  <a:moveTo>
                    <a:pt x="1543050" y="619125"/>
                  </a:moveTo>
                  <a:lnTo>
                    <a:pt x="1546860" y="608648"/>
                  </a:lnTo>
                  <a:lnTo>
                    <a:pt x="1549718" y="598170"/>
                  </a:lnTo>
                  <a:lnTo>
                    <a:pt x="1552575" y="587693"/>
                  </a:lnTo>
                  <a:lnTo>
                    <a:pt x="1554480" y="576263"/>
                  </a:lnTo>
                  <a:lnTo>
                    <a:pt x="1556385" y="564833"/>
                  </a:lnTo>
                  <a:lnTo>
                    <a:pt x="1557338" y="552450"/>
                  </a:lnTo>
                  <a:lnTo>
                    <a:pt x="1558290" y="540068"/>
                  </a:lnTo>
                  <a:lnTo>
                    <a:pt x="1559243" y="526733"/>
                  </a:lnTo>
                  <a:lnTo>
                    <a:pt x="1559243" y="517208"/>
                  </a:lnTo>
                  <a:lnTo>
                    <a:pt x="1559243" y="508635"/>
                  </a:lnTo>
                  <a:lnTo>
                    <a:pt x="1558290" y="500063"/>
                  </a:lnTo>
                  <a:lnTo>
                    <a:pt x="1557338" y="491490"/>
                  </a:lnTo>
                  <a:lnTo>
                    <a:pt x="1555433" y="482918"/>
                  </a:lnTo>
                  <a:lnTo>
                    <a:pt x="1553528" y="474345"/>
                  </a:lnTo>
                  <a:lnTo>
                    <a:pt x="1550670" y="465773"/>
                  </a:lnTo>
                  <a:lnTo>
                    <a:pt x="1547813" y="458153"/>
                  </a:lnTo>
                  <a:lnTo>
                    <a:pt x="1555433" y="462915"/>
                  </a:lnTo>
                  <a:lnTo>
                    <a:pt x="1564005" y="467678"/>
                  </a:lnTo>
                  <a:lnTo>
                    <a:pt x="1571625" y="472440"/>
                  </a:lnTo>
                  <a:lnTo>
                    <a:pt x="1579245" y="477203"/>
                  </a:lnTo>
                  <a:lnTo>
                    <a:pt x="1583055" y="495300"/>
                  </a:lnTo>
                  <a:lnTo>
                    <a:pt x="1586865" y="526733"/>
                  </a:lnTo>
                  <a:lnTo>
                    <a:pt x="1586865" y="544830"/>
                  </a:lnTo>
                  <a:lnTo>
                    <a:pt x="1623060" y="590550"/>
                  </a:lnTo>
                  <a:lnTo>
                    <a:pt x="1604963" y="594360"/>
                  </a:lnTo>
                  <a:lnTo>
                    <a:pt x="1616393" y="608648"/>
                  </a:lnTo>
                  <a:lnTo>
                    <a:pt x="1584960" y="639128"/>
                  </a:lnTo>
                  <a:lnTo>
                    <a:pt x="1573530" y="618173"/>
                  </a:lnTo>
                  <a:lnTo>
                    <a:pt x="1564958" y="638175"/>
                  </a:lnTo>
                  <a:lnTo>
                    <a:pt x="1559243" y="633413"/>
                  </a:lnTo>
                  <a:lnTo>
                    <a:pt x="1553528" y="628650"/>
                  </a:lnTo>
                  <a:lnTo>
                    <a:pt x="1547813" y="623888"/>
                  </a:lnTo>
                  <a:lnTo>
                    <a:pt x="1543050" y="619125"/>
                  </a:lnTo>
                  <a:lnTo>
                    <a:pt x="1543050" y="619125"/>
                  </a:lnTo>
                  <a:close/>
                  <a:moveTo>
                    <a:pt x="1140143" y="318135"/>
                  </a:moveTo>
                  <a:lnTo>
                    <a:pt x="1129665" y="322898"/>
                  </a:lnTo>
                  <a:lnTo>
                    <a:pt x="1119188" y="327660"/>
                  </a:lnTo>
                  <a:lnTo>
                    <a:pt x="1108710" y="332423"/>
                  </a:lnTo>
                  <a:lnTo>
                    <a:pt x="1098233" y="337185"/>
                  </a:lnTo>
                  <a:lnTo>
                    <a:pt x="1087755" y="341948"/>
                  </a:lnTo>
                  <a:lnTo>
                    <a:pt x="1077278" y="346710"/>
                  </a:lnTo>
                  <a:lnTo>
                    <a:pt x="1066800" y="351473"/>
                  </a:lnTo>
                  <a:lnTo>
                    <a:pt x="1056323" y="356235"/>
                  </a:lnTo>
                  <a:lnTo>
                    <a:pt x="1046798" y="358140"/>
                  </a:lnTo>
                  <a:lnTo>
                    <a:pt x="1038225" y="360045"/>
                  </a:lnTo>
                  <a:lnTo>
                    <a:pt x="1029653" y="361950"/>
                  </a:lnTo>
                  <a:lnTo>
                    <a:pt x="1021080" y="364808"/>
                  </a:lnTo>
                  <a:lnTo>
                    <a:pt x="1012508" y="367665"/>
                  </a:lnTo>
                  <a:lnTo>
                    <a:pt x="1004888" y="370523"/>
                  </a:lnTo>
                  <a:lnTo>
                    <a:pt x="997268" y="374333"/>
                  </a:lnTo>
                  <a:lnTo>
                    <a:pt x="989648" y="378143"/>
                  </a:lnTo>
                  <a:lnTo>
                    <a:pt x="982028" y="382905"/>
                  </a:lnTo>
                  <a:lnTo>
                    <a:pt x="974408" y="387668"/>
                  </a:lnTo>
                  <a:lnTo>
                    <a:pt x="967740" y="392430"/>
                  </a:lnTo>
                  <a:lnTo>
                    <a:pt x="961073" y="397193"/>
                  </a:lnTo>
                  <a:lnTo>
                    <a:pt x="954405" y="402908"/>
                  </a:lnTo>
                  <a:lnTo>
                    <a:pt x="947738" y="408623"/>
                  </a:lnTo>
                  <a:lnTo>
                    <a:pt x="942023" y="414338"/>
                  </a:lnTo>
                  <a:lnTo>
                    <a:pt x="936308" y="420053"/>
                  </a:lnTo>
                  <a:lnTo>
                    <a:pt x="930593" y="426720"/>
                  </a:lnTo>
                  <a:lnTo>
                    <a:pt x="923925" y="428625"/>
                  </a:lnTo>
                  <a:lnTo>
                    <a:pt x="919163" y="436245"/>
                  </a:lnTo>
                  <a:lnTo>
                    <a:pt x="914400" y="443865"/>
                  </a:lnTo>
                  <a:lnTo>
                    <a:pt x="909638" y="451485"/>
                  </a:lnTo>
                  <a:lnTo>
                    <a:pt x="904875" y="460058"/>
                  </a:lnTo>
                  <a:lnTo>
                    <a:pt x="900113" y="468630"/>
                  </a:lnTo>
                  <a:lnTo>
                    <a:pt x="895350" y="476250"/>
                  </a:lnTo>
                  <a:lnTo>
                    <a:pt x="891540" y="485775"/>
                  </a:lnTo>
                  <a:lnTo>
                    <a:pt x="887730" y="495300"/>
                  </a:lnTo>
                  <a:lnTo>
                    <a:pt x="883920" y="504825"/>
                  </a:lnTo>
                  <a:lnTo>
                    <a:pt x="880110" y="515303"/>
                  </a:lnTo>
                  <a:lnTo>
                    <a:pt x="877253" y="525780"/>
                  </a:lnTo>
                  <a:lnTo>
                    <a:pt x="874395" y="536258"/>
                  </a:lnTo>
                  <a:lnTo>
                    <a:pt x="871538" y="546735"/>
                  </a:lnTo>
                  <a:lnTo>
                    <a:pt x="868680" y="558165"/>
                  </a:lnTo>
                  <a:lnTo>
                    <a:pt x="868680" y="558165"/>
                  </a:lnTo>
                  <a:lnTo>
                    <a:pt x="868680" y="558165"/>
                  </a:lnTo>
                  <a:lnTo>
                    <a:pt x="868680" y="560070"/>
                  </a:lnTo>
                  <a:lnTo>
                    <a:pt x="868680" y="562928"/>
                  </a:lnTo>
                  <a:lnTo>
                    <a:pt x="866775" y="562928"/>
                  </a:lnTo>
                  <a:lnTo>
                    <a:pt x="865823" y="571500"/>
                  </a:lnTo>
                  <a:lnTo>
                    <a:pt x="863918" y="578168"/>
                  </a:lnTo>
                  <a:lnTo>
                    <a:pt x="861060" y="584835"/>
                  </a:lnTo>
                  <a:lnTo>
                    <a:pt x="857250" y="589598"/>
                  </a:lnTo>
                  <a:lnTo>
                    <a:pt x="853440" y="595313"/>
                  </a:lnTo>
                  <a:lnTo>
                    <a:pt x="849630" y="600075"/>
                  </a:lnTo>
                  <a:lnTo>
                    <a:pt x="844868" y="603885"/>
                  </a:lnTo>
                  <a:lnTo>
                    <a:pt x="840105" y="607695"/>
                  </a:lnTo>
                  <a:lnTo>
                    <a:pt x="834390" y="610553"/>
                  </a:lnTo>
                  <a:lnTo>
                    <a:pt x="828675" y="613410"/>
                  </a:lnTo>
                  <a:lnTo>
                    <a:pt x="822960" y="615315"/>
                  </a:lnTo>
                  <a:lnTo>
                    <a:pt x="819150" y="617220"/>
                  </a:lnTo>
                  <a:lnTo>
                    <a:pt x="812483" y="619125"/>
                  </a:lnTo>
                  <a:lnTo>
                    <a:pt x="805815" y="620078"/>
                  </a:lnTo>
                  <a:lnTo>
                    <a:pt x="799148" y="620078"/>
                  </a:lnTo>
                  <a:lnTo>
                    <a:pt x="792480" y="620078"/>
                  </a:lnTo>
                  <a:lnTo>
                    <a:pt x="796290" y="621030"/>
                  </a:lnTo>
                  <a:lnTo>
                    <a:pt x="801053" y="621983"/>
                  </a:lnTo>
                  <a:lnTo>
                    <a:pt x="806768" y="621983"/>
                  </a:lnTo>
                  <a:lnTo>
                    <a:pt x="812483" y="621983"/>
                  </a:lnTo>
                  <a:lnTo>
                    <a:pt x="818198" y="621983"/>
                  </a:lnTo>
                  <a:lnTo>
                    <a:pt x="824865" y="621030"/>
                  </a:lnTo>
                  <a:lnTo>
                    <a:pt x="832485" y="619125"/>
                  </a:lnTo>
                  <a:lnTo>
                    <a:pt x="841058" y="616268"/>
                  </a:lnTo>
                  <a:lnTo>
                    <a:pt x="837248" y="625793"/>
                  </a:lnTo>
                  <a:lnTo>
                    <a:pt x="834390" y="635318"/>
                  </a:lnTo>
                  <a:lnTo>
                    <a:pt x="833438" y="638175"/>
                  </a:lnTo>
                  <a:lnTo>
                    <a:pt x="832485" y="642938"/>
                  </a:lnTo>
                  <a:lnTo>
                    <a:pt x="831533" y="647700"/>
                  </a:lnTo>
                  <a:lnTo>
                    <a:pt x="831533" y="652463"/>
                  </a:lnTo>
                  <a:lnTo>
                    <a:pt x="834390" y="645795"/>
                  </a:lnTo>
                  <a:lnTo>
                    <a:pt x="837248" y="639128"/>
                  </a:lnTo>
                  <a:lnTo>
                    <a:pt x="840105" y="632460"/>
                  </a:lnTo>
                  <a:lnTo>
                    <a:pt x="843915" y="626745"/>
                  </a:lnTo>
                  <a:lnTo>
                    <a:pt x="846773" y="621030"/>
                  </a:lnTo>
                  <a:lnTo>
                    <a:pt x="850583" y="615315"/>
                  </a:lnTo>
                  <a:lnTo>
                    <a:pt x="854393" y="609600"/>
                  </a:lnTo>
                  <a:lnTo>
                    <a:pt x="858203" y="604838"/>
                  </a:lnTo>
                  <a:lnTo>
                    <a:pt x="862013" y="600075"/>
                  </a:lnTo>
                  <a:lnTo>
                    <a:pt x="865823" y="595313"/>
                  </a:lnTo>
                  <a:lnTo>
                    <a:pt x="869633" y="591503"/>
                  </a:lnTo>
                  <a:lnTo>
                    <a:pt x="873443" y="588645"/>
                  </a:lnTo>
                  <a:lnTo>
                    <a:pt x="878205" y="585788"/>
                  </a:lnTo>
                  <a:lnTo>
                    <a:pt x="882015" y="583883"/>
                  </a:lnTo>
                  <a:lnTo>
                    <a:pt x="886778" y="581978"/>
                  </a:lnTo>
                  <a:lnTo>
                    <a:pt x="891540" y="581025"/>
                  </a:lnTo>
                  <a:lnTo>
                    <a:pt x="893445" y="581025"/>
                  </a:lnTo>
                  <a:lnTo>
                    <a:pt x="924878" y="571500"/>
                  </a:lnTo>
                  <a:lnTo>
                    <a:pt x="936308" y="565785"/>
                  </a:lnTo>
                  <a:lnTo>
                    <a:pt x="947738" y="560070"/>
                  </a:lnTo>
                  <a:lnTo>
                    <a:pt x="959168" y="554355"/>
                  </a:lnTo>
                  <a:lnTo>
                    <a:pt x="969645" y="548640"/>
                  </a:lnTo>
                  <a:lnTo>
                    <a:pt x="981075" y="541973"/>
                  </a:lnTo>
                  <a:lnTo>
                    <a:pt x="991553" y="535305"/>
                  </a:lnTo>
                  <a:lnTo>
                    <a:pt x="1002030" y="528638"/>
                  </a:lnTo>
                  <a:lnTo>
                    <a:pt x="1012508" y="521970"/>
                  </a:lnTo>
                  <a:lnTo>
                    <a:pt x="1022985" y="514350"/>
                  </a:lnTo>
                  <a:lnTo>
                    <a:pt x="1032510" y="506730"/>
                  </a:lnTo>
                  <a:lnTo>
                    <a:pt x="1042035" y="498158"/>
                  </a:lnTo>
                  <a:lnTo>
                    <a:pt x="1051560" y="489585"/>
                  </a:lnTo>
                  <a:lnTo>
                    <a:pt x="1061085" y="481013"/>
                  </a:lnTo>
                  <a:lnTo>
                    <a:pt x="1070610" y="471488"/>
                  </a:lnTo>
                  <a:lnTo>
                    <a:pt x="1079183" y="461963"/>
                  </a:lnTo>
                  <a:lnTo>
                    <a:pt x="1087755" y="451485"/>
                  </a:lnTo>
                  <a:lnTo>
                    <a:pt x="1144905" y="416243"/>
                  </a:lnTo>
                  <a:lnTo>
                    <a:pt x="1140143" y="318135"/>
                  </a:lnTo>
                  <a:lnTo>
                    <a:pt x="1140143" y="318135"/>
                  </a:lnTo>
                  <a:close/>
                  <a:moveTo>
                    <a:pt x="953453" y="466725"/>
                  </a:moveTo>
                  <a:lnTo>
                    <a:pt x="966788" y="441008"/>
                  </a:lnTo>
                  <a:lnTo>
                    <a:pt x="986790" y="441008"/>
                  </a:lnTo>
                  <a:lnTo>
                    <a:pt x="975360" y="462915"/>
                  </a:lnTo>
                  <a:lnTo>
                    <a:pt x="953453" y="466725"/>
                  </a:lnTo>
                  <a:lnTo>
                    <a:pt x="953453" y="466725"/>
                  </a:lnTo>
                  <a:close/>
                  <a:moveTo>
                    <a:pt x="1222058" y="0"/>
                  </a:moveTo>
                  <a:lnTo>
                    <a:pt x="1204913" y="0"/>
                  </a:lnTo>
                  <a:lnTo>
                    <a:pt x="1186815" y="6668"/>
                  </a:lnTo>
                  <a:lnTo>
                    <a:pt x="1176338" y="13335"/>
                  </a:lnTo>
                  <a:lnTo>
                    <a:pt x="1165860" y="23813"/>
                  </a:lnTo>
                  <a:lnTo>
                    <a:pt x="1158240" y="38100"/>
                  </a:lnTo>
                  <a:lnTo>
                    <a:pt x="1154430" y="52388"/>
                  </a:lnTo>
                  <a:lnTo>
                    <a:pt x="1152525" y="84773"/>
                  </a:lnTo>
                  <a:lnTo>
                    <a:pt x="1152525" y="120015"/>
                  </a:lnTo>
                  <a:lnTo>
                    <a:pt x="1159193" y="155258"/>
                  </a:lnTo>
                  <a:lnTo>
                    <a:pt x="1169670" y="211455"/>
                  </a:lnTo>
                  <a:lnTo>
                    <a:pt x="1180148" y="657225"/>
                  </a:lnTo>
                  <a:lnTo>
                    <a:pt x="1225868" y="646748"/>
                  </a:lnTo>
                  <a:lnTo>
                    <a:pt x="1261110" y="640080"/>
                  </a:lnTo>
                  <a:lnTo>
                    <a:pt x="1271588" y="212408"/>
                  </a:lnTo>
                  <a:lnTo>
                    <a:pt x="1282065" y="156210"/>
                  </a:lnTo>
                  <a:lnTo>
                    <a:pt x="1285875" y="120968"/>
                  </a:lnTo>
                  <a:lnTo>
                    <a:pt x="1289685" y="85725"/>
                  </a:lnTo>
                  <a:lnTo>
                    <a:pt x="1289685" y="53340"/>
                  </a:lnTo>
                  <a:lnTo>
                    <a:pt x="1282065" y="35243"/>
                  </a:lnTo>
                  <a:lnTo>
                    <a:pt x="1278255" y="24765"/>
                  </a:lnTo>
                  <a:lnTo>
                    <a:pt x="1267778" y="14288"/>
                  </a:lnTo>
                  <a:lnTo>
                    <a:pt x="1257300" y="7620"/>
                  </a:lnTo>
                  <a:lnTo>
                    <a:pt x="1240155" y="0"/>
                  </a:lnTo>
                  <a:lnTo>
                    <a:pt x="1222058" y="0"/>
                  </a:lnTo>
                  <a:lnTo>
                    <a:pt x="1222058" y="0"/>
                  </a:lnTo>
                  <a:close/>
                  <a:moveTo>
                    <a:pt x="1386840" y="280035"/>
                  </a:moveTo>
                  <a:lnTo>
                    <a:pt x="1394460" y="272415"/>
                  </a:lnTo>
                  <a:lnTo>
                    <a:pt x="1379220" y="264795"/>
                  </a:lnTo>
                  <a:lnTo>
                    <a:pt x="1335405" y="264795"/>
                  </a:lnTo>
                  <a:lnTo>
                    <a:pt x="1324928" y="272415"/>
                  </a:lnTo>
                  <a:lnTo>
                    <a:pt x="1299210" y="268605"/>
                  </a:lnTo>
                  <a:lnTo>
                    <a:pt x="1299210" y="276225"/>
                  </a:lnTo>
                  <a:lnTo>
                    <a:pt x="1343025" y="280035"/>
                  </a:lnTo>
                  <a:lnTo>
                    <a:pt x="1364933" y="280035"/>
                  </a:lnTo>
                  <a:lnTo>
                    <a:pt x="1386840" y="280035"/>
                  </a:lnTo>
                  <a:lnTo>
                    <a:pt x="1386840" y="280035"/>
                  </a:lnTo>
                  <a:close/>
                  <a:moveTo>
                    <a:pt x="1303973" y="1173480"/>
                  </a:moveTo>
                  <a:lnTo>
                    <a:pt x="1303973" y="1169670"/>
                  </a:lnTo>
                  <a:lnTo>
                    <a:pt x="1296353" y="1163003"/>
                  </a:lnTo>
                  <a:lnTo>
                    <a:pt x="1281113" y="1152525"/>
                  </a:lnTo>
                  <a:lnTo>
                    <a:pt x="1277303" y="1152525"/>
                  </a:lnTo>
                  <a:lnTo>
                    <a:pt x="1277303" y="1202055"/>
                  </a:lnTo>
                  <a:lnTo>
                    <a:pt x="1295400" y="1187768"/>
                  </a:lnTo>
                  <a:lnTo>
                    <a:pt x="1303020" y="1181100"/>
                  </a:lnTo>
                  <a:lnTo>
                    <a:pt x="1303020" y="1173480"/>
                  </a:lnTo>
                  <a:lnTo>
                    <a:pt x="1303973" y="1173480"/>
                  </a:lnTo>
                  <a:close/>
                  <a:moveTo>
                    <a:pt x="1830705" y="715328"/>
                  </a:moveTo>
                  <a:lnTo>
                    <a:pt x="1830705" y="715328"/>
                  </a:lnTo>
                  <a:lnTo>
                    <a:pt x="1836420" y="717233"/>
                  </a:lnTo>
                  <a:lnTo>
                    <a:pt x="1840230" y="710565"/>
                  </a:lnTo>
                  <a:lnTo>
                    <a:pt x="1815465" y="668655"/>
                  </a:lnTo>
                  <a:lnTo>
                    <a:pt x="1786890" y="625793"/>
                  </a:lnTo>
                  <a:lnTo>
                    <a:pt x="1763078" y="606743"/>
                  </a:lnTo>
                  <a:lnTo>
                    <a:pt x="1751648" y="592455"/>
                  </a:lnTo>
                  <a:lnTo>
                    <a:pt x="1740218" y="578168"/>
                  </a:lnTo>
                  <a:lnTo>
                    <a:pt x="1727835" y="564833"/>
                  </a:lnTo>
                  <a:lnTo>
                    <a:pt x="1715453" y="551498"/>
                  </a:lnTo>
                  <a:lnTo>
                    <a:pt x="1812608" y="454343"/>
                  </a:lnTo>
                  <a:lnTo>
                    <a:pt x="1825943" y="467678"/>
                  </a:lnTo>
                  <a:lnTo>
                    <a:pt x="1838325" y="481965"/>
                  </a:lnTo>
                  <a:lnTo>
                    <a:pt x="1850708" y="496253"/>
                  </a:lnTo>
                  <a:lnTo>
                    <a:pt x="1862138" y="510540"/>
                  </a:lnTo>
                  <a:lnTo>
                    <a:pt x="1873568" y="525780"/>
                  </a:lnTo>
                  <a:lnTo>
                    <a:pt x="1884998" y="541020"/>
                  </a:lnTo>
                  <a:lnTo>
                    <a:pt x="1895475" y="556260"/>
                  </a:lnTo>
                  <a:lnTo>
                    <a:pt x="1905953" y="571500"/>
                  </a:lnTo>
                  <a:lnTo>
                    <a:pt x="1916430" y="586740"/>
                  </a:lnTo>
                  <a:lnTo>
                    <a:pt x="1925955" y="602933"/>
                  </a:lnTo>
                  <a:lnTo>
                    <a:pt x="1935480" y="619125"/>
                  </a:lnTo>
                  <a:lnTo>
                    <a:pt x="1945005" y="635318"/>
                  </a:lnTo>
                  <a:lnTo>
                    <a:pt x="1953578" y="651510"/>
                  </a:lnTo>
                  <a:lnTo>
                    <a:pt x="1962150" y="668655"/>
                  </a:lnTo>
                  <a:lnTo>
                    <a:pt x="1969770" y="685800"/>
                  </a:lnTo>
                  <a:lnTo>
                    <a:pt x="1977390" y="702945"/>
                  </a:lnTo>
                  <a:lnTo>
                    <a:pt x="1985010" y="721043"/>
                  </a:lnTo>
                  <a:lnTo>
                    <a:pt x="1991678" y="739140"/>
                  </a:lnTo>
                  <a:lnTo>
                    <a:pt x="1997393" y="757238"/>
                  </a:lnTo>
                  <a:lnTo>
                    <a:pt x="2003108" y="775335"/>
                  </a:lnTo>
                  <a:lnTo>
                    <a:pt x="2008823" y="794385"/>
                  </a:lnTo>
                  <a:lnTo>
                    <a:pt x="2013585" y="812483"/>
                  </a:lnTo>
                  <a:lnTo>
                    <a:pt x="2018348" y="831533"/>
                  </a:lnTo>
                  <a:lnTo>
                    <a:pt x="2023110" y="850583"/>
                  </a:lnTo>
                  <a:lnTo>
                    <a:pt x="2026920" y="869633"/>
                  </a:lnTo>
                  <a:lnTo>
                    <a:pt x="2030730" y="888683"/>
                  </a:lnTo>
                  <a:lnTo>
                    <a:pt x="2033588" y="907733"/>
                  </a:lnTo>
                  <a:lnTo>
                    <a:pt x="2035493" y="927735"/>
                  </a:lnTo>
                  <a:lnTo>
                    <a:pt x="2037398" y="947738"/>
                  </a:lnTo>
                  <a:lnTo>
                    <a:pt x="2038350" y="967740"/>
                  </a:lnTo>
                  <a:lnTo>
                    <a:pt x="2039303" y="987743"/>
                  </a:lnTo>
                  <a:lnTo>
                    <a:pt x="2039303" y="1007745"/>
                  </a:lnTo>
                  <a:lnTo>
                    <a:pt x="1902143" y="1007745"/>
                  </a:lnTo>
                  <a:lnTo>
                    <a:pt x="1901190" y="987743"/>
                  </a:lnTo>
                  <a:lnTo>
                    <a:pt x="1900238" y="967740"/>
                  </a:lnTo>
                  <a:lnTo>
                    <a:pt x="1898333" y="948690"/>
                  </a:lnTo>
                  <a:lnTo>
                    <a:pt x="1896428" y="929640"/>
                  </a:lnTo>
                  <a:lnTo>
                    <a:pt x="1893570" y="910590"/>
                  </a:lnTo>
                  <a:lnTo>
                    <a:pt x="1889760" y="891540"/>
                  </a:lnTo>
                  <a:lnTo>
                    <a:pt x="1885950" y="872490"/>
                  </a:lnTo>
                  <a:lnTo>
                    <a:pt x="1881188" y="854393"/>
                  </a:lnTo>
                  <a:lnTo>
                    <a:pt x="1876425" y="836295"/>
                  </a:lnTo>
                  <a:lnTo>
                    <a:pt x="1871663" y="818198"/>
                  </a:lnTo>
                  <a:lnTo>
                    <a:pt x="1865948" y="800100"/>
                  </a:lnTo>
                  <a:lnTo>
                    <a:pt x="1859280" y="782955"/>
                  </a:lnTo>
                  <a:lnTo>
                    <a:pt x="1852613" y="765810"/>
                  </a:lnTo>
                  <a:lnTo>
                    <a:pt x="1844993" y="748665"/>
                  </a:lnTo>
                  <a:lnTo>
                    <a:pt x="1837373" y="731520"/>
                  </a:lnTo>
                  <a:lnTo>
                    <a:pt x="1830705" y="715328"/>
                  </a:lnTo>
                  <a:lnTo>
                    <a:pt x="1830705" y="715328"/>
                  </a:lnTo>
                  <a:close/>
                  <a:moveTo>
                    <a:pt x="1635443" y="633413"/>
                  </a:moveTo>
                  <a:lnTo>
                    <a:pt x="1635443" y="633413"/>
                  </a:lnTo>
                  <a:lnTo>
                    <a:pt x="1635443" y="633413"/>
                  </a:lnTo>
                  <a:lnTo>
                    <a:pt x="1669733" y="638175"/>
                  </a:lnTo>
                  <a:lnTo>
                    <a:pt x="1676400" y="648653"/>
                  </a:lnTo>
                  <a:lnTo>
                    <a:pt x="1672590" y="662940"/>
                  </a:lnTo>
                  <a:lnTo>
                    <a:pt x="1718310" y="691515"/>
                  </a:lnTo>
                  <a:lnTo>
                    <a:pt x="1725930" y="687705"/>
                  </a:lnTo>
                  <a:lnTo>
                    <a:pt x="1784985" y="758190"/>
                  </a:lnTo>
                  <a:lnTo>
                    <a:pt x="1808798" y="747713"/>
                  </a:lnTo>
                  <a:lnTo>
                    <a:pt x="1809750" y="746760"/>
                  </a:lnTo>
                  <a:lnTo>
                    <a:pt x="1810703" y="745808"/>
                  </a:lnTo>
                  <a:lnTo>
                    <a:pt x="1817370" y="761048"/>
                  </a:lnTo>
                  <a:lnTo>
                    <a:pt x="1824038" y="776288"/>
                  </a:lnTo>
                  <a:lnTo>
                    <a:pt x="1829753" y="791528"/>
                  </a:lnTo>
                  <a:lnTo>
                    <a:pt x="1835468" y="806768"/>
                  </a:lnTo>
                  <a:lnTo>
                    <a:pt x="1840230" y="822960"/>
                  </a:lnTo>
                  <a:lnTo>
                    <a:pt x="1844993" y="838200"/>
                  </a:lnTo>
                  <a:lnTo>
                    <a:pt x="1849755" y="854393"/>
                  </a:lnTo>
                  <a:lnTo>
                    <a:pt x="1853565" y="870585"/>
                  </a:lnTo>
                  <a:lnTo>
                    <a:pt x="1857375" y="886778"/>
                  </a:lnTo>
                  <a:lnTo>
                    <a:pt x="1861185" y="902970"/>
                  </a:lnTo>
                  <a:lnTo>
                    <a:pt x="1864043" y="920115"/>
                  </a:lnTo>
                  <a:lnTo>
                    <a:pt x="1866900" y="937260"/>
                  </a:lnTo>
                  <a:lnTo>
                    <a:pt x="1868805" y="954405"/>
                  </a:lnTo>
                  <a:lnTo>
                    <a:pt x="1870710" y="971550"/>
                  </a:lnTo>
                  <a:lnTo>
                    <a:pt x="1871663" y="988695"/>
                  </a:lnTo>
                  <a:lnTo>
                    <a:pt x="1872615" y="1006793"/>
                  </a:lnTo>
                  <a:lnTo>
                    <a:pt x="1735455" y="1006793"/>
                  </a:lnTo>
                  <a:lnTo>
                    <a:pt x="1734503" y="993458"/>
                  </a:lnTo>
                  <a:lnTo>
                    <a:pt x="1733550" y="980123"/>
                  </a:lnTo>
                  <a:lnTo>
                    <a:pt x="1732598" y="966788"/>
                  </a:lnTo>
                  <a:lnTo>
                    <a:pt x="1730693" y="953453"/>
                  </a:lnTo>
                  <a:lnTo>
                    <a:pt x="1728788" y="940118"/>
                  </a:lnTo>
                  <a:lnTo>
                    <a:pt x="1726883" y="926783"/>
                  </a:lnTo>
                  <a:lnTo>
                    <a:pt x="1724025" y="913448"/>
                  </a:lnTo>
                  <a:lnTo>
                    <a:pt x="1721168" y="901065"/>
                  </a:lnTo>
                  <a:lnTo>
                    <a:pt x="1725930" y="897255"/>
                  </a:lnTo>
                  <a:lnTo>
                    <a:pt x="1732598" y="855345"/>
                  </a:lnTo>
                  <a:lnTo>
                    <a:pt x="1725930" y="805815"/>
                  </a:lnTo>
                  <a:lnTo>
                    <a:pt x="1711643" y="752475"/>
                  </a:lnTo>
                  <a:lnTo>
                    <a:pt x="1672590" y="696278"/>
                  </a:lnTo>
                  <a:lnTo>
                    <a:pt x="1679258" y="700088"/>
                  </a:lnTo>
                  <a:lnTo>
                    <a:pt x="1685925" y="696278"/>
                  </a:lnTo>
                  <a:lnTo>
                    <a:pt x="1654493" y="675323"/>
                  </a:lnTo>
                  <a:lnTo>
                    <a:pt x="1650683" y="681990"/>
                  </a:lnTo>
                  <a:lnTo>
                    <a:pt x="1682115" y="727710"/>
                  </a:lnTo>
                  <a:lnTo>
                    <a:pt x="1700213" y="762953"/>
                  </a:lnTo>
                  <a:lnTo>
                    <a:pt x="1714500" y="798195"/>
                  </a:lnTo>
                  <a:lnTo>
                    <a:pt x="1718310" y="822960"/>
                  </a:lnTo>
                  <a:lnTo>
                    <a:pt x="1725930" y="864870"/>
                  </a:lnTo>
                  <a:lnTo>
                    <a:pt x="1711643" y="864870"/>
                  </a:lnTo>
                  <a:lnTo>
                    <a:pt x="1707833" y="854393"/>
                  </a:lnTo>
                  <a:lnTo>
                    <a:pt x="1704023" y="843915"/>
                  </a:lnTo>
                  <a:lnTo>
                    <a:pt x="1700213" y="833438"/>
                  </a:lnTo>
                  <a:lnTo>
                    <a:pt x="1696403" y="823913"/>
                  </a:lnTo>
                  <a:lnTo>
                    <a:pt x="1700213" y="818198"/>
                  </a:lnTo>
                  <a:lnTo>
                    <a:pt x="1689735" y="803910"/>
                  </a:lnTo>
                  <a:lnTo>
                    <a:pt x="1689735" y="785813"/>
                  </a:lnTo>
                  <a:lnTo>
                    <a:pt x="1679258" y="775335"/>
                  </a:lnTo>
                  <a:lnTo>
                    <a:pt x="1674495" y="775335"/>
                  </a:lnTo>
                  <a:lnTo>
                    <a:pt x="1671638" y="770573"/>
                  </a:lnTo>
                  <a:lnTo>
                    <a:pt x="1668780" y="766763"/>
                  </a:lnTo>
                  <a:lnTo>
                    <a:pt x="1665923" y="762000"/>
                  </a:lnTo>
                  <a:lnTo>
                    <a:pt x="1663065" y="757238"/>
                  </a:lnTo>
                  <a:lnTo>
                    <a:pt x="1664018" y="757238"/>
                  </a:lnTo>
                  <a:lnTo>
                    <a:pt x="1667828" y="757238"/>
                  </a:lnTo>
                  <a:lnTo>
                    <a:pt x="1664018" y="746760"/>
                  </a:lnTo>
                  <a:lnTo>
                    <a:pt x="1670685" y="742950"/>
                  </a:lnTo>
                  <a:lnTo>
                    <a:pt x="1666875" y="736283"/>
                  </a:lnTo>
                  <a:lnTo>
                    <a:pt x="1653540" y="742950"/>
                  </a:lnTo>
                  <a:lnTo>
                    <a:pt x="1653540" y="741998"/>
                  </a:lnTo>
                  <a:lnTo>
                    <a:pt x="1660208" y="721995"/>
                  </a:lnTo>
                  <a:lnTo>
                    <a:pt x="1649730" y="718185"/>
                  </a:lnTo>
                  <a:lnTo>
                    <a:pt x="1644968" y="727710"/>
                  </a:lnTo>
                  <a:lnTo>
                    <a:pt x="1633538" y="711518"/>
                  </a:lnTo>
                  <a:lnTo>
                    <a:pt x="1621155" y="696278"/>
                  </a:lnTo>
                  <a:lnTo>
                    <a:pt x="1608773" y="681038"/>
                  </a:lnTo>
                  <a:lnTo>
                    <a:pt x="1595438" y="666750"/>
                  </a:lnTo>
                  <a:lnTo>
                    <a:pt x="1635443" y="633413"/>
                  </a:lnTo>
                  <a:lnTo>
                    <a:pt x="1635443" y="633413"/>
                  </a:lnTo>
                  <a:close/>
                  <a:moveTo>
                    <a:pt x="1575435" y="690563"/>
                  </a:moveTo>
                  <a:lnTo>
                    <a:pt x="1577340" y="692468"/>
                  </a:lnTo>
                  <a:lnTo>
                    <a:pt x="1578293" y="691515"/>
                  </a:lnTo>
                  <a:lnTo>
                    <a:pt x="1596390" y="714375"/>
                  </a:lnTo>
                  <a:lnTo>
                    <a:pt x="1597343" y="713423"/>
                  </a:lnTo>
                  <a:lnTo>
                    <a:pt x="1608773" y="727710"/>
                  </a:lnTo>
                  <a:lnTo>
                    <a:pt x="1619250" y="742950"/>
                  </a:lnTo>
                  <a:lnTo>
                    <a:pt x="1628775" y="758190"/>
                  </a:lnTo>
                  <a:lnTo>
                    <a:pt x="1638300" y="773430"/>
                  </a:lnTo>
                  <a:lnTo>
                    <a:pt x="1636395" y="774383"/>
                  </a:lnTo>
                  <a:lnTo>
                    <a:pt x="1636395" y="774383"/>
                  </a:lnTo>
                  <a:lnTo>
                    <a:pt x="1623060" y="778193"/>
                  </a:lnTo>
                  <a:lnTo>
                    <a:pt x="1623060" y="800100"/>
                  </a:lnTo>
                  <a:lnTo>
                    <a:pt x="1662113" y="824865"/>
                  </a:lnTo>
                  <a:lnTo>
                    <a:pt x="1663065" y="824865"/>
                  </a:lnTo>
                  <a:lnTo>
                    <a:pt x="1664970" y="824865"/>
                  </a:lnTo>
                  <a:lnTo>
                    <a:pt x="1670685" y="839153"/>
                  </a:lnTo>
                  <a:lnTo>
                    <a:pt x="1676400" y="853440"/>
                  </a:lnTo>
                  <a:lnTo>
                    <a:pt x="1682115" y="867728"/>
                  </a:lnTo>
                  <a:lnTo>
                    <a:pt x="1686878" y="882968"/>
                  </a:lnTo>
                  <a:lnTo>
                    <a:pt x="1684020" y="884873"/>
                  </a:lnTo>
                  <a:lnTo>
                    <a:pt x="1684020" y="884873"/>
                  </a:lnTo>
                  <a:lnTo>
                    <a:pt x="1680210" y="895350"/>
                  </a:lnTo>
                  <a:lnTo>
                    <a:pt x="1665923" y="902018"/>
                  </a:lnTo>
                  <a:lnTo>
                    <a:pt x="1662113" y="923925"/>
                  </a:lnTo>
                  <a:lnTo>
                    <a:pt x="1651635" y="927735"/>
                  </a:lnTo>
                  <a:lnTo>
                    <a:pt x="1644968" y="938213"/>
                  </a:lnTo>
                  <a:lnTo>
                    <a:pt x="1638300" y="933450"/>
                  </a:lnTo>
                  <a:lnTo>
                    <a:pt x="1624013" y="933450"/>
                  </a:lnTo>
                  <a:lnTo>
                    <a:pt x="1630680" y="922973"/>
                  </a:lnTo>
                  <a:lnTo>
                    <a:pt x="1637348" y="894398"/>
                  </a:lnTo>
                  <a:lnTo>
                    <a:pt x="1647825" y="887730"/>
                  </a:lnTo>
                  <a:lnTo>
                    <a:pt x="1619250" y="862965"/>
                  </a:lnTo>
                  <a:lnTo>
                    <a:pt x="1598295" y="869633"/>
                  </a:lnTo>
                  <a:lnTo>
                    <a:pt x="1594485" y="887730"/>
                  </a:lnTo>
                  <a:lnTo>
                    <a:pt x="1583055" y="902018"/>
                  </a:lnTo>
                  <a:lnTo>
                    <a:pt x="1568768" y="891540"/>
                  </a:lnTo>
                  <a:lnTo>
                    <a:pt x="1564958" y="881063"/>
                  </a:lnTo>
                  <a:lnTo>
                    <a:pt x="1571625" y="877253"/>
                  </a:lnTo>
                  <a:lnTo>
                    <a:pt x="1575435" y="883920"/>
                  </a:lnTo>
                  <a:lnTo>
                    <a:pt x="1582103" y="880110"/>
                  </a:lnTo>
                  <a:lnTo>
                    <a:pt x="1578293" y="869633"/>
                  </a:lnTo>
                  <a:lnTo>
                    <a:pt x="1567815" y="869633"/>
                  </a:lnTo>
                  <a:lnTo>
                    <a:pt x="1567815" y="874395"/>
                  </a:lnTo>
                  <a:lnTo>
                    <a:pt x="1564005" y="874395"/>
                  </a:lnTo>
                  <a:lnTo>
                    <a:pt x="1532573" y="838200"/>
                  </a:lnTo>
                  <a:lnTo>
                    <a:pt x="1522095" y="831533"/>
                  </a:lnTo>
                  <a:lnTo>
                    <a:pt x="1525905" y="827723"/>
                  </a:lnTo>
                  <a:lnTo>
                    <a:pt x="1536383" y="823913"/>
                  </a:lnTo>
                  <a:lnTo>
                    <a:pt x="1525905" y="820103"/>
                  </a:lnTo>
                  <a:lnTo>
                    <a:pt x="1515428" y="823913"/>
                  </a:lnTo>
                  <a:lnTo>
                    <a:pt x="1523048" y="830580"/>
                  </a:lnTo>
                  <a:lnTo>
                    <a:pt x="1507808" y="830580"/>
                  </a:lnTo>
                  <a:lnTo>
                    <a:pt x="1500188" y="820103"/>
                  </a:lnTo>
                  <a:lnTo>
                    <a:pt x="1495425" y="809625"/>
                  </a:lnTo>
                  <a:lnTo>
                    <a:pt x="1486853" y="799148"/>
                  </a:lnTo>
                  <a:lnTo>
                    <a:pt x="1478280" y="789623"/>
                  </a:lnTo>
                  <a:lnTo>
                    <a:pt x="1575435" y="690563"/>
                  </a:lnTo>
                  <a:lnTo>
                    <a:pt x="1575435" y="690563"/>
                  </a:lnTo>
                  <a:close/>
                  <a:moveTo>
                    <a:pt x="1484948" y="841058"/>
                  </a:moveTo>
                  <a:lnTo>
                    <a:pt x="1483043" y="841058"/>
                  </a:lnTo>
                  <a:lnTo>
                    <a:pt x="1483043" y="842010"/>
                  </a:lnTo>
                  <a:lnTo>
                    <a:pt x="1479233" y="859155"/>
                  </a:lnTo>
                  <a:lnTo>
                    <a:pt x="1464945" y="848678"/>
                  </a:lnTo>
                  <a:lnTo>
                    <a:pt x="1454468" y="852488"/>
                  </a:lnTo>
                  <a:lnTo>
                    <a:pt x="1461135" y="862965"/>
                  </a:lnTo>
                  <a:lnTo>
                    <a:pt x="1464945" y="862965"/>
                  </a:lnTo>
                  <a:lnTo>
                    <a:pt x="1461135" y="877253"/>
                  </a:lnTo>
                  <a:lnTo>
                    <a:pt x="1454468" y="869633"/>
                  </a:lnTo>
                  <a:lnTo>
                    <a:pt x="1440180" y="865823"/>
                  </a:lnTo>
                  <a:lnTo>
                    <a:pt x="1450658" y="862013"/>
                  </a:lnTo>
                  <a:lnTo>
                    <a:pt x="1450658" y="858203"/>
                  </a:lnTo>
                  <a:lnTo>
                    <a:pt x="1440180" y="851535"/>
                  </a:lnTo>
                  <a:lnTo>
                    <a:pt x="1443990" y="823913"/>
                  </a:lnTo>
                  <a:lnTo>
                    <a:pt x="1443990" y="823913"/>
                  </a:lnTo>
                  <a:lnTo>
                    <a:pt x="1459230" y="808673"/>
                  </a:lnTo>
                  <a:lnTo>
                    <a:pt x="1465898" y="816293"/>
                  </a:lnTo>
                  <a:lnTo>
                    <a:pt x="1471613" y="823913"/>
                  </a:lnTo>
                  <a:lnTo>
                    <a:pt x="1477328" y="832485"/>
                  </a:lnTo>
                  <a:lnTo>
                    <a:pt x="1484948" y="841058"/>
                  </a:lnTo>
                  <a:lnTo>
                    <a:pt x="1484948" y="841058"/>
                  </a:lnTo>
                  <a:close/>
                  <a:moveTo>
                    <a:pt x="1548765" y="1585913"/>
                  </a:moveTo>
                  <a:lnTo>
                    <a:pt x="1562100" y="1559243"/>
                  </a:lnTo>
                  <a:lnTo>
                    <a:pt x="1554480" y="1544955"/>
                  </a:lnTo>
                  <a:lnTo>
                    <a:pt x="1575435" y="1527810"/>
                  </a:lnTo>
                  <a:lnTo>
                    <a:pt x="1575435" y="1517333"/>
                  </a:lnTo>
                  <a:lnTo>
                    <a:pt x="1558290" y="1506855"/>
                  </a:lnTo>
                  <a:lnTo>
                    <a:pt x="1571625" y="1482090"/>
                  </a:lnTo>
                  <a:lnTo>
                    <a:pt x="1592580" y="1453515"/>
                  </a:lnTo>
                  <a:lnTo>
                    <a:pt x="1571625" y="1432560"/>
                  </a:lnTo>
                  <a:lnTo>
                    <a:pt x="1558290" y="1432560"/>
                  </a:lnTo>
                  <a:lnTo>
                    <a:pt x="1548765" y="1420178"/>
                  </a:lnTo>
                  <a:lnTo>
                    <a:pt x="1556385" y="1414463"/>
                  </a:lnTo>
                  <a:lnTo>
                    <a:pt x="1564005" y="1407795"/>
                  </a:lnTo>
                  <a:lnTo>
                    <a:pt x="1570673" y="1402080"/>
                  </a:lnTo>
                  <a:lnTo>
                    <a:pt x="1577340" y="1395413"/>
                  </a:lnTo>
                  <a:lnTo>
                    <a:pt x="1626870" y="1445895"/>
                  </a:lnTo>
                  <a:lnTo>
                    <a:pt x="1626870" y="1454468"/>
                  </a:lnTo>
                  <a:lnTo>
                    <a:pt x="1626870" y="1454468"/>
                  </a:lnTo>
                  <a:lnTo>
                    <a:pt x="1636395" y="1455420"/>
                  </a:lnTo>
                  <a:lnTo>
                    <a:pt x="1673543" y="1493520"/>
                  </a:lnTo>
                  <a:lnTo>
                    <a:pt x="1659255" y="1506855"/>
                  </a:lnTo>
                  <a:lnTo>
                    <a:pt x="1644968" y="1520190"/>
                  </a:lnTo>
                  <a:lnTo>
                    <a:pt x="1629728" y="1532573"/>
                  </a:lnTo>
                  <a:lnTo>
                    <a:pt x="1614488" y="1544955"/>
                  </a:lnTo>
                  <a:lnTo>
                    <a:pt x="1598295" y="1556385"/>
                  </a:lnTo>
                  <a:lnTo>
                    <a:pt x="1582103" y="1567815"/>
                  </a:lnTo>
                  <a:lnTo>
                    <a:pt x="1565910" y="1578293"/>
                  </a:lnTo>
                  <a:lnTo>
                    <a:pt x="1548765" y="1585913"/>
                  </a:lnTo>
                  <a:lnTo>
                    <a:pt x="1548765" y="1585913"/>
                  </a:lnTo>
                  <a:close/>
                  <a:moveTo>
                    <a:pt x="1560195" y="1335405"/>
                  </a:moveTo>
                  <a:lnTo>
                    <a:pt x="1564958" y="1323023"/>
                  </a:lnTo>
                  <a:lnTo>
                    <a:pt x="1550670" y="1280160"/>
                  </a:lnTo>
                  <a:lnTo>
                    <a:pt x="1533525" y="1308735"/>
                  </a:lnTo>
                  <a:lnTo>
                    <a:pt x="1520190" y="1295400"/>
                  </a:lnTo>
                  <a:lnTo>
                    <a:pt x="1525905" y="1287780"/>
                  </a:lnTo>
                  <a:lnTo>
                    <a:pt x="1540193" y="1263015"/>
                  </a:lnTo>
                  <a:lnTo>
                    <a:pt x="1533525" y="1256348"/>
                  </a:lnTo>
                  <a:lnTo>
                    <a:pt x="1544003" y="1235393"/>
                  </a:lnTo>
                  <a:lnTo>
                    <a:pt x="1540193" y="1218248"/>
                  </a:lnTo>
                  <a:lnTo>
                    <a:pt x="1536383" y="1200150"/>
                  </a:lnTo>
                  <a:lnTo>
                    <a:pt x="1522095" y="1196340"/>
                  </a:lnTo>
                  <a:lnTo>
                    <a:pt x="1518285" y="1206818"/>
                  </a:lnTo>
                  <a:lnTo>
                    <a:pt x="1514475" y="1204913"/>
                  </a:lnTo>
                  <a:lnTo>
                    <a:pt x="1522095" y="1192530"/>
                  </a:lnTo>
                  <a:lnTo>
                    <a:pt x="1528763" y="1180148"/>
                  </a:lnTo>
                  <a:lnTo>
                    <a:pt x="1534478" y="1166813"/>
                  </a:lnTo>
                  <a:lnTo>
                    <a:pt x="1540193" y="1153478"/>
                  </a:lnTo>
                  <a:lnTo>
                    <a:pt x="1552575" y="1147763"/>
                  </a:lnTo>
                  <a:lnTo>
                    <a:pt x="1560195" y="1140143"/>
                  </a:lnTo>
                  <a:lnTo>
                    <a:pt x="1564005" y="1143953"/>
                  </a:lnTo>
                  <a:lnTo>
                    <a:pt x="1570673" y="1133475"/>
                  </a:lnTo>
                  <a:lnTo>
                    <a:pt x="1564005" y="1126808"/>
                  </a:lnTo>
                  <a:lnTo>
                    <a:pt x="1570673" y="1122998"/>
                  </a:lnTo>
                  <a:lnTo>
                    <a:pt x="1581150" y="1126808"/>
                  </a:lnTo>
                  <a:lnTo>
                    <a:pt x="1602105" y="1126808"/>
                  </a:lnTo>
                  <a:lnTo>
                    <a:pt x="1616393" y="1122998"/>
                  </a:lnTo>
                  <a:lnTo>
                    <a:pt x="1651635" y="1112520"/>
                  </a:lnTo>
                  <a:lnTo>
                    <a:pt x="1644968" y="1102043"/>
                  </a:lnTo>
                  <a:lnTo>
                    <a:pt x="1641158" y="1087755"/>
                  </a:lnTo>
                  <a:lnTo>
                    <a:pt x="1659255" y="1094423"/>
                  </a:lnTo>
                  <a:lnTo>
                    <a:pt x="1665923" y="1090613"/>
                  </a:lnTo>
                  <a:lnTo>
                    <a:pt x="1662113" y="1076325"/>
                  </a:lnTo>
                  <a:lnTo>
                    <a:pt x="1641158" y="1083945"/>
                  </a:lnTo>
                  <a:lnTo>
                    <a:pt x="1616393" y="1080135"/>
                  </a:lnTo>
                  <a:lnTo>
                    <a:pt x="1599248" y="1041083"/>
                  </a:lnTo>
                  <a:lnTo>
                    <a:pt x="1600200" y="1041083"/>
                  </a:lnTo>
                  <a:lnTo>
                    <a:pt x="1600200" y="1041083"/>
                  </a:lnTo>
                  <a:lnTo>
                    <a:pt x="1598295" y="1038225"/>
                  </a:lnTo>
                  <a:lnTo>
                    <a:pt x="1706880" y="1038225"/>
                  </a:lnTo>
                  <a:lnTo>
                    <a:pt x="1705928" y="1049655"/>
                  </a:lnTo>
                  <a:lnTo>
                    <a:pt x="1704975" y="1061085"/>
                  </a:lnTo>
                  <a:lnTo>
                    <a:pt x="1704023" y="1072515"/>
                  </a:lnTo>
                  <a:lnTo>
                    <a:pt x="1703070" y="1083945"/>
                  </a:lnTo>
                  <a:lnTo>
                    <a:pt x="1702118" y="1094423"/>
                  </a:lnTo>
                  <a:lnTo>
                    <a:pt x="1700213" y="1104900"/>
                  </a:lnTo>
                  <a:lnTo>
                    <a:pt x="1698308" y="1115378"/>
                  </a:lnTo>
                  <a:lnTo>
                    <a:pt x="1696403" y="1125855"/>
                  </a:lnTo>
                  <a:lnTo>
                    <a:pt x="1693545" y="1136333"/>
                  </a:lnTo>
                  <a:lnTo>
                    <a:pt x="1690688" y="1146810"/>
                  </a:lnTo>
                  <a:lnTo>
                    <a:pt x="1687830" y="1157288"/>
                  </a:lnTo>
                  <a:lnTo>
                    <a:pt x="1684973" y="1167765"/>
                  </a:lnTo>
                  <a:lnTo>
                    <a:pt x="1681163" y="1177290"/>
                  </a:lnTo>
                  <a:lnTo>
                    <a:pt x="1677353" y="1187768"/>
                  </a:lnTo>
                  <a:lnTo>
                    <a:pt x="1673543" y="1198245"/>
                  </a:lnTo>
                  <a:lnTo>
                    <a:pt x="1669733" y="1208723"/>
                  </a:lnTo>
                  <a:lnTo>
                    <a:pt x="1664970" y="1218248"/>
                  </a:lnTo>
                  <a:lnTo>
                    <a:pt x="1661160" y="1227773"/>
                  </a:lnTo>
                  <a:lnTo>
                    <a:pt x="1656398" y="1237298"/>
                  </a:lnTo>
                  <a:lnTo>
                    <a:pt x="1651635" y="1246823"/>
                  </a:lnTo>
                  <a:lnTo>
                    <a:pt x="1646873" y="1256348"/>
                  </a:lnTo>
                  <a:lnTo>
                    <a:pt x="1642110" y="1265873"/>
                  </a:lnTo>
                  <a:lnTo>
                    <a:pt x="1636395" y="1275398"/>
                  </a:lnTo>
                  <a:lnTo>
                    <a:pt x="1630680" y="1284923"/>
                  </a:lnTo>
                  <a:lnTo>
                    <a:pt x="1624965" y="1293495"/>
                  </a:lnTo>
                  <a:lnTo>
                    <a:pt x="1619250" y="1302068"/>
                  </a:lnTo>
                  <a:lnTo>
                    <a:pt x="1613535" y="1310640"/>
                  </a:lnTo>
                  <a:lnTo>
                    <a:pt x="1606868" y="1319213"/>
                  </a:lnTo>
                  <a:lnTo>
                    <a:pt x="1600200" y="1327785"/>
                  </a:lnTo>
                  <a:lnTo>
                    <a:pt x="1593533" y="1336358"/>
                  </a:lnTo>
                  <a:lnTo>
                    <a:pt x="1586865" y="1344930"/>
                  </a:lnTo>
                  <a:lnTo>
                    <a:pt x="1579245" y="1352550"/>
                  </a:lnTo>
                  <a:lnTo>
                    <a:pt x="1560195" y="1335405"/>
                  </a:lnTo>
                  <a:lnTo>
                    <a:pt x="1560195" y="1335405"/>
                  </a:lnTo>
                  <a:close/>
                  <a:moveTo>
                    <a:pt x="1503045" y="1320165"/>
                  </a:moveTo>
                  <a:lnTo>
                    <a:pt x="1496378" y="1321118"/>
                  </a:lnTo>
                  <a:lnTo>
                    <a:pt x="1497330" y="1322070"/>
                  </a:lnTo>
                  <a:lnTo>
                    <a:pt x="1493520" y="1325880"/>
                  </a:lnTo>
                  <a:lnTo>
                    <a:pt x="1462088" y="1319213"/>
                  </a:lnTo>
                  <a:lnTo>
                    <a:pt x="1455420" y="1323023"/>
                  </a:lnTo>
                  <a:lnTo>
                    <a:pt x="1437323" y="1308735"/>
                  </a:lnTo>
                  <a:lnTo>
                    <a:pt x="1423035" y="1304925"/>
                  </a:lnTo>
                  <a:lnTo>
                    <a:pt x="1443038" y="1288733"/>
                  </a:lnTo>
                  <a:lnTo>
                    <a:pt x="1443038" y="1286828"/>
                  </a:lnTo>
                  <a:lnTo>
                    <a:pt x="1460183" y="1278255"/>
                  </a:lnTo>
                  <a:lnTo>
                    <a:pt x="1503045" y="1320165"/>
                  </a:lnTo>
                  <a:lnTo>
                    <a:pt x="1503045" y="1320165"/>
                  </a:lnTo>
                  <a:close/>
                  <a:moveTo>
                    <a:pt x="1582103" y="1006793"/>
                  </a:moveTo>
                  <a:lnTo>
                    <a:pt x="1582103" y="1000125"/>
                  </a:lnTo>
                  <a:lnTo>
                    <a:pt x="1596390" y="989648"/>
                  </a:lnTo>
                  <a:lnTo>
                    <a:pt x="1596390" y="982980"/>
                  </a:lnTo>
                  <a:lnTo>
                    <a:pt x="1603058" y="979170"/>
                  </a:lnTo>
                  <a:lnTo>
                    <a:pt x="1620203" y="975360"/>
                  </a:lnTo>
                  <a:lnTo>
                    <a:pt x="1620203" y="967740"/>
                  </a:lnTo>
                  <a:lnTo>
                    <a:pt x="1605915" y="961073"/>
                  </a:lnTo>
                  <a:lnTo>
                    <a:pt x="1630680" y="946785"/>
                  </a:lnTo>
                  <a:lnTo>
                    <a:pt x="1654493" y="942975"/>
                  </a:lnTo>
                  <a:lnTo>
                    <a:pt x="1662113" y="928688"/>
                  </a:lnTo>
                  <a:lnTo>
                    <a:pt x="1676400" y="922020"/>
                  </a:lnTo>
                  <a:lnTo>
                    <a:pt x="1683068" y="907733"/>
                  </a:lnTo>
                  <a:lnTo>
                    <a:pt x="1686878" y="889635"/>
                  </a:lnTo>
                  <a:lnTo>
                    <a:pt x="1686878" y="891540"/>
                  </a:lnTo>
                  <a:lnTo>
                    <a:pt x="1686878" y="890588"/>
                  </a:lnTo>
                  <a:lnTo>
                    <a:pt x="1687830" y="889635"/>
                  </a:lnTo>
                  <a:lnTo>
                    <a:pt x="1688783" y="894398"/>
                  </a:lnTo>
                  <a:lnTo>
                    <a:pt x="1689735" y="899160"/>
                  </a:lnTo>
                  <a:lnTo>
                    <a:pt x="1690688" y="903923"/>
                  </a:lnTo>
                  <a:lnTo>
                    <a:pt x="1691640" y="908685"/>
                  </a:lnTo>
                  <a:lnTo>
                    <a:pt x="1687830" y="913448"/>
                  </a:lnTo>
                  <a:lnTo>
                    <a:pt x="1687830" y="913448"/>
                  </a:lnTo>
                  <a:lnTo>
                    <a:pt x="1678305" y="949643"/>
                  </a:lnTo>
                  <a:lnTo>
                    <a:pt x="1674495" y="963930"/>
                  </a:lnTo>
                  <a:lnTo>
                    <a:pt x="1689735" y="945833"/>
                  </a:lnTo>
                  <a:lnTo>
                    <a:pt x="1696403" y="935355"/>
                  </a:lnTo>
                  <a:lnTo>
                    <a:pt x="1697355" y="943928"/>
                  </a:lnTo>
                  <a:lnTo>
                    <a:pt x="1698308" y="952500"/>
                  </a:lnTo>
                  <a:lnTo>
                    <a:pt x="1699260" y="962025"/>
                  </a:lnTo>
                  <a:lnTo>
                    <a:pt x="1700213" y="970598"/>
                  </a:lnTo>
                  <a:lnTo>
                    <a:pt x="1701165" y="979170"/>
                  </a:lnTo>
                  <a:lnTo>
                    <a:pt x="1701165" y="987743"/>
                  </a:lnTo>
                  <a:lnTo>
                    <a:pt x="1701165" y="997268"/>
                  </a:lnTo>
                  <a:lnTo>
                    <a:pt x="1701165" y="1006793"/>
                  </a:lnTo>
                  <a:lnTo>
                    <a:pt x="1582103" y="1006793"/>
                  </a:lnTo>
                  <a:lnTo>
                    <a:pt x="1582103" y="1006793"/>
                  </a:lnTo>
                  <a:close/>
                  <a:moveTo>
                    <a:pt x="1417320" y="776288"/>
                  </a:moveTo>
                  <a:lnTo>
                    <a:pt x="1415415" y="778193"/>
                  </a:lnTo>
                  <a:lnTo>
                    <a:pt x="1404938" y="784860"/>
                  </a:lnTo>
                  <a:lnTo>
                    <a:pt x="1398270" y="795338"/>
                  </a:lnTo>
                  <a:lnTo>
                    <a:pt x="1391603" y="788670"/>
                  </a:lnTo>
                  <a:lnTo>
                    <a:pt x="1370648" y="795338"/>
                  </a:lnTo>
                  <a:lnTo>
                    <a:pt x="1377315" y="805815"/>
                  </a:lnTo>
                  <a:lnTo>
                    <a:pt x="1391603" y="798195"/>
                  </a:lnTo>
                  <a:lnTo>
                    <a:pt x="1402080" y="802005"/>
                  </a:lnTo>
                  <a:lnTo>
                    <a:pt x="1402080" y="795338"/>
                  </a:lnTo>
                  <a:lnTo>
                    <a:pt x="1408748" y="791528"/>
                  </a:lnTo>
                  <a:lnTo>
                    <a:pt x="1412558" y="787718"/>
                  </a:lnTo>
                  <a:lnTo>
                    <a:pt x="1423035" y="783908"/>
                  </a:lnTo>
                  <a:lnTo>
                    <a:pt x="1431608" y="783908"/>
                  </a:lnTo>
                  <a:lnTo>
                    <a:pt x="1417320" y="776288"/>
                  </a:lnTo>
                  <a:lnTo>
                    <a:pt x="1417320" y="776288"/>
                  </a:lnTo>
                  <a:close/>
                  <a:moveTo>
                    <a:pt x="1674495" y="1448753"/>
                  </a:moveTo>
                  <a:lnTo>
                    <a:pt x="1680210" y="1441133"/>
                  </a:lnTo>
                  <a:lnTo>
                    <a:pt x="1669733" y="1388745"/>
                  </a:lnTo>
                  <a:lnTo>
                    <a:pt x="1663065" y="1384935"/>
                  </a:lnTo>
                  <a:lnTo>
                    <a:pt x="1666875" y="1377315"/>
                  </a:lnTo>
                  <a:lnTo>
                    <a:pt x="1645920" y="1370648"/>
                  </a:lnTo>
                  <a:lnTo>
                    <a:pt x="1639253" y="1388745"/>
                  </a:lnTo>
                  <a:lnTo>
                    <a:pt x="1639253" y="1413510"/>
                  </a:lnTo>
                  <a:lnTo>
                    <a:pt x="1598295" y="1372553"/>
                  </a:lnTo>
                  <a:lnTo>
                    <a:pt x="1605915" y="1363980"/>
                  </a:lnTo>
                  <a:lnTo>
                    <a:pt x="1613535" y="1355408"/>
                  </a:lnTo>
                  <a:lnTo>
                    <a:pt x="1620203" y="1346835"/>
                  </a:lnTo>
                  <a:lnTo>
                    <a:pt x="1627823" y="1337310"/>
                  </a:lnTo>
                  <a:lnTo>
                    <a:pt x="1634490" y="1328738"/>
                  </a:lnTo>
                  <a:lnTo>
                    <a:pt x="1641158" y="1319213"/>
                  </a:lnTo>
                  <a:lnTo>
                    <a:pt x="1647825" y="1309688"/>
                  </a:lnTo>
                  <a:lnTo>
                    <a:pt x="1654493" y="1300163"/>
                  </a:lnTo>
                  <a:lnTo>
                    <a:pt x="1660208" y="1290638"/>
                  </a:lnTo>
                  <a:lnTo>
                    <a:pt x="1665923" y="1281113"/>
                  </a:lnTo>
                  <a:lnTo>
                    <a:pt x="1671638" y="1270635"/>
                  </a:lnTo>
                  <a:lnTo>
                    <a:pt x="1677353" y="1260158"/>
                  </a:lnTo>
                  <a:lnTo>
                    <a:pt x="1683068" y="1249680"/>
                  </a:lnTo>
                  <a:lnTo>
                    <a:pt x="1687830" y="1239203"/>
                  </a:lnTo>
                  <a:lnTo>
                    <a:pt x="1692593" y="1228725"/>
                  </a:lnTo>
                  <a:lnTo>
                    <a:pt x="1697355" y="1218248"/>
                  </a:lnTo>
                  <a:lnTo>
                    <a:pt x="1702118" y="1207770"/>
                  </a:lnTo>
                  <a:lnTo>
                    <a:pt x="1706880" y="1197293"/>
                  </a:lnTo>
                  <a:lnTo>
                    <a:pt x="1710690" y="1186815"/>
                  </a:lnTo>
                  <a:lnTo>
                    <a:pt x="1714500" y="1176338"/>
                  </a:lnTo>
                  <a:lnTo>
                    <a:pt x="1718310" y="1164908"/>
                  </a:lnTo>
                  <a:lnTo>
                    <a:pt x="1721168" y="1153478"/>
                  </a:lnTo>
                  <a:lnTo>
                    <a:pt x="1724025" y="1142048"/>
                  </a:lnTo>
                  <a:lnTo>
                    <a:pt x="1726883" y="1130618"/>
                  </a:lnTo>
                  <a:lnTo>
                    <a:pt x="1728788" y="1119188"/>
                  </a:lnTo>
                  <a:lnTo>
                    <a:pt x="1730693" y="1107758"/>
                  </a:lnTo>
                  <a:lnTo>
                    <a:pt x="1732598" y="1096328"/>
                  </a:lnTo>
                  <a:lnTo>
                    <a:pt x="1734503" y="1084898"/>
                  </a:lnTo>
                  <a:lnTo>
                    <a:pt x="1735455" y="1072515"/>
                  </a:lnTo>
                  <a:lnTo>
                    <a:pt x="1736408" y="1061085"/>
                  </a:lnTo>
                  <a:lnTo>
                    <a:pt x="1736408" y="1048703"/>
                  </a:lnTo>
                  <a:lnTo>
                    <a:pt x="1737360" y="1036320"/>
                  </a:lnTo>
                  <a:lnTo>
                    <a:pt x="1874520" y="1036320"/>
                  </a:lnTo>
                  <a:lnTo>
                    <a:pt x="1873568" y="1052513"/>
                  </a:lnTo>
                  <a:lnTo>
                    <a:pt x="1872615" y="1067753"/>
                  </a:lnTo>
                  <a:lnTo>
                    <a:pt x="1871663" y="1082993"/>
                  </a:lnTo>
                  <a:lnTo>
                    <a:pt x="1869758" y="1098233"/>
                  </a:lnTo>
                  <a:lnTo>
                    <a:pt x="1867853" y="1113473"/>
                  </a:lnTo>
                  <a:lnTo>
                    <a:pt x="1864995" y="1128713"/>
                  </a:lnTo>
                  <a:lnTo>
                    <a:pt x="1862138" y="1143953"/>
                  </a:lnTo>
                  <a:lnTo>
                    <a:pt x="1859280" y="1159193"/>
                  </a:lnTo>
                  <a:lnTo>
                    <a:pt x="1855470" y="1174433"/>
                  </a:lnTo>
                  <a:lnTo>
                    <a:pt x="1851660" y="1189673"/>
                  </a:lnTo>
                  <a:lnTo>
                    <a:pt x="1847850" y="1203960"/>
                  </a:lnTo>
                  <a:lnTo>
                    <a:pt x="1843088" y="1218248"/>
                  </a:lnTo>
                  <a:lnTo>
                    <a:pt x="1838325" y="1232535"/>
                  </a:lnTo>
                  <a:lnTo>
                    <a:pt x="1833563" y="1246823"/>
                  </a:lnTo>
                  <a:lnTo>
                    <a:pt x="1828800" y="1261110"/>
                  </a:lnTo>
                  <a:lnTo>
                    <a:pt x="1823085" y="1275398"/>
                  </a:lnTo>
                  <a:lnTo>
                    <a:pt x="1817370" y="1288733"/>
                  </a:lnTo>
                  <a:lnTo>
                    <a:pt x="1810703" y="1302068"/>
                  </a:lnTo>
                  <a:lnTo>
                    <a:pt x="1804035" y="1315403"/>
                  </a:lnTo>
                  <a:lnTo>
                    <a:pt x="1797368" y="1328738"/>
                  </a:lnTo>
                  <a:lnTo>
                    <a:pt x="1790700" y="1342073"/>
                  </a:lnTo>
                  <a:lnTo>
                    <a:pt x="1783080" y="1354455"/>
                  </a:lnTo>
                  <a:lnTo>
                    <a:pt x="1775460" y="1366838"/>
                  </a:lnTo>
                  <a:lnTo>
                    <a:pt x="1767840" y="1379220"/>
                  </a:lnTo>
                  <a:lnTo>
                    <a:pt x="1759268" y="1391603"/>
                  </a:lnTo>
                  <a:lnTo>
                    <a:pt x="1750695" y="1403985"/>
                  </a:lnTo>
                  <a:lnTo>
                    <a:pt x="1741170" y="1415415"/>
                  </a:lnTo>
                  <a:lnTo>
                    <a:pt x="1732598" y="1426845"/>
                  </a:lnTo>
                  <a:lnTo>
                    <a:pt x="1723073" y="1438275"/>
                  </a:lnTo>
                  <a:lnTo>
                    <a:pt x="1713548" y="1448753"/>
                  </a:lnTo>
                  <a:lnTo>
                    <a:pt x="1704023" y="1460183"/>
                  </a:lnTo>
                  <a:lnTo>
                    <a:pt x="1694498" y="1470660"/>
                  </a:lnTo>
                  <a:lnTo>
                    <a:pt x="1674495" y="1448753"/>
                  </a:lnTo>
                  <a:lnTo>
                    <a:pt x="1674495" y="1448753"/>
                  </a:lnTo>
                  <a:close/>
                  <a:moveTo>
                    <a:pt x="776288" y="1039178"/>
                  </a:moveTo>
                  <a:lnTo>
                    <a:pt x="776288" y="1039178"/>
                  </a:lnTo>
                  <a:lnTo>
                    <a:pt x="765810" y="1074420"/>
                  </a:lnTo>
                  <a:lnTo>
                    <a:pt x="780098" y="1084898"/>
                  </a:lnTo>
                  <a:lnTo>
                    <a:pt x="765810" y="1105853"/>
                  </a:lnTo>
                  <a:lnTo>
                    <a:pt x="744855" y="1105853"/>
                  </a:lnTo>
                  <a:lnTo>
                    <a:pt x="743903" y="1097280"/>
                  </a:lnTo>
                  <a:lnTo>
                    <a:pt x="742950" y="1088708"/>
                  </a:lnTo>
                  <a:lnTo>
                    <a:pt x="741998" y="1080135"/>
                  </a:lnTo>
                  <a:lnTo>
                    <a:pt x="741045" y="1071563"/>
                  </a:lnTo>
                  <a:lnTo>
                    <a:pt x="740093" y="1062038"/>
                  </a:lnTo>
                  <a:lnTo>
                    <a:pt x="740093" y="1053465"/>
                  </a:lnTo>
                  <a:lnTo>
                    <a:pt x="739140" y="1044893"/>
                  </a:lnTo>
                  <a:lnTo>
                    <a:pt x="738188" y="1035368"/>
                  </a:lnTo>
                  <a:lnTo>
                    <a:pt x="780098" y="1035368"/>
                  </a:lnTo>
                  <a:lnTo>
                    <a:pt x="776288" y="1039178"/>
                  </a:lnTo>
                  <a:lnTo>
                    <a:pt x="776288" y="1039178"/>
                  </a:lnTo>
                  <a:close/>
                  <a:moveTo>
                    <a:pt x="711518" y="1080135"/>
                  </a:moveTo>
                  <a:lnTo>
                    <a:pt x="709613" y="1080135"/>
                  </a:lnTo>
                  <a:lnTo>
                    <a:pt x="709613" y="1081088"/>
                  </a:lnTo>
                  <a:lnTo>
                    <a:pt x="691515" y="1084898"/>
                  </a:lnTo>
                  <a:lnTo>
                    <a:pt x="687705" y="1102043"/>
                  </a:lnTo>
                  <a:lnTo>
                    <a:pt x="652463" y="1144905"/>
                  </a:lnTo>
                  <a:lnTo>
                    <a:pt x="656273" y="1207770"/>
                  </a:lnTo>
                  <a:lnTo>
                    <a:pt x="617220" y="1218248"/>
                  </a:lnTo>
                  <a:lnTo>
                    <a:pt x="601028" y="1218248"/>
                  </a:lnTo>
                  <a:lnTo>
                    <a:pt x="594360" y="1196340"/>
                  </a:lnTo>
                  <a:lnTo>
                    <a:pt x="588645" y="1174433"/>
                  </a:lnTo>
                  <a:lnTo>
                    <a:pt x="582930" y="1152525"/>
                  </a:lnTo>
                  <a:lnTo>
                    <a:pt x="579120" y="1129665"/>
                  </a:lnTo>
                  <a:lnTo>
                    <a:pt x="575310" y="1106805"/>
                  </a:lnTo>
                  <a:lnTo>
                    <a:pt x="572453" y="1083945"/>
                  </a:lnTo>
                  <a:lnTo>
                    <a:pt x="571500" y="1072515"/>
                  </a:lnTo>
                  <a:lnTo>
                    <a:pt x="570548" y="1061085"/>
                  </a:lnTo>
                  <a:lnTo>
                    <a:pt x="571500" y="1047750"/>
                  </a:lnTo>
                  <a:lnTo>
                    <a:pt x="571500" y="1035368"/>
                  </a:lnTo>
                  <a:lnTo>
                    <a:pt x="708660" y="1035368"/>
                  </a:lnTo>
                  <a:lnTo>
                    <a:pt x="708660" y="1046798"/>
                  </a:lnTo>
                  <a:lnTo>
                    <a:pt x="709613" y="1057275"/>
                  </a:lnTo>
                  <a:lnTo>
                    <a:pt x="710565" y="1068705"/>
                  </a:lnTo>
                  <a:lnTo>
                    <a:pt x="711518" y="1080135"/>
                  </a:lnTo>
                  <a:lnTo>
                    <a:pt x="711518" y="1080135"/>
                  </a:lnTo>
                  <a:close/>
                  <a:moveTo>
                    <a:pt x="571500" y="1219200"/>
                  </a:moveTo>
                  <a:lnTo>
                    <a:pt x="567690" y="1219200"/>
                  </a:lnTo>
                  <a:lnTo>
                    <a:pt x="567690" y="1219200"/>
                  </a:lnTo>
                  <a:lnTo>
                    <a:pt x="567690" y="1221105"/>
                  </a:lnTo>
                  <a:lnTo>
                    <a:pt x="559118" y="1221105"/>
                  </a:lnTo>
                  <a:lnTo>
                    <a:pt x="552450" y="1210628"/>
                  </a:lnTo>
                  <a:lnTo>
                    <a:pt x="514350" y="1206818"/>
                  </a:lnTo>
                  <a:lnTo>
                    <a:pt x="524828" y="1223963"/>
                  </a:lnTo>
                  <a:lnTo>
                    <a:pt x="490538" y="1217295"/>
                  </a:lnTo>
                  <a:lnTo>
                    <a:pt x="501015" y="1206818"/>
                  </a:lnTo>
                  <a:lnTo>
                    <a:pt x="490538" y="1200150"/>
                  </a:lnTo>
                  <a:lnTo>
                    <a:pt x="466725" y="1210628"/>
                  </a:lnTo>
                  <a:lnTo>
                    <a:pt x="456248" y="1227773"/>
                  </a:lnTo>
                  <a:lnTo>
                    <a:pt x="460058" y="1265873"/>
                  </a:lnTo>
                  <a:lnTo>
                    <a:pt x="491490" y="1338263"/>
                  </a:lnTo>
                  <a:lnTo>
                    <a:pt x="505778" y="1359218"/>
                  </a:lnTo>
                  <a:lnTo>
                    <a:pt x="512445" y="1363028"/>
                  </a:lnTo>
                  <a:lnTo>
                    <a:pt x="491490" y="1321118"/>
                  </a:lnTo>
                  <a:lnTo>
                    <a:pt x="484823" y="1300163"/>
                  </a:lnTo>
                  <a:lnTo>
                    <a:pt x="491490" y="1293495"/>
                  </a:lnTo>
                  <a:lnTo>
                    <a:pt x="487680" y="1283018"/>
                  </a:lnTo>
                  <a:lnTo>
                    <a:pt x="501968" y="1283018"/>
                  </a:lnTo>
                  <a:lnTo>
                    <a:pt x="521970" y="1313498"/>
                  </a:lnTo>
                  <a:lnTo>
                    <a:pt x="525780" y="1317308"/>
                  </a:lnTo>
                  <a:lnTo>
                    <a:pt x="525780" y="1293495"/>
                  </a:lnTo>
                  <a:lnTo>
                    <a:pt x="533400" y="1300163"/>
                  </a:lnTo>
                  <a:lnTo>
                    <a:pt x="537210" y="1310640"/>
                  </a:lnTo>
                  <a:lnTo>
                    <a:pt x="557213" y="1318260"/>
                  </a:lnTo>
                  <a:lnTo>
                    <a:pt x="567690" y="1310640"/>
                  </a:lnTo>
                  <a:lnTo>
                    <a:pt x="572453" y="1310640"/>
                  </a:lnTo>
                  <a:lnTo>
                    <a:pt x="572453" y="1329690"/>
                  </a:lnTo>
                  <a:lnTo>
                    <a:pt x="579120" y="1343978"/>
                  </a:lnTo>
                  <a:lnTo>
                    <a:pt x="593408" y="1343978"/>
                  </a:lnTo>
                  <a:lnTo>
                    <a:pt x="618173" y="1392555"/>
                  </a:lnTo>
                  <a:lnTo>
                    <a:pt x="632460" y="1396365"/>
                  </a:lnTo>
                  <a:lnTo>
                    <a:pt x="639128" y="1375410"/>
                  </a:lnTo>
                  <a:lnTo>
                    <a:pt x="639128" y="1372553"/>
                  </a:lnTo>
                  <a:lnTo>
                    <a:pt x="639128" y="1372553"/>
                  </a:lnTo>
                  <a:lnTo>
                    <a:pt x="639128" y="1371600"/>
                  </a:lnTo>
                  <a:lnTo>
                    <a:pt x="648653" y="1387793"/>
                  </a:lnTo>
                  <a:lnTo>
                    <a:pt x="659130" y="1403985"/>
                  </a:lnTo>
                  <a:lnTo>
                    <a:pt x="669608" y="1419225"/>
                  </a:lnTo>
                  <a:lnTo>
                    <a:pt x="681038" y="1434465"/>
                  </a:lnTo>
                  <a:lnTo>
                    <a:pt x="692468" y="1449705"/>
                  </a:lnTo>
                  <a:lnTo>
                    <a:pt x="704850" y="1463993"/>
                  </a:lnTo>
                  <a:lnTo>
                    <a:pt x="718185" y="1478280"/>
                  </a:lnTo>
                  <a:lnTo>
                    <a:pt x="731520" y="1492568"/>
                  </a:lnTo>
                  <a:lnTo>
                    <a:pt x="635318" y="1588770"/>
                  </a:lnTo>
                  <a:lnTo>
                    <a:pt x="621983" y="1575435"/>
                  </a:lnTo>
                  <a:lnTo>
                    <a:pt x="609600" y="1561148"/>
                  </a:lnTo>
                  <a:lnTo>
                    <a:pt x="597218" y="1546860"/>
                  </a:lnTo>
                  <a:lnTo>
                    <a:pt x="584835" y="1532573"/>
                  </a:lnTo>
                  <a:lnTo>
                    <a:pt x="573405" y="1517333"/>
                  </a:lnTo>
                  <a:lnTo>
                    <a:pt x="561975" y="1502093"/>
                  </a:lnTo>
                  <a:lnTo>
                    <a:pt x="551498" y="1486853"/>
                  </a:lnTo>
                  <a:lnTo>
                    <a:pt x="541020" y="1471613"/>
                  </a:lnTo>
                  <a:lnTo>
                    <a:pt x="530543" y="1456373"/>
                  </a:lnTo>
                  <a:lnTo>
                    <a:pt x="521018" y="1440180"/>
                  </a:lnTo>
                  <a:lnTo>
                    <a:pt x="511493" y="1423988"/>
                  </a:lnTo>
                  <a:lnTo>
                    <a:pt x="501968" y="1407795"/>
                  </a:lnTo>
                  <a:lnTo>
                    <a:pt x="493395" y="1390650"/>
                  </a:lnTo>
                  <a:lnTo>
                    <a:pt x="484823" y="1373505"/>
                  </a:lnTo>
                  <a:lnTo>
                    <a:pt x="476250" y="1356360"/>
                  </a:lnTo>
                  <a:lnTo>
                    <a:pt x="468630" y="1339215"/>
                  </a:lnTo>
                  <a:lnTo>
                    <a:pt x="461010" y="1321118"/>
                  </a:lnTo>
                  <a:lnTo>
                    <a:pt x="454343" y="1303020"/>
                  </a:lnTo>
                  <a:lnTo>
                    <a:pt x="448628" y="1284923"/>
                  </a:lnTo>
                  <a:lnTo>
                    <a:pt x="442913" y="1266825"/>
                  </a:lnTo>
                  <a:lnTo>
                    <a:pt x="437198" y="1247775"/>
                  </a:lnTo>
                  <a:lnTo>
                    <a:pt x="432435" y="1229678"/>
                  </a:lnTo>
                  <a:lnTo>
                    <a:pt x="427673" y="1210628"/>
                  </a:lnTo>
                  <a:lnTo>
                    <a:pt x="422910" y="1191578"/>
                  </a:lnTo>
                  <a:lnTo>
                    <a:pt x="419100" y="1172528"/>
                  </a:lnTo>
                  <a:lnTo>
                    <a:pt x="415290" y="1153478"/>
                  </a:lnTo>
                  <a:lnTo>
                    <a:pt x="412433" y="1133475"/>
                  </a:lnTo>
                  <a:lnTo>
                    <a:pt x="410528" y="1113473"/>
                  </a:lnTo>
                  <a:lnTo>
                    <a:pt x="408623" y="1093470"/>
                  </a:lnTo>
                  <a:lnTo>
                    <a:pt x="406718" y="1073468"/>
                  </a:lnTo>
                  <a:lnTo>
                    <a:pt x="405765" y="1053465"/>
                  </a:lnTo>
                  <a:lnTo>
                    <a:pt x="404813" y="1033463"/>
                  </a:lnTo>
                  <a:lnTo>
                    <a:pt x="542925" y="1033463"/>
                  </a:lnTo>
                  <a:lnTo>
                    <a:pt x="543878" y="1057275"/>
                  </a:lnTo>
                  <a:lnTo>
                    <a:pt x="545783" y="1081088"/>
                  </a:lnTo>
                  <a:lnTo>
                    <a:pt x="548640" y="1103948"/>
                  </a:lnTo>
                  <a:lnTo>
                    <a:pt x="551498" y="1126808"/>
                  </a:lnTo>
                  <a:lnTo>
                    <a:pt x="556260" y="1149668"/>
                  </a:lnTo>
                  <a:lnTo>
                    <a:pt x="561023" y="1172528"/>
                  </a:lnTo>
                  <a:lnTo>
                    <a:pt x="565785" y="1194435"/>
                  </a:lnTo>
                  <a:lnTo>
                    <a:pt x="571500" y="1219200"/>
                  </a:lnTo>
                  <a:lnTo>
                    <a:pt x="571500" y="1219200"/>
                  </a:lnTo>
                  <a:close/>
                  <a:moveTo>
                    <a:pt x="724853" y="1441133"/>
                  </a:moveTo>
                  <a:lnTo>
                    <a:pt x="738188" y="1431608"/>
                  </a:lnTo>
                  <a:lnTo>
                    <a:pt x="769620" y="1448753"/>
                  </a:lnTo>
                  <a:lnTo>
                    <a:pt x="774383" y="1451610"/>
                  </a:lnTo>
                  <a:lnTo>
                    <a:pt x="753428" y="1472565"/>
                  </a:lnTo>
                  <a:lnTo>
                    <a:pt x="745808" y="1464945"/>
                  </a:lnTo>
                  <a:lnTo>
                    <a:pt x="738188" y="1457325"/>
                  </a:lnTo>
                  <a:lnTo>
                    <a:pt x="731520" y="1449705"/>
                  </a:lnTo>
                  <a:lnTo>
                    <a:pt x="724853" y="1441133"/>
                  </a:lnTo>
                  <a:lnTo>
                    <a:pt x="724853" y="1441133"/>
                  </a:lnTo>
                  <a:close/>
                  <a:moveTo>
                    <a:pt x="843915" y="1323975"/>
                  </a:moveTo>
                  <a:lnTo>
                    <a:pt x="847725" y="1290638"/>
                  </a:lnTo>
                  <a:lnTo>
                    <a:pt x="833438" y="1259205"/>
                  </a:lnTo>
                  <a:lnTo>
                    <a:pt x="829628" y="1205865"/>
                  </a:lnTo>
                  <a:lnTo>
                    <a:pt x="812483" y="1174433"/>
                  </a:lnTo>
                  <a:lnTo>
                    <a:pt x="816293" y="1153478"/>
                  </a:lnTo>
                  <a:lnTo>
                    <a:pt x="795338" y="1114425"/>
                  </a:lnTo>
                  <a:lnTo>
                    <a:pt x="778193" y="1106805"/>
                  </a:lnTo>
                  <a:lnTo>
                    <a:pt x="784860" y="1085850"/>
                  </a:lnTo>
                  <a:lnTo>
                    <a:pt x="778193" y="1067753"/>
                  </a:lnTo>
                  <a:lnTo>
                    <a:pt x="784860" y="1049655"/>
                  </a:lnTo>
                  <a:lnTo>
                    <a:pt x="805815" y="1049655"/>
                  </a:lnTo>
                  <a:lnTo>
                    <a:pt x="812483" y="1040130"/>
                  </a:lnTo>
                  <a:lnTo>
                    <a:pt x="812483" y="1039178"/>
                  </a:lnTo>
                  <a:lnTo>
                    <a:pt x="814388" y="1035368"/>
                  </a:lnTo>
                  <a:lnTo>
                    <a:pt x="842010" y="1035368"/>
                  </a:lnTo>
                  <a:lnTo>
                    <a:pt x="843915" y="1039178"/>
                  </a:lnTo>
                  <a:lnTo>
                    <a:pt x="843915" y="1039178"/>
                  </a:lnTo>
                  <a:lnTo>
                    <a:pt x="843915" y="1039178"/>
                  </a:lnTo>
                  <a:lnTo>
                    <a:pt x="843915" y="1039178"/>
                  </a:lnTo>
                  <a:lnTo>
                    <a:pt x="843915" y="1039178"/>
                  </a:lnTo>
                  <a:lnTo>
                    <a:pt x="846773" y="1049655"/>
                  </a:lnTo>
                  <a:lnTo>
                    <a:pt x="843915" y="1081088"/>
                  </a:lnTo>
                  <a:lnTo>
                    <a:pt x="837248" y="1087755"/>
                  </a:lnTo>
                  <a:lnTo>
                    <a:pt x="850583" y="1112520"/>
                  </a:lnTo>
                  <a:lnTo>
                    <a:pt x="843915" y="1119188"/>
                  </a:lnTo>
                  <a:lnTo>
                    <a:pt x="837248" y="1112520"/>
                  </a:lnTo>
                  <a:lnTo>
                    <a:pt x="834390" y="1112520"/>
                  </a:lnTo>
                  <a:lnTo>
                    <a:pt x="841058" y="1129665"/>
                  </a:lnTo>
                  <a:lnTo>
                    <a:pt x="850583" y="1147763"/>
                  </a:lnTo>
                  <a:lnTo>
                    <a:pt x="853440" y="1147763"/>
                  </a:lnTo>
                  <a:lnTo>
                    <a:pt x="856298" y="1129665"/>
                  </a:lnTo>
                  <a:lnTo>
                    <a:pt x="849630" y="1125855"/>
                  </a:lnTo>
                  <a:lnTo>
                    <a:pt x="849630" y="1114425"/>
                  </a:lnTo>
                  <a:lnTo>
                    <a:pt x="849630" y="1092518"/>
                  </a:lnTo>
                  <a:lnTo>
                    <a:pt x="857250" y="1049655"/>
                  </a:lnTo>
                  <a:lnTo>
                    <a:pt x="855345" y="1044893"/>
                  </a:lnTo>
                  <a:lnTo>
                    <a:pt x="849630" y="1036320"/>
                  </a:lnTo>
                  <a:lnTo>
                    <a:pt x="851535" y="1036320"/>
                  </a:lnTo>
                  <a:lnTo>
                    <a:pt x="850583" y="1033463"/>
                  </a:lnTo>
                  <a:lnTo>
                    <a:pt x="878205" y="1033463"/>
                  </a:lnTo>
                  <a:lnTo>
                    <a:pt x="879158" y="1049655"/>
                  </a:lnTo>
                  <a:lnTo>
                    <a:pt x="881063" y="1064895"/>
                  </a:lnTo>
                  <a:lnTo>
                    <a:pt x="882968" y="1080135"/>
                  </a:lnTo>
                  <a:lnTo>
                    <a:pt x="886778" y="1095375"/>
                  </a:lnTo>
                  <a:lnTo>
                    <a:pt x="890588" y="1110615"/>
                  </a:lnTo>
                  <a:lnTo>
                    <a:pt x="895350" y="1125855"/>
                  </a:lnTo>
                  <a:lnTo>
                    <a:pt x="901065" y="1140143"/>
                  </a:lnTo>
                  <a:lnTo>
                    <a:pt x="906780" y="1154430"/>
                  </a:lnTo>
                  <a:lnTo>
                    <a:pt x="912495" y="1168718"/>
                  </a:lnTo>
                  <a:lnTo>
                    <a:pt x="919163" y="1182053"/>
                  </a:lnTo>
                  <a:lnTo>
                    <a:pt x="926783" y="1195388"/>
                  </a:lnTo>
                  <a:lnTo>
                    <a:pt x="934403" y="1208723"/>
                  </a:lnTo>
                  <a:lnTo>
                    <a:pt x="942975" y="1221105"/>
                  </a:lnTo>
                  <a:lnTo>
                    <a:pt x="952500" y="1232535"/>
                  </a:lnTo>
                  <a:lnTo>
                    <a:pt x="962025" y="1243965"/>
                  </a:lnTo>
                  <a:lnTo>
                    <a:pt x="971550" y="1254443"/>
                  </a:lnTo>
                  <a:lnTo>
                    <a:pt x="872490" y="1353503"/>
                  </a:lnTo>
                  <a:lnTo>
                    <a:pt x="865823" y="1345883"/>
                  </a:lnTo>
                  <a:lnTo>
                    <a:pt x="859155" y="1338263"/>
                  </a:lnTo>
                  <a:lnTo>
                    <a:pt x="852488" y="1330643"/>
                  </a:lnTo>
                  <a:lnTo>
                    <a:pt x="843915" y="1323975"/>
                  </a:lnTo>
                  <a:lnTo>
                    <a:pt x="843915" y="1323975"/>
                  </a:lnTo>
                  <a:close/>
                  <a:moveTo>
                    <a:pt x="837248" y="1006793"/>
                  </a:moveTo>
                  <a:lnTo>
                    <a:pt x="825818" y="989648"/>
                  </a:lnTo>
                  <a:lnTo>
                    <a:pt x="825818" y="964883"/>
                  </a:lnTo>
                  <a:lnTo>
                    <a:pt x="843915" y="954405"/>
                  </a:lnTo>
                  <a:lnTo>
                    <a:pt x="872490" y="958215"/>
                  </a:lnTo>
                  <a:lnTo>
                    <a:pt x="879158" y="964883"/>
                  </a:lnTo>
                  <a:lnTo>
                    <a:pt x="879158" y="966788"/>
                  </a:lnTo>
                  <a:lnTo>
                    <a:pt x="881063" y="973455"/>
                  </a:lnTo>
                  <a:lnTo>
                    <a:pt x="880110" y="982028"/>
                  </a:lnTo>
                  <a:lnTo>
                    <a:pt x="879158" y="989648"/>
                  </a:lnTo>
                  <a:lnTo>
                    <a:pt x="878205" y="998220"/>
                  </a:lnTo>
                  <a:lnTo>
                    <a:pt x="878205" y="1006793"/>
                  </a:lnTo>
                  <a:lnTo>
                    <a:pt x="837248" y="1006793"/>
                  </a:lnTo>
                  <a:lnTo>
                    <a:pt x="837248" y="1006793"/>
                  </a:lnTo>
                  <a:close/>
                  <a:moveTo>
                    <a:pt x="907733" y="1059180"/>
                  </a:moveTo>
                  <a:lnTo>
                    <a:pt x="909638" y="1062990"/>
                  </a:lnTo>
                  <a:lnTo>
                    <a:pt x="922973" y="1078230"/>
                  </a:lnTo>
                  <a:lnTo>
                    <a:pt x="943928" y="1078230"/>
                  </a:lnTo>
                  <a:lnTo>
                    <a:pt x="968693" y="1095375"/>
                  </a:lnTo>
                  <a:lnTo>
                    <a:pt x="976313" y="1091565"/>
                  </a:lnTo>
                  <a:lnTo>
                    <a:pt x="993458" y="1105853"/>
                  </a:lnTo>
                  <a:lnTo>
                    <a:pt x="982980" y="1113473"/>
                  </a:lnTo>
                  <a:lnTo>
                    <a:pt x="1003935" y="1123950"/>
                  </a:lnTo>
                  <a:lnTo>
                    <a:pt x="1003935" y="1109663"/>
                  </a:lnTo>
                  <a:lnTo>
                    <a:pt x="1014413" y="1092518"/>
                  </a:lnTo>
                  <a:lnTo>
                    <a:pt x="1024890" y="1106805"/>
                  </a:lnTo>
                  <a:lnTo>
                    <a:pt x="1039178" y="1121093"/>
                  </a:lnTo>
                  <a:lnTo>
                    <a:pt x="1018223" y="1127760"/>
                  </a:lnTo>
                  <a:lnTo>
                    <a:pt x="1024890" y="1145858"/>
                  </a:lnTo>
                  <a:lnTo>
                    <a:pt x="1039178" y="1138238"/>
                  </a:lnTo>
                  <a:lnTo>
                    <a:pt x="1039178" y="1131570"/>
                  </a:lnTo>
                  <a:lnTo>
                    <a:pt x="1049655" y="1124903"/>
                  </a:lnTo>
                  <a:lnTo>
                    <a:pt x="1056323" y="1093470"/>
                  </a:lnTo>
                  <a:lnTo>
                    <a:pt x="1057275" y="1096328"/>
                  </a:lnTo>
                  <a:lnTo>
                    <a:pt x="1057275" y="1093470"/>
                  </a:lnTo>
                  <a:lnTo>
                    <a:pt x="1059180" y="1090613"/>
                  </a:lnTo>
                  <a:lnTo>
                    <a:pt x="1062038" y="1097280"/>
                  </a:lnTo>
                  <a:lnTo>
                    <a:pt x="1064895" y="1103948"/>
                  </a:lnTo>
                  <a:lnTo>
                    <a:pt x="1068705" y="1109663"/>
                  </a:lnTo>
                  <a:lnTo>
                    <a:pt x="1072515" y="1115378"/>
                  </a:lnTo>
                  <a:lnTo>
                    <a:pt x="1076325" y="1121093"/>
                  </a:lnTo>
                  <a:lnTo>
                    <a:pt x="1081088" y="1126808"/>
                  </a:lnTo>
                  <a:lnTo>
                    <a:pt x="1085850" y="1131570"/>
                  </a:lnTo>
                  <a:lnTo>
                    <a:pt x="1090613" y="1137285"/>
                  </a:lnTo>
                  <a:lnTo>
                    <a:pt x="990600" y="1237298"/>
                  </a:lnTo>
                  <a:lnTo>
                    <a:pt x="982028" y="1227773"/>
                  </a:lnTo>
                  <a:lnTo>
                    <a:pt x="974408" y="1218248"/>
                  </a:lnTo>
                  <a:lnTo>
                    <a:pt x="966788" y="1207770"/>
                  </a:lnTo>
                  <a:lnTo>
                    <a:pt x="960120" y="1197293"/>
                  </a:lnTo>
                  <a:lnTo>
                    <a:pt x="953453" y="1186815"/>
                  </a:lnTo>
                  <a:lnTo>
                    <a:pt x="946785" y="1176338"/>
                  </a:lnTo>
                  <a:lnTo>
                    <a:pt x="941070" y="1165860"/>
                  </a:lnTo>
                  <a:lnTo>
                    <a:pt x="935355" y="1155383"/>
                  </a:lnTo>
                  <a:lnTo>
                    <a:pt x="930593" y="1143953"/>
                  </a:lnTo>
                  <a:lnTo>
                    <a:pt x="925830" y="1132523"/>
                  </a:lnTo>
                  <a:lnTo>
                    <a:pt x="921068" y="1121093"/>
                  </a:lnTo>
                  <a:lnTo>
                    <a:pt x="917258" y="1108710"/>
                  </a:lnTo>
                  <a:lnTo>
                    <a:pt x="913448" y="1096328"/>
                  </a:lnTo>
                  <a:lnTo>
                    <a:pt x="910590" y="1083945"/>
                  </a:lnTo>
                  <a:lnTo>
                    <a:pt x="907733" y="1071563"/>
                  </a:lnTo>
                  <a:lnTo>
                    <a:pt x="907733" y="1059180"/>
                  </a:lnTo>
                  <a:lnTo>
                    <a:pt x="907733" y="1059180"/>
                  </a:lnTo>
                  <a:close/>
                  <a:moveTo>
                    <a:pt x="967740" y="784860"/>
                  </a:moveTo>
                  <a:lnTo>
                    <a:pt x="962978" y="788670"/>
                  </a:lnTo>
                  <a:lnTo>
                    <a:pt x="962978" y="788670"/>
                  </a:lnTo>
                  <a:lnTo>
                    <a:pt x="934403" y="823913"/>
                  </a:lnTo>
                  <a:lnTo>
                    <a:pt x="909638" y="862965"/>
                  </a:lnTo>
                  <a:lnTo>
                    <a:pt x="902970" y="862965"/>
                  </a:lnTo>
                  <a:lnTo>
                    <a:pt x="890588" y="865823"/>
                  </a:lnTo>
                  <a:lnTo>
                    <a:pt x="883920" y="865823"/>
                  </a:lnTo>
                  <a:lnTo>
                    <a:pt x="870585" y="880110"/>
                  </a:lnTo>
                  <a:lnTo>
                    <a:pt x="887730" y="876300"/>
                  </a:lnTo>
                  <a:lnTo>
                    <a:pt x="904875" y="872490"/>
                  </a:lnTo>
                  <a:lnTo>
                    <a:pt x="901065" y="879158"/>
                  </a:lnTo>
                  <a:lnTo>
                    <a:pt x="887730" y="885825"/>
                  </a:lnTo>
                  <a:lnTo>
                    <a:pt x="881063" y="885825"/>
                  </a:lnTo>
                  <a:lnTo>
                    <a:pt x="860108" y="902970"/>
                  </a:lnTo>
                  <a:lnTo>
                    <a:pt x="840105" y="899160"/>
                  </a:lnTo>
                  <a:lnTo>
                    <a:pt x="809625" y="954405"/>
                  </a:lnTo>
                  <a:lnTo>
                    <a:pt x="816293" y="967740"/>
                  </a:lnTo>
                  <a:lnTo>
                    <a:pt x="799148" y="984885"/>
                  </a:lnTo>
                  <a:lnTo>
                    <a:pt x="799148" y="1004888"/>
                  </a:lnTo>
                  <a:lnTo>
                    <a:pt x="739140" y="1004888"/>
                  </a:lnTo>
                  <a:lnTo>
                    <a:pt x="739140" y="993458"/>
                  </a:lnTo>
                  <a:lnTo>
                    <a:pt x="740093" y="982028"/>
                  </a:lnTo>
                  <a:lnTo>
                    <a:pt x="741045" y="970598"/>
                  </a:lnTo>
                  <a:lnTo>
                    <a:pt x="741998" y="959168"/>
                  </a:lnTo>
                  <a:lnTo>
                    <a:pt x="743903" y="948690"/>
                  </a:lnTo>
                  <a:lnTo>
                    <a:pt x="745808" y="937260"/>
                  </a:lnTo>
                  <a:lnTo>
                    <a:pt x="747713" y="926783"/>
                  </a:lnTo>
                  <a:lnTo>
                    <a:pt x="750570" y="915353"/>
                  </a:lnTo>
                  <a:lnTo>
                    <a:pt x="752475" y="904875"/>
                  </a:lnTo>
                  <a:lnTo>
                    <a:pt x="755333" y="894398"/>
                  </a:lnTo>
                  <a:lnTo>
                    <a:pt x="758190" y="883920"/>
                  </a:lnTo>
                  <a:lnTo>
                    <a:pt x="761048" y="873443"/>
                  </a:lnTo>
                  <a:lnTo>
                    <a:pt x="764858" y="862965"/>
                  </a:lnTo>
                  <a:lnTo>
                    <a:pt x="768668" y="853440"/>
                  </a:lnTo>
                  <a:lnTo>
                    <a:pt x="772478" y="842963"/>
                  </a:lnTo>
                  <a:lnTo>
                    <a:pt x="776288" y="833438"/>
                  </a:lnTo>
                  <a:lnTo>
                    <a:pt x="780098" y="823913"/>
                  </a:lnTo>
                  <a:lnTo>
                    <a:pt x="784860" y="813435"/>
                  </a:lnTo>
                  <a:lnTo>
                    <a:pt x="789623" y="803910"/>
                  </a:lnTo>
                  <a:lnTo>
                    <a:pt x="794385" y="794385"/>
                  </a:lnTo>
                  <a:lnTo>
                    <a:pt x="799148" y="784860"/>
                  </a:lnTo>
                  <a:lnTo>
                    <a:pt x="803910" y="775335"/>
                  </a:lnTo>
                  <a:lnTo>
                    <a:pt x="809625" y="765810"/>
                  </a:lnTo>
                  <a:lnTo>
                    <a:pt x="815340" y="756285"/>
                  </a:lnTo>
                  <a:lnTo>
                    <a:pt x="821055" y="746760"/>
                  </a:lnTo>
                  <a:lnTo>
                    <a:pt x="826770" y="738188"/>
                  </a:lnTo>
                  <a:lnTo>
                    <a:pt x="833438" y="729615"/>
                  </a:lnTo>
                  <a:lnTo>
                    <a:pt x="840105" y="721043"/>
                  </a:lnTo>
                  <a:lnTo>
                    <a:pt x="846773" y="712470"/>
                  </a:lnTo>
                  <a:lnTo>
                    <a:pt x="853440" y="703898"/>
                  </a:lnTo>
                  <a:lnTo>
                    <a:pt x="860108" y="695325"/>
                  </a:lnTo>
                  <a:lnTo>
                    <a:pt x="867728" y="687705"/>
                  </a:lnTo>
                  <a:lnTo>
                    <a:pt x="967740" y="784860"/>
                  </a:lnTo>
                  <a:lnTo>
                    <a:pt x="967740" y="784860"/>
                  </a:lnTo>
                  <a:close/>
                  <a:moveTo>
                    <a:pt x="1634490" y="403860"/>
                  </a:moveTo>
                  <a:lnTo>
                    <a:pt x="1627823" y="389573"/>
                  </a:lnTo>
                  <a:lnTo>
                    <a:pt x="1609725" y="379095"/>
                  </a:lnTo>
                  <a:lnTo>
                    <a:pt x="1595438" y="393383"/>
                  </a:lnTo>
                  <a:lnTo>
                    <a:pt x="1612583" y="401003"/>
                  </a:lnTo>
                  <a:lnTo>
                    <a:pt x="1633538" y="415290"/>
                  </a:lnTo>
                  <a:lnTo>
                    <a:pt x="1633538" y="403860"/>
                  </a:lnTo>
                  <a:lnTo>
                    <a:pt x="1634490" y="403860"/>
                  </a:lnTo>
                  <a:close/>
                  <a:moveTo>
                    <a:pt x="1553528" y="796290"/>
                  </a:moveTo>
                  <a:lnTo>
                    <a:pt x="1553528" y="806768"/>
                  </a:lnTo>
                  <a:lnTo>
                    <a:pt x="1578293" y="799148"/>
                  </a:lnTo>
                  <a:lnTo>
                    <a:pt x="1584960" y="784860"/>
                  </a:lnTo>
                  <a:lnTo>
                    <a:pt x="1567815" y="763905"/>
                  </a:lnTo>
                  <a:lnTo>
                    <a:pt x="1574483" y="749618"/>
                  </a:lnTo>
                  <a:lnTo>
                    <a:pt x="1599248" y="763905"/>
                  </a:lnTo>
                  <a:lnTo>
                    <a:pt x="1603058" y="760095"/>
                  </a:lnTo>
                  <a:lnTo>
                    <a:pt x="1599248" y="760095"/>
                  </a:lnTo>
                  <a:lnTo>
                    <a:pt x="1592580" y="749618"/>
                  </a:lnTo>
                  <a:lnTo>
                    <a:pt x="1603058" y="742950"/>
                  </a:lnTo>
                  <a:lnTo>
                    <a:pt x="1592580" y="732473"/>
                  </a:lnTo>
                  <a:lnTo>
                    <a:pt x="1571625" y="742950"/>
                  </a:lnTo>
                  <a:lnTo>
                    <a:pt x="1564958" y="757238"/>
                  </a:lnTo>
                  <a:lnTo>
                    <a:pt x="1561148" y="767715"/>
                  </a:lnTo>
                  <a:lnTo>
                    <a:pt x="1571625" y="782003"/>
                  </a:lnTo>
                  <a:lnTo>
                    <a:pt x="1567815" y="788670"/>
                  </a:lnTo>
                  <a:lnTo>
                    <a:pt x="1553528" y="796290"/>
                  </a:lnTo>
                  <a:lnTo>
                    <a:pt x="1553528" y="796290"/>
                  </a:lnTo>
                  <a:close/>
                  <a:moveTo>
                    <a:pt x="547688" y="1421130"/>
                  </a:moveTo>
                  <a:lnTo>
                    <a:pt x="547688" y="1413510"/>
                  </a:lnTo>
                  <a:lnTo>
                    <a:pt x="537210" y="1385888"/>
                  </a:lnTo>
                  <a:lnTo>
                    <a:pt x="522923" y="1382078"/>
                  </a:lnTo>
                  <a:lnTo>
                    <a:pt x="547688" y="1421130"/>
                  </a:lnTo>
                  <a:lnTo>
                    <a:pt x="547688" y="1421130"/>
                  </a:lnTo>
                  <a:close/>
                  <a:moveTo>
                    <a:pt x="1116330" y="898208"/>
                  </a:moveTo>
                  <a:lnTo>
                    <a:pt x="1120140" y="912495"/>
                  </a:lnTo>
                  <a:lnTo>
                    <a:pt x="1126808" y="926783"/>
                  </a:lnTo>
                  <a:lnTo>
                    <a:pt x="1137285" y="941070"/>
                  </a:lnTo>
                  <a:lnTo>
                    <a:pt x="1155383" y="951548"/>
                  </a:lnTo>
                  <a:lnTo>
                    <a:pt x="1155383" y="941070"/>
                  </a:lnTo>
                  <a:lnTo>
                    <a:pt x="1141095" y="923925"/>
                  </a:lnTo>
                  <a:lnTo>
                    <a:pt x="1148715" y="909638"/>
                  </a:lnTo>
                  <a:lnTo>
                    <a:pt x="1155383" y="905828"/>
                  </a:lnTo>
                  <a:lnTo>
                    <a:pt x="1155383" y="845820"/>
                  </a:lnTo>
                  <a:lnTo>
                    <a:pt x="1151573" y="845820"/>
                  </a:lnTo>
                  <a:lnTo>
                    <a:pt x="1137285" y="856298"/>
                  </a:lnTo>
                  <a:lnTo>
                    <a:pt x="1126808" y="866775"/>
                  </a:lnTo>
                  <a:lnTo>
                    <a:pt x="1120140" y="881063"/>
                  </a:lnTo>
                  <a:lnTo>
                    <a:pt x="1116330" y="898208"/>
                  </a:lnTo>
                  <a:lnTo>
                    <a:pt x="1116330" y="898208"/>
                  </a:lnTo>
                  <a:close/>
                  <a:moveTo>
                    <a:pt x="822008" y="639128"/>
                  </a:moveTo>
                  <a:lnTo>
                    <a:pt x="812483" y="628650"/>
                  </a:lnTo>
                  <a:lnTo>
                    <a:pt x="832485" y="624840"/>
                  </a:lnTo>
                  <a:lnTo>
                    <a:pt x="822008" y="639128"/>
                  </a:lnTo>
                  <a:lnTo>
                    <a:pt x="822008" y="639128"/>
                  </a:lnTo>
                  <a:close/>
                  <a:moveTo>
                    <a:pt x="2039303" y="1035368"/>
                  </a:moveTo>
                  <a:lnTo>
                    <a:pt x="1902143" y="1035368"/>
                  </a:lnTo>
                  <a:lnTo>
                    <a:pt x="1901190" y="1051560"/>
                  </a:lnTo>
                  <a:lnTo>
                    <a:pt x="1900238" y="1067753"/>
                  </a:lnTo>
                  <a:lnTo>
                    <a:pt x="1899285" y="1083945"/>
                  </a:lnTo>
                  <a:lnTo>
                    <a:pt x="1897380" y="1100138"/>
                  </a:lnTo>
                  <a:lnTo>
                    <a:pt x="1895475" y="1115378"/>
                  </a:lnTo>
                  <a:lnTo>
                    <a:pt x="1893570" y="1131570"/>
                  </a:lnTo>
                  <a:lnTo>
                    <a:pt x="1890713" y="1146810"/>
                  </a:lnTo>
                  <a:lnTo>
                    <a:pt x="1887855" y="1162050"/>
                  </a:lnTo>
                  <a:lnTo>
                    <a:pt x="1884045" y="1177290"/>
                  </a:lnTo>
                  <a:lnTo>
                    <a:pt x="1880235" y="1193483"/>
                  </a:lnTo>
                  <a:lnTo>
                    <a:pt x="1875473" y="1208723"/>
                  </a:lnTo>
                  <a:lnTo>
                    <a:pt x="1870710" y="1223963"/>
                  </a:lnTo>
                  <a:lnTo>
                    <a:pt x="1865948" y="1239203"/>
                  </a:lnTo>
                  <a:lnTo>
                    <a:pt x="1860233" y="1253490"/>
                  </a:lnTo>
                  <a:lnTo>
                    <a:pt x="1854518" y="1268730"/>
                  </a:lnTo>
                  <a:lnTo>
                    <a:pt x="1848803" y="1283018"/>
                  </a:lnTo>
                  <a:lnTo>
                    <a:pt x="1843088" y="1297305"/>
                  </a:lnTo>
                  <a:lnTo>
                    <a:pt x="1836420" y="1311593"/>
                  </a:lnTo>
                  <a:lnTo>
                    <a:pt x="1829753" y="1325880"/>
                  </a:lnTo>
                  <a:lnTo>
                    <a:pt x="1823085" y="1340168"/>
                  </a:lnTo>
                  <a:lnTo>
                    <a:pt x="1815465" y="1353503"/>
                  </a:lnTo>
                  <a:lnTo>
                    <a:pt x="1807845" y="1366838"/>
                  </a:lnTo>
                  <a:lnTo>
                    <a:pt x="1800225" y="1380173"/>
                  </a:lnTo>
                  <a:lnTo>
                    <a:pt x="1791653" y="1393508"/>
                  </a:lnTo>
                  <a:lnTo>
                    <a:pt x="1783080" y="1405890"/>
                  </a:lnTo>
                  <a:lnTo>
                    <a:pt x="1773555" y="1418273"/>
                  </a:lnTo>
                  <a:lnTo>
                    <a:pt x="1764030" y="1430655"/>
                  </a:lnTo>
                  <a:lnTo>
                    <a:pt x="1754505" y="1443038"/>
                  </a:lnTo>
                  <a:lnTo>
                    <a:pt x="1744028" y="1455420"/>
                  </a:lnTo>
                  <a:lnTo>
                    <a:pt x="1734503" y="1466850"/>
                  </a:lnTo>
                  <a:lnTo>
                    <a:pt x="1724025" y="1478280"/>
                  </a:lnTo>
                  <a:lnTo>
                    <a:pt x="1717358" y="1489710"/>
                  </a:lnTo>
                  <a:lnTo>
                    <a:pt x="1810703" y="1585913"/>
                  </a:lnTo>
                  <a:lnTo>
                    <a:pt x="1824038" y="1572578"/>
                  </a:lnTo>
                  <a:lnTo>
                    <a:pt x="1836420" y="1558290"/>
                  </a:lnTo>
                  <a:lnTo>
                    <a:pt x="1848803" y="1544003"/>
                  </a:lnTo>
                  <a:lnTo>
                    <a:pt x="1860233" y="1529715"/>
                  </a:lnTo>
                  <a:lnTo>
                    <a:pt x="1871663" y="1515428"/>
                  </a:lnTo>
                  <a:lnTo>
                    <a:pt x="1882140" y="1500188"/>
                  </a:lnTo>
                  <a:lnTo>
                    <a:pt x="1892618" y="1484948"/>
                  </a:lnTo>
                  <a:lnTo>
                    <a:pt x="1903095" y="1469708"/>
                  </a:lnTo>
                  <a:lnTo>
                    <a:pt x="1913573" y="1453515"/>
                  </a:lnTo>
                  <a:lnTo>
                    <a:pt x="1924050" y="1438275"/>
                  </a:lnTo>
                  <a:lnTo>
                    <a:pt x="1933575" y="1422083"/>
                  </a:lnTo>
                  <a:lnTo>
                    <a:pt x="1942148" y="1405890"/>
                  </a:lnTo>
                  <a:lnTo>
                    <a:pt x="1950720" y="1388745"/>
                  </a:lnTo>
                  <a:lnTo>
                    <a:pt x="1959293" y="1372553"/>
                  </a:lnTo>
                  <a:lnTo>
                    <a:pt x="1967865" y="1355408"/>
                  </a:lnTo>
                  <a:lnTo>
                    <a:pt x="1975485" y="1338263"/>
                  </a:lnTo>
                  <a:lnTo>
                    <a:pt x="1982153" y="1321118"/>
                  </a:lnTo>
                  <a:lnTo>
                    <a:pt x="1988820" y="1303973"/>
                  </a:lnTo>
                  <a:lnTo>
                    <a:pt x="1994535" y="1285875"/>
                  </a:lnTo>
                  <a:lnTo>
                    <a:pt x="2000250" y="1267778"/>
                  </a:lnTo>
                  <a:lnTo>
                    <a:pt x="2005965" y="1249680"/>
                  </a:lnTo>
                  <a:lnTo>
                    <a:pt x="2011680" y="1230630"/>
                  </a:lnTo>
                  <a:lnTo>
                    <a:pt x="2016443" y="1211580"/>
                  </a:lnTo>
                  <a:lnTo>
                    <a:pt x="2021205" y="1192530"/>
                  </a:lnTo>
                  <a:lnTo>
                    <a:pt x="2025015" y="1173480"/>
                  </a:lnTo>
                  <a:lnTo>
                    <a:pt x="2028825" y="1154430"/>
                  </a:lnTo>
                  <a:lnTo>
                    <a:pt x="2031683" y="1134428"/>
                  </a:lnTo>
                  <a:lnTo>
                    <a:pt x="2034540" y="1115378"/>
                  </a:lnTo>
                  <a:lnTo>
                    <a:pt x="2036445" y="1095375"/>
                  </a:lnTo>
                  <a:lnTo>
                    <a:pt x="2037398" y="1075373"/>
                  </a:lnTo>
                  <a:lnTo>
                    <a:pt x="2038350" y="1055370"/>
                  </a:lnTo>
                  <a:lnTo>
                    <a:pt x="2039303" y="1035368"/>
                  </a:lnTo>
                  <a:lnTo>
                    <a:pt x="2039303" y="1035368"/>
                  </a:lnTo>
                  <a:close/>
                </a:path>
              </a:pathLst>
            </a:custGeom>
            <a:solidFill>
              <a:srgbClr val="009A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092"/>
            </a:p>
          </p:txBody>
        </p:sp>
      </p:grpSp>
    </p:spTree>
    <p:extLst>
      <p:ext uri="{BB962C8B-B14F-4D97-AF65-F5344CB8AC3E}">
        <p14:creationId xmlns:p14="http://schemas.microsoft.com/office/powerpoint/2010/main" val="392524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42CC9A5-8FA8-4188-B9FB-687FDCC80C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11528" y="2900500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362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0B47A-2C2A-47A3-B698-CA6A0FD6F0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56337" y="2220890"/>
            <a:ext cx="2454959" cy="1819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77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4B1DB28-413A-41E9-A6F8-727DE05F8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3036723" cy="646908"/>
          </a:xfrm>
          <a:prstGeom prst="rect">
            <a:avLst/>
          </a:prstGeom>
        </p:spPr>
      </p:pic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E02C968-6D90-43B9-83B4-8DDD9D10A2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/>
          </a:solidFill>
        </p:spPr>
        <p:txBody>
          <a:bodyPr bIns="1764000" anchor="ctr">
            <a:noAutofit/>
          </a:bodyPr>
          <a:lstStyle>
            <a:lvl1pPr algn="ctr">
              <a:defRPr sz="2183" b="1"/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2949598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8059CA9-ADD3-48DF-ABCE-675068DD8B2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/>
          </a:solidFill>
        </p:spPr>
        <p:txBody>
          <a:bodyPr bIns="1764000" anchor="ctr">
            <a:noAutofit/>
          </a:bodyPr>
          <a:lstStyle>
            <a:lvl1pPr algn="ctr">
              <a:defRPr sz="2183" b="1"/>
            </a:lvl1pPr>
          </a:lstStyle>
          <a:p>
            <a:r>
              <a:rPr lang="en-GB"/>
              <a:t>Click icon to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F1B92ED-1DA4-42D5-94F1-A383F50976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6444"/>
            <a:ext cx="750929" cy="554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414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03F150-EB9F-5D47-0E5D-1BBEF4BD960F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https://climate.nasa.gov/</a:t>
            </a:r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6DC990E-BF96-23BE-F5C5-BEFF390B2A22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86811145"/>
              </p:ext>
            </p:extLst>
          </p:nvPr>
        </p:nvGraphicFramePr>
        <p:xfrm>
          <a:off x="577222" y="2730107"/>
          <a:ext cx="11036725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576675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998086781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24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343908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92459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550527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7085958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EED920D-5A0E-4D1A-B8B2-01481F89A849}"/>
              </a:ext>
            </a:extLst>
          </p:cNvPr>
          <p:cNvSpPr/>
          <p:nvPr/>
        </p:nvSpPr>
        <p:spPr>
          <a:xfrm>
            <a:off x="866664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1024732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51908" y="2274379"/>
            <a:ext cx="1588608" cy="30053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6594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127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75965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:a16="http://schemas.microsoft.com/office/drawing/2014/main" id="{0F502F2E-BE4E-4F98-AC09-F0807D222C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50651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25337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1588608" cy="820829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51908" y="3035786"/>
            <a:ext cx="1588608" cy="8208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26594" y="3035786"/>
            <a:ext cx="1588608" cy="8208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301279" y="3035786"/>
            <a:ext cx="1588608" cy="8208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75965" y="3035786"/>
            <a:ext cx="1588608" cy="8208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50651" y="3035786"/>
            <a:ext cx="1588608" cy="8208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6" name="Text Placeholder 71">
            <a:extLst>
              <a:ext uri="{FF2B5EF4-FFF2-40B4-BE49-F238E27FC236}">
                <a16:creationId xmlns:a16="http://schemas.microsoft.com/office/drawing/2014/main" id="{947BFEF4-7AA3-4A1C-B7FE-6DF1E40CA7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0025337" y="3035786"/>
            <a:ext cx="1588608" cy="8208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55"/>
              </a:spcAft>
              <a:buClrTx/>
              <a:buSzTx/>
              <a:buFontTx/>
              <a:buNone/>
              <a:tabLst/>
              <a:defRPr/>
            </a:pPr>
            <a:r>
              <a:rPr lang="en-US" sz="970" b="0" i="0">
                <a:solidFill>
                  <a:schemeClr val="tx1"/>
                </a:solidFill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7602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90D3C3D-29CE-4901-8EEA-1345D26869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75632" y="0"/>
            <a:ext cx="7016368" cy="685799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3911A5-606B-49B4-916C-45BA4954D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CFDB7-1FD8-48B9-B71F-E3DCBDCCD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E8D1215B-902F-4676-BD97-07AB236AAB96}"/>
              </a:ext>
            </a:extLst>
          </p:cNvPr>
          <p:cNvSpPr/>
          <p:nvPr userDrawn="1"/>
        </p:nvSpPr>
        <p:spPr>
          <a:xfrm>
            <a:off x="581978" y="6397848"/>
            <a:ext cx="4011676" cy="44087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DC27864-4735-40D0-B2CD-C35B135AB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638" y="2948731"/>
            <a:ext cx="4164766" cy="1769202"/>
          </a:xfrm>
        </p:spPr>
        <p:txBody>
          <a:bodyPr lIns="0" tIns="0" rIns="0" bIns="0" anchor="t" anchorCtr="0"/>
          <a:lstStyle>
            <a:lvl1pPr algn="l">
              <a:defRPr sz="4245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39426BB5-24C1-4CC6-9847-26D952ABD9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1978" y="2436028"/>
            <a:ext cx="4164766" cy="338362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940">
                <a:solidFill>
                  <a:schemeClr val="accent1"/>
                </a:solidFill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92027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26">
          <p15:clr>
            <a:srgbClr val="FBAE40"/>
          </p15:clr>
        </p15:guide>
      </p15:sldGuideLst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342856"/>
            <a:ext cx="7200250" cy="3274256"/>
          </a:xfrm>
        </p:spPr>
        <p:txBody>
          <a:bodyPr wrap="square" numCol="2" spcCol="756000">
            <a:noAutofit/>
          </a:bodyPr>
          <a:lstStyle>
            <a:lvl1pPr marL="311902" indent="-311902">
              <a:spcAft>
                <a:spcPts val="0"/>
              </a:spcAft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311902" indent="-311902">
              <a:spcAft>
                <a:spcPts val="1455"/>
              </a:spcAft>
              <a:buSzPct val="100000"/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4" y="2299040"/>
            <a:ext cx="3379179" cy="331806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845695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342856"/>
            <a:ext cx="11042887" cy="3007436"/>
          </a:xfrm>
        </p:spPr>
        <p:txBody>
          <a:bodyPr wrap="square" numCol="2" spcCol="756000">
            <a:noAutofit/>
          </a:bodyPr>
          <a:lstStyle>
            <a:lvl1pPr marL="311902" indent="-311902">
              <a:spcAft>
                <a:spcPts val="0"/>
              </a:spcAft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311902" indent="-311902">
              <a:spcAft>
                <a:spcPts val="1455"/>
              </a:spcAft>
              <a:buSzPct val="100000"/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02901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with tim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A335A19B-4A16-3443-B357-10DDCD6808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1477" y="2016928"/>
            <a:ext cx="11049260" cy="3837084"/>
          </a:xfrm>
        </p:spPr>
        <p:txBody>
          <a:bodyPr wrap="square" numCol="2" spcCol="75600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940" b="0" i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1455"/>
              </a:spcAft>
              <a:buFont typeface="Arial" panose="020B0604020202020204" pitchFamily="34" charset="0"/>
              <a:buNone/>
              <a:defRPr sz="1940" b="0" i="0"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  <a:p>
            <a:pPr lvl="0"/>
            <a:r>
              <a:rPr lang="en-GB"/>
              <a:t>09.00 – 12.30</a:t>
            </a:r>
          </a:p>
          <a:p>
            <a:pPr lvl="1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0496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able of contents</a:t>
            </a:r>
            <a:endParaRPr lang="en-GB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342856"/>
            <a:ext cx="7200250" cy="3274256"/>
          </a:xfrm>
        </p:spPr>
        <p:txBody>
          <a:bodyPr wrap="square" numCol="2" spcCol="75600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334" b="0" i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1455"/>
              </a:spcAft>
              <a:buFont typeface="Arial" panose="020B0604020202020204" pitchFamily="34" charset="0"/>
              <a:buNone/>
              <a:defRPr sz="1334" b="0" i="0"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  <a:p>
            <a:r>
              <a:rPr lang="en-GB"/>
              <a:t>Section #</a:t>
            </a:r>
          </a:p>
          <a:p>
            <a:pPr lvl="1"/>
            <a:r>
              <a:rPr lang="en-GB" b="1"/>
              <a:t>Section # Title Goes Here</a:t>
            </a:r>
            <a:r>
              <a:rPr lang="en-GB"/>
              <a:t>		##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4" y="2299040"/>
            <a:ext cx="3379179" cy="331806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95283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F0E35ECD-3ED9-473D-9E17-FF1C83FE9F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eam/Speakers</a:t>
            </a:r>
            <a:endParaRPr lang="en-GB"/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67EAA926-4051-4F98-B128-E26790C1A9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3" name="Picture Placeholder 7">
            <a:extLst>
              <a:ext uri="{FF2B5EF4-FFF2-40B4-BE49-F238E27FC236}">
                <a16:creationId xmlns:a16="http://schemas.microsoft.com/office/drawing/2014/main" id="{3BD0D2FB-1A7B-44AF-BA4E-FD97B0B714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4A124E16-FB5A-4A88-A515-FC70FA2554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11458" y="4501859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5" name="Picture Placeholder 7">
            <a:extLst>
              <a:ext uri="{FF2B5EF4-FFF2-40B4-BE49-F238E27FC236}">
                <a16:creationId xmlns:a16="http://schemas.microsoft.com/office/drawing/2014/main" id="{88D60E5C-AB30-4F0B-8773-F30DB3E8A6A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0681" y="4078842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6" name="Text Placeholder 12">
            <a:extLst>
              <a:ext uri="{FF2B5EF4-FFF2-40B4-BE49-F238E27FC236}">
                <a16:creationId xmlns:a16="http://schemas.microsoft.com/office/drawing/2014/main" id="{2C60DE2D-43F7-4A13-BE4E-B64A383DE8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29820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7" name="Picture Placeholder 7">
            <a:extLst>
              <a:ext uri="{FF2B5EF4-FFF2-40B4-BE49-F238E27FC236}">
                <a16:creationId xmlns:a16="http://schemas.microsoft.com/office/drawing/2014/main" id="{5B1E1242-6BB9-4F32-91B1-3AA43FC4EC9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69043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8" name="Text Placeholder 12">
            <a:extLst>
              <a:ext uri="{FF2B5EF4-FFF2-40B4-BE49-F238E27FC236}">
                <a16:creationId xmlns:a16="http://schemas.microsoft.com/office/drawing/2014/main" id="{C8B338B9-D1F9-4987-BC28-B7466CCC38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29820" y="4501859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9" name="Picture Placeholder 7">
            <a:extLst>
              <a:ext uri="{FF2B5EF4-FFF2-40B4-BE49-F238E27FC236}">
                <a16:creationId xmlns:a16="http://schemas.microsoft.com/office/drawing/2014/main" id="{CED5980C-4EBB-4601-BF07-F911191638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69043" y="4078842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7503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ir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hairperson</a:t>
            </a:r>
            <a:endParaRPr lang="en-GB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2A210F5-A8B3-4A0E-8B15-4497042C49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33079" y="1682566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8667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 | 3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5D51C2DC-4571-42B4-89F2-DA6662BE5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eam/Speakers 3 columns 3 rows</a:t>
            </a:r>
            <a:endParaRPr lang="en-GB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B4DF1173-C29F-45AC-92AA-916D11D8E0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35950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7AC79D67-C678-414C-AF90-8C02E28CA9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D84CF9F7-FEFA-4F30-8381-81E1CDC7DE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8467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C320D465-6541-42AF-B948-F179CCF7EE8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2319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C8238BF7-B55E-43DD-99B0-CDFDFE29FD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89776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0" name="Picture Placeholder 7">
            <a:extLst>
              <a:ext uri="{FF2B5EF4-FFF2-40B4-BE49-F238E27FC236}">
                <a16:creationId xmlns:a16="http://schemas.microsoft.com/office/drawing/2014/main" id="{0BEA5C06-8D59-4BD3-9B33-5696A4BC522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0450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7BBE5725-635F-472C-99DA-2942D536FF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35950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2" name="Picture Placeholder 7">
            <a:extLst>
              <a:ext uri="{FF2B5EF4-FFF2-40B4-BE49-F238E27FC236}">
                <a16:creationId xmlns:a16="http://schemas.microsoft.com/office/drawing/2014/main" id="{00A16A42-CA42-49E2-8405-AA0CAF0311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50681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3" name="Text Placeholder 12">
            <a:extLst>
              <a:ext uri="{FF2B5EF4-FFF2-40B4-BE49-F238E27FC236}">
                <a16:creationId xmlns:a16="http://schemas.microsoft.com/office/drawing/2014/main" id="{EE36DF45-11AE-4011-BA24-5F2F1B07B5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08467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4" name="Picture Placeholder 7">
            <a:extLst>
              <a:ext uri="{FF2B5EF4-FFF2-40B4-BE49-F238E27FC236}">
                <a16:creationId xmlns:a16="http://schemas.microsoft.com/office/drawing/2014/main" id="{8FBF5889-E52E-4268-BCFD-13AA1E933F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23198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85553B65-686F-493B-B002-4E9B0D2112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89776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6" name="Picture Placeholder 7">
            <a:extLst>
              <a:ext uri="{FF2B5EF4-FFF2-40B4-BE49-F238E27FC236}">
                <a16:creationId xmlns:a16="http://schemas.microsoft.com/office/drawing/2014/main" id="{F3DB35B0-B095-4BB6-B438-419AB248A32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04508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78D2052B-6800-49A9-9052-94BEBF4D16D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835950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58" name="Picture Placeholder 7">
            <a:extLst>
              <a:ext uri="{FF2B5EF4-FFF2-40B4-BE49-F238E27FC236}">
                <a16:creationId xmlns:a16="http://schemas.microsoft.com/office/drawing/2014/main" id="{C0FB45DF-4505-4104-B3AB-1FF0A095BB4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50681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0CFC70D0-DEBC-4AE8-94A6-E2EBDB950E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08467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60" name="Picture Placeholder 7">
            <a:extLst>
              <a:ext uri="{FF2B5EF4-FFF2-40B4-BE49-F238E27FC236}">
                <a16:creationId xmlns:a16="http://schemas.microsoft.com/office/drawing/2014/main" id="{317AD999-FECF-4E8A-A9F4-237EBF5CB42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23198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7B6DD1A6-D513-4EA0-8C3F-47C93CA395E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9776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5D78DD9A-7A3B-4479-A356-D1201169A1E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104508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59073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 |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5D51C2DC-4571-42B4-89F2-DA6662BE5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eam/Speakers 3 columns 4 rows</a:t>
            </a:r>
            <a:endParaRPr lang="en-GB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B4DF1173-C29F-45AC-92AA-916D11D8E0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0230" y="1612706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7AC79D67-C678-414C-AF90-8C02E28CA9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1452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D84CF9F7-FEFA-4F30-8381-81E1CDC7DE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003" y="1613916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C320D465-6541-42AF-B948-F179CCF7EE8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96225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C8238BF7-B55E-43DD-99B0-CDFDFE29FD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89776" y="1613916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50" name="Picture Placeholder 7">
            <a:extLst>
              <a:ext uri="{FF2B5EF4-FFF2-40B4-BE49-F238E27FC236}">
                <a16:creationId xmlns:a16="http://schemas.microsoft.com/office/drawing/2014/main" id="{0BEA5C06-8D59-4BD3-9B33-5696A4BC522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20998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2" name="Picture Placeholder 7">
            <a:extLst>
              <a:ext uri="{FF2B5EF4-FFF2-40B4-BE49-F238E27FC236}">
                <a16:creationId xmlns:a16="http://schemas.microsoft.com/office/drawing/2014/main" id="{00A16A42-CA42-49E2-8405-AA0CAF0311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71452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4" name="Picture Placeholder 7">
            <a:extLst>
              <a:ext uri="{FF2B5EF4-FFF2-40B4-BE49-F238E27FC236}">
                <a16:creationId xmlns:a16="http://schemas.microsoft.com/office/drawing/2014/main" id="{8FBF5889-E52E-4268-BCFD-13AA1E933F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6225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6" name="Picture Placeholder 7">
            <a:extLst>
              <a:ext uri="{FF2B5EF4-FFF2-40B4-BE49-F238E27FC236}">
                <a16:creationId xmlns:a16="http://schemas.microsoft.com/office/drawing/2014/main" id="{F3DB35B0-B095-4BB6-B438-419AB248A32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220998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8" name="Picture Placeholder 7">
            <a:extLst>
              <a:ext uri="{FF2B5EF4-FFF2-40B4-BE49-F238E27FC236}">
                <a16:creationId xmlns:a16="http://schemas.microsoft.com/office/drawing/2014/main" id="{C0FB45DF-4505-4104-B3AB-1FF0A095BB4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71452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60" name="Picture Placeholder 7">
            <a:extLst>
              <a:ext uri="{FF2B5EF4-FFF2-40B4-BE49-F238E27FC236}">
                <a16:creationId xmlns:a16="http://schemas.microsoft.com/office/drawing/2014/main" id="{317AD999-FECF-4E8A-A9F4-237EBF5CB42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96225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5D78DD9A-7A3B-4479-A356-D1201169A1E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20998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C9B18172-AE91-486D-B3BF-BB4501ABE8A3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71452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F64BBF40-4B6E-4EED-9A4A-53F588F6905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396225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BA5CBA95-71BA-4D1C-9702-C09A59DB5A0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220998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DE3C1140-BD03-4998-B2C4-28410F93C64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40230" y="2822288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FFE703FA-9332-4A8A-B58E-5F35E54BCD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65003" y="2823498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1C44D164-2308-4F92-8C1F-02E8B7DE078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89776" y="2823498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6" name="Text Placeholder 12">
            <a:extLst>
              <a:ext uri="{FF2B5EF4-FFF2-40B4-BE49-F238E27FC236}">
                <a16:creationId xmlns:a16="http://schemas.microsoft.com/office/drawing/2014/main" id="{3423B415-66AA-45CD-A323-3A2A488B71A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740230" y="4031870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CB7D5369-1728-4112-B4F1-ED60D3FE7A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65003" y="4033080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9AEBD6C7-E5B0-401A-A86F-E5112062611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9776" y="4033080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B77E20DC-EB84-47ED-8BD7-B4FF8C116E3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740230" y="5241451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59FE56BC-3699-4F5D-A9A7-2D0424B49BE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565003" y="5242661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C9243CCE-E7FC-4AA9-B6B0-2E7FCC8D0DF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389776" y="5242661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@social_handle</a:t>
            </a:r>
          </a:p>
        </p:txBody>
      </p:sp>
    </p:spTree>
    <p:extLst>
      <p:ext uri="{BB962C8B-B14F-4D97-AF65-F5344CB8AC3E}">
        <p14:creationId xmlns:p14="http://schemas.microsoft.com/office/powerpoint/2010/main" val="277526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2905314"/>
            <a:ext cx="11036725" cy="1658869"/>
          </a:xfrm>
        </p:spPr>
        <p:txBody>
          <a:bodyPr numCol="2" spcCol="1440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4006047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ivery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6AF747F4-4109-65F4-CD92-344B04E22D49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https://climate.nasa.gov/</a:t>
            </a:r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8FBD840-1B3C-FAD9-C07A-E7BA4130EAC0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57195079"/>
              </p:ext>
            </p:extLst>
          </p:nvPr>
        </p:nvGraphicFramePr>
        <p:xfrm>
          <a:off x="577221" y="3126838"/>
          <a:ext cx="11049048" cy="2921564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6226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</a:tblGrid>
              <a:tr h="292156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Delivery Timelin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313051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530909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6298593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9066277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0372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3523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66673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FB9A9C-4C9E-469C-9D99-16BC91C138E0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6115" y="3364909"/>
            <a:ext cx="8012962" cy="462526"/>
          </a:xfrm>
          <a:solidFill>
            <a:schemeClr val="accent1"/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bg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D679B6E4-5400-4DE1-9F08-359DC2F09B7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431" y="3364909"/>
            <a:ext cx="2452086" cy="4625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1F810C97-0A29-45C1-9D60-827E200D0F3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1483" y="3889277"/>
            <a:ext cx="2477593" cy="462526"/>
          </a:xfrm>
          <a:solidFill>
            <a:schemeClr val="accent1"/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bg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FC6BAC02-B885-47E1-A502-AA5052129E5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430" y="3889277"/>
            <a:ext cx="8012962" cy="4625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06BDC1B7-A02B-4772-BA3C-4B7BBCD848D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431" y="4413645"/>
            <a:ext cx="10780646" cy="4625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88A5BF89-FF15-4E22-A8D9-B81E4C8FB04E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927" y="4938014"/>
            <a:ext cx="9538396" cy="4625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28A648F4-45A3-4893-B1D5-F9EAB33F1565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3246" y="5462381"/>
            <a:ext cx="3986725" cy="4625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2789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2 column text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56279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| 2 column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207935" indent="-207935">
              <a:buClr>
                <a:schemeClr val="accent1"/>
              </a:buClr>
              <a:buSzPct val="110000"/>
              <a:buFont typeface="Wingdings" pitchFamily="2" charset="2"/>
              <a:buChar char="§"/>
              <a:defRPr/>
            </a:lvl1pPr>
            <a:lvl2pPr>
              <a:buSzPct val="110000"/>
              <a:defRPr/>
            </a:lvl2pPr>
            <a:lvl3pPr>
              <a:buSzPct val="110000"/>
              <a:defRPr/>
            </a:lvl3pPr>
            <a:lvl4pPr>
              <a:buSzPct val="110000"/>
              <a:defRPr/>
            </a:lvl4pPr>
            <a:lvl5pPr>
              <a:buSzPct val="110000"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98937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2 column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277246" indent="-277246">
              <a:buClr>
                <a:schemeClr val="accent1"/>
              </a:buClr>
              <a:buSzPct val="100000"/>
              <a:buFont typeface="+mj-lt"/>
              <a:buAutoNum type="arabicPeriod"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71481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7A8EF9-1C32-4B7A-8081-50E936C41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820C01-EFC8-47E3-87CA-54B740EA5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7638" y="2905312"/>
            <a:ext cx="10775825" cy="1564243"/>
          </a:xfrm>
        </p:spPr>
        <p:txBody>
          <a:bodyPr/>
          <a:lstStyle>
            <a:lvl1pPr marL="0" indent="0">
              <a:spcAft>
                <a:spcPts val="728"/>
              </a:spcAft>
              <a:buFontTx/>
              <a:buNone/>
              <a:defRPr/>
            </a:lvl1pPr>
            <a:lvl2pPr>
              <a:spcAft>
                <a:spcPts val="728"/>
              </a:spcAft>
              <a:defRPr/>
            </a:lvl2pPr>
            <a:lvl3pPr>
              <a:spcAft>
                <a:spcPts val="728"/>
              </a:spcAft>
              <a:defRPr/>
            </a:lvl3pPr>
            <a:lvl4pPr>
              <a:spcAft>
                <a:spcPts val="728"/>
              </a:spcAft>
              <a:defRPr/>
            </a:lvl4pPr>
            <a:lvl5pPr>
              <a:spcAft>
                <a:spcPts val="728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F7A7FA-3919-46C3-A721-2BCFFDD3E2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F7C05-75CA-420E-AD15-CB8A1468F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87425AA8-5E7D-4A02-BD41-3BD7CF394720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8DFAF66-6D1A-4424-9287-26CDDE2BBD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8377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Text +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915F15C-956C-41D5-B307-E9EAF4140C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3079" y="1"/>
            <a:ext cx="5658921" cy="6857999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2905312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 flipV="1">
            <a:off x="577638" y="6370213"/>
            <a:ext cx="5377804" cy="27725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2D490A-0282-4B98-BC22-F72D01AAD9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33079" y="5916690"/>
            <a:ext cx="5081284" cy="148117"/>
          </a:xfrm>
        </p:spPr>
        <p:txBody>
          <a:bodyPr/>
          <a:lstStyle>
            <a:lvl1pPr>
              <a:defRPr sz="849"/>
            </a:lvl1pPr>
          </a:lstStyle>
          <a:p>
            <a:pPr lvl="0"/>
            <a:r>
              <a:rPr lang="en-US"/>
              <a:t>Caption text goes here if required</a:t>
            </a:r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9427362-842E-4669-885E-548EFDB4AD6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852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6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915F15C-956C-41D5-B307-E9EAF4140C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3079" y="577597"/>
            <a:ext cx="5081284" cy="263414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3079" y="3434808"/>
            <a:ext cx="5081284" cy="2613594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3DBC4A-ACA7-4AD0-9307-8B9B0EA507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04322" y="644597"/>
            <a:ext cx="4938799" cy="25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aption, if required, goes here</a:t>
            </a:r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E7CB72A-5628-4C6B-920B-B5462A85B7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4322" y="3509478"/>
            <a:ext cx="4938799" cy="25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aption, if required, goes here</a:t>
            </a:r>
            <a:endParaRPr lang="en-GB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3E63EEFC-E63D-460B-87E8-056BB1E9EE2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55642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Quote +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6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3079" y="3434808"/>
            <a:ext cx="5081284" cy="2613594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342D1F6-875C-4F73-9292-C3AAE26778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0496" y="2150912"/>
            <a:ext cx="5073866" cy="83955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455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0"/>
              </a:spcAft>
              <a:buFontTx/>
              <a:buNone/>
              <a:defRPr sz="1455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2pPr>
            <a:lvl3pPr marL="0" indent="0">
              <a:spcBef>
                <a:spcPts val="0"/>
              </a:spcBef>
              <a:buFontTx/>
              <a:buNone/>
              <a:defRPr sz="1213"/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2BA5A0B-ACA6-4775-BB7F-0F44A4EF7ED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10812D15-BFF6-4022-96D6-207CD21FCD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40496" y="1606818"/>
            <a:ext cx="474911" cy="401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859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283">
          <p15:clr>
            <a:srgbClr val="FBAE40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4 x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8"/>
            <a:ext cx="11042887" cy="403133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4540" y="3865484"/>
            <a:ext cx="2424253" cy="218291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49FC8846-079B-41AE-B836-FAD08E0C32D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8" y="1245959"/>
            <a:ext cx="5299823" cy="4802443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E7F864D5-53D1-4798-9693-FAD45F36240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90110" y="3865484"/>
            <a:ext cx="2424253" cy="218291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09D04CD5-6785-4614-82A0-EB606F9E758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14539" y="1245958"/>
            <a:ext cx="5299823" cy="2183042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9702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283">
          <p15:clr>
            <a:srgbClr val="FBAE40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89B312-7F05-4697-9E87-033701FA6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2D2B0C-092E-425B-B7A9-D5A5FD03D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42FA494-CA0E-4F88-A7C3-26260F2C3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6A5BA38-A732-42ED-B9BB-81BDD3BB04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7D1F16C-2548-4FFE-AF72-F24418D564E3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871658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4F929E-2F1D-4406-9057-6C8251939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A9C806-229B-4A8D-AFA7-03EDD985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26A3070-CE06-4CEE-A226-D97212C3B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C887375E-F637-44FE-AF63-8A8B04BD6ACA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4238161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F435119-6A7F-C7DE-8EE2-14A8BC3A1F15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96321D8-E653-D3FD-FE04-6D43ACC40DCB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abl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05444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24676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32B504-645A-42DC-ABCE-1D8DD23450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304" y="1996560"/>
            <a:ext cx="5335021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F4306BB-6547-4B5E-8784-4CBAC01B610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0675" y="1996560"/>
            <a:ext cx="5335021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6304" y="1529131"/>
            <a:ext cx="5335021" cy="300484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6E4A3A-D76E-4C23-88DA-34D816F1BC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0675" y="1529131"/>
            <a:ext cx="5335021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2739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24676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6304" y="1529131"/>
            <a:ext cx="3456798" cy="300484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03ED4545-9186-46F2-91B2-2AA7B708AC2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7601" y="1529131"/>
            <a:ext cx="3456798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6E4A3A-D76E-4C23-88DA-34D816F1BC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48898" y="1529131"/>
            <a:ext cx="3456798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8582A73-10C6-794D-81AF-73F50A3513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304" y="1996560"/>
            <a:ext cx="3456798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AC58B05-1E3E-1043-A6B5-0A53CB7DD34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5495" y="1996560"/>
            <a:ext cx="3456798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6E06685-E104-2249-A1AC-B2EC566C5F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50760" y="1996560"/>
            <a:ext cx="3456798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7179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Text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89B312-7F05-4697-9E87-033701FA6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2D2B0C-092E-425B-B7A9-D5A5FD03D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7D1F16C-2548-4FFE-AF72-F24418D564E3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555233-33E3-477F-8D67-4FF2B6EA7D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7" y="577597"/>
            <a:ext cx="11013620" cy="787604"/>
          </a:xfrm>
        </p:spPr>
        <p:txBody>
          <a:bodyPr numCol="5" spcCol="144000"/>
          <a:lstStyle>
            <a:lvl1pPr>
              <a:spcBef>
                <a:spcPts val="1092"/>
              </a:spcBef>
              <a:defRPr sz="1455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19"/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2508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Gradient Pan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13574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5CB05DC6-B960-4F41-ACA5-722F02234C2C}"/>
              </a:ext>
            </a:extLst>
          </p:cNvPr>
          <p:cNvSpPr/>
          <p:nvPr userDrawn="1"/>
        </p:nvSpPr>
        <p:spPr>
          <a:xfrm>
            <a:off x="4478621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6BD8A16-8AA1-4A48-A03E-412ECD844E30}"/>
              </a:ext>
            </a:extLst>
          </p:cNvPr>
          <p:cNvSpPr/>
          <p:nvPr userDrawn="1"/>
        </p:nvSpPr>
        <p:spPr>
          <a:xfrm>
            <a:off x="8379604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88FE1B9-1B38-4607-85CD-8D3FEB0894B0}"/>
              </a:ext>
            </a:extLst>
          </p:cNvPr>
          <p:cNvSpPr/>
          <p:nvPr userDrawn="1"/>
        </p:nvSpPr>
        <p:spPr>
          <a:xfrm>
            <a:off x="577638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4" name="Text Placeholder 29">
            <a:extLst>
              <a:ext uri="{FF2B5EF4-FFF2-40B4-BE49-F238E27FC236}">
                <a16:creationId xmlns:a16="http://schemas.microsoft.com/office/drawing/2014/main" id="{1AF43CD3-74BD-42C3-9321-3A5E678B67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7090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2A91401C-CD03-4B80-B78A-FED6C1387A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7090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29">
            <a:extLst>
              <a:ext uri="{FF2B5EF4-FFF2-40B4-BE49-F238E27FC236}">
                <a16:creationId xmlns:a16="http://schemas.microsoft.com/office/drawing/2014/main" id="{987E1084-1588-4DFF-8B16-45159E5A7F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7090" y="2551053"/>
            <a:ext cx="2909728" cy="190437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29">
            <a:extLst>
              <a:ext uri="{FF2B5EF4-FFF2-40B4-BE49-F238E27FC236}">
                <a16:creationId xmlns:a16="http://schemas.microsoft.com/office/drawing/2014/main" id="{8C12D9D7-8C03-4D7A-B03B-C1BC41AB6B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41136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29">
            <a:extLst>
              <a:ext uri="{FF2B5EF4-FFF2-40B4-BE49-F238E27FC236}">
                <a16:creationId xmlns:a16="http://schemas.microsoft.com/office/drawing/2014/main" id="{F217037E-D485-4433-8172-120C59DAC4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41136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29">
            <a:extLst>
              <a:ext uri="{FF2B5EF4-FFF2-40B4-BE49-F238E27FC236}">
                <a16:creationId xmlns:a16="http://schemas.microsoft.com/office/drawing/2014/main" id="{99CF9FB5-3A52-4CBE-9EA9-E5B1B14F62C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41136" y="2551053"/>
            <a:ext cx="2909728" cy="190437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Text Placeholder 29">
            <a:extLst>
              <a:ext uri="{FF2B5EF4-FFF2-40B4-BE49-F238E27FC236}">
                <a16:creationId xmlns:a16="http://schemas.microsoft.com/office/drawing/2014/main" id="{2C483B3F-2A51-4389-A469-7247CC00F7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542118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Text Placeholder 29">
            <a:extLst>
              <a:ext uri="{FF2B5EF4-FFF2-40B4-BE49-F238E27FC236}">
                <a16:creationId xmlns:a16="http://schemas.microsoft.com/office/drawing/2014/main" id="{3167602A-C6EA-403C-BBD7-A1E2856EBF4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42118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4E6CC2EE-53D5-45F8-ABF1-A33B753B1C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42118" y="2551053"/>
            <a:ext cx="2909728" cy="190437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4335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l-i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Dial-in Detail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4" y="2299040"/>
            <a:ext cx="3379179" cy="3749361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9484F1-8E49-054A-9340-C8D241F519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3384" y="2342855"/>
            <a:ext cx="3033496" cy="3705543"/>
          </a:xfrm>
        </p:spPr>
        <p:txBody>
          <a:bodyPr wrap="square" numCol="1" spcCol="756000" anchor="t">
            <a:noAutofit/>
          </a:bodyPr>
          <a:lstStyle>
            <a:lvl1pPr marL="0" indent="0">
              <a:spcBef>
                <a:spcPts val="97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latin typeface="Poppins" pitchFamily="2" charset="77"/>
                <a:cs typeface="Poppins" pitchFamily="2" charset="77"/>
              </a:defRPr>
            </a:lvl2pPr>
            <a:lvl3pPr marL="0" indent="0">
              <a:buFontTx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3pPr>
            <a:lvl5pPr>
              <a:defRPr/>
            </a:lvl5pPr>
          </a:lstStyle>
          <a:p>
            <a:pPr lvl="0"/>
            <a:r>
              <a:rPr lang="en-GB"/>
              <a:t>Topic</a:t>
            </a:r>
          </a:p>
          <a:p>
            <a:pPr lvl="1"/>
            <a:r>
              <a:rPr lang="en-GB"/>
              <a:t>Meeting title</a:t>
            </a:r>
          </a:p>
          <a:p>
            <a:pPr lvl="1"/>
            <a:endParaRPr lang="en-GB"/>
          </a:p>
          <a:p>
            <a:pPr lvl="0"/>
            <a:r>
              <a:rPr lang="en-GB"/>
              <a:t>Time</a:t>
            </a:r>
          </a:p>
          <a:p>
            <a:pPr lvl="1"/>
            <a:r>
              <a:rPr lang="en-GB"/>
              <a:t>MMM DD, YYYY</a:t>
            </a:r>
          </a:p>
          <a:p>
            <a:pPr lvl="1"/>
            <a:r>
              <a:rPr lang="en-GB"/>
              <a:t>04:00 PM CET/10:00 AM ET</a:t>
            </a:r>
          </a:p>
          <a:p>
            <a:pPr lvl="1"/>
            <a:endParaRPr lang="en-GB"/>
          </a:p>
          <a:p>
            <a:pPr lvl="0"/>
            <a:r>
              <a:rPr lang="en-GB"/>
              <a:t>Estimated call length</a:t>
            </a:r>
          </a:p>
          <a:p>
            <a:pPr lvl="1"/>
            <a:r>
              <a:rPr lang="en-GB"/>
              <a:t>30 minut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30A48F11-6954-3949-8D79-D73631815C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46667" y="2350101"/>
            <a:ext cx="4148729" cy="3705543"/>
          </a:xfrm>
        </p:spPr>
        <p:txBody>
          <a:bodyPr wrap="square" numCol="1" spcCol="756000" anchor="t">
            <a:noAutofit/>
          </a:bodyPr>
          <a:lstStyle>
            <a:lvl1pPr marL="0" indent="0">
              <a:spcBef>
                <a:spcPts val="97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  <a:lvl2pPr marL="0" marR="0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None/>
              <a:tabLst/>
              <a:defRPr sz="1395" b="0" i="0">
                <a:latin typeface="Poppins" pitchFamily="2" charset="77"/>
                <a:cs typeface="Poppins" pitchFamily="2" charset="77"/>
              </a:defRPr>
            </a:lvl2pPr>
            <a:lvl3pPr marL="0" indent="0">
              <a:buFontTx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3pPr>
            <a:lvl5pPr>
              <a:defRPr/>
            </a:lvl5pPr>
          </a:lstStyle>
          <a:p>
            <a:pPr lvl="0"/>
            <a:r>
              <a:rPr lang="en-GB"/>
              <a:t>Join Zoom meeting</a:t>
            </a:r>
          </a:p>
          <a:p>
            <a:pPr lvl="1"/>
            <a:r>
              <a:rPr lang="en-GB"/>
              <a:t>Https://</a:t>
            </a:r>
            <a:r>
              <a:rPr lang="en-GB" err="1"/>
              <a:t>zoom.us</a:t>
            </a:r>
            <a:r>
              <a:rPr lang="en-GB"/>
              <a:t>/#/########</a:t>
            </a:r>
          </a:p>
          <a:p>
            <a:pPr lvl="1"/>
            <a:endParaRPr lang="en-GB"/>
          </a:p>
          <a:p>
            <a:pPr lvl="0"/>
            <a:r>
              <a:rPr lang="en-GB"/>
              <a:t>Meeting ID</a:t>
            </a:r>
          </a:p>
          <a:p>
            <a:pPr lvl="1"/>
            <a:r>
              <a:rPr lang="en-GB"/>
              <a:t>985 717 469</a:t>
            </a:r>
          </a:p>
          <a:p>
            <a:pPr lvl="0"/>
            <a:r>
              <a:rPr lang="en-GB"/>
              <a:t>One tap mobile</a:t>
            </a:r>
          </a:p>
          <a:p>
            <a:pPr marL="0" marR="0" lvl="1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+ 00000000000, 00000000000# US (New York)</a:t>
            </a:r>
          </a:p>
          <a:p>
            <a:pPr lvl="0"/>
            <a:r>
              <a:rPr lang="en-GB"/>
              <a:t>Dial by your location </a:t>
            </a:r>
          </a:p>
          <a:p>
            <a:pPr lvl="1"/>
            <a:r>
              <a:rPr lang="en-GB"/>
              <a:t>+0 000 000 0000 US (New York)</a:t>
            </a:r>
            <a:br>
              <a:rPr lang="en-GB"/>
            </a:br>
            <a:r>
              <a:rPr lang="en-GB"/>
              <a:t>+ 0 000 000 0000 (Switzerland)</a:t>
            </a:r>
          </a:p>
          <a:p>
            <a:pPr lvl="0"/>
            <a:r>
              <a:rPr lang="en-GB"/>
              <a:t>Find your local number</a:t>
            </a:r>
          </a:p>
          <a:p>
            <a:pPr lvl="1"/>
            <a:r>
              <a:rPr lang="en-GB"/>
              <a:t>https://</a:t>
            </a:r>
            <a:r>
              <a:rPr lang="en-GB" err="1"/>
              <a:t>zoom.us</a:t>
            </a:r>
            <a:r>
              <a:rPr lang="en-GB"/>
              <a:t>/#/########</a:t>
            </a:r>
          </a:p>
        </p:txBody>
      </p:sp>
    </p:spTree>
    <p:extLst>
      <p:ext uri="{BB962C8B-B14F-4D97-AF65-F5344CB8AC3E}">
        <p14:creationId xmlns:p14="http://schemas.microsoft.com/office/powerpoint/2010/main" val="4286556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3269428"/>
              </p:ext>
            </p:extLst>
          </p:nvPr>
        </p:nvGraphicFramePr>
        <p:xfrm>
          <a:off x="577221" y="2730107"/>
          <a:ext cx="11036724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918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542865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631061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9068787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2767645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867" y="2274402"/>
            <a:ext cx="2746511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622" y="2274402"/>
            <a:ext cx="2746176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799" y="2274402"/>
            <a:ext cx="277393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2767645" cy="460026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44867" y="3035786"/>
            <a:ext cx="2751133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5666" y="3035786"/>
            <a:ext cx="2751133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863644" y="3035786"/>
            <a:ext cx="2750300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53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244570549"/>
              </p:ext>
            </p:extLst>
          </p:nvPr>
        </p:nvGraphicFramePr>
        <p:xfrm>
          <a:off x="577222" y="2730107"/>
          <a:ext cx="11036930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7386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98170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5200179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740009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962482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2193914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9702" y="2276559"/>
            <a:ext cx="2212480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02182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096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14827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8970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0218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6096" y="3035786"/>
            <a:ext cx="2205910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414827" y="3035786"/>
            <a:ext cx="2205910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8573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61344178"/>
              </p:ext>
            </p:extLst>
          </p:nvPr>
        </p:nvGraphicFramePr>
        <p:xfrm>
          <a:off x="577222" y="2730107"/>
          <a:ext cx="11036928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9488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61125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4459910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629999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814008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EED920D-5A0E-4D1A-B8B2-01481F89A849}"/>
              </a:ext>
            </a:extLst>
          </p:cNvPr>
          <p:cNvSpPr/>
          <p:nvPr/>
        </p:nvSpPr>
        <p:spPr>
          <a:xfrm>
            <a:off x="9988110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19253" y="2276559"/>
            <a:ext cx="1588608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191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3008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:a16="http://schemas.microsoft.com/office/drawing/2014/main" id="{0F502F2E-BE4E-4F98-AC09-F0807D222C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7211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19253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26191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0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930089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772119" y="3036328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5156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86811145"/>
              </p:ext>
            </p:extLst>
          </p:nvPr>
        </p:nvGraphicFramePr>
        <p:xfrm>
          <a:off x="577222" y="2730107"/>
          <a:ext cx="11036725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576675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998086781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24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imeline/Milestones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343908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92459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550527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7085958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EED920D-5A0E-4D1A-B8B2-01481F89A849}"/>
              </a:ext>
            </a:extLst>
          </p:cNvPr>
          <p:cNvSpPr/>
          <p:nvPr/>
        </p:nvSpPr>
        <p:spPr>
          <a:xfrm>
            <a:off x="866664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1024732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51908" y="2276559"/>
            <a:ext cx="1588608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6594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127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75965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:a16="http://schemas.microsoft.com/office/drawing/2014/main" id="{0F502F2E-BE4E-4F98-AC09-F0807D222C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50651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25337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51908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26594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301279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75965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50651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GB" sz="970"/>
              <a:t>Click to edit Master text styles</a:t>
            </a:r>
          </a:p>
        </p:txBody>
      </p:sp>
      <p:sp>
        <p:nvSpPr>
          <p:cNvPr id="86" name="Text Placeholder 71">
            <a:extLst>
              <a:ext uri="{FF2B5EF4-FFF2-40B4-BE49-F238E27FC236}">
                <a16:creationId xmlns:a16="http://schemas.microsoft.com/office/drawing/2014/main" id="{947BFEF4-7AA3-4A1C-B7FE-6DF1E40CA7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0025337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55"/>
              </a:spcAft>
              <a:buClrTx/>
              <a:buSzTx/>
              <a:buFontTx/>
              <a:buNone/>
              <a:tabLst/>
              <a:defRPr/>
            </a:pPr>
            <a:r>
              <a:rPr lang="en-GB" sz="970" b="0" i="0">
                <a:solidFill>
                  <a:schemeClr val="tx1"/>
                </a:solidFill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0808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ivery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57195079"/>
              </p:ext>
            </p:extLst>
          </p:nvPr>
        </p:nvGraphicFramePr>
        <p:xfrm>
          <a:off x="577221" y="3126838"/>
          <a:ext cx="11049048" cy="2921564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6226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</a:tblGrid>
              <a:tr h="292156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Delivery Timelin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313051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530909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6298593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9066277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0372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3523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66673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Month - Mont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FB9A9C-4C9E-469C-9D99-16BC91C138E0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6115" y="3366159"/>
            <a:ext cx="8012962" cy="460026"/>
          </a:xfrm>
          <a:solidFill>
            <a:schemeClr val="accent1"/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bg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D679B6E4-5400-4DE1-9F08-359DC2F09B7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431" y="3366159"/>
            <a:ext cx="245208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1F810C97-0A29-45C1-9D60-827E200D0F3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1483" y="3890527"/>
            <a:ext cx="2477593" cy="460026"/>
          </a:xfrm>
          <a:solidFill>
            <a:schemeClr val="accent1"/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bg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FC6BAC02-B885-47E1-A502-AA5052129E5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430" y="3890527"/>
            <a:ext cx="8012962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06BDC1B7-A02B-4772-BA3C-4B7BBCD848D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431" y="4414895"/>
            <a:ext cx="1078064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88A5BF89-FF15-4E22-A8D9-B81E4C8FB04E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927" y="4939264"/>
            <a:ext cx="953839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GB"/>
              <a:t>Click to edit Master text styles</a:t>
            </a: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28A648F4-45A3-4893-B1D5-F9EAB33F1565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3246" y="5463631"/>
            <a:ext cx="3986725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8396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mbers / Objectives |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2333F8F-3680-7CCC-590F-C68DF14D5911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32D93C2-C524-3797-4312-5316E31AFAC1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62EC026-4E6F-43DA-923D-6521DED0D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35950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2C007047-C920-4EB3-A695-D82C1E3FF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C4B654B1-39D8-4CAE-9F1C-A8E54F3E90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8467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97CE11CA-3102-4681-B4BA-0B37EB79C9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2319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DA0263E3-9D44-44C4-88DC-79995A9CEA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48759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219E0B61-44AD-498D-9A5E-D4CD2F464A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3444957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B5D028AE-F44C-46F5-9CEE-FD53C54043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55182" y="1487595"/>
            <a:ext cx="2759181" cy="52258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830D074D-01E1-4932-A37B-4050A540FB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855182" y="1904145"/>
            <a:ext cx="2759181" cy="4376255"/>
          </a:xfrm>
          <a:prstGeom prst="roundRect">
            <a:avLst>
              <a:gd name="adj" fmla="val 2681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078F100-7CF5-4CA5-B198-4D0776A22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3844870"/>
            <a:ext cx="5081284" cy="939362"/>
          </a:xfrm>
        </p:spPr>
        <p:txBody>
          <a:bodyPr/>
          <a:lstStyle>
            <a:lvl2pPr marL="216599" indent="-216599">
              <a:defRPr/>
            </a:lvl2pPr>
            <a:lvl3pPr marL="381213" indent="-174242">
              <a:defRPr/>
            </a:lvl3pPr>
            <a:lvl4pPr marL="926079" indent="-18386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2288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Tabl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93157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mbers / Objectives |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62EC026-4E6F-43DA-923D-6521DED0D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35950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2C007047-C920-4EB3-A695-D82C1E3FF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C4B654B1-39D8-4CAE-9F1C-A8E54F3E90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8467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97CE11CA-3102-4681-B4BA-0B37EB79C9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2319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DA0263E3-9D44-44C4-88DC-79995A9CEA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48759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219E0B61-44AD-498D-9A5E-D4CD2F464A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3444957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B5D028AE-F44C-46F5-9CEE-FD53C54043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55182" y="1487595"/>
            <a:ext cx="2759181" cy="52258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830D074D-01E1-4932-A37B-4050A540FB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855182" y="1904145"/>
            <a:ext cx="2759181" cy="4376255"/>
          </a:xfrm>
          <a:prstGeom prst="roundRect">
            <a:avLst>
              <a:gd name="adj" fmla="val 2681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078F100-7CF5-4CA5-B198-4D0776A22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3844870"/>
            <a:ext cx="5081284" cy="939362"/>
          </a:xfrm>
        </p:spPr>
        <p:txBody>
          <a:bodyPr/>
          <a:lstStyle>
            <a:lvl2pPr marL="216599" indent="-216599">
              <a:defRPr/>
            </a:lvl2pPr>
            <a:lvl3pPr marL="381213" indent="-174242">
              <a:defRPr/>
            </a:lvl3pPr>
            <a:lvl4pPr marL="926079" indent="-183868"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03751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mbers / Objectives | Compan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DA0263E3-9D44-44C4-88DC-79995A9CEA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48759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219E0B61-44AD-498D-9A5E-D4CD2F464A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3444957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B5D028AE-F44C-46F5-9CEE-FD53C54043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55182" y="1487595"/>
            <a:ext cx="2759181" cy="52258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830D074D-01E1-4932-A37B-4050A540FB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855182" y="1904145"/>
            <a:ext cx="2759181" cy="4376255"/>
          </a:xfrm>
          <a:prstGeom prst="roundRect">
            <a:avLst>
              <a:gd name="adj" fmla="val 2681"/>
            </a:avLst>
          </a:prstGeom>
          <a:solidFill>
            <a:schemeClr val="bg1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C5CE2C7D-2E7C-4C4A-AD70-D95AE7635B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5060" y="1954398"/>
            <a:ext cx="2873834" cy="253787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C9D30B78-B412-4432-80AB-05215E5B05E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785451" y="1954398"/>
            <a:ext cx="2873834" cy="253787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1CA350-E600-49F4-98C4-196B708DFE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3844870"/>
            <a:ext cx="5081284" cy="939362"/>
          </a:xfrm>
        </p:spPr>
        <p:txBody>
          <a:bodyPr/>
          <a:lstStyle>
            <a:lvl2pPr marL="216599" indent="-216599">
              <a:defRPr/>
            </a:lvl2pPr>
            <a:lvl3pPr marL="381213" indent="-174242">
              <a:defRPr/>
            </a:lvl3pPr>
            <a:lvl4pPr marL="926079" indent="-183868">
              <a:defRPr/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33373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| sourc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nfographic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23227BC4-3697-49CB-8C94-2ABB376D098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497044" y="3517204"/>
            <a:ext cx="9198321" cy="2537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2FEDC8-D0DD-425E-97D5-0F98C2977C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861" y="5903487"/>
            <a:ext cx="11048278" cy="148117"/>
          </a:xfrm>
        </p:spPr>
        <p:txBody>
          <a:bodyPr/>
          <a:lstStyle>
            <a:lvl1pPr>
              <a:defRPr sz="849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1785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79471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2" name="Picture Placeholder 7">
            <a:extLst>
              <a:ext uri="{FF2B5EF4-FFF2-40B4-BE49-F238E27FC236}">
                <a16:creationId xmlns:a16="http://schemas.microsoft.com/office/drawing/2014/main" id="{6619BFD5-09E1-4FC5-85E9-AA0D4F90A8B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0681" y="4163789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3B63B8AA-3795-43D0-9A7E-B431EEF939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69043" y="1979471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CD81F978-7C37-4A2F-A2FB-25726566C18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69043" y="4163789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A34D31A6-0100-4F14-A575-2F91CDA458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6208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332C0157-8A57-4567-AD90-B772A579EC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29820" y="2336208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71F1D49-461A-49E8-B21D-5F49561734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11458" y="4520525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585FA147-1037-4901-8E81-747525FB4D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29820" y="4520525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/>
              <a:t>Speaker Name</a:t>
            </a:r>
          </a:p>
          <a:p>
            <a:pPr lvl="1"/>
            <a:r>
              <a:rPr lang="en-GB"/>
              <a:t>Job title, Organisation</a:t>
            </a:r>
          </a:p>
          <a:p>
            <a:pPr lvl="2"/>
            <a:r>
              <a:rPr lang="en-GB"/>
              <a:t>@social_handle</a:t>
            </a:r>
          </a:p>
        </p:txBody>
      </p:sp>
    </p:spTree>
    <p:extLst>
      <p:ext uri="{BB962C8B-B14F-4D97-AF65-F5344CB8AC3E}">
        <p14:creationId xmlns:p14="http://schemas.microsoft.com/office/powerpoint/2010/main" val="276798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80AF144C-4F83-4A53-AEB3-4893C96DD04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77638" y="5936408"/>
            <a:ext cx="11046352" cy="444898"/>
          </a:xfrm>
          <a:solidFill>
            <a:schemeClr val="bg2"/>
          </a:solidFill>
        </p:spPr>
        <p:txBody>
          <a:bodyPr tIns="108000" bIns="144000"/>
          <a:lstStyle>
            <a:lvl1pPr algn="ctr">
              <a:defRPr sz="1092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2323278-E89D-4D80-A18A-B49324F6E7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6E72E6E5-210D-43FE-B069-74E7F6C1BD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78519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67E7BAB-F631-4062-8A88-65F51EC442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78519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6BE899-EB40-48CF-AC4E-A642FFFB1AD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79402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48F6FBC-9928-4ECC-8454-6B4856741F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779402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8CE8A230-B6E3-43F3-A987-6673C06011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960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46543DE-6963-4E6B-8D97-FBAB40255BE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78960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C7F9CE2-C3F9-4791-8B8B-B5803FF1D6C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78079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37E3A2C-8F9E-4585-9298-05F9DDA873B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78079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21BD2F87-1775-4DA1-9F5C-C4C9D94FEDA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096317" y="5592104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33234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Multi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491CD948-AEDF-48BE-92C5-5538CE9FE7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65CB4B4F-829A-4844-A666-11265CE11D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3595500"/>
            <a:ext cx="11049048" cy="406867"/>
          </a:xfrm>
        </p:spPr>
        <p:txBody>
          <a:bodyPr numCol="6" spcCol="360000" anchor="b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6547738-490D-47DE-A148-663CEC533E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7638" y="4145140"/>
            <a:ext cx="11036725" cy="294885"/>
          </a:xfrm>
        </p:spPr>
        <p:txBody>
          <a:bodyPr numCol="6" spcCol="360000"/>
          <a:lstStyle>
            <a:lvl1pPr marL="0" indent="0" algn="l">
              <a:buFont typeface="Arial" panose="020B0604020202020204" pitchFamily="34" charset="0"/>
              <a:buNone/>
              <a:defRPr sz="1092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 </a:t>
            </a:r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71E669C7-3F15-4404-9192-6B03E3E0872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46020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3" name="Picture Placeholder 7">
            <a:extLst>
              <a:ext uri="{FF2B5EF4-FFF2-40B4-BE49-F238E27FC236}">
                <a16:creationId xmlns:a16="http://schemas.microsoft.com/office/drawing/2014/main" id="{6BDECDBF-1E7F-429C-B857-BC3BE17D9B4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375245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458D35B0-2ABD-4A88-AD9C-250F5B0BFFF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115016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5" name="Picture Placeholder 7">
            <a:extLst>
              <a:ext uri="{FF2B5EF4-FFF2-40B4-BE49-F238E27FC236}">
                <a16:creationId xmlns:a16="http://schemas.microsoft.com/office/drawing/2014/main" id="{7B333D88-0458-48F5-97FB-D2D7718EC7C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856566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463A1320-1804-44CE-8DBA-867CC87A9DB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985791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797DADDD-4137-4C8B-B442-114D65CCBB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7134106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multi-colum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0118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conography +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7177775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multi-colum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4327381"/>
            <a:ext cx="11049048" cy="406867"/>
          </a:xfrm>
        </p:spPr>
        <p:txBody>
          <a:bodyPr numCol="3" spcCol="720000" anchor="t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62016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59237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21437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conography +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1719313"/>
            <a:ext cx="11049048" cy="406867"/>
          </a:xfrm>
        </p:spPr>
        <p:txBody>
          <a:bodyPr numCol="3" spcCol="720000" anchor="t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62016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59237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BBCEB9F-975E-4B56-A29F-0854EDFB008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77638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GB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9D6AFE-0A37-46FD-833E-9282879972A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69882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GB"/>
              <a:t>Click to edit Master text styl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FC94985-AFDD-4DF6-992E-19087D2130F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23760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4592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Multi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252E3C-0AA5-469B-ACE4-9A227101D8C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77638" y="2735923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E32ADA5-A0D2-4524-B1E4-2B46413B84B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877116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F999747-8F91-4BF8-B89A-418788FD50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176595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spcAft>
                <a:spcPts val="364"/>
              </a:spcAft>
              <a:defRPr>
                <a:latin typeface="Poppins" pitchFamily="2" charset="77"/>
                <a:cs typeface="Poppins" pitchFamily="2" charset="77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FF637A0C-4B6D-4207-A7D9-CAF1D2DFC8E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476073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9D094B4-29B2-4197-A8AD-66F9F9CAAF3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775551" y="2735923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41861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mbers / Objectives | Compan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B5D613E-E03D-3B6F-26FC-28C0A92830DD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A0776B62-4C77-53C3-EF3E-A3A65B15A39D}"/>
              </a:ext>
            </a:extLst>
          </p:cNvPr>
          <p:cNvSpPr/>
          <p:nvPr userDrawn="1"/>
        </p:nvSpPr>
        <p:spPr>
          <a:xfrm>
            <a:off x="152400" y="-857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3A15FE8F-EA75-00D0-FB8A-6934D10EF176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DA0263E3-9D44-44C4-88DC-79995A9CEA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48759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219E0B61-44AD-498D-9A5E-D4CD2F464A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3444957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B5D028AE-F44C-46F5-9CEE-FD53C54043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55182" y="1487595"/>
            <a:ext cx="2759181" cy="52258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830D074D-01E1-4932-A37B-4050A540FB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855182" y="1904145"/>
            <a:ext cx="2759181" cy="4376255"/>
          </a:xfrm>
          <a:prstGeom prst="roundRect">
            <a:avLst>
              <a:gd name="adj" fmla="val 2681"/>
            </a:avLst>
          </a:prstGeom>
          <a:solidFill>
            <a:schemeClr val="bg1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C5CE2C7D-2E7C-4C4A-AD70-D95AE7635B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5060" y="1954398"/>
            <a:ext cx="2873834" cy="25750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C9D30B78-B412-4432-80AB-05215E5B05E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785451" y="1954398"/>
            <a:ext cx="2873834" cy="25750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1CA350-E600-49F4-98C4-196B708DFE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3844870"/>
            <a:ext cx="5081284" cy="939362"/>
          </a:xfrm>
        </p:spPr>
        <p:txBody>
          <a:bodyPr/>
          <a:lstStyle>
            <a:lvl2pPr marL="216599" indent="-216599">
              <a:defRPr/>
            </a:lvl2pPr>
            <a:lvl3pPr marL="381213" indent="-174242">
              <a:defRPr/>
            </a:lvl3pPr>
            <a:lvl4pPr marL="926079" indent="-18386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2626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5+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+1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2323278-E89D-4D80-A18A-B49324F6E7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6E72E6E5-210D-43FE-B069-74E7F6C1BD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78519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67E7BAB-F631-4062-8A88-65F51EC442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78519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6BE899-EB40-48CF-AC4E-A642FFFB1AD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79402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48F6FBC-9928-4ECC-8454-6B4856741F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779402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8CE8A230-B6E3-43F3-A987-6673C06011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960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46543DE-6963-4E6B-8D97-FBAB40255BE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78960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C7F9CE2-C3F9-4791-8B8B-B5803FF1D6C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78079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37E3A2C-8F9E-4585-9298-05F9DDA873B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78079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AABBEEF-0FF4-4074-9C40-9B691395E8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58259" y="1638314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92962D6-56F3-48D3-9A11-82CCFC1CC0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511485" y="1551340"/>
            <a:ext cx="4584515" cy="257558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9095E28A-06FE-49A2-AAE0-DD1F0C107A6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511485" y="1918071"/>
            <a:ext cx="4584515" cy="25755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8798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3 x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518361" cy="403133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7357175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D8794217-5EF6-484A-9789-939A04CBD6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859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E0AE9E36-7C00-4922-AA13-C35396AF38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9748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530D9E0-01F3-4B3E-A984-26FC050FE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637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DE89019-B2ED-4062-BEFD-1AF245BF4D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81859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6F488F1-69E1-4A48-8E9C-2F5EC2BFAB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79748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3497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5 x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/>
          <a:p>
            <a:r>
              <a:rPr lang="en-GB"/>
              <a:t>Meeting of the MI4A Advisory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518361" cy="403133"/>
          </a:xfrm>
        </p:spPr>
        <p:txBody>
          <a:bodyPr lIns="0" tIns="0" rIns="0" bIns="0" anchor="t" anchorCtr="0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755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530D9E0-01F3-4B3E-A984-26FC050FE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638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D6BD4396-836B-4609-A351-6FA3B73A5F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40394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BEC8D12B-8172-4BD9-B198-FC940EA5F58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69276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4C3A68AC-120B-4739-BD77-EB8D9A277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47712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0A9A1E10-7F09-44CE-87BF-10DBCB2DD3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76594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F45A253A-F83B-4FD4-A131-FA4682A23A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62836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403F967D-B169-4689-B49E-43267F0A42D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491719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FD3AE7CA-391E-4375-9398-D249BBBFEA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46668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E4F804E3-C2DE-4602-B167-5B66CA4202B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75550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0261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stat | b/g image / gra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DC44D74-3B3F-47E0-B848-9173CD01DCB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noFill/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508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/>
              <a:t>Meeting of the MI4A Advisory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508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D8794217-5EF6-484A-9789-939A04CBD6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05918" y="2107959"/>
            <a:ext cx="4214820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2128" b="0" i="0" spc="-637">
                <a:solidFill>
                  <a:schemeClr val="bg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.xm</a:t>
            </a:r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DE89019-B2ED-4062-BEFD-1AF245BF4D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05918" y="3480495"/>
            <a:ext cx="4214819" cy="29617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 sz="1698" b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50618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Map + pin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59EA77B-10F0-4804-A145-524336802D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11288" y="1509771"/>
            <a:ext cx="9195987" cy="453863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Meeting of the MI4A Advisory Group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DBFC085-0C60-416E-8CFF-15E94416B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B553B6D6-CC16-4E40-914D-C81F67547F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127910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28651641-59C0-4E53-BC82-FBC2B7BB8D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7638" y="5974456"/>
            <a:ext cx="3140422" cy="171705"/>
          </a:xfrm>
        </p:spPr>
        <p:txBody>
          <a:bodyPr tIns="0" bIns="0" anchor="t" anchorCtr="0"/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55" b="1" i="0" baseline="3000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E20BD56E-0E17-4AED-B089-01FA1B56B6F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7638" y="5537888"/>
            <a:ext cx="3140422" cy="171705"/>
          </a:xfrm>
        </p:spPr>
        <p:txBody>
          <a:bodyPr tIns="0" bIns="0" anchor="t" anchorCtr="0"/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55" b="1" i="0" baseline="3000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C73E20F7-E9CB-484A-B765-8163DC385D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81812" y="4163432"/>
            <a:ext cx="2314188" cy="171705"/>
          </a:xfrm>
        </p:spPr>
        <p:txBody>
          <a:bodyPr wrap="square" tIns="0" bIns="0" anchor="t" anchorCtr="0">
            <a:spAutoFit/>
          </a:bodyPr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55" b="1" i="0" baseline="3000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3E398FEC-3245-4CB1-99A2-4E4EDB86690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24726" y="3036052"/>
            <a:ext cx="2314188" cy="171705"/>
          </a:xfrm>
        </p:spPr>
        <p:txBody>
          <a:bodyPr wrap="square" tIns="0" bIns="0" anchor="t" anchorCtr="0">
            <a:spAutoFit/>
          </a:bodyPr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55" b="1" i="0" baseline="3000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309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vision | Centre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Meeting of the MI4A Advisory Group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E04318B-A241-43E7-94D4-29E516C89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16700" y="577597"/>
            <a:ext cx="5558600" cy="1175806"/>
          </a:xfrm>
        </p:spPr>
        <p:txBody>
          <a:bodyPr lIns="0" tIns="0" rIns="0" bIns="0" anchor="b" anchorCtr="0"/>
          <a:lstStyle>
            <a:lvl1pPr algn="ctr">
              <a:defRPr sz="4245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234693-3B2F-4AE8-AE43-6003C99CB8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9847" y="2162835"/>
            <a:ext cx="10991343" cy="571182"/>
          </a:xfrm>
        </p:spPr>
        <p:txBody>
          <a:bodyPr/>
          <a:lstStyle>
            <a:lvl1pPr algn="ctr">
              <a:defRPr sz="3275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object 37">
            <a:extLst>
              <a:ext uri="{FF2B5EF4-FFF2-40B4-BE49-F238E27FC236}">
                <a16:creationId xmlns:a16="http://schemas.microsoft.com/office/drawing/2014/main" id="{254656CD-21F4-415A-855F-8FEF936CAD12}"/>
              </a:ext>
            </a:extLst>
          </p:cNvPr>
          <p:cNvSpPr/>
          <p:nvPr userDrawn="1"/>
        </p:nvSpPr>
        <p:spPr>
          <a:xfrm>
            <a:off x="3344643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38">
            <a:extLst>
              <a:ext uri="{FF2B5EF4-FFF2-40B4-BE49-F238E27FC236}">
                <a16:creationId xmlns:a16="http://schemas.microsoft.com/office/drawing/2014/main" id="{5C6A6A71-005C-4561-B24C-20036B336094}"/>
              </a:ext>
            </a:extLst>
          </p:cNvPr>
          <p:cNvSpPr/>
          <p:nvPr userDrawn="1"/>
        </p:nvSpPr>
        <p:spPr>
          <a:xfrm>
            <a:off x="9774588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40">
            <a:extLst>
              <a:ext uri="{FF2B5EF4-FFF2-40B4-BE49-F238E27FC236}">
                <a16:creationId xmlns:a16="http://schemas.microsoft.com/office/drawing/2014/main" id="{176FBC2B-5877-478A-BEB4-EDF0B54837C2}"/>
              </a:ext>
            </a:extLst>
          </p:cNvPr>
          <p:cNvSpPr txBox="1"/>
          <p:nvPr userDrawn="1"/>
        </p:nvSpPr>
        <p:spPr>
          <a:xfrm>
            <a:off x="577638" y="5241915"/>
            <a:ext cx="1696672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ssociated</a:t>
            </a:r>
            <a:r>
              <a:rPr sz="1395" b="0" i="0" spc="-61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with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8" name="object 41">
            <a:extLst>
              <a:ext uri="{FF2B5EF4-FFF2-40B4-BE49-F238E27FC236}">
                <a16:creationId xmlns:a16="http://schemas.microsoft.com/office/drawing/2014/main" id="{F38E41A8-ECE8-47B1-85AB-9824D1D80C00}"/>
              </a:ext>
            </a:extLst>
          </p:cNvPr>
          <p:cNvSpPr txBox="1"/>
          <p:nvPr userDrawn="1"/>
        </p:nvSpPr>
        <p:spPr>
          <a:xfrm>
            <a:off x="3915513" y="5241915"/>
            <a:ext cx="1743798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Supported</a:t>
            </a:r>
            <a:r>
              <a:rPr sz="1395" b="0" i="0" spc="-67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by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9" name="object 42">
            <a:extLst>
              <a:ext uri="{FF2B5EF4-FFF2-40B4-BE49-F238E27FC236}">
                <a16:creationId xmlns:a16="http://schemas.microsoft.com/office/drawing/2014/main" id="{E15DCFC0-DA16-4F9A-B70D-3C33C791B448}"/>
              </a:ext>
            </a:extLst>
          </p:cNvPr>
          <p:cNvSpPr txBox="1"/>
          <p:nvPr userDrawn="1"/>
        </p:nvSpPr>
        <p:spPr>
          <a:xfrm>
            <a:off x="10161465" y="5241915"/>
            <a:ext cx="1743797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Hosted</a:t>
            </a:r>
            <a:r>
              <a:rPr sz="1395" b="0" i="0" spc="-64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t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94974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ssion Statement | Left Alig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Meeting of the MI4A Advisory Group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E04318B-A241-43E7-94D4-29E516C89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9848" y="1299878"/>
            <a:ext cx="7334965" cy="453525"/>
          </a:xfrm>
        </p:spPr>
        <p:txBody>
          <a:bodyPr lIns="0" tIns="0" rIns="0" bIns="0" anchor="b" anchorCtr="0"/>
          <a:lstStyle>
            <a:lvl1pPr algn="l">
              <a:defRPr sz="3275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234693-3B2F-4AE8-AE43-6003C99CB8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9847" y="2162835"/>
            <a:ext cx="8255334" cy="296171"/>
          </a:xfrm>
        </p:spPr>
        <p:txBody>
          <a:bodyPr/>
          <a:lstStyle>
            <a:lvl1pPr algn="l">
              <a:defRPr sz="1698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object 37">
            <a:extLst>
              <a:ext uri="{FF2B5EF4-FFF2-40B4-BE49-F238E27FC236}">
                <a16:creationId xmlns:a16="http://schemas.microsoft.com/office/drawing/2014/main" id="{254656CD-21F4-415A-855F-8FEF936CAD12}"/>
              </a:ext>
            </a:extLst>
          </p:cNvPr>
          <p:cNvSpPr/>
          <p:nvPr userDrawn="1"/>
        </p:nvSpPr>
        <p:spPr>
          <a:xfrm>
            <a:off x="3344643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38">
            <a:extLst>
              <a:ext uri="{FF2B5EF4-FFF2-40B4-BE49-F238E27FC236}">
                <a16:creationId xmlns:a16="http://schemas.microsoft.com/office/drawing/2014/main" id="{5C6A6A71-005C-4561-B24C-20036B336094}"/>
              </a:ext>
            </a:extLst>
          </p:cNvPr>
          <p:cNvSpPr/>
          <p:nvPr userDrawn="1"/>
        </p:nvSpPr>
        <p:spPr>
          <a:xfrm>
            <a:off x="9774588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40">
            <a:extLst>
              <a:ext uri="{FF2B5EF4-FFF2-40B4-BE49-F238E27FC236}">
                <a16:creationId xmlns:a16="http://schemas.microsoft.com/office/drawing/2014/main" id="{176FBC2B-5877-478A-BEB4-EDF0B54837C2}"/>
              </a:ext>
            </a:extLst>
          </p:cNvPr>
          <p:cNvSpPr txBox="1"/>
          <p:nvPr userDrawn="1"/>
        </p:nvSpPr>
        <p:spPr>
          <a:xfrm>
            <a:off x="599847" y="5241915"/>
            <a:ext cx="1880668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ssociated</a:t>
            </a:r>
            <a:r>
              <a:rPr sz="1395" b="0" i="0" spc="-61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with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8" name="object 41">
            <a:extLst>
              <a:ext uri="{FF2B5EF4-FFF2-40B4-BE49-F238E27FC236}">
                <a16:creationId xmlns:a16="http://schemas.microsoft.com/office/drawing/2014/main" id="{F38E41A8-ECE8-47B1-85AB-9824D1D80C00}"/>
              </a:ext>
            </a:extLst>
          </p:cNvPr>
          <p:cNvSpPr txBox="1"/>
          <p:nvPr userDrawn="1"/>
        </p:nvSpPr>
        <p:spPr>
          <a:xfrm>
            <a:off x="3915513" y="5241915"/>
            <a:ext cx="2180486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Supported</a:t>
            </a:r>
            <a:r>
              <a:rPr sz="1395" b="0" i="0" spc="-67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by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9" name="object 42">
            <a:extLst>
              <a:ext uri="{FF2B5EF4-FFF2-40B4-BE49-F238E27FC236}">
                <a16:creationId xmlns:a16="http://schemas.microsoft.com/office/drawing/2014/main" id="{E15DCFC0-DA16-4F9A-B70D-3C33C791B448}"/>
              </a:ext>
            </a:extLst>
          </p:cNvPr>
          <p:cNvSpPr txBox="1"/>
          <p:nvPr userDrawn="1"/>
        </p:nvSpPr>
        <p:spPr>
          <a:xfrm>
            <a:off x="10161465" y="5241915"/>
            <a:ext cx="1459271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Hosted</a:t>
            </a:r>
            <a:r>
              <a:rPr sz="1395" b="0" i="0" spc="-64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t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39" name="object 14">
            <a:extLst>
              <a:ext uri="{FF2B5EF4-FFF2-40B4-BE49-F238E27FC236}">
                <a16:creationId xmlns:a16="http://schemas.microsoft.com/office/drawing/2014/main" id="{EBA520A8-D9DC-4590-A234-60E794F86D19}"/>
              </a:ext>
            </a:extLst>
          </p:cNvPr>
          <p:cNvSpPr/>
          <p:nvPr userDrawn="1"/>
        </p:nvSpPr>
        <p:spPr>
          <a:xfrm>
            <a:off x="577850" y="5000063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77999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Meeting of the MI4A Advisory Group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1ED4F-48C8-405A-BAF4-A471B383C9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8007" y="2863649"/>
            <a:ext cx="9195987" cy="1130703"/>
          </a:xfrm>
        </p:spPr>
        <p:txBody>
          <a:bodyPr anchor="ctr"/>
          <a:lstStyle>
            <a:lvl1pPr algn="ctr">
              <a:defRPr sz="4245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36345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Meeting of the MI4A Advisory Group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1ED4F-48C8-405A-BAF4-A471B383C9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7044" y="3681455"/>
            <a:ext cx="9195987" cy="839551"/>
          </a:xfrm>
        </p:spPr>
        <p:txBody>
          <a:bodyPr anchor="ctr"/>
          <a:lstStyle>
            <a:lvl1pPr algn="ctr">
              <a:defRPr sz="2668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C1720A0-FC5D-48B5-9BF5-272126604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22749" y="2293692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710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1ED4F-48C8-405A-BAF4-A471B383C9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7044" y="3681455"/>
            <a:ext cx="9195987" cy="839551"/>
          </a:xfrm>
        </p:spPr>
        <p:txBody>
          <a:bodyPr anchor="ctr"/>
          <a:lstStyle>
            <a:lvl1pPr algn="ctr">
              <a:defRPr sz="2668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19B6BE7D-26D6-69AD-57C2-F89149896F4A}"/>
              </a:ext>
            </a:extLst>
          </p:cNvPr>
          <p:cNvGrpSpPr/>
          <p:nvPr userDrawn="1"/>
        </p:nvGrpSpPr>
        <p:grpSpPr>
          <a:xfrm>
            <a:off x="2560860" y="2293692"/>
            <a:ext cx="7070282" cy="1058157"/>
            <a:chOff x="5973762" y="3782467"/>
            <a:chExt cx="11658601" cy="1744979"/>
          </a:xfrm>
        </p:grpSpPr>
        <p:grpSp>
          <p:nvGrpSpPr>
            <p:cNvPr id="7" name="Graphic 4">
              <a:extLst>
                <a:ext uri="{FF2B5EF4-FFF2-40B4-BE49-F238E27FC236}">
                  <a16:creationId xmlns:a16="http://schemas.microsoft.com/office/drawing/2014/main" id="{B72F6CA4-E89D-8F85-C64D-BA735711B734}"/>
                </a:ext>
              </a:extLst>
            </p:cNvPr>
            <p:cNvGrpSpPr/>
            <p:nvPr/>
          </p:nvGrpSpPr>
          <p:grpSpPr>
            <a:xfrm>
              <a:off x="12384087" y="3954712"/>
              <a:ext cx="1738312" cy="1289841"/>
              <a:chOff x="12384087" y="3954712"/>
              <a:chExt cx="1738312" cy="1289841"/>
            </a:xfrm>
            <a:solidFill>
              <a:srgbClr val="009ADE"/>
            </a:solidFill>
          </p:grpSpPr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C584D60D-261A-3AFD-3827-DA6C0D60CA84}"/>
                  </a:ext>
                </a:extLst>
              </p:cNvPr>
              <p:cNvSpPr/>
              <p:nvPr/>
            </p:nvSpPr>
            <p:spPr>
              <a:xfrm>
                <a:off x="12384087" y="4645432"/>
                <a:ext cx="99059" cy="530542"/>
              </a:xfrm>
              <a:custGeom>
                <a:avLst/>
                <a:gdLst>
                  <a:gd name="connsiteX0" fmla="*/ 0 w 99059"/>
                  <a:gd name="connsiteY0" fmla="*/ 0 h 530542"/>
                  <a:gd name="connsiteX1" fmla="*/ 99060 w 99059"/>
                  <a:gd name="connsiteY1" fmla="*/ 0 h 530542"/>
                  <a:gd name="connsiteX2" fmla="*/ 99060 w 99059"/>
                  <a:gd name="connsiteY2" fmla="*/ 530543 h 530542"/>
                  <a:gd name="connsiteX3" fmla="*/ 0 w 99059"/>
                  <a:gd name="connsiteY3" fmla="*/ 530543 h 530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059" h="530542">
                    <a:moveTo>
                      <a:pt x="0" y="0"/>
                    </a:moveTo>
                    <a:lnTo>
                      <a:pt x="99060" y="0"/>
                    </a:lnTo>
                    <a:lnTo>
                      <a:pt x="99060" y="530543"/>
                    </a:lnTo>
                    <a:lnTo>
                      <a:pt x="0" y="530543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DB4BC466-25C2-048A-EE52-0C4ACC1CE516}"/>
                  </a:ext>
                </a:extLst>
              </p:cNvPr>
              <p:cNvSpPr/>
              <p:nvPr/>
            </p:nvSpPr>
            <p:spPr>
              <a:xfrm>
                <a:off x="12545059" y="4645431"/>
                <a:ext cx="483869" cy="531494"/>
              </a:xfrm>
              <a:custGeom>
                <a:avLst/>
                <a:gdLst>
                  <a:gd name="connsiteX0" fmla="*/ 483870 w 483869"/>
                  <a:gd name="connsiteY0" fmla="*/ 0 h 531494"/>
                  <a:gd name="connsiteX1" fmla="*/ 304800 w 483869"/>
                  <a:gd name="connsiteY1" fmla="*/ 531495 h 531494"/>
                  <a:gd name="connsiteX2" fmla="*/ 179070 w 483869"/>
                  <a:gd name="connsiteY2" fmla="*/ 531495 h 531494"/>
                  <a:gd name="connsiteX3" fmla="*/ 0 w 483869"/>
                  <a:gd name="connsiteY3" fmla="*/ 0 h 531494"/>
                  <a:gd name="connsiteX4" fmla="*/ 108585 w 483869"/>
                  <a:gd name="connsiteY4" fmla="*/ 0 h 531494"/>
                  <a:gd name="connsiteX5" fmla="*/ 241935 w 483869"/>
                  <a:gd name="connsiteY5" fmla="*/ 421005 h 531494"/>
                  <a:gd name="connsiteX6" fmla="*/ 375285 w 483869"/>
                  <a:gd name="connsiteY6" fmla="*/ 0 h 531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3869" h="531494">
                    <a:moveTo>
                      <a:pt x="483870" y="0"/>
                    </a:moveTo>
                    <a:lnTo>
                      <a:pt x="304800" y="531495"/>
                    </a:lnTo>
                    <a:lnTo>
                      <a:pt x="179070" y="531495"/>
                    </a:lnTo>
                    <a:lnTo>
                      <a:pt x="0" y="0"/>
                    </a:lnTo>
                    <a:lnTo>
                      <a:pt x="108585" y="0"/>
                    </a:lnTo>
                    <a:lnTo>
                      <a:pt x="241935" y="421005"/>
                    </a:lnTo>
                    <a:lnTo>
                      <a:pt x="375285" y="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BE2BEE63-9BEA-99F6-B149-17F5E353696E}"/>
                  </a:ext>
                </a:extLst>
              </p:cNvPr>
              <p:cNvSpPr/>
              <p:nvPr/>
            </p:nvSpPr>
            <p:spPr>
              <a:xfrm>
                <a:off x="13092747" y="4646384"/>
                <a:ext cx="388619" cy="530542"/>
              </a:xfrm>
              <a:custGeom>
                <a:avLst/>
                <a:gdLst>
                  <a:gd name="connsiteX0" fmla="*/ 319088 w 388619"/>
                  <a:gd name="connsiteY0" fmla="*/ 257175 h 530542"/>
                  <a:gd name="connsiteX1" fmla="*/ 315277 w 388619"/>
                  <a:gd name="connsiteY1" fmla="*/ 255270 h 530542"/>
                  <a:gd name="connsiteX2" fmla="*/ 319088 w 388619"/>
                  <a:gd name="connsiteY2" fmla="*/ 252413 h 530542"/>
                  <a:gd name="connsiteX3" fmla="*/ 368617 w 388619"/>
                  <a:gd name="connsiteY3" fmla="*/ 147638 h 530542"/>
                  <a:gd name="connsiteX4" fmla="*/ 321945 w 388619"/>
                  <a:gd name="connsiteY4" fmla="*/ 40958 h 530542"/>
                  <a:gd name="connsiteX5" fmla="*/ 208597 w 388619"/>
                  <a:gd name="connsiteY5" fmla="*/ 0 h 530542"/>
                  <a:gd name="connsiteX6" fmla="*/ 0 w 388619"/>
                  <a:gd name="connsiteY6" fmla="*/ 0 h 530542"/>
                  <a:gd name="connsiteX7" fmla="*/ 0 w 388619"/>
                  <a:gd name="connsiteY7" fmla="*/ 530543 h 530542"/>
                  <a:gd name="connsiteX8" fmla="*/ 224790 w 388619"/>
                  <a:gd name="connsiteY8" fmla="*/ 530543 h 530542"/>
                  <a:gd name="connsiteX9" fmla="*/ 340995 w 388619"/>
                  <a:gd name="connsiteY9" fmla="*/ 487680 h 530542"/>
                  <a:gd name="connsiteX10" fmla="*/ 388620 w 388619"/>
                  <a:gd name="connsiteY10" fmla="*/ 377190 h 530542"/>
                  <a:gd name="connsiteX11" fmla="*/ 319088 w 388619"/>
                  <a:gd name="connsiteY11" fmla="*/ 257175 h 530542"/>
                  <a:gd name="connsiteX12" fmla="*/ 99060 w 388619"/>
                  <a:gd name="connsiteY12" fmla="*/ 92393 h 530542"/>
                  <a:gd name="connsiteX13" fmla="*/ 208597 w 388619"/>
                  <a:gd name="connsiteY13" fmla="*/ 92393 h 530542"/>
                  <a:gd name="connsiteX14" fmla="*/ 269557 w 388619"/>
                  <a:gd name="connsiteY14" fmla="*/ 155258 h 530542"/>
                  <a:gd name="connsiteX15" fmla="*/ 208597 w 388619"/>
                  <a:gd name="connsiteY15" fmla="*/ 218123 h 530542"/>
                  <a:gd name="connsiteX16" fmla="*/ 99060 w 388619"/>
                  <a:gd name="connsiteY16" fmla="*/ 218123 h 530542"/>
                  <a:gd name="connsiteX17" fmla="*/ 99060 w 388619"/>
                  <a:gd name="connsiteY17" fmla="*/ 92393 h 530542"/>
                  <a:gd name="connsiteX18" fmla="*/ 223838 w 388619"/>
                  <a:gd name="connsiteY18" fmla="*/ 437198 h 530542"/>
                  <a:gd name="connsiteX19" fmla="*/ 99060 w 388619"/>
                  <a:gd name="connsiteY19" fmla="*/ 437198 h 530542"/>
                  <a:gd name="connsiteX20" fmla="*/ 99060 w 388619"/>
                  <a:gd name="connsiteY20" fmla="*/ 304800 h 530542"/>
                  <a:gd name="connsiteX21" fmla="*/ 223838 w 388619"/>
                  <a:gd name="connsiteY21" fmla="*/ 304800 h 530542"/>
                  <a:gd name="connsiteX22" fmla="*/ 270510 w 388619"/>
                  <a:gd name="connsiteY22" fmla="*/ 323850 h 530542"/>
                  <a:gd name="connsiteX23" fmla="*/ 288607 w 388619"/>
                  <a:gd name="connsiteY23" fmla="*/ 370523 h 530542"/>
                  <a:gd name="connsiteX24" fmla="*/ 223838 w 388619"/>
                  <a:gd name="connsiteY24" fmla="*/ 437198 h 530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88619" h="530542">
                    <a:moveTo>
                      <a:pt x="319088" y="257175"/>
                    </a:moveTo>
                    <a:lnTo>
                      <a:pt x="315277" y="255270"/>
                    </a:lnTo>
                    <a:lnTo>
                      <a:pt x="319088" y="252413"/>
                    </a:lnTo>
                    <a:cubicBezTo>
                      <a:pt x="351472" y="226695"/>
                      <a:pt x="368617" y="190500"/>
                      <a:pt x="368617" y="147638"/>
                    </a:cubicBezTo>
                    <a:cubicBezTo>
                      <a:pt x="368617" y="105728"/>
                      <a:pt x="352425" y="67628"/>
                      <a:pt x="321945" y="40958"/>
                    </a:cubicBezTo>
                    <a:cubicBezTo>
                      <a:pt x="292417" y="14288"/>
                      <a:pt x="252413" y="0"/>
                      <a:pt x="208597" y="0"/>
                    </a:cubicBezTo>
                    <a:lnTo>
                      <a:pt x="0" y="0"/>
                    </a:lnTo>
                    <a:lnTo>
                      <a:pt x="0" y="530543"/>
                    </a:lnTo>
                    <a:lnTo>
                      <a:pt x="224790" y="530543"/>
                    </a:lnTo>
                    <a:cubicBezTo>
                      <a:pt x="269557" y="530543"/>
                      <a:pt x="310515" y="515303"/>
                      <a:pt x="340995" y="487680"/>
                    </a:cubicBezTo>
                    <a:cubicBezTo>
                      <a:pt x="371475" y="460058"/>
                      <a:pt x="388620" y="421005"/>
                      <a:pt x="388620" y="377190"/>
                    </a:cubicBezTo>
                    <a:cubicBezTo>
                      <a:pt x="388620" y="325755"/>
                      <a:pt x="363855" y="282893"/>
                      <a:pt x="319088" y="257175"/>
                    </a:cubicBezTo>
                    <a:close/>
                    <a:moveTo>
                      <a:pt x="99060" y="92393"/>
                    </a:moveTo>
                    <a:lnTo>
                      <a:pt x="208597" y="92393"/>
                    </a:lnTo>
                    <a:cubicBezTo>
                      <a:pt x="243840" y="92393"/>
                      <a:pt x="269557" y="119063"/>
                      <a:pt x="269557" y="155258"/>
                    </a:cubicBezTo>
                    <a:cubicBezTo>
                      <a:pt x="269557" y="190500"/>
                      <a:pt x="242888" y="218123"/>
                      <a:pt x="208597" y="218123"/>
                    </a:cubicBezTo>
                    <a:lnTo>
                      <a:pt x="99060" y="218123"/>
                    </a:lnTo>
                    <a:lnTo>
                      <a:pt x="99060" y="92393"/>
                    </a:lnTo>
                    <a:close/>
                    <a:moveTo>
                      <a:pt x="223838" y="437198"/>
                    </a:moveTo>
                    <a:lnTo>
                      <a:pt x="99060" y="437198"/>
                    </a:lnTo>
                    <a:lnTo>
                      <a:pt x="99060" y="304800"/>
                    </a:lnTo>
                    <a:lnTo>
                      <a:pt x="223838" y="304800"/>
                    </a:lnTo>
                    <a:cubicBezTo>
                      <a:pt x="241935" y="304800"/>
                      <a:pt x="259080" y="311468"/>
                      <a:pt x="270510" y="323850"/>
                    </a:cubicBezTo>
                    <a:cubicBezTo>
                      <a:pt x="281940" y="336233"/>
                      <a:pt x="288607" y="352425"/>
                      <a:pt x="288607" y="370523"/>
                    </a:cubicBezTo>
                    <a:cubicBezTo>
                      <a:pt x="288607" y="409575"/>
                      <a:pt x="260985" y="437198"/>
                      <a:pt x="223838" y="437198"/>
                    </a:cubicBez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2839244D-9A0B-CA4D-EF93-1F8C7D76CCF0}"/>
                  </a:ext>
                </a:extLst>
              </p:cNvPr>
              <p:cNvSpPr/>
              <p:nvPr/>
            </p:nvSpPr>
            <p:spPr>
              <a:xfrm>
                <a:off x="13092747" y="4252049"/>
                <a:ext cx="758189" cy="758189"/>
              </a:xfrm>
              <a:custGeom>
                <a:avLst/>
                <a:gdLst>
                  <a:gd name="connsiteX0" fmla="*/ 758190 w 758189"/>
                  <a:gd name="connsiteY0" fmla="*/ 758190 h 758189"/>
                  <a:gd name="connsiteX1" fmla="*/ 649605 w 758189"/>
                  <a:gd name="connsiteY1" fmla="*/ 758190 h 758189"/>
                  <a:gd name="connsiteX2" fmla="*/ 598170 w 758189"/>
                  <a:gd name="connsiteY2" fmla="*/ 505778 h 758189"/>
                  <a:gd name="connsiteX3" fmla="*/ 459105 w 758189"/>
                  <a:gd name="connsiteY3" fmla="*/ 299085 h 758189"/>
                  <a:gd name="connsiteX4" fmla="*/ 252413 w 758189"/>
                  <a:gd name="connsiteY4" fmla="*/ 160020 h 758189"/>
                  <a:gd name="connsiteX5" fmla="*/ 0 w 758189"/>
                  <a:gd name="connsiteY5" fmla="*/ 108585 h 758189"/>
                  <a:gd name="connsiteX6" fmla="*/ 0 w 758189"/>
                  <a:gd name="connsiteY6" fmla="*/ 0 h 758189"/>
                  <a:gd name="connsiteX7" fmla="*/ 295275 w 758189"/>
                  <a:gd name="connsiteY7" fmla="*/ 60007 h 758189"/>
                  <a:gd name="connsiteX8" fmla="*/ 536257 w 758189"/>
                  <a:gd name="connsiteY8" fmla="*/ 222885 h 758189"/>
                  <a:gd name="connsiteX9" fmla="*/ 699135 w 758189"/>
                  <a:gd name="connsiteY9" fmla="*/ 463868 h 758189"/>
                  <a:gd name="connsiteX10" fmla="*/ 758190 w 758189"/>
                  <a:gd name="connsiteY10" fmla="*/ 758190 h 758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58189" h="758189">
                    <a:moveTo>
                      <a:pt x="758190" y="758190"/>
                    </a:moveTo>
                    <a:lnTo>
                      <a:pt x="649605" y="758190"/>
                    </a:lnTo>
                    <a:cubicBezTo>
                      <a:pt x="649605" y="670560"/>
                      <a:pt x="632460" y="585788"/>
                      <a:pt x="598170" y="505778"/>
                    </a:cubicBezTo>
                    <a:cubicBezTo>
                      <a:pt x="565785" y="428625"/>
                      <a:pt x="518160" y="359093"/>
                      <a:pt x="459105" y="299085"/>
                    </a:cubicBezTo>
                    <a:cubicBezTo>
                      <a:pt x="399097" y="239078"/>
                      <a:pt x="329565" y="192405"/>
                      <a:pt x="252413" y="160020"/>
                    </a:cubicBezTo>
                    <a:cubicBezTo>
                      <a:pt x="172402" y="125730"/>
                      <a:pt x="87630" y="108585"/>
                      <a:pt x="0" y="108585"/>
                    </a:cubicBezTo>
                    <a:lnTo>
                      <a:pt x="0" y="0"/>
                    </a:lnTo>
                    <a:cubicBezTo>
                      <a:pt x="101917" y="0"/>
                      <a:pt x="201930" y="20003"/>
                      <a:pt x="295275" y="60007"/>
                    </a:cubicBezTo>
                    <a:cubicBezTo>
                      <a:pt x="385763" y="98107"/>
                      <a:pt x="466725" y="153353"/>
                      <a:pt x="536257" y="222885"/>
                    </a:cubicBezTo>
                    <a:cubicBezTo>
                      <a:pt x="605790" y="292418"/>
                      <a:pt x="661035" y="373380"/>
                      <a:pt x="699135" y="463868"/>
                    </a:cubicBezTo>
                    <a:cubicBezTo>
                      <a:pt x="738188" y="556260"/>
                      <a:pt x="758190" y="656273"/>
                      <a:pt x="758190" y="758190"/>
                    </a:cubicBez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DFFA4825-39D9-CF35-19BB-C4A94D7A6C4C}"/>
                  </a:ext>
                </a:extLst>
              </p:cNvPr>
              <p:cNvSpPr/>
              <p:nvPr/>
            </p:nvSpPr>
            <p:spPr>
              <a:xfrm>
                <a:off x="13298487" y="4134892"/>
                <a:ext cx="701641" cy="1109662"/>
              </a:xfrm>
              <a:custGeom>
                <a:avLst/>
                <a:gdLst>
                  <a:gd name="connsiteX0" fmla="*/ 669607 w 701641"/>
                  <a:gd name="connsiteY0" fmla="*/ 1109663 h 1109662"/>
                  <a:gd name="connsiteX1" fmla="*/ 564832 w 701641"/>
                  <a:gd name="connsiteY1" fmla="*/ 1081088 h 1109662"/>
                  <a:gd name="connsiteX2" fmla="*/ 584835 w 701641"/>
                  <a:gd name="connsiteY2" fmla="*/ 764858 h 1109662"/>
                  <a:gd name="connsiteX3" fmla="*/ 484823 w 701641"/>
                  <a:gd name="connsiteY3" fmla="*/ 475298 h 1109662"/>
                  <a:gd name="connsiteX4" fmla="*/ 283845 w 701641"/>
                  <a:gd name="connsiteY4" fmla="*/ 244793 h 1109662"/>
                  <a:gd name="connsiteX5" fmla="*/ 0 w 701641"/>
                  <a:gd name="connsiteY5" fmla="*/ 104775 h 1109662"/>
                  <a:gd name="connsiteX6" fmla="*/ 28575 w 701641"/>
                  <a:gd name="connsiteY6" fmla="*/ 0 h 1109662"/>
                  <a:gd name="connsiteX7" fmla="*/ 351473 w 701641"/>
                  <a:gd name="connsiteY7" fmla="*/ 160020 h 1109662"/>
                  <a:gd name="connsiteX8" fmla="*/ 580073 w 701641"/>
                  <a:gd name="connsiteY8" fmla="*/ 421958 h 1109662"/>
                  <a:gd name="connsiteX9" fmla="*/ 693420 w 701641"/>
                  <a:gd name="connsiteY9" fmla="*/ 750570 h 1109662"/>
                  <a:gd name="connsiteX10" fmla="*/ 669607 w 701641"/>
                  <a:gd name="connsiteY10" fmla="*/ 1109663 h 1109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01641" h="1109662">
                    <a:moveTo>
                      <a:pt x="669607" y="1109663"/>
                    </a:moveTo>
                    <a:lnTo>
                      <a:pt x="564832" y="1081088"/>
                    </a:lnTo>
                    <a:cubicBezTo>
                      <a:pt x="592455" y="977265"/>
                      <a:pt x="599123" y="870585"/>
                      <a:pt x="584835" y="764858"/>
                    </a:cubicBezTo>
                    <a:cubicBezTo>
                      <a:pt x="570548" y="662940"/>
                      <a:pt x="537210" y="565785"/>
                      <a:pt x="484823" y="475298"/>
                    </a:cubicBezTo>
                    <a:cubicBezTo>
                      <a:pt x="433388" y="385763"/>
                      <a:pt x="365760" y="307658"/>
                      <a:pt x="283845" y="244793"/>
                    </a:cubicBezTo>
                    <a:cubicBezTo>
                      <a:pt x="200025" y="180023"/>
                      <a:pt x="104775" y="132398"/>
                      <a:pt x="0" y="104775"/>
                    </a:cubicBezTo>
                    <a:lnTo>
                      <a:pt x="28575" y="0"/>
                    </a:lnTo>
                    <a:cubicBezTo>
                      <a:pt x="146685" y="31432"/>
                      <a:pt x="255270" y="85725"/>
                      <a:pt x="351473" y="160020"/>
                    </a:cubicBezTo>
                    <a:cubicBezTo>
                      <a:pt x="443865" y="232410"/>
                      <a:pt x="521018" y="320040"/>
                      <a:pt x="580073" y="421958"/>
                    </a:cubicBezTo>
                    <a:cubicBezTo>
                      <a:pt x="639127" y="523875"/>
                      <a:pt x="677227" y="634365"/>
                      <a:pt x="693420" y="750570"/>
                    </a:cubicBezTo>
                    <a:cubicBezTo>
                      <a:pt x="709613" y="870585"/>
                      <a:pt x="701993" y="991553"/>
                      <a:pt x="669607" y="1109663"/>
                    </a:cubicBez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7157B796-CAF7-2626-8791-52E2B12049D7}"/>
                  </a:ext>
                </a:extLst>
              </p:cNvPr>
              <p:cNvSpPr/>
              <p:nvPr/>
            </p:nvSpPr>
            <p:spPr>
              <a:xfrm>
                <a:off x="12874624" y="3954712"/>
                <a:ext cx="1247775" cy="860264"/>
              </a:xfrm>
              <a:custGeom>
                <a:avLst/>
                <a:gdLst>
                  <a:gd name="connsiteX0" fmla="*/ 1142048 w 1247775"/>
                  <a:gd name="connsiteY0" fmla="*/ 860264 h 860264"/>
                  <a:gd name="connsiteX1" fmla="*/ 993457 w 1247775"/>
                  <a:gd name="connsiteY1" fmla="*/ 515459 h 860264"/>
                  <a:gd name="connsiteX2" fmla="*/ 733425 w 1247775"/>
                  <a:gd name="connsiteY2" fmla="*/ 263047 h 860264"/>
                  <a:gd name="connsiteX3" fmla="*/ 398145 w 1247775"/>
                  <a:gd name="connsiteY3" fmla="*/ 126839 h 860264"/>
                  <a:gd name="connsiteX4" fmla="*/ 22860 w 1247775"/>
                  <a:gd name="connsiteY4" fmla="*/ 129697 h 860264"/>
                  <a:gd name="connsiteX5" fmla="*/ 0 w 1247775"/>
                  <a:gd name="connsiteY5" fmla="*/ 23017 h 860264"/>
                  <a:gd name="connsiteX6" fmla="*/ 418148 w 1247775"/>
                  <a:gd name="connsiteY6" fmla="*/ 19207 h 860264"/>
                  <a:gd name="connsiteX7" fmla="*/ 792480 w 1247775"/>
                  <a:gd name="connsiteY7" fmla="*/ 171607 h 860264"/>
                  <a:gd name="connsiteX8" fmla="*/ 1082040 w 1247775"/>
                  <a:gd name="connsiteY8" fmla="*/ 452594 h 860264"/>
                  <a:gd name="connsiteX9" fmla="*/ 1247775 w 1247775"/>
                  <a:gd name="connsiteY9" fmla="*/ 836452 h 860264"/>
                  <a:gd name="connsiteX10" fmla="*/ 1142048 w 1247775"/>
                  <a:gd name="connsiteY10" fmla="*/ 860264 h 860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47775" h="860264">
                    <a:moveTo>
                      <a:pt x="1142048" y="860264"/>
                    </a:moveTo>
                    <a:cubicBezTo>
                      <a:pt x="1115377" y="735487"/>
                      <a:pt x="1065848" y="619282"/>
                      <a:pt x="993457" y="515459"/>
                    </a:cubicBezTo>
                    <a:cubicBezTo>
                      <a:pt x="923925" y="415447"/>
                      <a:pt x="836295" y="330674"/>
                      <a:pt x="733425" y="263047"/>
                    </a:cubicBezTo>
                    <a:cubicBezTo>
                      <a:pt x="630555" y="196372"/>
                      <a:pt x="518160" y="149699"/>
                      <a:pt x="398145" y="126839"/>
                    </a:cubicBezTo>
                    <a:cubicBezTo>
                      <a:pt x="274320" y="103027"/>
                      <a:pt x="147638" y="103979"/>
                      <a:pt x="22860" y="129697"/>
                    </a:cubicBezTo>
                    <a:lnTo>
                      <a:pt x="0" y="23017"/>
                    </a:lnTo>
                    <a:cubicBezTo>
                      <a:pt x="139065" y="-6511"/>
                      <a:pt x="280035" y="-7463"/>
                      <a:pt x="418148" y="19207"/>
                    </a:cubicBezTo>
                    <a:cubicBezTo>
                      <a:pt x="551498" y="44924"/>
                      <a:pt x="678180" y="96359"/>
                      <a:pt x="792480" y="171607"/>
                    </a:cubicBezTo>
                    <a:cubicBezTo>
                      <a:pt x="906780" y="245902"/>
                      <a:pt x="1004888" y="341152"/>
                      <a:pt x="1082040" y="452594"/>
                    </a:cubicBezTo>
                    <a:cubicBezTo>
                      <a:pt x="1163002" y="568799"/>
                      <a:pt x="1218248" y="697387"/>
                      <a:pt x="1247775" y="836452"/>
                    </a:cubicBezTo>
                    <a:lnTo>
                      <a:pt x="1142048" y="860264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</p:grpSp>
        <p:grpSp>
          <p:nvGrpSpPr>
            <p:cNvPr id="16" name="Graphic 4">
              <a:extLst>
                <a:ext uri="{FF2B5EF4-FFF2-40B4-BE49-F238E27FC236}">
                  <a16:creationId xmlns:a16="http://schemas.microsoft.com/office/drawing/2014/main" id="{72F1EA72-6E1E-9A89-BB39-40B9960CDEE8}"/>
                </a:ext>
              </a:extLst>
            </p:cNvPr>
            <p:cNvGrpSpPr/>
            <p:nvPr/>
          </p:nvGrpSpPr>
          <p:grpSpPr>
            <a:xfrm>
              <a:off x="5973762" y="3782467"/>
              <a:ext cx="6021705" cy="1744979"/>
              <a:chOff x="5973762" y="3782467"/>
              <a:chExt cx="6021705" cy="1744979"/>
            </a:xfrm>
            <a:solidFill>
              <a:srgbClr val="009ADE"/>
            </a:solidFill>
          </p:grpSpPr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48D6C96C-11F0-F9C7-6084-F5B063F373B1}"/>
                  </a:ext>
                </a:extLst>
              </p:cNvPr>
              <p:cNvSpPr/>
              <p:nvPr/>
            </p:nvSpPr>
            <p:spPr>
              <a:xfrm>
                <a:off x="8102599" y="4008209"/>
                <a:ext cx="567690" cy="491490"/>
              </a:xfrm>
              <a:custGeom>
                <a:avLst/>
                <a:gdLst>
                  <a:gd name="connsiteX0" fmla="*/ 358140 w 567690"/>
                  <a:gd name="connsiteY0" fmla="*/ 491490 h 491490"/>
                  <a:gd name="connsiteX1" fmla="*/ 284797 w 567690"/>
                  <a:gd name="connsiteY1" fmla="*/ 88582 h 491490"/>
                  <a:gd name="connsiteX2" fmla="*/ 283845 w 567690"/>
                  <a:gd name="connsiteY2" fmla="*/ 88582 h 491490"/>
                  <a:gd name="connsiteX3" fmla="*/ 205740 w 567690"/>
                  <a:gd name="connsiteY3" fmla="*/ 491490 h 491490"/>
                  <a:gd name="connsiteX4" fmla="*/ 99060 w 567690"/>
                  <a:gd name="connsiteY4" fmla="*/ 491490 h 491490"/>
                  <a:gd name="connsiteX5" fmla="*/ 0 w 567690"/>
                  <a:gd name="connsiteY5" fmla="*/ 0 h 491490"/>
                  <a:gd name="connsiteX6" fmla="*/ 83820 w 567690"/>
                  <a:gd name="connsiteY6" fmla="*/ 0 h 491490"/>
                  <a:gd name="connsiteX7" fmla="*/ 153353 w 567690"/>
                  <a:gd name="connsiteY7" fmla="*/ 380047 h 491490"/>
                  <a:gd name="connsiteX8" fmla="*/ 155258 w 567690"/>
                  <a:gd name="connsiteY8" fmla="*/ 380047 h 491490"/>
                  <a:gd name="connsiteX9" fmla="*/ 228600 w 567690"/>
                  <a:gd name="connsiteY9" fmla="*/ 0 h 491490"/>
                  <a:gd name="connsiteX10" fmla="*/ 339090 w 567690"/>
                  <a:gd name="connsiteY10" fmla="*/ 0 h 491490"/>
                  <a:gd name="connsiteX11" fmla="*/ 412432 w 567690"/>
                  <a:gd name="connsiteY11" fmla="*/ 380047 h 491490"/>
                  <a:gd name="connsiteX12" fmla="*/ 414338 w 567690"/>
                  <a:gd name="connsiteY12" fmla="*/ 380047 h 491490"/>
                  <a:gd name="connsiteX13" fmla="*/ 486728 w 567690"/>
                  <a:gd name="connsiteY13" fmla="*/ 0 h 491490"/>
                  <a:gd name="connsiteX14" fmla="*/ 567690 w 567690"/>
                  <a:gd name="connsiteY14" fmla="*/ 0 h 491490"/>
                  <a:gd name="connsiteX15" fmla="*/ 466725 w 567690"/>
                  <a:gd name="connsiteY15" fmla="*/ 491490 h 491490"/>
                  <a:gd name="connsiteX16" fmla="*/ 358140 w 567690"/>
                  <a:gd name="connsiteY16" fmla="*/ 491490 h 491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67690" h="491490">
                    <a:moveTo>
                      <a:pt x="358140" y="491490"/>
                    </a:moveTo>
                    <a:lnTo>
                      <a:pt x="284797" y="88582"/>
                    </a:lnTo>
                    <a:lnTo>
                      <a:pt x="283845" y="88582"/>
                    </a:lnTo>
                    <a:lnTo>
                      <a:pt x="205740" y="491490"/>
                    </a:lnTo>
                    <a:lnTo>
                      <a:pt x="99060" y="491490"/>
                    </a:lnTo>
                    <a:lnTo>
                      <a:pt x="0" y="0"/>
                    </a:lnTo>
                    <a:lnTo>
                      <a:pt x="83820" y="0"/>
                    </a:lnTo>
                    <a:lnTo>
                      <a:pt x="153353" y="380047"/>
                    </a:lnTo>
                    <a:lnTo>
                      <a:pt x="155258" y="380047"/>
                    </a:lnTo>
                    <a:lnTo>
                      <a:pt x="228600" y="0"/>
                    </a:lnTo>
                    <a:lnTo>
                      <a:pt x="339090" y="0"/>
                    </a:lnTo>
                    <a:lnTo>
                      <a:pt x="412432" y="380047"/>
                    </a:lnTo>
                    <a:lnTo>
                      <a:pt x="414338" y="380047"/>
                    </a:lnTo>
                    <a:lnTo>
                      <a:pt x="486728" y="0"/>
                    </a:lnTo>
                    <a:lnTo>
                      <a:pt x="567690" y="0"/>
                    </a:lnTo>
                    <a:lnTo>
                      <a:pt x="466725" y="491490"/>
                    </a:lnTo>
                    <a:lnTo>
                      <a:pt x="358140" y="49149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F2E0BA49-8274-4F41-83FF-EB56D18E7F8F}"/>
                  </a:ext>
                </a:extLst>
              </p:cNvPr>
              <p:cNvSpPr/>
              <p:nvPr/>
            </p:nvSpPr>
            <p:spPr>
              <a:xfrm>
                <a:off x="8645524" y="4132034"/>
                <a:ext cx="319087" cy="374332"/>
              </a:xfrm>
              <a:custGeom>
                <a:avLst/>
                <a:gdLst>
                  <a:gd name="connsiteX0" fmla="*/ 90488 w 319087"/>
                  <a:gd name="connsiteY0" fmla="*/ 187643 h 374332"/>
                  <a:gd name="connsiteX1" fmla="*/ 90488 w 319087"/>
                  <a:gd name="connsiteY1" fmla="*/ 202883 h 374332"/>
                  <a:gd name="connsiteX2" fmla="*/ 91440 w 319087"/>
                  <a:gd name="connsiteY2" fmla="*/ 217170 h 374332"/>
                  <a:gd name="connsiteX3" fmla="*/ 92393 w 319087"/>
                  <a:gd name="connsiteY3" fmla="*/ 230505 h 374332"/>
                  <a:gd name="connsiteX4" fmla="*/ 94297 w 319087"/>
                  <a:gd name="connsiteY4" fmla="*/ 242888 h 374332"/>
                  <a:gd name="connsiteX5" fmla="*/ 95250 w 319087"/>
                  <a:gd name="connsiteY5" fmla="*/ 248602 h 374332"/>
                  <a:gd name="connsiteX6" fmla="*/ 96203 w 319087"/>
                  <a:gd name="connsiteY6" fmla="*/ 254318 h 374332"/>
                  <a:gd name="connsiteX7" fmla="*/ 97155 w 319087"/>
                  <a:gd name="connsiteY7" fmla="*/ 260033 h 374332"/>
                  <a:gd name="connsiteX8" fmla="*/ 98107 w 319087"/>
                  <a:gd name="connsiteY8" fmla="*/ 264795 h 374332"/>
                  <a:gd name="connsiteX9" fmla="*/ 100013 w 319087"/>
                  <a:gd name="connsiteY9" fmla="*/ 269558 h 374332"/>
                  <a:gd name="connsiteX10" fmla="*/ 101918 w 319087"/>
                  <a:gd name="connsiteY10" fmla="*/ 274320 h 374332"/>
                  <a:gd name="connsiteX11" fmla="*/ 103822 w 319087"/>
                  <a:gd name="connsiteY11" fmla="*/ 278130 h 374332"/>
                  <a:gd name="connsiteX12" fmla="*/ 105728 w 319087"/>
                  <a:gd name="connsiteY12" fmla="*/ 281940 h 374332"/>
                  <a:gd name="connsiteX13" fmla="*/ 108585 w 319087"/>
                  <a:gd name="connsiteY13" fmla="*/ 285750 h 374332"/>
                  <a:gd name="connsiteX14" fmla="*/ 110490 w 319087"/>
                  <a:gd name="connsiteY14" fmla="*/ 289560 h 374332"/>
                  <a:gd name="connsiteX15" fmla="*/ 113347 w 319087"/>
                  <a:gd name="connsiteY15" fmla="*/ 292418 h 374332"/>
                  <a:gd name="connsiteX16" fmla="*/ 116205 w 319087"/>
                  <a:gd name="connsiteY16" fmla="*/ 295275 h 374332"/>
                  <a:gd name="connsiteX17" fmla="*/ 119063 w 319087"/>
                  <a:gd name="connsiteY17" fmla="*/ 298133 h 374332"/>
                  <a:gd name="connsiteX18" fmla="*/ 121920 w 319087"/>
                  <a:gd name="connsiteY18" fmla="*/ 300990 h 374332"/>
                  <a:gd name="connsiteX19" fmla="*/ 124778 w 319087"/>
                  <a:gd name="connsiteY19" fmla="*/ 303847 h 374332"/>
                  <a:gd name="connsiteX20" fmla="*/ 127635 w 319087"/>
                  <a:gd name="connsiteY20" fmla="*/ 305753 h 374332"/>
                  <a:gd name="connsiteX21" fmla="*/ 131445 w 319087"/>
                  <a:gd name="connsiteY21" fmla="*/ 307658 h 374332"/>
                  <a:gd name="connsiteX22" fmla="*/ 135255 w 319087"/>
                  <a:gd name="connsiteY22" fmla="*/ 308610 h 374332"/>
                  <a:gd name="connsiteX23" fmla="*/ 139065 w 319087"/>
                  <a:gd name="connsiteY23" fmla="*/ 309562 h 374332"/>
                  <a:gd name="connsiteX24" fmla="*/ 142875 w 319087"/>
                  <a:gd name="connsiteY24" fmla="*/ 310515 h 374332"/>
                  <a:gd name="connsiteX25" fmla="*/ 146685 w 319087"/>
                  <a:gd name="connsiteY25" fmla="*/ 311468 h 374332"/>
                  <a:gd name="connsiteX26" fmla="*/ 150495 w 319087"/>
                  <a:gd name="connsiteY26" fmla="*/ 312420 h 374332"/>
                  <a:gd name="connsiteX27" fmla="*/ 154305 w 319087"/>
                  <a:gd name="connsiteY27" fmla="*/ 312420 h 374332"/>
                  <a:gd name="connsiteX28" fmla="*/ 158115 w 319087"/>
                  <a:gd name="connsiteY28" fmla="*/ 312420 h 374332"/>
                  <a:gd name="connsiteX29" fmla="*/ 162878 w 319087"/>
                  <a:gd name="connsiteY29" fmla="*/ 312420 h 374332"/>
                  <a:gd name="connsiteX30" fmla="*/ 166688 w 319087"/>
                  <a:gd name="connsiteY30" fmla="*/ 312420 h 374332"/>
                  <a:gd name="connsiteX31" fmla="*/ 170497 w 319087"/>
                  <a:gd name="connsiteY31" fmla="*/ 311468 h 374332"/>
                  <a:gd name="connsiteX32" fmla="*/ 174307 w 319087"/>
                  <a:gd name="connsiteY32" fmla="*/ 310515 h 374332"/>
                  <a:gd name="connsiteX33" fmla="*/ 178118 w 319087"/>
                  <a:gd name="connsiteY33" fmla="*/ 309562 h 374332"/>
                  <a:gd name="connsiteX34" fmla="*/ 181928 w 319087"/>
                  <a:gd name="connsiteY34" fmla="*/ 308610 h 374332"/>
                  <a:gd name="connsiteX35" fmla="*/ 185738 w 319087"/>
                  <a:gd name="connsiteY35" fmla="*/ 307658 h 374332"/>
                  <a:gd name="connsiteX36" fmla="*/ 189547 w 319087"/>
                  <a:gd name="connsiteY36" fmla="*/ 305753 h 374332"/>
                  <a:gd name="connsiteX37" fmla="*/ 192405 w 319087"/>
                  <a:gd name="connsiteY37" fmla="*/ 303847 h 374332"/>
                  <a:gd name="connsiteX38" fmla="*/ 195263 w 319087"/>
                  <a:gd name="connsiteY38" fmla="*/ 300990 h 374332"/>
                  <a:gd name="connsiteX39" fmla="*/ 198120 w 319087"/>
                  <a:gd name="connsiteY39" fmla="*/ 298133 h 374332"/>
                  <a:gd name="connsiteX40" fmla="*/ 200978 w 319087"/>
                  <a:gd name="connsiteY40" fmla="*/ 295275 h 374332"/>
                  <a:gd name="connsiteX41" fmla="*/ 203835 w 319087"/>
                  <a:gd name="connsiteY41" fmla="*/ 292418 h 374332"/>
                  <a:gd name="connsiteX42" fmla="*/ 206693 w 319087"/>
                  <a:gd name="connsiteY42" fmla="*/ 289560 h 374332"/>
                  <a:gd name="connsiteX43" fmla="*/ 209550 w 319087"/>
                  <a:gd name="connsiteY43" fmla="*/ 285750 h 374332"/>
                  <a:gd name="connsiteX44" fmla="*/ 211455 w 319087"/>
                  <a:gd name="connsiteY44" fmla="*/ 281940 h 374332"/>
                  <a:gd name="connsiteX45" fmla="*/ 213360 w 319087"/>
                  <a:gd name="connsiteY45" fmla="*/ 278130 h 374332"/>
                  <a:gd name="connsiteX46" fmla="*/ 215265 w 319087"/>
                  <a:gd name="connsiteY46" fmla="*/ 274320 h 374332"/>
                  <a:gd name="connsiteX47" fmla="*/ 217170 w 319087"/>
                  <a:gd name="connsiteY47" fmla="*/ 269558 h 374332"/>
                  <a:gd name="connsiteX48" fmla="*/ 219075 w 319087"/>
                  <a:gd name="connsiteY48" fmla="*/ 264795 h 374332"/>
                  <a:gd name="connsiteX49" fmla="*/ 220028 w 319087"/>
                  <a:gd name="connsiteY49" fmla="*/ 260033 h 374332"/>
                  <a:gd name="connsiteX50" fmla="*/ 220980 w 319087"/>
                  <a:gd name="connsiteY50" fmla="*/ 254318 h 374332"/>
                  <a:gd name="connsiteX51" fmla="*/ 221932 w 319087"/>
                  <a:gd name="connsiteY51" fmla="*/ 248602 h 374332"/>
                  <a:gd name="connsiteX52" fmla="*/ 222885 w 319087"/>
                  <a:gd name="connsiteY52" fmla="*/ 242888 h 374332"/>
                  <a:gd name="connsiteX53" fmla="*/ 224790 w 319087"/>
                  <a:gd name="connsiteY53" fmla="*/ 230505 h 374332"/>
                  <a:gd name="connsiteX54" fmla="*/ 225743 w 319087"/>
                  <a:gd name="connsiteY54" fmla="*/ 217170 h 374332"/>
                  <a:gd name="connsiteX55" fmla="*/ 226695 w 319087"/>
                  <a:gd name="connsiteY55" fmla="*/ 202883 h 374332"/>
                  <a:gd name="connsiteX56" fmla="*/ 226695 w 319087"/>
                  <a:gd name="connsiteY56" fmla="*/ 187643 h 374332"/>
                  <a:gd name="connsiteX57" fmla="*/ 226695 w 319087"/>
                  <a:gd name="connsiteY57" fmla="*/ 174308 h 374332"/>
                  <a:gd name="connsiteX58" fmla="*/ 225743 w 319087"/>
                  <a:gd name="connsiteY58" fmla="*/ 161925 h 374332"/>
                  <a:gd name="connsiteX59" fmla="*/ 224790 w 319087"/>
                  <a:gd name="connsiteY59" fmla="*/ 149543 h 374332"/>
                  <a:gd name="connsiteX60" fmla="*/ 222885 w 319087"/>
                  <a:gd name="connsiteY60" fmla="*/ 138113 h 374332"/>
                  <a:gd name="connsiteX61" fmla="*/ 223838 w 319087"/>
                  <a:gd name="connsiteY61" fmla="*/ 126682 h 374332"/>
                  <a:gd name="connsiteX62" fmla="*/ 220980 w 319087"/>
                  <a:gd name="connsiteY62" fmla="*/ 116205 h 374332"/>
                  <a:gd name="connsiteX63" fmla="*/ 218122 w 319087"/>
                  <a:gd name="connsiteY63" fmla="*/ 106680 h 374332"/>
                  <a:gd name="connsiteX64" fmla="*/ 214313 w 319087"/>
                  <a:gd name="connsiteY64" fmla="*/ 97155 h 374332"/>
                  <a:gd name="connsiteX65" fmla="*/ 212407 w 319087"/>
                  <a:gd name="connsiteY65" fmla="*/ 93345 h 374332"/>
                  <a:gd name="connsiteX66" fmla="*/ 210503 w 319087"/>
                  <a:gd name="connsiteY66" fmla="*/ 89535 h 374332"/>
                  <a:gd name="connsiteX67" fmla="*/ 207645 w 319087"/>
                  <a:gd name="connsiteY67" fmla="*/ 85725 h 374332"/>
                  <a:gd name="connsiteX68" fmla="*/ 204788 w 319087"/>
                  <a:gd name="connsiteY68" fmla="*/ 81915 h 374332"/>
                  <a:gd name="connsiteX69" fmla="*/ 201930 w 319087"/>
                  <a:gd name="connsiteY69" fmla="*/ 79057 h 374332"/>
                  <a:gd name="connsiteX70" fmla="*/ 199072 w 319087"/>
                  <a:gd name="connsiteY70" fmla="*/ 76200 h 374332"/>
                  <a:gd name="connsiteX71" fmla="*/ 196215 w 319087"/>
                  <a:gd name="connsiteY71" fmla="*/ 73343 h 374332"/>
                  <a:gd name="connsiteX72" fmla="*/ 193357 w 319087"/>
                  <a:gd name="connsiteY72" fmla="*/ 71438 h 374332"/>
                  <a:gd name="connsiteX73" fmla="*/ 189547 w 319087"/>
                  <a:gd name="connsiteY73" fmla="*/ 69532 h 374332"/>
                  <a:gd name="connsiteX74" fmla="*/ 185738 w 319087"/>
                  <a:gd name="connsiteY74" fmla="*/ 67627 h 374332"/>
                  <a:gd name="connsiteX75" fmla="*/ 181928 w 319087"/>
                  <a:gd name="connsiteY75" fmla="*/ 65722 h 374332"/>
                  <a:gd name="connsiteX76" fmla="*/ 178118 w 319087"/>
                  <a:gd name="connsiteY76" fmla="*/ 64770 h 374332"/>
                  <a:gd name="connsiteX77" fmla="*/ 174307 w 319087"/>
                  <a:gd name="connsiteY77" fmla="*/ 63818 h 374332"/>
                  <a:gd name="connsiteX78" fmla="*/ 170497 w 319087"/>
                  <a:gd name="connsiteY78" fmla="*/ 62865 h 374332"/>
                  <a:gd name="connsiteX79" fmla="*/ 165735 w 319087"/>
                  <a:gd name="connsiteY79" fmla="*/ 62865 h 374332"/>
                  <a:gd name="connsiteX80" fmla="*/ 160972 w 319087"/>
                  <a:gd name="connsiteY80" fmla="*/ 62865 h 374332"/>
                  <a:gd name="connsiteX81" fmla="*/ 156210 w 319087"/>
                  <a:gd name="connsiteY81" fmla="*/ 62865 h 374332"/>
                  <a:gd name="connsiteX82" fmla="*/ 151447 w 319087"/>
                  <a:gd name="connsiteY82" fmla="*/ 62865 h 374332"/>
                  <a:gd name="connsiteX83" fmla="*/ 146685 w 319087"/>
                  <a:gd name="connsiteY83" fmla="*/ 63818 h 374332"/>
                  <a:gd name="connsiteX84" fmla="*/ 142875 w 319087"/>
                  <a:gd name="connsiteY84" fmla="*/ 64770 h 374332"/>
                  <a:gd name="connsiteX85" fmla="*/ 139065 w 319087"/>
                  <a:gd name="connsiteY85" fmla="*/ 65722 h 374332"/>
                  <a:gd name="connsiteX86" fmla="*/ 135255 w 319087"/>
                  <a:gd name="connsiteY86" fmla="*/ 67627 h 374332"/>
                  <a:gd name="connsiteX87" fmla="*/ 131445 w 319087"/>
                  <a:gd name="connsiteY87" fmla="*/ 69532 h 374332"/>
                  <a:gd name="connsiteX88" fmla="*/ 127635 w 319087"/>
                  <a:gd name="connsiteY88" fmla="*/ 71438 h 374332"/>
                  <a:gd name="connsiteX89" fmla="*/ 124778 w 319087"/>
                  <a:gd name="connsiteY89" fmla="*/ 74295 h 374332"/>
                  <a:gd name="connsiteX90" fmla="*/ 121920 w 319087"/>
                  <a:gd name="connsiteY90" fmla="*/ 77152 h 374332"/>
                  <a:gd name="connsiteX91" fmla="*/ 119063 w 319087"/>
                  <a:gd name="connsiteY91" fmla="*/ 80010 h 374332"/>
                  <a:gd name="connsiteX92" fmla="*/ 116205 w 319087"/>
                  <a:gd name="connsiteY92" fmla="*/ 83820 h 374332"/>
                  <a:gd name="connsiteX93" fmla="*/ 113347 w 319087"/>
                  <a:gd name="connsiteY93" fmla="*/ 86677 h 374332"/>
                  <a:gd name="connsiteX94" fmla="*/ 110490 w 319087"/>
                  <a:gd name="connsiteY94" fmla="*/ 90488 h 374332"/>
                  <a:gd name="connsiteX95" fmla="*/ 107632 w 319087"/>
                  <a:gd name="connsiteY95" fmla="*/ 94297 h 374332"/>
                  <a:gd name="connsiteX96" fmla="*/ 105728 w 319087"/>
                  <a:gd name="connsiteY96" fmla="*/ 98107 h 374332"/>
                  <a:gd name="connsiteX97" fmla="*/ 101918 w 319087"/>
                  <a:gd name="connsiteY97" fmla="*/ 107632 h 374332"/>
                  <a:gd name="connsiteX98" fmla="*/ 99060 w 319087"/>
                  <a:gd name="connsiteY98" fmla="*/ 117157 h 374332"/>
                  <a:gd name="connsiteX99" fmla="*/ 96203 w 319087"/>
                  <a:gd name="connsiteY99" fmla="*/ 127635 h 374332"/>
                  <a:gd name="connsiteX100" fmla="*/ 94297 w 319087"/>
                  <a:gd name="connsiteY100" fmla="*/ 138113 h 374332"/>
                  <a:gd name="connsiteX101" fmla="*/ 92393 w 319087"/>
                  <a:gd name="connsiteY101" fmla="*/ 149543 h 374332"/>
                  <a:gd name="connsiteX102" fmla="*/ 91440 w 319087"/>
                  <a:gd name="connsiteY102" fmla="*/ 161925 h 374332"/>
                  <a:gd name="connsiteX103" fmla="*/ 90488 w 319087"/>
                  <a:gd name="connsiteY103" fmla="*/ 174308 h 374332"/>
                  <a:gd name="connsiteX104" fmla="*/ 90488 w 319087"/>
                  <a:gd name="connsiteY104" fmla="*/ 187643 h 374332"/>
                  <a:gd name="connsiteX105" fmla="*/ 90488 w 319087"/>
                  <a:gd name="connsiteY105" fmla="*/ 187643 h 374332"/>
                  <a:gd name="connsiteX106" fmla="*/ 0 w 319087"/>
                  <a:gd name="connsiteY106" fmla="*/ 186690 h 374332"/>
                  <a:gd name="connsiteX107" fmla="*/ 0 w 319087"/>
                  <a:gd name="connsiteY107" fmla="*/ 173355 h 374332"/>
                  <a:gd name="connsiteX108" fmla="*/ 953 w 319087"/>
                  <a:gd name="connsiteY108" fmla="*/ 160972 h 374332"/>
                  <a:gd name="connsiteX109" fmla="*/ 1905 w 319087"/>
                  <a:gd name="connsiteY109" fmla="*/ 148590 h 374332"/>
                  <a:gd name="connsiteX110" fmla="*/ 2857 w 319087"/>
                  <a:gd name="connsiteY110" fmla="*/ 137160 h 374332"/>
                  <a:gd name="connsiteX111" fmla="*/ 4763 w 319087"/>
                  <a:gd name="connsiteY111" fmla="*/ 126682 h 374332"/>
                  <a:gd name="connsiteX112" fmla="*/ 7620 w 319087"/>
                  <a:gd name="connsiteY112" fmla="*/ 116205 h 374332"/>
                  <a:gd name="connsiteX113" fmla="*/ 10478 w 319087"/>
                  <a:gd name="connsiteY113" fmla="*/ 106680 h 374332"/>
                  <a:gd name="connsiteX114" fmla="*/ 13335 w 319087"/>
                  <a:gd name="connsiteY114" fmla="*/ 97155 h 374332"/>
                  <a:gd name="connsiteX115" fmla="*/ 17145 w 319087"/>
                  <a:gd name="connsiteY115" fmla="*/ 87630 h 374332"/>
                  <a:gd name="connsiteX116" fmla="*/ 20955 w 319087"/>
                  <a:gd name="connsiteY116" fmla="*/ 79057 h 374332"/>
                  <a:gd name="connsiteX117" fmla="*/ 24765 w 319087"/>
                  <a:gd name="connsiteY117" fmla="*/ 71438 h 374332"/>
                  <a:gd name="connsiteX118" fmla="*/ 29528 w 319087"/>
                  <a:gd name="connsiteY118" fmla="*/ 63818 h 374332"/>
                  <a:gd name="connsiteX119" fmla="*/ 34290 w 319087"/>
                  <a:gd name="connsiteY119" fmla="*/ 57150 h 374332"/>
                  <a:gd name="connsiteX120" fmla="*/ 40005 w 319087"/>
                  <a:gd name="connsiteY120" fmla="*/ 50482 h 374332"/>
                  <a:gd name="connsiteX121" fmla="*/ 45720 w 319087"/>
                  <a:gd name="connsiteY121" fmla="*/ 44768 h 374332"/>
                  <a:gd name="connsiteX122" fmla="*/ 51435 w 319087"/>
                  <a:gd name="connsiteY122" fmla="*/ 39052 h 374332"/>
                  <a:gd name="connsiteX123" fmla="*/ 57150 w 319087"/>
                  <a:gd name="connsiteY123" fmla="*/ 33338 h 374332"/>
                  <a:gd name="connsiteX124" fmla="*/ 63818 w 319087"/>
                  <a:gd name="connsiteY124" fmla="*/ 28575 h 374332"/>
                  <a:gd name="connsiteX125" fmla="*/ 69532 w 319087"/>
                  <a:gd name="connsiteY125" fmla="*/ 24765 h 374332"/>
                  <a:gd name="connsiteX126" fmla="*/ 76200 w 319087"/>
                  <a:gd name="connsiteY126" fmla="*/ 20955 h 374332"/>
                  <a:gd name="connsiteX127" fmla="*/ 82868 w 319087"/>
                  <a:gd name="connsiteY127" fmla="*/ 17145 h 374332"/>
                  <a:gd name="connsiteX128" fmla="*/ 89535 w 319087"/>
                  <a:gd name="connsiteY128" fmla="*/ 14288 h 374332"/>
                  <a:gd name="connsiteX129" fmla="*/ 96203 w 319087"/>
                  <a:gd name="connsiteY129" fmla="*/ 11430 h 374332"/>
                  <a:gd name="connsiteX130" fmla="*/ 102870 w 319087"/>
                  <a:gd name="connsiteY130" fmla="*/ 8572 h 374332"/>
                  <a:gd name="connsiteX131" fmla="*/ 109538 w 319087"/>
                  <a:gd name="connsiteY131" fmla="*/ 6668 h 374332"/>
                  <a:gd name="connsiteX132" fmla="*/ 116205 w 319087"/>
                  <a:gd name="connsiteY132" fmla="*/ 4763 h 374332"/>
                  <a:gd name="connsiteX133" fmla="*/ 122872 w 319087"/>
                  <a:gd name="connsiteY133" fmla="*/ 3810 h 374332"/>
                  <a:gd name="connsiteX134" fmla="*/ 130493 w 319087"/>
                  <a:gd name="connsiteY134" fmla="*/ 2857 h 374332"/>
                  <a:gd name="connsiteX135" fmla="*/ 137160 w 319087"/>
                  <a:gd name="connsiteY135" fmla="*/ 1905 h 374332"/>
                  <a:gd name="connsiteX136" fmla="*/ 144780 w 319087"/>
                  <a:gd name="connsiteY136" fmla="*/ 952 h 374332"/>
                  <a:gd name="connsiteX137" fmla="*/ 152400 w 319087"/>
                  <a:gd name="connsiteY137" fmla="*/ 0 h 374332"/>
                  <a:gd name="connsiteX138" fmla="*/ 160020 w 319087"/>
                  <a:gd name="connsiteY138" fmla="*/ 0 h 374332"/>
                  <a:gd name="connsiteX139" fmla="*/ 170497 w 319087"/>
                  <a:gd name="connsiteY139" fmla="*/ 0 h 374332"/>
                  <a:gd name="connsiteX140" fmla="*/ 180975 w 319087"/>
                  <a:gd name="connsiteY140" fmla="*/ 952 h 374332"/>
                  <a:gd name="connsiteX141" fmla="*/ 190500 w 319087"/>
                  <a:gd name="connsiteY141" fmla="*/ 1905 h 374332"/>
                  <a:gd name="connsiteX142" fmla="*/ 200025 w 319087"/>
                  <a:gd name="connsiteY142" fmla="*/ 3810 h 374332"/>
                  <a:gd name="connsiteX143" fmla="*/ 209550 w 319087"/>
                  <a:gd name="connsiteY143" fmla="*/ 6668 h 374332"/>
                  <a:gd name="connsiteX144" fmla="*/ 219075 w 319087"/>
                  <a:gd name="connsiteY144" fmla="*/ 9525 h 374332"/>
                  <a:gd name="connsiteX145" fmla="*/ 228600 w 319087"/>
                  <a:gd name="connsiteY145" fmla="*/ 13335 h 374332"/>
                  <a:gd name="connsiteX146" fmla="*/ 237172 w 319087"/>
                  <a:gd name="connsiteY146" fmla="*/ 17145 h 374332"/>
                  <a:gd name="connsiteX147" fmla="*/ 241935 w 319087"/>
                  <a:gd name="connsiteY147" fmla="*/ 19050 h 374332"/>
                  <a:gd name="connsiteX148" fmla="*/ 245745 w 319087"/>
                  <a:gd name="connsiteY148" fmla="*/ 21907 h 374332"/>
                  <a:gd name="connsiteX149" fmla="*/ 249555 w 319087"/>
                  <a:gd name="connsiteY149" fmla="*/ 24765 h 374332"/>
                  <a:gd name="connsiteX150" fmla="*/ 253365 w 319087"/>
                  <a:gd name="connsiteY150" fmla="*/ 27622 h 374332"/>
                  <a:gd name="connsiteX151" fmla="*/ 257175 w 319087"/>
                  <a:gd name="connsiteY151" fmla="*/ 30480 h 374332"/>
                  <a:gd name="connsiteX152" fmla="*/ 260985 w 319087"/>
                  <a:gd name="connsiteY152" fmla="*/ 33338 h 374332"/>
                  <a:gd name="connsiteX153" fmla="*/ 264795 w 319087"/>
                  <a:gd name="connsiteY153" fmla="*/ 37147 h 374332"/>
                  <a:gd name="connsiteX154" fmla="*/ 268605 w 319087"/>
                  <a:gd name="connsiteY154" fmla="*/ 40957 h 374332"/>
                  <a:gd name="connsiteX155" fmla="*/ 272415 w 319087"/>
                  <a:gd name="connsiteY155" fmla="*/ 44768 h 374332"/>
                  <a:gd name="connsiteX156" fmla="*/ 276225 w 319087"/>
                  <a:gd name="connsiteY156" fmla="*/ 48577 h 374332"/>
                  <a:gd name="connsiteX157" fmla="*/ 279082 w 319087"/>
                  <a:gd name="connsiteY157" fmla="*/ 52388 h 374332"/>
                  <a:gd name="connsiteX158" fmla="*/ 282893 w 319087"/>
                  <a:gd name="connsiteY158" fmla="*/ 57150 h 374332"/>
                  <a:gd name="connsiteX159" fmla="*/ 285750 w 319087"/>
                  <a:gd name="connsiteY159" fmla="*/ 61913 h 374332"/>
                  <a:gd name="connsiteX160" fmla="*/ 288607 w 319087"/>
                  <a:gd name="connsiteY160" fmla="*/ 66675 h 374332"/>
                  <a:gd name="connsiteX161" fmla="*/ 291465 w 319087"/>
                  <a:gd name="connsiteY161" fmla="*/ 71438 h 374332"/>
                  <a:gd name="connsiteX162" fmla="*/ 294322 w 319087"/>
                  <a:gd name="connsiteY162" fmla="*/ 76200 h 374332"/>
                  <a:gd name="connsiteX163" fmla="*/ 297180 w 319087"/>
                  <a:gd name="connsiteY163" fmla="*/ 81915 h 374332"/>
                  <a:gd name="connsiteX164" fmla="*/ 300038 w 319087"/>
                  <a:gd name="connsiteY164" fmla="*/ 87630 h 374332"/>
                  <a:gd name="connsiteX165" fmla="*/ 302895 w 319087"/>
                  <a:gd name="connsiteY165" fmla="*/ 93345 h 374332"/>
                  <a:gd name="connsiteX166" fmla="*/ 305753 w 319087"/>
                  <a:gd name="connsiteY166" fmla="*/ 99060 h 374332"/>
                  <a:gd name="connsiteX167" fmla="*/ 307657 w 319087"/>
                  <a:gd name="connsiteY167" fmla="*/ 104775 h 374332"/>
                  <a:gd name="connsiteX168" fmla="*/ 309563 w 319087"/>
                  <a:gd name="connsiteY168" fmla="*/ 111443 h 374332"/>
                  <a:gd name="connsiteX169" fmla="*/ 311468 w 319087"/>
                  <a:gd name="connsiteY169" fmla="*/ 118110 h 374332"/>
                  <a:gd name="connsiteX170" fmla="*/ 312420 w 319087"/>
                  <a:gd name="connsiteY170" fmla="*/ 124777 h 374332"/>
                  <a:gd name="connsiteX171" fmla="*/ 313372 w 319087"/>
                  <a:gd name="connsiteY171" fmla="*/ 131445 h 374332"/>
                  <a:gd name="connsiteX172" fmla="*/ 314325 w 319087"/>
                  <a:gd name="connsiteY172" fmla="*/ 139065 h 374332"/>
                  <a:gd name="connsiteX173" fmla="*/ 315278 w 319087"/>
                  <a:gd name="connsiteY173" fmla="*/ 146685 h 374332"/>
                  <a:gd name="connsiteX174" fmla="*/ 316230 w 319087"/>
                  <a:gd name="connsiteY174" fmla="*/ 154305 h 374332"/>
                  <a:gd name="connsiteX175" fmla="*/ 316230 w 319087"/>
                  <a:gd name="connsiteY175" fmla="*/ 161925 h 374332"/>
                  <a:gd name="connsiteX176" fmla="*/ 317182 w 319087"/>
                  <a:gd name="connsiteY176" fmla="*/ 170497 h 374332"/>
                  <a:gd name="connsiteX177" fmla="*/ 317182 w 319087"/>
                  <a:gd name="connsiteY177" fmla="*/ 179070 h 374332"/>
                  <a:gd name="connsiteX178" fmla="*/ 317182 w 319087"/>
                  <a:gd name="connsiteY178" fmla="*/ 187643 h 374332"/>
                  <a:gd name="connsiteX179" fmla="*/ 317182 w 319087"/>
                  <a:gd name="connsiteY179" fmla="*/ 196215 h 374332"/>
                  <a:gd name="connsiteX180" fmla="*/ 317182 w 319087"/>
                  <a:gd name="connsiteY180" fmla="*/ 204788 h 374332"/>
                  <a:gd name="connsiteX181" fmla="*/ 319088 w 319087"/>
                  <a:gd name="connsiteY181" fmla="*/ 212408 h 374332"/>
                  <a:gd name="connsiteX182" fmla="*/ 319088 w 319087"/>
                  <a:gd name="connsiteY182" fmla="*/ 220027 h 374332"/>
                  <a:gd name="connsiteX183" fmla="*/ 318135 w 319087"/>
                  <a:gd name="connsiteY183" fmla="*/ 227647 h 374332"/>
                  <a:gd name="connsiteX184" fmla="*/ 317182 w 319087"/>
                  <a:gd name="connsiteY184" fmla="*/ 235268 h 374332"/>
                  <a:gd name="connsiteX185" fmla="*/ 316230 w 319087"/>
                  <a:gd name="connsiteY185" fmla="*/ 242888 h 374332"/>
                  <a:gd name="connsiteX186" fmla="*/ 315278 w 319087"/>
                  <a:gd name="connsiteY186" fmla="*/ 250508 h 374332"/>
                  <a:gd name="connsiteX187" fmla="*/ 314325 w 319087"/>
                  <a:gd name="connsiteY187" fmla="*/ 257175 h 374332"/>
                  <a:gd name="connsiteX188" fmla="*/ 312420 w 319087"/>
                  <a:gd name="connsiteY188" fmla="*/ 263843 h 374332"/>
                  <a:gd name="connsiteX189" fmla="*/ 310515 w 319087"/>
                  <a:gd name="connsiteY189" fmla="*/ 270510 h 374332"/>
                  <a:gd name="connsiteX190" fmla="*/ 308610 w 319087"/>
                  <a:gd name="connsiteY190" fmla="*/ 277178 h 374332"/>
                  <a:gd name="connsiteX191" fmla="*/ 305753 w 319087"/>
                  <a:gd name="connsiteY191" fmla="*/ 282893 h 374332"/>
                  <a:gd name="connsiteX192" fmla="*/ 302895 w 319087"/>
                  <a:gd name="connsiteY192" fmla="*/ 288608 h 374332"/>
                  <a:gd name="connsiteX193" fmla="*/ 300038 w 319087"/>
                  <a:gd name="connsiteY193" fmla="*/ 294322 h 374332"/>
                  <a:gd name="connsiteX194" fmla="*/ 297180 w 319087"/>
                  <a:gd name="connsiteY194" fmla="*/ 300037 h 374332"/>
                  <a:gd name="connsiteX195" fmla="*/ 294322 w 319087"/>
                  <a:gd name="connsiteY195" fmla="*/ 305753 h 374332"/>
                  <a:gd name="connsiteX196" fmla="*/ 291465 w 319087"/>
                  <a:gd name="connsiteY196" fmla="*/ 310515 h 374332"/>
                  <a:gd name="connsiteX197" fmla="*/ 288607 w 319087"/>
                  <a:gd name="connsiteY197" fmla="*/ 315278 h 374332"/>
                  <a:gd name="connsiteX198" fmla="*/ 285750 w 319087"/>
                  <a:gd name="connsiteY198" fmla="*/ 320040 h 374332"/>
                  <a:gd name="connsiteX199" fmla="*/ 281940 w 319087"/>
                  <a:gd name="connsiteY199" fmla="*/ 323850 h 374332"/>
                  <a:gd name="connsiteX200" fmla="*/ 279082 w 319087"/>
                  <a:gd name="connsiteY200" fmla="*/ 327660 h 374332"/>
                  <a:gd name="connsiteX201" fmla="*/ 275272 w 319087"/>
                  <a:gd name="connsiteY201" fmla="*/ 331470 h 374332"/>
                  <a:gd name="connsiteX202" fmla="*/ 271463 w 319087"/>
                  <a:gd name="connsiteY202" fmla="*/ 335280 h 374332"/>
                  <a:gd name="connsiteX203" fmla="*/ 267653 w 319087"/>
                  <a:gd name="connsiteY203" fmla="*/ 339090 h 374332"/>
                  <a:gd name="connsiteX204" fmla="*/ 263843 w 319087"/>
                  <a:gd name="connsiteY204" fmla="*/ 341947 h 374332"/>
                  <a:gd name="connsiteX205" fmla="*/ 260032 w 319087"/>
                  <a:gd name="connsiteY205" fmla="*/ 344805 h 374332"/>
                  <a:gd name="connsiteX206" fmla="*/ 256222 w 319087"/>
                  <a:gd name="connsiteY206" fmla="*/ 347662 h 374332"/>
                  <a:gd name="connsiteX207" fmla="*/ 252413 w 319087"/>
                  <a:gd name="connsiteY207" fmla="*/ 350520 h 374332"/>
                  <a:gd name="connsiteX208" fmla="*/ 248603 w 319087"/>
                  <a:gd name="connsiteY208" fmla="*/ 353378 h 374332"/>
                  <a:gd name="connsiteX209" fmla="*/ 244793 w 319087"/>
                  <a:gd name="connsiteY209" fmla="*/ 356235 h 374332"/>
                  <a:gd name="connsiteX210" fmla="*/ 240982 w 319087"/>
                  <a:gd name="connsiteY210" fmla="*/ 358140 h 374332"/>
                  <a:gd name="connsiteX211" fmla="*/ 231457 w 319087"/>
                  <a:gd name="connsiteY211" fmla="*/ 361950 h 374332"/>
                  <a:gd name="connsiteX212" fmla="*/ 221932 w 319087"/>
                  <a:gd name="connsiteY212" fmla="*/ 364808 h 374332"/>
                  <a:gd name="connsiteX213" fmla="*/ 212407 w 319087"/>
                  <a:gd name="connsiteY213" fmla="*/ 367665 h 374332"/>
                  <a:gd name="connsiteX214" fmla="*/ 202882 w 319087"/>
                  <a:gd name="connsiteY214" fmla="*/ 370522 h 374332"/>
                  <a:gd name="connsiteX215" fmla="*/ 193357 w 319087"/>
                  <a:gd name="connsiteY215" fmla="*/ 372428 h 374332"/>
                  <a:gd name="connsiteX216" fmla="*/ 182880 w 319087"/>
                  <a:gd name="connsiteY216" fmla="*/ 373380 h 374332"/>
                  <a:gd name="connsiteX217" fmla="*/ 172403 w 319087"/>
                  <a:gd name="connsiteY217" fmla="*/ 374333 h 374332"/>
                  <a:gd name="connsiteX218" fmla="*/ 161925 w 319087"/>
                  <a:gd name="connsiteY218" fmla="*/ 374333 h 374332"/>
                  <a:gd name="connsiteX219" fmla="*/ 154305 w 319087"/>
                  <a:gd name="connsiteY219" fmla="*/ 374333 h 374332"/>
                  <a:gd name="connsiteX220" fmla="*/ 146685 w 319087"/>
                  <a:gd name="connsiteY220" fmla="*/ 373380 h 374332"/>
                  <a:gd name="connsiteX221" fmla="*/ 139065 w 319087"/>
                  <a:gd name="connsiteY221" fmla="*/ 372428 h 374332"/>
                  <a:gd name="connsiteX222" fmla="*/ 131445 w 319087"/>
                  <a:gd name="connsiteY222" fmla="*/ 371475 h 374332"/>
                  <a:gd name="connsiteX223" fmla="*/ 123825 w 319087"/>
                  <a:gd name="connsiteY223" fmla="*/ 370522 h 374332"/>
                  <a:gd name="connsiteX224" fmla="*/ 116205 w 319087"/>
                  <a:gd name="connsiteY224" fmla="*/ 368618 h 374332"/>
                  <a:gd name="connsiteX225" fmla="*/ 108585 w 319087"/>
                  <a:gd name="connsiteY225" fmla="*/ 365760 h 374332"/>
                  <a:gd name="connsiteX226" fmla="*/ 101918 w 319087"/>
                  <a:gd name="connsiteY226" fmla="*/ 362903 h 374332"/>
                  <a:gd name="connsiteX227" fmla="*/ 95250 w 319087"/>
                  <a:gd name="connsiteY227" fmla="*/ 360045 h 374332"/>
                  <a:gd name="connsiteX228" fmla="*/ 88582 w 319087"/>
                  <a:gd name="connsiteY228" fmla="*/ 357187 h 374332"/>
                  <a:gd name="connsiteX229" fmla="*/ 81915 w 319087"/>
                  <a:gd name="connsiteY229" fmla="*/ 353378 h 374332"/>
                  <a:gd name="connsiteX230" fmla="*/ 75247 w 319087"/>
                  <a:gd name="connsiteY230" fmla="*/ 349568 h 374332"/>
                  <a:gd name="connsiteX231" fmla="*/ 68580 w 319087"/>
                  <a:gd name="connsiteY231" fmla="*/ 345758 h 374332"/>
                  <a:gd name="connsiteX232" fmla="*/ 61913 w 319087"/>
                  <a:gd name="connsiteY232" fmla="*/ 341947 h 374332"/>
                  <a:gd name="connsiteX233" fmla="*/ 56197 w 319087"/>
                  <a:gd name="connsiteY233" fmla="*/ 337185 h 374332"/>
                  <a:gd name="connsiteX234" fmla="*/ 50482 w 319087"/>
                  <a:gd name="connsiteY234" fmla="*/ 332422 h 374332"/>
                  <a:gd name="connsiteX235" fmla="*/ 44768 w 319087"/>
                  <a:gd name="connsiteY235" fmla="*/ 326708 h 374332"/>
                  <a:gd name="connsiteX236" fmla="*/ 39053 w 319087"/>
                  <a:gd name="connsiteY236" fmla="*/ 320993 h 374332"/>
                  <a:gd name="connsiteX237" fmla="*/ 34290 w 319087"/>
                  <a:gd name="connsiteY237" fmla="*/ 314325 h 374332"/>
                  <a:gd name="connsiteX238" fmla="*/ 29528 w 319087"/>
                  <a:gd name="connsiteY238" fmla="*/ 307658 h 374332"/>
                  <a:gd name="connsiteX239" fmla="*/ 25718 w 319087"/>
                  <a:gd name="connsiteY239" fmla="*/ 300037 h 374332"/>
                  <a:gd name="connsiteX240" fmla="*/ 21907 w 319087"/>
                  <a:gd name="connsiteY240" fmla="*/ 291465 h 374332"/>
                  <a:gd name="connsiteX241" fmla="*/ 18097 w 319087"/>
                  <a:gd name="connsiteY241" fmla="*/ 283845 h 374332"/>
                  <a:gd name="connsiteX242" fmla="*/ 15240 w 319087"/>
                  <a:gd name="connsiteY242" fmla="*/ 274320 h 374332"/>
                  <a:gd name="connsiteX243" fmla="*/ 12382 w 319087"/>
                  <a:gd name="connsiteY243" fmla="*/ 264795 h 374332"/>
                  <a:gd name="connsiteX244" fmla="*/ 9525 w 319087"/>
                  <a:gd name="connsiteY244" fmla="*/ 255270 h 374332"/>
                  <a:gd name="connsiteX245" fmla="*/ 7620 w 319087"/>
                  <a:gd name="connsiteY245" fmla="*/ 244793 h 374332"/>
                  <a:gd name="connsiteX246" fmla="*/ 6668 w 319087"/>
                  <a:gd name="connsiteY246" fmla="*/ 234315 h 374332"/>
                  <a:gd name="connsiteX247" fmla="*/ 5715 w 319087"/>
                  <a:gd name="connsiteY247" fmla="*/ 222885 h 374332"/>
                  <a:gd name="connsiteX248" fmla="*/ 4763 w 319087"/>
                  <a:gd name="connsiteY248" fmla="*/ 211455 h 374332"/>
                  <a:gd name="connsiteX249" fmla="*/ 3810 w 319087"/>
                  <a:gd name="connsiteY249" fmla="*/ 199072 h 374332"/>
                  <a:gd name="connsiteX250" fmla="*/ 0 w 319087"/>
                  <a:gd name="connsiteY250" fmla="*/ 186690 h 374332"/>
                  <a:gd name="connsiteX251" fmla="*/ 0 w 319087"/>
                  <a:gd name="connsiteY251" fmla="*/ 186690 h 374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</a:cxnLst>
                <a:rect l="l" t="t" r="r" b="b"/>
                <a:pathLst>
                  <a:path w="319087" h="374332">
                    <a:moveTo>
                      <a:pt x="90488" y="187643"/>
                    </a:moveTo>
                    <a:lnTo>
                      <a:pt x="90488" y="202883"/>
                    </a:lnTo>
                    <a:lnTo>
                      <a:pt x="91440" y="217170"/>
                    </a:lnTo>
                    <a:lnTo>
                      <a:pt x="92393" y="230505"/>
                    </a:lnTo>
                    <a:lnTo>
                      <a:pt x="94297" y="242888"/>
                    </a:lnTo>
                    <a:lnTo>
                      <a:pt x="95250" y="248602"/>
                    </a:lnTo>
                    <a:lnTo>
                      <a:pt x="96203" y="254318"/>
                    </a:lnTo>
                    <a:lnTo>
                      <a:pt x="97155" y="260033"/>
                    </a:lnTo>
                    <a:lnTo>
                      <a:pt x="98107" y="264795"/>
                    </a:lnTo>
                    <a:lnTo>
                      <a:pt x="100013" y="269558"/>
                    </a:lnTo>
                    <a:lnTo>
                      <a:pt x="101918" y="274320"/>
                    </a:lnTo>
                    <a:lnTo>
                      <a:pt x="103822" y="278130"/>
                    </a:lnTo>
                    <a:lnTo>
                      <a:pt x="105728" y="281940"/>
                    </a:lnTo>
                    <a:lnTo>
                      <a:pt x="108585" y="285750"/>
                    </a:lnTo>
                    <a:lnTo>
                      <a:pt x="110490" y="289560"/>
                    </a:lnTo>
                    <a:lnTo>
                      <a:pt x="113347" y="292418"/>
                    </a:lnTo>
                    <a:lnTo>
                      <a:pt x="116205" y="295275"/>
                    </a:lnTo>
                    <a:lnTo>
                      <a:pt x="119063" y="298133"/>
                    </a:lnTo>
                    <a:lnTo>
                      <a:pt x="121920" y="300990"/>
                    </a:lnTo>
                    <a:lnTo>
                      <a:pt x="124778" y="303847"/>
                    </a:lnTo>
                    <a:lnTo>
                      <a:pt x="127635" y="305753"/>
                    </a:lnTo>
                    <a:lnTo>
                      <a:pt x="131445" y="307658"/>
                    </a:lnTo>
                    <a:lnTo>
                      <a:pt x="135255" y="308610"/>
                    </a:lnTo>
                    <a:lnTo>
                      <a:pt x="139065" y="309562"/>
                    </a:lnTo>
                    <a:lnTo>
                      <a:pt x="142875" y="310515"/>
                    </a:lnTo>
                    <a:lnTo>
                      <a:pt x="146685" y="311468"/>
                    </a:lnTo>
                    <a:lnTo>
                      <a:pt x="150495" y="312420"/>
                    </a:lnTo>
                    <a:lnTo>
                      <a:pt x="154305" y="312420"/>
                    </a:lnTo>
                    <a:lnTo>
                      <a:pt x="158115" y="312420"/>
                    </a:lnTo>
                    <a:lnTo>
                      <a:pt x="162878" y="312420"/>
                    </a:lnTo>
                    <a:lnTo>
                      <a:pt x="166688" y="312420"/>
                    </a:lnTo>
                    <a:lnTo>
                      <a:pt x="170497" y="311468"/>
                    </a:lnTo>
                    <a:lnTo>
                      <a:pt x="174307" y="310515"/>
                    </a:lnTo>
                    <a:lnTo>
                      <a:pt x="178118" y="309562"/>
                    </a:lnTo>
                    <a:lnTo>
                      <a:pt x="181928" y="308610"/>
                    </a:lnTo>
                    <a:lnTo>
                      <a:pt x="185738" y="307658"/>
                    </a:lnTo>
                    <a:lnTo>
                      <a:pt x="189547" y="305753"/>
                    </a:lnTo>
                    <a:lnTo>
                      <a:pt x="192405" y="303847"/>
                    </a:lnTo>
                    <a:lnTo>
                      <a:pt x="195263" y="300990"/>
                    </a:lnTo>
                    <a:lnTo>
                      <a:pt x="198120" y="298133"/>
                    </a:lnTo>
                    <a:lnTo>
                      <a:pt x="200978" y="295275"/>
                    </a:lnTo>
                    <a:lnTo>
                      <a:pt x="203835" y="292418"/>
                    </a:lnTo>
                    <a:lnTo>
                      <a:pt x="206693" y="289560"/>
                    </a:lnTo>
                    <a:lnTo>
                      <a:pt x="209550" y="285750"/>
                    </a:lnTo>
                    <a:lnTo>
                      <a:pt x="211455" y="281940"/>
                    </a:lnTo>
                    <a:lnTo>
                      <a:pt x="213360" y="278130"/>
                    </a:lnTo>
                    <a:lnTo>
                      <a:pt x="215265" y="274320"/>
                    </a:lnTo>
                    <a:lnTo>
                      <a:pt x="217170" y="269558"/>
                    </a:lnTo>
                    <a:lnTo>
                      <a:pt x="219075" y="264795"/>
                    </a:lnTo>
                    <a:lnTo>
                      <a:pt x="220028" y="260033"/>
                    </a:lnTo>
                    <a:lnTo>
                      <a:pt x="220980" y="254318"/>
                    </a:lnTo>
                    <a:lnTo>
                      <a:pt x="221932" y="248602"/>
                    </a:lnTo>
                    <a:lnTo>
                      <a:pt x="222885" y="242888"/>
                    </a:lnTo>
                    <a:lnTo>
                      <a:pt x="224790" y="230505"/>
                    </a:lnTo>
                    <a:lnTo>
                      <a:pt x="225743" y="217170"/>
                    </a:lnTo>
                    <a:lnTo>
                      <a:pt x="226695" y="202883"/>
                    </a:lnTo>
                    <a:lnTo>
                      <a:pt x="226695" y="187643"/>
                    </a:lnTo>
                    <a:lnTo>
                      <a:pt x="226695" y="174308"/>
                    </a:lnTo>
                    <a:lnTo>
                      <a:pt x="225743" y="161925"/>
                    </a:lnTo>
                    <a:lnTo>
                      <a:pt x="224790" y="149543"/>
                    </a:lnTo>
                    <a:lnTo>
                      <a:pt x="222885" y="138113"/>
                    </a:lnTo>
                    <a:lnTo>
                      <a:pt x="223838" y="126682"/>
                    </a:lnTo>
                    <a:lnTo>
                      <a:pt x="220980" y="116205"/>
                    </a:lnTo>
                    <a:lnTo>
                      <a:pt x="218122" y="106680"/>
                    </a:lnTo>
                    <a:lnTo>
                      <a:pt x="214313" y="97155"/>
                    </a:lnTo>
                    <a:lnTo>
                      <a:pt x="212407" y="93345"/>
                    </a:lnTo>
                    <a:lnTo>
                      <a:pt x="210503" y="89535"/>
                    </a:lnTo>
                    <a:lnTo>
                      <a:pt x="207645" y="85725"/>
                    </a:lnTo>
                    <a:lnTo>
                      <a:pt x="204788" y="81915"/>
                    </a:lnTo>
                    <a:lnTo>
                      <a:pt x="201930" y="79057"/>
                    </a:lnTo>
                    <a:lnTo>
                      <a:pt x="199072" y="76200"/>
                    </a:lnTo>
                    <a:lnTo>
                      <a:pt x="196215" y="73343"/>
                    </a:lnTo>
                    <a:lnTo>
                      <a:pt x="193357" y="71438"/>
                    </a:lnTo>
                    <a:lnTo>
                      <a:pt x="189547" y="69532"/>
                    </a:lnTo>
                    <a:lnTo>
                      <a:pt x="185738" y="67627"/>
                    </a:lnTo>
                    <a:lnTo>
                      <a:pt x="181928" y="65722"/>
                    </a:lnTo>
                    <a:lnTo>
                      <a:pt x="178118" y="64770"/>
                    </a:lnTo>
                    <a:lnTo>
                      <a:pt x="174307" y="63818"/>
                    </a:lnTo>
                    <a:lnTo>
                      <a:pt x="170497" y="62865"/>
                    </a:lnTo>
                    <a:lnTo>
                      <a:pt x="165735" y="62865"/>
                    </a:lnTo>
                    <a:lnTo>
                      <a:pt x="160972" y="62865"/>
                    </a:lnTo>
                    <a:lnTo>
                      <a:pt x="156210" y="62865"/>
                    </a:lnTo>
                    <a:lnTo>
                      <a:pt x="151447" y="62865"/>
                    </a:lnTo>
                    <a:lnTo>
                      <a:pt x="146685" y="63818"/>
                    </a:lnTo>
                    <a:lnTo>
                      <a:pt x="142875" y="64770"/>
                    </a:lnTo>
                    <a:lnTo>
                      <a:pt x="139065" y="65722"/>
                    </a:lnTo>
                    <a:lnTo>
                      <a:pt x="135255" y="67627"/>
                    </a:lnTo>
                    <a:lnTo>
                      <a:pt x="131445" y="69532"/>
                    </a:lnTo>
                    <a:lnTo>
                      <a:pt x="127635" y="71438"/>
                    </a:lnTo>
                    <a:lnTo>
                      <a:pt x="124778" y="74295"/>
                    </a:lnTo>
                    <a:lnTo>
                      <a:pt x="121920" y="77152"/>
                    </a:lnTo>
                    <a:lnTo>
                      <a:pt x="119063" y="80010"/>
                    </a:lnTo>
                    <a:lnTo>
                      <a:pt x="116205" y="83820"/>
                    </a:lnTo>
                    <a:lnTo>
                      <a:pt x="113347" y="86677"/>
                    </a:lnTo>
                    <a:lnTo>
                      <a:pt x="110490" y="90488"/>
                    </a:lnTo>
                    <a:lnTo>
                      <a:pt x="107632" y="94297"/>
                    </a:lnTo>
                    <a:lnTo>
                      <a:pt x="105728" y="98107"/>
                    </a:lnTo>
                    <a:lnTo>
                      <a:pt x="101918" y="107632"/>
                    </a:lnTo>
                    <a:lnTo>
                      <a:pt x="99060" y="117157"/>
                    </a:lnTo>
                    <a:lnTo>
                      <a:pt x="96203" y="127635"/>
                    </a:lnTo>
                    <a:lnTo>
                      <a:pt x="94297" y="138113"/>
                    </a:lnTo>
                    <a:lnTo>
                      <a:pt x="92393" y="149543"/>
                    </a:lnTo>
                    <a:lnTo>
                      <a:pt x="91440" y="161925"/>
                    </a:lnTo>
                    <a:lnTo>
                      <a:pt x="90488" y="174308"/>
                    </a:lnTo>
                    <a:lnTo>
                      <a:pt x="90488" y="187643"/>
                    </a:lnTo>
                    <a:lnTo>
                      <a:pt x="90488" y="187643"/>
                    </a:lnTo>
                    <a:close/>
                    <a:moveTo>
                      <a:pt x="0" y="186690"/>
                    </a:moveTo>
                    <a:lnTo>
                      <a:pt x="0" y="173355"/>
                    </a:lnTo>
                    <a:lnTo>
                      <a:pt x="953" y="160972"/>
                    </a:lnTo>
                    <a:lnTo>
                      <a:pt x="1905" y="148590"/>
                    </a:lnTo>
                    <a:lnTo>
                      <a:pt x="2857" y="137160"/>
                    </a:lnTo>
                    <a:lnTo>
                      <a:pt x="4763" y="126682"/>
                    </a:lnTo>
                    <a:lnTo>
                      <a:pt x="7620" y="116205"/>
                    </a:lnTo>
                    <a:lnTo>
                      <a:pt x="10478" y="106680"/>
                    </a:lnTo>
                    <a:lnTo>
                      <a:pt x="13335" y="97155"/>
                    </a:lnTo>
                    <a:lnTo>
                      <a:pt x="17145" y="87630"/>
                    </a:lnTo>
                    <a:lnTo>
                      <a:pt x="20955" y="79057"/>
                    </a:lnTo>
                    <a:lnTo>
                      <a:pt x="24765" y="71438"/>
                    </a:lnTo>
                    <a:lnTo>
                      <a:pt x="29528" y="63818"/>
                    </a:lnTo>
                    <a:lnTo>
                      <a:pt x="34290" y="57150"/>
                    </a:lnTo>
                    <a:lnTo>
                      <a:pt x="40005" y="50482"/>
                    </a:lnTo>
                    <a:lnTo>
                      <a:pt x="45720" y="44768"/>
                    </a:lnTo>
                    <a:lnTo>
                      <a:pt x="51435" y="39052"/>
                    </a:lnTo>
                    <a:lnTo>
                      <a:pt x="57150" y="33338"/>
                    </a:lnTo>
                    <a:lnTo>
                      <a:pt x="63818" y="28575"/>
                    </a:lnTo>
                    <a:lnTo>
                      <a:pt x="69532" y="24765"/>
                    </a:lnTo>
                    <a:lnTo>
                      <a:pt x="76200" y="20955"/>
                    </a:lnTo>
                    <a:lnTo>
                      <a:pt x="82868" y="17145"/>
                    </a:lnTo>
                    <a:lnTo>
                      <a:pt x="89535" y="14288"/>
                    </a:lnTo>
                    <a:lnTo>
                      <a:pt x="96203" y="11430"/>
                    </a:lnTo>
                    <a:lnTo>
                      <a:pt x="102870" y="8572"/>
                    </a:lnTo>
                    <a:lnTo>
                      <a:pt x="109538" y="6668"/>
                    </a:lnTo>
                    <a:lnTo>
                      <a:pt x="116205" y="4763"/>
                    </a:lnTo>
                    <a:lnTo>
                      <a:pt x="122872" y="3810"/>
                    </a:lnTo>
                    <a:lnTo>
                      <a:pt x="130493" y="2857"/>
                    </a:lnTo>
                    <a:lnTo>
                      <a:pt x="137160" y="1905"/>
                    </a:lnTo>
                    <a:lnTo>
                      <a:pt x="144780" y="952"/>
                    </a:lnTo>
                    <a:lnTo>
                      <a:pt x="152400" y="0"/>
                    </a:lnTo>
                    <a:lnTo>
                      <a:pt x="160020" y="0"/>
                    </a:lnTo>
                    <a:lnTo>
                      <a:pt x="170497" y="0"/>
                    </a:lnTo>
                    <a:lnTo>
                      <a:pt x="180975" y="952"/>
                    </a:lnTo>
                    <a:lnTo>
                      <a:pt x="190500" y="1905"/>
                    </a:lnTo>
                    <a:lnTo>
                      <a:pt x="200025" y="3810"/>
                    </a:lnTo>
                    <a:lnTo>
                      <a:pt x="209550" y="6668"/>
                    </a:lnTo>
                    <a:lnTo>
                      <a:pt x="219075" y="9525"/>
                    </a:lnTo>
                    <a:lnTo>
                      <a:pt x="228600" y="13335"/>
                    </a:lnTo>
                    <a:lnTo>
                      <a:pt x="237172" y="17145"/>
                    </a:lnTo>
                    <a:lnTo>
                      <a:pt x="241935" y="19050"/>
                    </a:lnTo>
                    <a:lnTo>
                      <a:pt x="245745" y="21907"/>
                    </a:lnTo>
                    <a:lnTo>
                      <a:pt x="249555" y="24765"/>
                    </a:lnTo>
                    <a:lnTo>
                      <a:pt x="253365" y="27622"/>
                    </a:lnTo>
                    <a:lnTo>
                      <a:pt x="257175" y="30480"/>
                    </a:lnTo>
                    <a:lnTo>
                      <a:pt x="260985" y="33338"/>
                    </a:lnTo>
                    <a:lnTo>
                      <a:pt x="264795" y="37147"/>
                    </a:lnTo>
                    <a:lnTo>
                      <a:pt x="268605" y="40957"/>
                    </a:lnTo>
                    <a:lnTo>
                      <a:pt x="272415" y="44768"/>
                    </a:lnTo>
                    <a:lnTo>
                      <a:pt x="276225" y="48577"/>
                    </a:lnTo>
                    <a:lnTo>
                      <a:pt x="279082" y="52388"/>
                    </a:lnTo>
                    <a:lnTo>
                      <a:pt x="282893" y="57150"/>
                    </a:lnTo>
                    <a:lnTo>
                      <a:pt x="285750" y="61913"/>
                    </a:lnTo>
                    <a:lnTo>
                      <a:pt x="288607" y="66675"/>
                    </a:lnTo>
                    <a:lnTo>
                      <a:pt x="291465" y="71438"/>
                    </a:lnTo>
                    <a:lnTo>
                      <a:pt x="294322" y="76200"/>
                    </a:lnTo>
                    <a:lnTo>
                      <a:pt x="297180" y="81915"/>
                    </a:lnTo>
                    <a:lnTo>
                      <a:pt x="300038" y="87630"/>
                    </a:lnTo>
                    <a:lnTo>
                      <a:pt x="302895" y="93345"/>
                    </a:lnTo>
                    <a:lnTo>
                      <a:pt x="305753" y="99060"/>
                    </a:lnTo>
                    <a:lnTo>
                      <a:pt x="307657" y="104775"/>
                    </a:lnTo>
                    <a:lnTo>
                      <a:pt x="309563" y="111443"/>
                    </a:lnTo>
                    <a:lnTo>
                      <a:pt x="311468" y="118110"/>
                    </a:lnTo>
                    <a:lnTo>
                      <a:pt x="312420" y="124777"/>
                    </a:lnTo>
                    <a:lnTo>
                      <a:pt x="313372" y="131445"/>
                    </a:lnTo>
                    <a:lnTo>
                      <a:pt x="314325" y="139065"/>
                    </a:lnTo>
                    <a:lnTo>
                      <a:pt x="315278" y="146685"/>
                    </a:lnTo>
                    <a:lnTo>
                      <a:pt x="316230" y="154305"/>
                    </a:lnTo>
                    <a:lnTo>
                      <a:pt x="316230" y="161925"/>
                    </a:lnTo>
                    <a:lnTo>
                      <a:pt x="317182" y="170497"/>
                    </a:lnTo>
                    <a:lnTo>
                      <a:pt x="317182" y="179070"/>
                    </a:lnTo>
                    <a:lnTo>
                      <a:pt x="317182" y="187643"/>
                    </a:lnTo>
                    <a:lnTo>
                      <a:pt x="317182" y="196215"/>
                    </a:lnTo>
                    <a:lnTo>
                      <a:pt x="317182" y="204788"/>
                    </a:lnTo>
                    <a:lnTo>
                      <a:pt x="319088" y="212408"/>
                    </a:lnTo>
                    <a:lnTo>
                      <a:pt x="319088" y="220027"/>
                    </a:lnTo>
                    <a:lnTo>
                      <a:pt x="318135" y="227647"/>
                    </a:lnTo>
                    <a:lnTo>
                      <a:pt x="317182" y="235268"/>
                    </a:lnTo>
                    <a:lnTo>
                      <a:pt x="316230" y="242888"/>
                    </a:lnTo>
                    <a:lnTo>
                      <a:pt x="315278" y="250508"/>
                    </a:lnTo>
                    <a:lnTo>
                      <a:pt x="314325" y="257175"/>
                    </a:lnTo>
                    <a:lnTo>
                      <a:pt x="312420" y="263843"/>
                    </a:lnTo>
                    <a:lnTo>
                      <a:pt x="310515" y="270510"/>
                    </a:lnTo>
                    <a:lnTo>
                      <a:pt x="308610" y="277178"/>
                    </a:lnTo>
                    <a:lnTo>
                      <a:pt x="305753" y="282893"/>
                    </a:lnTo>
                    <a:lnTo>
                      <a:pt x="302895" y="288608"/>
                    </a:lnTo>
                    <a:lnTo>
                      <a:pt x="300038" y="294322"/>
                    </a:lnTo>
                    <a:lnTo>
                      <a:pt x="297180" y="300037"/>
                    </a:lnTo>
                    <a:lnTo>
                      <a:pt x="294322" y="305753"/>
                    </a:lnTo>
                    <a:lnTo>
                      <a:pt x="291465" y="310515"/>
                    </a:lnTo>
                    <a:lnTo>
                      <a:pt x="288607" y="315278"/>
                    </a:lnTo>
                    <a:lnTo>
                      <a:pt x="285750" y="320040"/>
                    </a:lnTo>
                    <a:lnTo>
                      <a:pt x="281940" y="323850"/>
                    </a:lnTo>
                    <a:lnTo>
                      <a:pt x="279082" y="327660"/>
                    </a:lnTo>
                    <a:lnTo>
                      <a:pt x="275272" y="331470"/>
                    </a:lnTo>
                    <a:lnTo>
                      <a:pt x="271463" y="335280"/>
                    </a:lnTo>
                    <a:lnTo>
                      <a:pt x="267653" y="339090"/>
                    </a:lnTo>
                    <a:lnTo>
                      <a:pt x="263843" y="341947"/>
                    </a:lnTo>
                    <a:lnTo>
                      <a:pt x="260032" y="344805"/>
                    </a:lnTo>
                    <a:lnTo>
                      <a:pt x="256222" y="347662"/>
                    </a:lnTo>
                    <a:lnTo>
                      <a:pt x="252413" y="350520"/>
                    </a:lnTo>
                    <a:lnTo>
                      <a:pt x="248603" y="353378"/>
                    </a:lnTo>
                    <a:lnTo>
                      <a:pt x="244793" y="356235"/>
                    </a:lnTo>
                    <a:lnTo>
                      <a:pt x="240982" y="358140"/>
                    </a:lnTo>
                    <a:lnTo>
                      <a:pt x="231457" y="361950"/>
                    </a:lnTo>
                    <a:lnTo>
                      <a:pt x="221932" y="364808"/>
                    </a:lnTo>
                    <a:lnTo>
                      <a:pt x="212407" y="367665"/>
                    </a:lnTo>
                    <a:lnTo>
                      <a:pt x="202882" y="370522"/>
                    </a:lnTo>
                    <a:lnTo>
                      <a:pt x="193357" y="372428"/>
                    </a:lnTo>
                    <a:lnTo>
                      <a:pt x="182880" y="373380"/>
                    </a:lnTo>
                    <a:lnTo>
                      <a:pt x="172403" y="374333"/>
                    </a:lnTo>
                    <a:lnTo>
                      <a:pt x="161925" y="374333"/>
                    </a:lnTo>
                    <a:lnTo>
                      <a:pt x="154305" y="374333"/>
                    </a:lnTo>
                    <a:lnTo>
                      <a:pt x="146685" y="373380"/>
                    </a:lnTo>
                    <a:lnTo>
                      <a:pt x="139065" y="372428"/>
                    </a:lnTo>
                    <a:lnTo>
                      <a:pt x="131445" y="371475"/>
                    </a:lnTo>
                    <a:lnTo>
                      <a:pt x="123825" y="370522"/>
                    </a:lnTo>
                    <a:lnTo>
                      <a:pt x="116205" y="368618"/>
                    </a:lnTo>
                    <a:lnTo>
                      <a:pt x="108585" y="365760"/>
                    </a:lnTo>
                    <a:lnTo>
                      <a:pt x="101918" y="362903"/>
                    </a:lnTo>
                    <a:lnTo>
                      <a:pt x="95250" y="360045"/>
                    </a:lnTo>
                    <a:lnTo>
                      <a:pt x="88582" y="357187"/>
                    </a:lnTo>
                    <a:lnTo>
                      <a:pt x="81915" y="353378"/>
                    </a:lnTo>
                    <a:lnTo>
                      <a:pt x="75247" y="349568"/>
                    </a:lnTo>
                    <a:lnTo>
                      <a:pt x="68580" y="345758"/>
                    </a:lnTo>
                    <a:lnTo>
                      <a:pt x="61913" y="341947"/>
                    </a:lnTo>
                    <a:lnTo>
                      <a:pt x="56197" y="337185"/>
                    </a:lnTo>
                    <a:lnTo>
                      <a:pt x="50482" y="332422"/>
                    </a:lnTo>
                    <a:lnTo>
                      <a:pt x="44768" y="326708"/>
                    </a:lnTo>
                    <a:lnTo>
                      <a:pt x="39053" y="320993"/>
                    </a:lnTo>
                    <a:lnTo>
                      <a:pt x="34290" y="314325"/>
                    </a:lnTo>
                    <a:lnTo>
                      <a:pt x="29528" y="307658"/>
                    </a:lnTo>
                    <a:lnTo>
                      <a:pt x="25718" y="300037"/>
                    </a:lnTo>
                    <a:lnTo>
                      <a:pt x="21907" y="291465"/>
                    </a:lnTo>
                    <a:lnTo>
                      <a:pt x="18097" y="283845"/>
                    </a:lnTo>
                    <a:lnTo>
                      <a:pt x="15240" y="274320"/>
                    </a:lnTo>
                    <a:lnTo>
                      <a:pt x="12382" y="264795"/>
                    </a:lnTo>
                    <a:lnTo>
                      <a:pt x="9525" y="255270"/>
                    </a:lnTo>
                    <a:lnTo>
                      <a:pt x="7620" y="244793"/>
                    </a:lnTo>
                    <a:lnTo>
                      <a:pt x="6668" y="234315"/>
                    </a:lnTo>
                    <a:lnTo>
                      <a:pt x="5715" y="222885"/>
                    </a:lnTo>
                    <a:lnTo>
                      <a:pt x="4763" y="211455"/>
                    </a:lnTo>
                    <a:lnTo>
                      <a:pt x="3810" y="199072"/>
                    </a:lnTo>
                    <a:lnTo>
                      <a:pt x="0" y="186690"/>
                    </a:lnTo>
                    <a:lnTo>
                      <a:pt x="0" y="18669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21BB0D3C-677F-2846-122B-0128F9BF7592}"/>
                  </a:ext>
                </a:extLst>
              </p:cNvPr>
              <p:cNvSpPr/>
              <p:nvPr/>
            </p:nvSpPr>
            <p:spPr>
              <a:xfrm>
                <a:off x="9002712" y="4132034"/>
                <a:ext cx="190500" cy="369569"/>
              </a:xfrm>
              <a:custGeom>
                <a:avLst/>
                <a:gdLst>
                  <a:gd name="connsiteX0" fmla="*/ 2857 w 190500"/>
                  <a:gd name="connsiteY0" fmla="*/ 369570 h 369569"/>
                  <a:gd name="connsiteX1" fmla="*/ 2857 w 190500"/>
                  <a:gd name="connsiteY1" fmla="*/ 65722 h 369569"/>
                  <a:gd name="connsiteX2" fmla="*/ 2857 w 190500"/>
                  <a:gd name="connsiteY2" fmla="*/ 56197 h 369569"/>
                  <a:gd name="connsiteX3" fmla="*/ 2857 w 190500"/>
                  <a:gd name="connsiteY3" fmla="*/ 47625 h 369569"/>
                  <a:gd name="connsiteX4" fmla="*/ 1905 w 190500"/>
                  <a:gd name="connsiteY4" fmla="*/ 40005 h 369569"/>
                  <a:gd name="connsiteX5" fmla="*/ 1905 w 190500"/>
                  <a:gd name="connsiteY5" fmla="*/ 31432 h 369569"/>
                  <a:gd name="connsiteX6" fmla="*/ 1905 w 190500"/>
                  <a:gd name="connsiteY6" fmla="*/ 24765 h 369569"/>
                  <a:gd name="connsiteX7" fmla="*/ 953 w 190500"/>
                  <a:gd name="connsiteY7" fmla="*/ 18097 h 369569"/>
                  <a:gd name="connsiteX8" fmla="*/ 953 w 190500"/>
                  <a:gd name="connsiteY8" fmla="*/ 11430 h 369569"/>
                  <a:gd name="connsiteX9" fmla="*/ 0 w 190500"/>
                  <a:gd name="connsiteY9" fmla="*/ 5715 h 369569"/>
                  <a:gd name="connsiteX10" fmla="*/ 78105 w 190500"/>
                  <a:gd name="connsiteY10" fmla="*/ 5715 h 369569"/>
                  <a:gd name="connsiteX11" fmla="*/ 79057 w 190500"/>
                  <a:gd name="connsiteY11" fmla="*/ 11430 h 369569"/>
                  <a:gd name="connsiteX12" fmla="*/ 79057 w 190500"/>
                  <a:gd name="connsiteY12" fmla="*/ 19050 h 369569"/>
                  <a:gd name="connsiteX13" fmla="*/ 80010 w 190500"/>
                  <a:gd name="connsiteY13" fmla="*/ 26670 h 369569"/>
                  <a:gd name="connsiteX14" fmla="*/ 80010 w 190500"/>
                  <a:gd name="connsiteY14" fmla="*/ 36195 h 369569"/>
                  <a:gd name="connsiteX15" fmla="*/ 80963 w 190500"/>
                  <a:gd name="connsiteY15" fmla="*/ 45720 h 369569"/>
                  <a:gd name="connsiteX16" fmla="*/ 80963 w 190500"/>
                  <a:gd name="connsiteY16" fmla="*/ 55245 h 369569"/>
                  <a:gd name="connsiteX17" fmla="*/ 80963 w 190500"/>
                  <a:gd name="connsiteY17" fmla="*/ 63818 h 369569"/>
                  <a:gd name="connsiteX18" fmla="*/ 80963 w 190500"/>
                  <a:gd name="connsiteY18" fmla="*/ 71438 h 369569"/>
                  <a:gd name="connsiteX19" fmla="*/ 82868 w 190500"/>
                  <a:gd name="connsiteY19" fmla="*/ 71438 h 369569"/>
                  <a:gd name="connsiteX20" fmla="*/ 85725 w 190500"/>
                  <a:gd name="connsiteY20" fmla="*/ 64770 h 369569"/>
                  <a:gd name="connsiteX21" fmla="*/ 89535 w 190500"/>
                  <a:gd name="connsiteY21" fmla="*/ 58102 h 369569"/>
                  <a:gd name="connsiteX22" fmla="*/ 92393 w 190500"/>
                  <a:gd name="connsiteY22" fmla="*/ 51435 h 369569"/>
                  <a:gd name="connsiteX23" fmla="*/ 97155 w 190500"/>
                  <a:gd name="connsiteY23" fmla="*/ 44768 h 369569"/>
                  <a:gd name="connsiteX24" fmla="*/ 100965 w 190500"/>
                  <a:gd name="connsiteY24" fmla="*/ 39052 h 369569"/>
                  <a:gd name="connsiteX25" fmla="*/ 105728 w 190500"/>
                  <a:gd name="connsiteY25" fmla="*/ 32385 h 369569"/>
                  <a:gd name="connsiteX26" fmla="*/ 111443 w 190500"/>
                  <a:gd name="connsiteY26" fmla="*/ 26670 h 369569"/>
                  <a:gd name="connsiteX27" fmla="*/ 117157 w 190500"/>
                  <a:gd name="connsiteY27" fmla="*/ 20955 h 369569"/>
                  <a:gd name="connsiteX28" fmla="*/ 120015 w 190500"/>
                  <a:gd name="connsiteY28" fmla="*/ 19050 h 369569"/>
                  <a:gd name="connsiteX29" fmla="*/ 122872 w 190500"/>
                  <a:gd name="connsiteY29" fmla="*/ 16193 h 369569"/>
                  <a:gd name="connsiteX30" fmla="*/ 125730 w 190500"/>
                  <a:gd name="connsiteY30" fmla="*/ 14288 h 369569"/>
                  <a:gd name="connsiteX31" fmla="*/ 128588 w 190500"/>
                  <a:gd name="connsiteY31" fmla="*/ 12382 h 369569"/>
                  <a:gd name="connsiteX32" fmla="*/ 132397 w 190500"/>
                  <a:gd name="connsiteY32" fmla="*/ 9525 h 369569"/>
                  <a:gd name="connsiteX33" fmla="*/ 136207 w 190500"/>
                  <a:gd name="connsiteY33" fmla="*/ 7620 h 369569"/>
                  <a:gd name="connsiteX34" fmla="*/ 140018 w 190500"/>
                  <a:gd name="connsiteY34" fmla="*/ 6668 h 369569"/>
                  <a:gd name="connsiteX35" fmla="*/ 142875 w 190500"/>
                  <a:gd name="connsiteY35" fmla="*/ 4763 h 369569"/>
                  <a:gd name="connsiteX36" fmla="*/ 146685 w 190500"/>
                  <a:gd name="connsiteY36" fmla="*/ 3810 h 369569"/>
                  <a:gd name="connsiteX37" fmla="*/ 150495 w 190500"/>
                  <a:gd name="connsiteY37" fmla="*/ 2857 h 369569"/>
                  <a:gd name="connsiteX38" fmla="*/ 154305 w 190500"/>
                  <a:gd name="connsiteY38" fmla="*/ 1905 h 369569"/>
                  <a:gd name="connsiteX39" fmla="*/ 159068 w 190500"/>
                  <a:gd name="connsiteY39" fmla="*/ 952 h 369569"/>
                  <a:gd name="connsiteX40" fmla="*/ 162878 w 190500"/>
                  <a:gd name="connsiteY40" fmla="*/ 0 h 369569"/>
                  <a:gd name="connsiteX41" fmla="*/ 167640 w 190500"/>
                  <a:gd name="connsiteY41" fmla="*/ 0 h 369569"/>
                  <a:gd name="connsiteX42" fmla="*/ 171450 w 190500"/>
                  <a:gd name="connsiteY42" fmla="*/ 0 h 369569"/>
                  <a:gd name="connsiteX43" fmla="*/ 176213 w 190500"/>
                  <a:gd name="connsiteY43" fmla="*/ 0 h 369569"/>
                  <a:gd name="connsiteX44" fmla="*/ 179070 w 190500"/>
                  <a:gd name="connsiteY44" fmla="*/ 0 h 369569"/>
                  <a:gd name="connsiteX45" fmla="*/ 182880 w 190500"/>
                  <a:gd name="connsiteY45" fmla="*/ 0 h 369569"/>
                  <a:gd name="connsiteX46" fmla="*/ 186690 w 190500"/>
                  <a:gd name="connsiteY46" fmla="*/ 952 h 369569"/>
                  <a:gd name="connsiteX47" fmla="*/ 190500 w 190500"/>
                  <a:gd name="connsiteY47" fmla="*/ 1905 h 369569"/>
                  <a:gd name="connsiteX48" fmla="*/ 190500 w 190500"/>
                  <a:gd name="connsiteY48" fmla="*/ 83820 h 369569"/>
                  <a:gd name="connsiteX49" fmla="*/ 184785 w 190500"/>
                  <a:gd name="connsiteY49" fmla="*/ 82868 h 369569"/>
                  <a:gd name="connsiteX50" fmla="*/ 178118 w 190500"/>
                  <a:gd name="connsiteY50" fmla="*/ 81915 h 369569"/>
                  <a:gd name="connsiteX51" fmla="*/ 172403 w 190500"/>
                  <a:gd name="connsiteY51" fmla="*/ 80963 h 369569"/>
                  <a:gd name="connsiteX52" fmla="*/ 165735 w 190500"/>
                  <a:gd name="connsiteY52" fmla="*/ 80010 h 369569"/>
                  <a:gd name="connsiteX53" fmla="*/ 161925 w 190500"/>
                  <a:gd name="connsiteY53" fmla="*/ 80963 h 369569"/>
                  <a:gd name="connsiteX54" fmla="*/ 158115 w 190500"/>
                  <a:gd name="connsiteY54" fmla="*/ 80963 h 369569"/>
                  <a:gd name="connsiteX55" fmla="*/ 154305 w 190500"/>
                  <a:gd name="connsiteY55" fmla="*/ 81915 h 369569"/>
                  <a:gd name="connsiteX56" fmla="*/ 150495 w 190500"/>
                  <a:gd name="connsiteY56" fmla="*/ 81915 h 369569"/>
                  <a:gd name="connsiteX57" fmla="*/ 146685 w 190500"/>
                  <a:gd name="connsiteY57" fmla="*/ 82868 h 369569"/>
                  <a:gd name="connsiteX58" fmla="*/ 143828 w 190500"/>
                  <a:gd name="connsiteY58" fmla="*/ 83820 h 369569"/>
                  <a:gd name="connsiteX59" fmla="*/ 140018 w 190500"/>
                  <a:gd name="connsiteY59" fmla="*/ 84772 h 369569"/>
                  <a:gd name="connsiteX60" fmla="*/ 137160 w 190500"/>
                  <a:gd name="connsiteY60" fmla="*/ 85725 h 369569"/>
                  <a:gd name="connsiteX61" fmla="*/ 133350 w 190500"/>
                  <a:gd name="connsiteY61" fmla="*/ 87630 h 369569"/>
                  <a:gd name="connsiteX62" fmla="*/ 130493 w 190500"/>
                  <a:gd name="connsiteY62" fmla="*/ 89535 h 369569"/>
                  <a:gd name="connsiteX63" fmla="*/ 127635 w 190500"/>
                  <a:gd name="connsiteY63" fmla="*/ 91440 h 369569"/>
                  <a:gd name="connsiteX64" fmla="*/ 123825 w 190500"/>
                  <a:gd name="connsiteY64" fmla="*/ 92393 h 369569"/>
                  <a:gd name="connsiteX65" fmla="*/ 118110 w 190500"/>
                  <a:gd name="connsiteY65" fmla="*/ 97155 h 369569"/>
                  <a:gd name="connsiteX66" fmla="*/ 112395 w 190500"/>
                  <a:gd name="connsiteY66" fmla="*/ 101918 h 369569"/>
                  <a:gd name="connsiteX67" fmla="*/ 109538 w 190500"/>
                  <a:gd name="connsiteY67" fmla="*/ 104775 h 369569"/>
                  <a:gd name="connsiteX68" fmla="*/ 107632 w 190500"/>
                  <a:gd name="connsiteY68" fmla="*/ 108585 h 369569"/>
                  <a:gd name="connsiteX69" fmla="*/ 104775 w 190500"/>
                  <a:gd name="connsiteY69" fmla="*/ 111443 h 369569"/>
                  <a:gd name="connsiteX70" fmla="*/ 102870 w 190500"/>
                  <a:gd name="connsiteY70" fmla="*/ 115252 h 369569"/>
                  <a:gd name="connsiteX71" fmla="*/ 100965 w 190500"/>
                  <a:gd name="connsiteY71" fmla="*/ 118110 h 369569"/>
                  <a:gd name="connsiteX72" fmla="*/ 99060 w 190500"/>
                  <a:gd name="connsiteY72" fmla="*/ 121920 h 369569"/>
                  <a:gd name="connsiteX73" fmla="*/ 97155 w 190500"/>
                  <a:gd name="connsiteY73" fmla="*/ 125730 h 369569"/>
                  <a:gd name="connsiteX74" fmla="*/ 95250 w 190500"/>
                  <a:gd name="connsiteY74" fmla="*/ 129540 h 369569"/>
                  <a:gd name="connsiteX75" fmla="*/ 94297 w 190500"/>
                  <a:gd name="connsiteY75" fmla="*/ 134302 h 369569"/>
                  <a:gd name="connsiteX76" fmla="*/ 93345 w 190500"/>
                  <a:gd name="connsiteY76" fmla="*/ 139065 h 369569"/>
                  <a:gd name="connsiteX77" fmla="*/ 92393 w 190500"/>
                  <a:gd name="connsiteY77" fmla="*/ 143827 h 369569"/>
                  <a:gd name="connsiteX78" fmla="*/ 91440 w 190500"/>
                  <a:gd name="connsiteY78" fmla="*/ 148590 h 369569"/>
                  <a:gd name="connsiteX79" fmla="*/ 91440 w 190500"/>
                  <a:gd name="connsiteY79" fmla="*/ 153352 h 369569"/>
                  <a:gd name="connsiteX80" fmla="*/ 90488 w 190500"/>
                  <a:gd name="connsiteY80" fmla="*/ 159068 h 369569"/>
                  <a:gd name="connsiteX81" fmla="*/ 90488 w 190500"/>
                  <a:gd name="connsiteY81" fmla="*/ 164783 h 369569"/>
                  <a:gd name="connsiteX82" fmla="*/ 90488 w 190500"/>
                  <a:gd name="connsiteY82" fmla="*/ 169545 h 369569"/>
                  <a:gd name="connsiteX83" fmla="*/ 90488 w 190500"/>
                  <a:gd name="connsiteY83" fmla="*/ 369570 h 369569"/>
                  <a:gd name="connsiteX84" fmla="*/ 2857 w 190500"/>
                  <a:gd name="connsiteY84" fmla="*/ 369570 h 369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190500" h="369569">
                    <a:moveTo>
                      <a:pt x="2857" y="369570"/>
                    </a:moveTo>
                    <a:lnTo>
                      <a:pt x="2857" y="65722"/>
                    </a:lnTo>
                    <a:lnTo>
                      <a:pt x="2857" y="56197"/>
                    </a:lnTo>
                    <a:lnTo>
                      <a:pt x="2857" y="47625"/>
                    </a:lnTo>
                    <a:lnTo>
                      <a:pt x="1905" y="40005"/>
                    </a:lnTo>
                    <a:lnTo>
                      <a:pt x="1905" y="31432"/>
                    </a:lnTo>
                    <a:lnTo>
                      <a:pt x="1905" y="24765"/>
                    </a:lnTo>
                    <a:lnTo>
                      <a:pt x="953" y="18097"/>
                    </a:lnTo>
                    <a:lnTo>
                      <a:pt x="953" y="11430"/>
                    </a:lnTo>
                    <a:lnTo>
                      <a:pt x="0" y="5715"/>
                    </a:lnTo>
                    <a:lnTo>
                      <a:pt x="78105" y="5715"/>
                    </a:lnTo>
                    <a:lnTo>
                      <a:pt x="79057" y="11430"/>
                    </a:lnTo>
                    <a:lnTo>
                      <a:pt x="79057" y="19050"/>
                    </a:lnTo>
                    <a:lnTo>
                      <a:pt x="80010" y="26670"/>
                    </a:lnTo>
                    <a:lnTo>
                      <a:pt x="80010" y="36195"/>
                    </a:lnTo>
                    <a:lnTo>
                      <a:pt x="80963" y="45720"/>
                    </a:lnTo>
                    <a:lnTo>
                      <a:pt x="80963" y="55245"/>
                    </a:lnTo>
                    <a:lnTo>
                      <a:pt x="80963" y="63818"/>
                    </a:lnTo>
                    <a:lnTo>
                      <a:pt x="80963" y="71438"/>
                    </a:lnTo>
                    <a:lnTo>
                      <a:pt x="82868" y="71438"/>
                    </a:lnTo>
                    <a:lnTo>
                      <a:pt x="85725" y="64770"/>
                    </a:lnTo>
                    <a:lnTo>
                      <a:pt x="89535" y="58102"/>
                    </a:lnTo>
                    <a:lnTo>
                      <a:pt x="92393" y="51435"/>
                    </a:lnTo>
                    <a:lnTo>
                      <a:pt x="97155" y="44768"/>
                    </a:lnTo>
                    <a:lnTo>
                      <a:pt x="100965" y="39052"/>
                    </a:lnTo>
                    <a:lnTo>
                      <a:pt x="105728" y="32385"/>
                    </a:lnTo>
                    <a:lnTo>
                      <a:pt x="111443" y="26670"/>
                    </a:lnTo>
                    <a:lnTo>
                      <a:pt x="117157" y="20955"/>
                    </a:lnTo>
                    <a:lnTo>
                      <a:pt x="120015" y="19050"/>
                    </a:lnTo>
                    <a:lnTo>
                      <a:pt x="122872" y="16193"/>
                    </a:lnTo>
                    <a:lnTo>
                      <a:pt x="125730" y="14288"/>
                    </a:lnTo>
                    <a:lnTo>
                      <a:pt x="128588" y="12382"/>
                    </a:lnTo>
                    <a:lnTo>
                      <a:pt x="132397" y="9525"/>
                    </a:lnTo>
                    <a:lnTo>
                      <a:pt x="136207" y="7620"/>
                    </a:lnTo>
                    <a:lnTo>
                      <a:pt x="140018" y="6668"/>
                    </a:lnTo>
                    <a:lnTo>
                      <a:pt x="142875" y="4763"/>
                    </a:lnTo>
                    <a:lnTo>
                      <a:pt x="146685" y="3810"/>
                    </a:lnTo>
                    <a:lnTo>
                      <a:pt x="150495" y="2857"/>
                    </a:lnTo>
                    <a:lnTo>
                      <a:pt x="154305" y="1905"/>
                    </a:lnTo>
                    <a:lnTo>
                      <a:pt x="159068" y="952"/>
                    </a:lnTo>
                    <a:lnTo>
                      <a:pt x="162878" y="0"/>
                    </a:lnTo>
                    <a:lnTo>
                      <a:pt x="167640" y="0"/>
                    </a:lnTo>
                    <a:lnTo>
                      <a:pt x="171450" y="0"/>
                    </a:lnTo>
                    <a:lnTo>
                      <a:pt x="176213" y="0"/>
                    </a:lnTo>
                    <a:lnTo>
                      <a:pt x="179070" y="0"/>
                    </a:lnTo>
                    <a:lnTo>
                      <a:pt x="182880" y="0"/>
                    </a:lnTo>
                    <a:lnTo>
                      <a:pt x="186690" y="952"/>
                    </a:lnTo>
                    <a:lnTo>
                      <a:pt x="190500" y="1905"/>
                    </a:lnTo>
                    <a:lnTo>
                      <a:pt x="190500" y="83820"/>
                    </a:lnTo>
                    <a:lnTo>
                      <a:pt x="184785" y="82868"/>
                    </a:lnTo>
                    <a:lnTo>
                      <a:pt x="178118" y="81915"/>
                    </a:lnTo>
                    <a:lnTo>
                      <a:pt x="172403" y="80963"/>
                    </a:lnTo>
                    <a:lnTo>
                      <a:pt x="165735" y="80010"/>
                    </a:lnTo>
                    <a:lnTo>
                      <a:pt x="161925" y="80963"/>
                    </a:lnTo>
                    <a:lnTo>
                      <a:pt x="158115" y="80963"/>
                    </a:lnTo>
                    <a:lnTo>
                      <a:pt x="154305" y="81915"/>
                    </a:lnTo>
                    <a:lnTo>
                      <a:pt x="150495" y="81915"/>
                    </a:lnTo>
                    <a:lnTo>
                      <a:pt x="146685" y="82868"/>
                    </a:lnTo>
                    <a:lnTo>
                      <a:pt x="143828" y="83820"/>
                    </a:lnTo>
                    <a:lnTo>
                      <a:pt x="140018" y="84772"/>
                    </a:lnTo>
                    <a:lnTo>
                      <a:pt x="137160" y="85725"/>
                    </a:lnTo>
                    <a:lnTo>
                      <a:pt x="133350" y="87630"/>
                    </a:lnTo>
                    <a:lnTo>
                      <a:pt x="130493" y="89535"/>
                    </a:lnTo>
                    <a:lnTo>
                      <a:pt x="127635" y="91440"/>
                    </a:lnTo>
                    <a:lnTo>
                      <a:pt x="123825" y="92393"/>
                    </a:lnTo>
                    <a:lnTo>
                      <a:pt x="118110" y="97155"/>
                    </a:lnTo>
                    <a:lnTo>
                      <a:pt x="112395" y="101918"/>
                    </a:lnTo>
                    <a:lnTo>
                      <a:pt x="109538" y="104775"/>
                    </a:lnTo>
                    <a:lnTo>
                      <a:pt x="107632" y="108585"/>
                    </a:lnTo>
                    <a:lnTo>
                      <a:pt x="104775" y="111443"/>
                    </a:lnTo>
                    <a:lnTo>
                      <a:pt x="102870" y="115252"/>
                    </a:lnTo>
                    <a:lnTo>
                      <a:pt x="100965" y="118110"/>
                    </a:lnTo>
                    <a:lnTo>
                      <a:pt x="99060" y="121920"/>
                    </a:lnTo>
                    <a:lnTo>
                      <a:pt x="97155" y="125730"/>
                    </a:lnTo>
                    <a:lnTo>
                      <a:pt x="95250" y="129540"/>
                    </a:lnTo>
                    <a:lnTo>
                      <a:pt x="94297" y="134302"/>
                    </a:lnTo>
                    <a:lnTo>
                      <a:pt x="93345" y="139065"/>
                    </a:lnTo>
                    <a:lnTo>
                      <a:pt x="92393" y="143827"/>
                    </a:lnTo>
                    <a:lnTo>
                      <a:pt x="91440" y="148590"/>
                    </a:lnTo>
                    <a:lnTo>
                      <a:pt x="91440" y="153352"/>
                    </a:lnTo>
                    <a:lnTo>
                      <a:pt x="90488" y="159068"/>
                    </a:lnTo>
                    <a:lnTo>
                      <a:pt x="90488" y="164783"/>
                    </a:lnTo>
                    <a:lnTo>
                      <a:pt x="90488" y="169545"/>
                    </a:lnTo>
                    <a:lnTo>
                      <a:pt x="90488" y="369570"/>
                    </a:lnTo>
                    <a:lnTo>
                      <a:pt x="2857" y="36957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11EF2866-D1FE-59E1-E0F0-BAFEE04FA499}"/>
                  </a:ext>
                </a:extLst>
              </p:cNvPr>
              <p:cNvSpPr/>
              <p:nvPr/>
            </p:nvSpPr>
            <p:spPr>
              <a:xfrm>
                <a:off x="9226549" y="3972014"/>
                <a:ext cx="87630" cy="529590"/>
              </a:xfrm>
              <a:custGeom>
                <a:avLst/>
                <a:gdLst>
                  <a:gd name="connsiteX0" fmla="*/ 0 w 87630"/>
                  <a:gd name="connsiteY0" fmla="*/ 529590 h 529590"/>
                  <a:gd name="connsiteX1" fmla="*/ 0 w 87630"/>
                  <a:gd name="connsiteY1" fmla="*/ 0 h 529590"/>
                  <a:gd name="connsiteX2" fmla="*/ 87630 w 87630"/>
                  <a:gd name="connsiteY2" fmla="*/ 0 h 529590"/>
                  <a:gd name="connsiteX3" fmla="*/ 87630 w 87630"/>
                  <a:gd name="connsiteY3" fmla="*/ 529590 h 529590"/>
                  <a:gd name="connsiteX4" fmla="*/ 0 w 87630"/>
                  <a:gd name="connsiteY4" fmla="*/ 529590 h 529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630" h="529590">
                    <a:moveTo>
                      <a:pt x="0" y="529590"/>
                    </a:moveTo>
                    <a:lnTo>
                      <a:pt x="0" y="0"/>
                    </a:lnTo>
                    <a:lnTo>
                      <a:pt x="87630" y="0"/>
                    </a:lnTo>
                    <a:lnTo>
                      <a:pt x="87630" y="529590"/>
                    </a:lnTo>
                    <a:lnTo>
                      <a:pt x="0" y="52959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6F2C4F65-DAD1-515B-BAEA-06D65F161629}"/>
                  </a:ext>
                </a:extLst>
              </p:cNvPr>
              <p:cNvSpPr/>
              <p:nvPr/>
            </p:nvSpPr>
            <p:spPr>
              <a:xfrm>
                <a:off x="9359899" y="3972014"/>
                <a:ext cx="310515" cy="533400"/>
              </a:xfrm>
              <a:custGeom>
                <a:avLst/>
                <a:gdLst>
                  <a:gd name="connsiteX0" fmla="*/ 220980 w 310515"/>
                  <a:gd name="connsiteY0" fmla="*/ 0 h 533400"/>
                  <a:gd name="connsiteX1" fmla="*/ 307657 w 310515"/>
                  <a:gd name="connsiteY1" fmla="*/ 0 h 533400"/>
                  <a:gd name="connsiteX2" fmla="*/ 307657 w 310515"/>
                  <a:gd name="connsiteY2" fmla="*/ 466725 h 533400"/>
                  <a:gd name="connsiteX3" fmla="*/ 307657 w 310515"/>
                  <a:gd name="connsiteY3" fmla="*/ 477203 h 533400"/>
                  <a:gd name="connsiteX4" fmla="*/ 308610 w 310515"/>
                  <a:gd name="connsiteY4" fmla="*/ 486728 h 533400"/>
                  <a:gd name="connsiteX5" fmla="*/ 308610 w 310515"/>
                  <a:gd name="connsiteY5" fmla="*/ 496253 h 533400"/>
                  <a:gd name="connsiteX6" fmla="*/ 308610 w 310515"/>
                  <a:gd name="connsiteY6" fmla="*/ 504825 h 533400"/>
                  <a:gd name="connsiteX7" fmla="*/ 308610 w 310515"/>
                  <a:gd name="connsiteY7" fmla="*/ 512445 h 533400"/>
                  <a:gd name="connsiteX8" fmla="*/ 308610 w 310515"/>
                  <a:gd name="connsiteY8" fmla="*/ 519113 h 533400"/>
                  <a:gd name="connsiteX9" fmla="*/ 309563 w 310515"/>
                  <a:gd name="connsiteY9" fmla="*/ 524828 h 533400"/>
                  <a:gd name="connsiteX10" fmla="*/ 310515 w 310515"/>
                  <a:gd name="connsiteY10" fmla="*/ 529590 h 533400"/>
                  <a:gd name="connsiteX11" fmla="*/ 228600 w 310515"/>
                  <a:gd name="connsiteY11" fmla="*/ 529590 h 533400"/>
                  <a:gd name="connsiteX12" fmla="*/ 227647 w 310515"/>
                  <a:gd name="connsiteY12" fmla="*/ 522923 h 533400"/>
                  <a:gd name="connsiteX13" fmla="*/ 226695 w 310515"/>
                  <a:gd name="connsiteY13" fmla="*/ 516255 h 533400"/>
                  <a:gd name="connsiteX14" fmla="*/ 226695 w 310515"/>
                  <a:gd name="connsiteY14" fmla="*/ 509588 h 533400"/>
                  <a:gd name="connsiteX15" fmla="*/ 226695 w 310515"/>
                  <a:gd name="connsiteY15" fmla="*/ 502920 h 533400"/>
                  <a:gd name="connsiteX16" fmla="*/ 226695 w 310515"/>
                  <a:gd name="connsiteY16" fmla="*/ 496253 h 533400"/>
                  <a:gd name="connsiteX17" fmla="*/ 226695 w 310515"/>
                  <a:gd name="connsiteY17" fmla="*/ 488632 h 533400"/>
                  <a:gd name="connsiteX18" fmla="*/ 226695 w 310515"/>
                  <a:gd name="connsiteY18" fmla="*/ 481013 h 533400"/>
                  <a:gd name="connsiteX19" fmla="*/ 226695 w 310515"/>
                  <a:gd name="connsiteY19" fmla="*/ 472440 h 533400"/>
                  <a:gd name="connsiteX20" fmla="*/ 223838 w 310515"/>
                  <a:gd name="connsiteY20" fmla="*/ 472440 h 533400"/>
                  <a:gd name="connsiteX21" fmla="*/ 220028 w 310515"/>
                  <a:gd name="connsiteY21" fmla="*/ 480060 h 533400"/>
                  <a:gd name="connsiteX22" fmla="*/ 216218 w 310515"/>
                  <a:gd name="connsiteY22" fmla="*/ 486728 h 533400"/>
                  <a:gd name="connsiteX23" fmla="*/ 211455 w 310515"/>
                  <a:gd name="connsiteY23" fmla="*/ 493395 h 533400"/>
                  <a:gd name="connsiteX24" fmla="*/ 206693 w 310515"/>
                  <a:gd name="connsiteY24" fmla="*/ 499110 h 533400"/>
                  <a:gd name="connsiteX25" fmla="*/ 201930 w 310515"/>
                  <a:gd name="connsiteY25" fmla="*/ 504825 h 533400"/>
                  <a:gd name="connsiteX26" fmla="*/ 196215 w 310515"/>
                  <a:gd name="connsiteY26" fmla="*/ 509588 h 533400"/>
                  <a:gd name="connsiteX27" fmla="*/ 190500 w 310515"/>
                  <a:gd name="connsiteY27" fmla="*/ 514350 h 533400"/>
                  <a:gd name="connsiteX28" fmla="*/ 184785 w 310515"/>
                  <a:gd name="connsiteY28" fmla="*/ 518160 h 533400"/>
                  <a:gd name="connsiteX29" fmla="*/ 178118 w 310515"/>
                  <a:gd name="connsiteY29" fmla="*/ 521970 h 533400"/>
                  <a:gd name="connsiteX30" fmla="*/ 171450 w 310515"/>
                  <a:gd name="connsiteY30" fmla="*/ 524828 h 533400"/>
                  <a:gd name="connsiteX31" fmla="*/ 164782 w 310515"/>
                  <a:gd name="connsiteY31" fmla="*/ 527685 h 533400"/>
                  <a:gd name="connsiteX32" fmla="*/ 158115 w 310515"/>
                  <a:gd name="connsiteY32" fmla="*/ 529590 h 533400"/>
                  <a:gd name="connsiteX33" fmla="*/ 150495 w 310515"/>
                  <a:gd name="connsiteY33" fmla="*/ 531495 h 533400"/>
                  <a:gd name="connsiteX34" fmla="*/ 142875 w 310515"/>
                  <a:gd name="connsiteY34" fmla="*/ 532448 h 533400"/>
                  <a:gd name="connsiteX35" fmla="*/ 135255 w 310515"/>
                  <a:gd name="connsiteY35" fmla="*/ 533400 h 533400"/>
                  <a:gd name="connsiteX36" fmla="*/ 126682 w 310515"/>
                  <a:gd name="connsiteY36" fmla="*/ 533400 h 533400"/>
                  <a:gd name="connsiteX37" fmla="*/ 119063 w 310515"/>
                  <a:gd name="connsiteY37" fmla="*/ 533400 h 533400"/>
                  <a:gd name="connsiteX38" fmla="*/ 111443 w 310515"/>
                  <a:gd name="connsiteY38" fmla="*/ 532448 h 533400"/>
                  <a:gd name="connsiteX39" fmla="*/ 103822 w 310515"/>
                  <a:gd name="connsiteY39" fmla="*/ 531495 h 533400"/>
                  <a:gd name="connsiteX40" fmla="*/ 96203 w 310515"/>
                  <a:gd name="connsiteY40" fmla="*/ 530543 h 533400"/>
                  <a:gd name="connsiteX41" fmla="*/ 89535 w 310515"/>
                  <a:gd name="connsiteY41" fmla="*/ 528638 h 533400"/>
                  <a:gd name="connsiteX42" fmla="*/ 82868 w 310515"/>
                  <a:gd name="connsiteY42" fmla="*/ 525780 h 533400"/>
                  <a:gd name="connsiteX43" fmla="*/ 76200 w 310515"/>
                  <a:gd name="connsiteY43" fmla="*/ 522923 h 533400"/>
                  <a:gd name="connsiteX44" fmla="*/ 69532 w 310515"/>
                  <a:gd name="connsiteY44" fmla="*/ 520065 h 533400"/>
                  <a:gd name="connsiteX45" fmla="*/ 63818 w 310515"/>
                  <a:gd name="connsiteY45" fmla="*/ 516255 h 533400"/>
                  <a:gd name="connsiteX46" fmla="*/ 58103 w 310515"/>
                  <a:gd name="connsiteY46" fmla="*/ 512445 h 533400"/>
                  <a:gd name="connsiteX47" fmla="*/ 52388 w 310515"/>
                  <a:gd name="connsiteY47" fmla="*/ 508635 h 533400"/>
                  <a:gd name="connsiteX48" fmla="*/ 47625 w 310515"/>
                  <a:gd name="connsiteY48" fmla="*/ 503873 h 533400"/>
                  <a:gd name="connsiteX49" fmla="*/ 42863 w 310515"/>
                  <a:gd name="connsiteY49" fmla="*/ 499110 h 533400"/>
                  <a:gd name="connsiteX50" fmla="*/ 38100 w 310515"/>
                  <a:gd name="connsiteY50" fmla="*/ 493395 h 533400"/>
                  <a:gd name="connsiteX51" fmla="*/ 33338 w 310515"/>
                  <a:gd name="connsiteY51" fmla="*/ 487680 h 533400"/>
                  <a:gd name="connsiteX52" fmla="*/ 29528 w 310515"/>
                  <a:gd name="connsiteY52" fmla="*/ 481013 h 533400"/>
                  <a:gd name="connsiteX53" fmla="*/ 25718 w 310515"/>
                  <a:gd name="connsiteY53" fmla="*/ 474345 h 533400"/>
                  <a:gd name="connsiteX54" fmla="*/ 21907 w 310515"/>
                  <a:gd name="connsiteY54" fmla="*/ 467678 h 533400"/>
                  <a:gd name="connsiteX55" fmla="*/ 19050 w 310515"/>
                  <a:gd name="connsiteY55" fmla="*/ 461010 h 533400"/>
                  <a:gd name="connsiteX56" fmla="*/ 16193 w 310515"/>
                  <a:gd name="connsiteY56" fmla="*/ 453390 h 533400"/>
                  <a:gd name="connsiteX57" fmla="*/ 13335 w 310515"/>
                  <a:gd name="connsiteY57" fmla="*/ 445770 h 533400"/>
                  <a:gd name="connsiteX58" fmla="*/ 10478 w 310515"/>
                  <a:gd name="connsiteY58" fmla="*/ 438150 h 533400"/>
                  <a:gd name="connsiteX59" fmla="*/ 8572 w 310515"/>
                  <a:gd name="connsiteY59" fmla="*/ 430530 h 533400"/>
                  <a:gd name="connsiteX60" fmla="*/ 6668 w 310515"/>
                  <a:gd name="connsiteY60" fmla="*/ 421957 h 533400"/>
                  <a:gd name="connsiteX61" fmla="*/ 4763 w 310515"/>
                  <a:gd name="connsiteY61" fmla="*/ 413385 h 533400"/>
                  <a:gd name="connsiteX62" fmla="*/ 3810 w 310515"/>
                  <a:gd name="connsiteY62" fmla="*/ 404813 h 533400"/>
                  <a:gd name="connsiteX63" fmla="*/ 2857 w 310515"/>
                  <a:gd name="connsiteY63" fmla="*/ 396240 h 533400"/>
                  <a:gd name="connsiteX64" fmla="*/ 1905 w 310515"/>
                  <a:gd name="connsiteY64" fmla="*/ 386715 h 533400"/>
                  <a:gd name="connsiteX65" fmla="*/ 953 w 310515"/>
                  <a:gd name="connsiteY65" fmla="*/ 377190 h 533400"/>
                  <a:gd name="connsiteX66" fmla="*/ 0 w 310515"/>
                  <a:gd name="connsiteY66" fmla="*/ 367665 h 533400"/>
                  <a:gd name="connsiteX67" fmla="*/ 0 w 310515"/>
                  <a:gd name="connsiteY67" fmla="*/ 357188 h 533400"/>
                  <a:gd name="connsiteX68" fmla="*/ 0 w 310515"/>
                  <a:gd name="connsiteY68" fmla="*/ 346710 h 533400"/>
                  <a:gd name="connsiteX69" fmla="*/ 0 w 310515"/>
                  <a:gd name="connsiteY69" fmla="*/ 332423 h 533400"/>
                  <a:gd name="connsiteX70" fmla="*/ 953 w 310515"/>
                  <a:gd name="connsiteY70" fmla="*/ 318135 h 533400"/>
                  <a:gd name="connsiteX71" fmla="*/ 1905 w 310515"/>
                  <a:gd name="connsiteY71" fmla="*/ 304800 h 533400"/>
                  <a:gd name="connsiteX72" fmla="*/ 3810 w 310515"/>
                  <a:gd name="connsiteY72" fmla="*/ 291465 h 533400"/>
                  <a:gd name="connsiteX73" fmla="*/ 5715 w 310515"/>
                  <a:gd name="connsiteY73" fmla="*/ 279083 h 533400"/>
                  <a:gd name="connsiteX74" fmla="*/ 8572 w 310515"/>
                  <a:gd name="connsiteY74" fmla="*/ 266700 h 533400"/>
                  <a:gd name="connsiteX75" fmla="*/ 11430 w 310515"/>
                  <a:gd name="connsiteY75" fmla="*/ 255270 h 533400"/>
                  <a:gd name="connsiteX76" fmla="*/ 15240 w 310515"/>
                  <a:gd name="connsiteY76" fmla="*/ 244792 h 533400"/>
                  <a:gd name="connsiteX77" fmla="*/ 19050 w 310515"/>
                  <a:gd name="connsiteY77" fmla="*/ 234315 h 533400"/>
                  <a:gd name="connsiteX78" fmla="*/ 22860 w 310515"/>
                  <a:gd name="connsiteY78" fmla="*/ 224790 h 533400"/>
                  <a:gd name="connsiteX79" fmla="*/ 27622 w 310515"/>
                  <a:gd name="connsiteY79" fmla="*/ 216217 h 533400"/>
                  <a:gd name="connsiteX80" fmla="*/ 33338 w 310515"/>
                  <a:gd name="connsiteY80" fmla="*/ 207645 h 533400"/>
                  <a:gd name="connsiteX81" fmla="*/ 36195 w 310515"/>
                  <a:gd name="connsiteY81" fmla="*/ 203835 h 533400"/>
                  <a:gd name="connsiteX82" fmla="*/ 39053 w 310515"/>
                  <a:gd name="connsiteY82" fmla="*/ 200025 h 533400"/>
                  <a:gd name="connsiteX83" fmla="*/ 41910 w 310515"/>
                  <a:gd name="connsiteY83" fmla="*/ 196215 h 533400"/>
                  <a:gd name="connsiteX84" fmla="*/ 44768 w 310515"/>
                  <a:gd name="connsiteY84" fmla="*/ 192405 h 533400"/>
                  <a:gd name="connsiteX85" fmla="*/ 47625 w 310515"/>
                  <a:gd name="connsiteY85" fmla="*/ 189548 h 533400"/>
                  <a:gd name="connsiteX86" fmla="*/ 50482 w 310515"/>
                  <a:gd name="connsiteY86" fmla="*/ 186690 h 533400"/>
                  <a:gd name="connsiteX87" fmla="*/ 54293 w 310515"/>
                  <a:gd name="connsiteY87" fmla="*/ 183833 h 533400"/>
                  <a:gd name="connsiteX88" fmla="*/ 58103 w 310515"/>
                  <a:gd name="connsiteY88" fmla="*/ 180975 h 533400"/>
                  <a:gd name="connsiteX89" fmla="*/ 61913 w 310515"/>
                  <a:gd name="connsiteY89" fmla="*/ 178117 h 533400"/>
                  <a:gd name="connsiteX90" fmla="*/ 65722 w 310515"/>
                  <a:gd name="connsiteY90" fmla="*/ 175260 h 533400"/>
                  <a:gd name="connsiteX91" fmla="*/ 69532 w 310515"/>
                  <a:gd name="connsiteY91" fmla="*/ 173355 h 533400"/>
                  <a:gd name="connsiteX92" fmla="*/ 73343 w 310515"/>
                  <a:gd name="connsiteY92" fmla="*/ 171450 h 533400"/>
                  <a:gd name="connsiteX93" fmla="*/ 77153 w 310515"/>
                  <a:gd name="connsiteY93" fmla="*/ 169545 h 533400"/>
                  <a:gd name="connsiteX94" fmla="*/ 80963 w 310515"/>
                  <a:gd name="connsiteY94" fmla="*/ 167640 h 533400"/>
                  <a:gd name="connsiteX95" fmla="*/ 84772 w 310515"/>
                  <a:gd name="connsiteY95" fmla="*/ 165735 h 533400"/>
                  <a:gd name="connsiteX96" fmla="*/ 88582 w 310515"/>
                  <a:gd name="connsiteY96" fmla="*/ 164783 h 533400"/>
                  <a:gd name="connsiteX97" fmla="*/ 92393 w 310515"/>
                  <a:gd name="connsiteY97" fmla="*/ 163830 h 533400"/>
                  <a:gd name="connsiteX98" fmla="*/ 96203 w 310515"/>
                  <a:gd name="connsiteY98" fmla="*/ 162878 h 533400"/>
                  <a:gd name="connsiteX99" fmla="*/ 100965 w 310515"/>
                  <a:gd name="connsiteY99" fmla="*/ 161925 h 533400"/>
                  <a:gd name="connsiteX100" fmla="*/ 104775 w 310515"/>
                  <a:gd name="connsiteY100" fmla="*/ 160973 h 533400"/>
                  <a:gd name="connsiteX101" fmla="*/ 109538 w 310515"/>
                  <a:gd name="connsiteY101" fmla="*/ 160020 h 533400"/>
                  <a:gd name="connsiteX102" fmla="*/ 114300 w 310515"/>
                  <a:gd name="connsiteY102" fmla="*/ 160020 h 533400"/>
                  <a:gd name="connsiteX103" fmla="*/ 119063 w 310515"/>
                  <a:gd name="connsiteY103" fmla="*/ 160020 h 533400"/>
                  <a:gd name="connsiteX104" fmla="*/ 123825 w 310515"/>
                  <a:gd name="connsiteY104" fmla="*/ 160020 h 533400"/>
                  <a:gd name="connsiteX105" fmla="*/ 132397 w 310515"/>
                  <a:gd name="connsiteY105" fmla="*/ 160020 h 533400"/>
                  <a:gd name="connsiteX106" fmla="*/ 140970 w 310515"/>
                  <a:gd name="connsiteY106" fmla="*/ 160973 h 533400"/>
                  <a:gd name="connsiteX107" fmla="*/ 149543 w 310515"/>
                  <a:gd name="connsiteY107" fmla="*/ 161925 h 533400"/>
                  <a:gd name="connsiteX108" fmla="*/ 157163 w 310515"/>
                  <a:gd name="connsiteY108" fmla="*/ 163830 h 533400"/>
                  <a:gd name="connsiteX109" fmla="*/ 164782 w 310515"/>
                  <a:gd name="connsiteY109" fmla="*/ 166688 h 533400"/>
                  <a:gd name="connsiteX110" fmla="*/ 171450 w 310515"/>
                  <a:gd name="connsiteY110" fmla="*/ 169545 h 533400"/>
                  <a:gd name="connsiteX111" fmla="*/ 178118 w 310515"/>
                  <a:gd name="connsiteY111" fmla="*/ 173355 h 533400"/>
                  <a:gd name="connsiteX112" fmla="*/ 183832 w 310515"/>
                  <a:gd name="connsiteY112" fmla="*/ 177165 h 533400"/>
                  <a:gd name="connsiteX113" fmla="*/ 189547 w 310515"/>
                  <a:gd name="connsiteY113" fmla="*/ 181928 h 533400"/>
                  <a:gd name="connsiteX114" fmla="*/ 195263 w 310515"/>
                  <a:gd name="connsiteY114" fmla="*/ 186690 h 533400"/>
                  <a:gd name="connsiteX115" fmla="*/ 200025 w 310515"/>
                  <a:gd name="connsiteY115" fmla="*/ 191453 h 533400"/>
                  <a:gd name="connsiteX116" fmla="*/ 203835 w 310515"/>
                  <a:gd name="connsiteY116" fmla="*/ 196215 h 533400"/>
                  <a:gd name="connsiteX117" fmla="*/ 207645 w 310515"/>
                  <a:gd name="connsiteY117" fmla="*/ 201930 h 533400"/>
                  <a:gd name="connsiteX118" fmla="*/ 211455 w 310515"/>
                  <a:gd name="connsiteY118" fmla="*/ 207645 h 533400"/>
                  <a:gd name="connsiteX119" fmla="*/ 215265 w 310515"/>
                  <a:gd name="connsiteY119" fmla="*/ 213360 h 533400"/>
                  <a:gd name="connsiteX120" fmla="*/ 218122 w 310515"/>
                  <a:gd name="connsiteY120" fmla="*/ 219075 h 533400"/>
                  <a:gd name="connsiteX121" fmla="*/ 220028 w 310515"/>
                  <a:gd name="connsiteY121" fmla="*/ 219075 h 533400"/>
                  <a:gd name="connsiteX122" fmla="*/ 220028 w 310515"/>
                  <a:gd name="connsiteY122" fmla="*/ 0 h 533400"/>
                  <a:gd name="connsiteX123" fmla="*/ 220980 w 310515"/>
                  <a:gd name="connsiteY123" fmla="*/ 0 h 533400"/>
                  <a:gd name="connsiteX124" fmla="*/ 87630 w 310515"/>
                  <a:gd name="connsiteY124" fmla="*/ 343853 h 533400"/>
                  <a:gd name="connsiteX125" fmla="*/ 87630 w 310515"/>
                  <a:gd name="connsiteY125" fmla="*/ 354330 h 533400"/>
                  <a:gd name="connsiteX126" fmla="*/ 87630 w 310515"/>
                  <a:gd name="connsiteY126" fmla="*/ 364808 h 533400"/>
                  <a:gd name="connsiteX127" fmla="*/ 87630 w 310515"/>
                  <a:gd name="connsiteY127" fmla="*/ 374333 h 533400"/>
                  <a:gd name="connsiteX128" fmla="*/ 88582 w 310515"/>
                  <a:gd name="connsiteY128" fmla="*/ 383858 h 533400"/>
                  <a:gd name="connsiteX129" fmla="*/ 89535 w 310515"/>
                  <a:gd name="connsiteY129" fmla="*/ 392430 h 533400"/>
                  <a:gd name="connsiteX130" fmla="*/ 90488 w 310515"/>
                  <a:gd name="connsiteY130" fmla="*/ 401003 h 533400"/>
                  <a:gd name="connsiteX131" fmla="*/ 91440 w 310515"/>
                  <a:gd name="connsiteY131" fmla="*/ 408623 h 533400"/>
                  <a:gd name="connsiteX132" fmla="*/ 92393 w 310515"/>
                  <a:gd name="connsiteY132" fmla="*/ 415290 h 533400"/>
                  <a:gd name="connsiteX133" fmla="*/ 94297 w 310515"/>
                  <a:gd name="connsiteY133" fmla="*/ 421957 h 533400"/>
                  <a:gd name="connsiteX134" fmla="*/ 96203 w 310515"/>
                  <a:gd name="connsiteY134" fmla="*/ 427673 h 533400"/>
                  <a:gd name="connsiteX135" fmla="*/ 98107 w 310515"/>
                  <a:gd name="connsiteY135" fmla="*/ 433388 h 533400"/>
                  <a:gd name="connsiteX136" fmla="*/ 100013 w 310515"/>
                  <a:gd name="connsiteY136" fmla="*/ 439103 h 533400"/>
                  <a:gd name="connsiteX137" fmla="*/ 102870 w 310515"/>
                  <a:gd name="connsiteY137" fmla="*/ 443865 h 533400"/>
                  <a:gd name="connsiteX138" fmla="*/ 105728 w 310515"/>
                  <a:gd name="connsiteY138" fmla="*/ 448628 h 533400"/>
                  <a:gd name="connsiteX139" fmla="*/ 108585 w 310515"/>
                  <a:gd name="connsiteY139" fmla="*/ 452438 h 533400"/>
                  <a:gd name="connsiteX140" fmla="*/ 111443 w 310515"/>
                  <a:gd name="connsiteY140" fmla="*/ 456248 h 533400"/>
                  <a:gd name="connsiteX141" fmla="*/ 115253 w 310515"/>
                  <a:gd name="connsiteY141" fmla="*/ 459105 h 533400"/>
                  <a:gd name="connsiteX142" fmla="*/ 119063 w 310515"/>
                  <a:gd name="connsiteY142" fmla="*/ 461963 h 533400"/>
                  <a:gd name="connsiteX143" fmla="*/ 122872 w 310515"/>
                  <a:gd name="connsiteY143" fmla="*/ 464820 h 533400"/>
                  <a:gd name="connsiteX144" fmla="*/ 127635 w 310515"/>
                  <a:gd name="connsiteY144" fmla="*/ 466725 h 533400"/>
                  <a:gd name="connsiteX145" fmla="*/ 132397 w 310515"/>
                  <a:gd name="connsiteY145" fmla="*/ 467678 h 533400"/>
                  <a:gd name="connsiteX146" fmla="*/ 138113 w 310515"/>
                  <a:gd name="connsiteY146" fmla="*/ 468630 h 533400"/>
                  <a:gd name="connsiteX147" fmla="*/ 143828 w 310515"/>
                  <a:gd name="connsiteY147" fmla="*/ 469582 h 533400"/>
                  <a:gd name="connsiteX148" fmla="*/ 150495 w 310515"/>
                  <a:gd name="connsiteY148" fmla="*/ 469582 h 533400"/>
                  <a:gd name="connsiteX149" fmla="*/ 154305 w 310515"/>
                  <a:gd name="connsiteY149" fmla="*/ 469582 h 533400"/>
                  <a:gd name="connsiteX150" fmla="*/ 158115 w 310515"/>
                  <a:gd name="connsiteY150" fmla="*/ 469582 h 533400"/>
                  <a:gd name="connsiteX151" fmla="*/ 161925 w 310515"/>
                  <a:gd name="connsiteY151" fmla="*/ 468630 h 533400"/>
                  <a:gd name="connsiteX152" fmla="*/ 165735 w 310515"/>
                  <a:gd name="connsiteY152" fmla="*/ 467678 h 533400"/>
                  <a:gd name="connsiteX153" fmla="*/ 169545 w 310515"/>
                  <a:gd name="connsiteY153" fmla="*/ 466725 h 533400"/>
                  <a:gd name="connsiteX154" fmla="*/ 173355 w 310515"/>
                  <a:gd name="connsiteY154" fmla="*/ 465773 h 533400"/>
                  <a:gd name="connsiteX155" fmla="*/ 177165 w 310515"/>
                  <a:gd name="connsiteY155" fmla="*/ 463868 h 533400"/>
                  <a:gd name="connsiteX156" fmla="*/ 180975 w 310515"/>
                  <a:gd name="connsiteY156" fmla="*/ 461963 h 533400"/>
                  <a:gd name="connsiteX157" fmla="*/ 183832 w 310515"/>
                  <a:gd name="connsiteY157" fmla="*/ 459105 h 533400"/>
                  <a:gd name="connsiteX158" fmla="*/ 186690 w 310515"/>
                  <a:gd name="connsiteY158" fmla="*/ 456248 h 533400"/>
                  <a:gd name="connsiteX159" fmla="*/ 189547 w 310515"/>
                  <a:gd name="connsiteY159" fmla="*/ 453390 h 533400"/>
                  <a:gd name="connsiteX160" fmla="*/ 192405 w 310515"/>
                  <a:gd name="connsiteY160" fmla="*/ 450532 h 533400"/>
                  <a:gd name="connsiteX161" fmla="*/ 195263 w 310515"/>
                  <a:gd name="connsiteY161" fmla="*/ 447675 h 533400"/>
                  <a:gd name="connsiteX162" fmla="*/ 198120 w 310515"/>
                  <a:gd name="connsiteY162" fmla="*/ 443865 h 533400"/>
                  <a:gd name="connsiteX163" fmla="*/ 200025 w 310515"/>
                  <a:gd name="connsiteY163" fmla="*/ 440055 h 533400"/>
                  <a:gd name="connsiteX164" fmla="*/ 202882 w 310515"/>
                  <a:gd name="connsiteY164" fmla="*/ 436245 h 533400"/>
                  <a:gd name="connsiteX165" fmla="*/ 204788 w 310515"/>
                  <a:gd name="connsiteY165" fmla="*/ 431482 h 533400"/>
                  <a:gd name="connsiteX166" fmla="*/ 206693 w 310515"/>
                  <a:gd name="connsiteY166" fmla="*/ 427673 h 533400"/>
                  <a:gd name="connsiteX167" fmla="*/ 208597 w 310515"/>
                  <a:gd name="connsiteY167" fmla="*/ 422910 h 533400"/>
                  <a:gd name="connsiteX168" fmla="*/ 210503 w 310515"/>
                  <a:gd name="connsiteY168" fmla="*/ 418148 h 533400"/>
                  <a:gd name="connsiteX169" fmla="*/ 213360 w 310515"/>
                  <a:gd name="connsiteY169" fmla="*/ 407670 h 533400"/>
                  <a:gd name="connsiteX170" fmla="*/ 216218 w 310515"/>
                  <a:gd name="connsiteY170" fmla="*/ 397193 h 533400"/>
                  <a:gd name="connsiteX171" fmla="*/ 218122 w 310515"/>
                  <a:gd name="connsiteY171" fmla="*/ 385763 h 533400"/>
                  <a:gd name="connsiteX172" fmla="*/ 220028 w 310515"/>
                  <a:gd name="connsiteY172" fmla="*/ 373380 h 533400"/>
                  <a:gd name="connsiteX173" fmla="*/ 220980 w 310515"/>
                  <a:gd name="connsiteY173" fmla="*/ 360998 h 533400"/>
                  <a:gd name="connsiteX174" fmla="*/ 220980 w 310515"/>
                  <a:gd name="connsiteY174" fmla="*/ 347663 h 533400"/>
                  <a:gd name="connsiteX175" fmla="*/ 220980 w 310515"/>
                  <a:gd name="connsiteY175" fmla="*/ 338138 h 533400"/>
                  <a:gd name="connsiteX176" fmla="*/ 220980 w 310515"/>
                  <a:gd name="connsiteY176" fmla="*/ 329565 h 533400"/>
                  <a:gd name="connsiteX177" fmla="*/ 220980 w 310515"/>
                  <a:gd name="connsiteY177" fmla="*/ 320993 h 533400"/>
                  <a:gd name="connsiteX178" fmla="*/ 220028 w 310515"/>
                  <a:gd name="connsiteY178" fmla="*/ 313373 h 533400"/>
                  <a:gd name="connsiteX179" fmla="*/ 219075 w 310515"/>
                  <a:gd name="connsiteY179" fmla="*/ 304800 h 533400"/>
                  <a:gd name="connsiteX180" fmla="*/ 218122 w 310515"/>
                  <a:gd name="connsiteY180" fmla="*/ 297180 h 533400"/>
                  <a:gd name="connsiteX181" fmla="*/ 217170 w 310515"/>
                  <a:gd name="connsiteY181" fmla="*/ 289560 h 533400"/>
                  <a:gd name="connsiteX182" fmla="*/ 215265 w 310515"/>
                  <a:gd name="connsiteY182" fmla="*/ 282893 h 533400"/>
                  <a:gd name="connsiteX183" fmla="*/ 213360 w 310515"/>
                  <a:gd name="connsiteY183" fmla="*/ 276225 h 533400"/>
                  <a:gd name="connsiteX184" fmla="*/ 211455 w 310515"/>
                  <a:gd name="connsiteY184" fmla="*/ 270510 h 533400"/>
                  <a:gd name="connsiteX185" fmla="*/ 208597 w 310515"/>
                  <a:gd name="connsiteY185" fmla="*/ 264795 h 533400"/>
                  <a:gd name="connsiteX186" fmla="*/ 204788 w 310515"/>
                  <a:gd name="connsiteY186" fmla="*/ 258128 h 533400"/>
                  <a:gd name="connsiteX187" fmla="*/ 201930 w 310515"/>
                  <a:gd name="connsiteY187" fmla="*/ 253365 h 533400"/>
                  <a:gd name="connsiteX188" fmla="*/ 199072 w 310515"/>
                  <a:gd name="connsiteY188" fmla="*/ 248603 h 533400"/>
                  <a:gd name="connsiteX189" fmla="*/ 195263 w 310515"/>
                  <a:gd name="connsiteY189" fmla="*/ 243840 h 533400"/>
                  <a:gd name="connsiteX190" fmla="*/ 191453 w 310515"/>
                  <a:gd name="connsiteY190" fmla="*/ 240030 h 533400"/>
                  <a:gd name="connsiteX191" fmla="*/ 187643 w 310515"/>
                  <a:gd name="connsiteY191" fmla="*/ 236220 h 533400"/>
                  <a:gd name="connsiteX192" fmla="*/ 183832 w 310515"/>
                  <a:gd name="connsiteY192" fmla="*/ 233363 h 533400"/>
                  <a:gd name="connsiteX193" fmla="*/ 179070 w 310515"/>
                  <a:gd name="connsiteY193" fmla="*/ 230505 h 533400"/>
                  <a:gd name="connsiteX194" fmla="*/ 174307 w 310515"/>
                  <a:gd name="connsiteY194" fmla="*/ 228600 h 533400"/>
                  <a:gd name="connsiteX195" fmla="*/ 169545 w 310515"/>
                  <a:gd name="connsiteY195" fmla="*/ 226695 h 533400"/>
                  <a:gd name="connsiteX196" fmla="*/ 163830 w 310515"/>
                  <a:gd name="connsiteY196" fmla="*/ 225742 h 533400"/>
                  <a:gd name="connsiteX197" fmla="*/ 158115 w 310515"/>
                  <a:gd name="connsiteY197" fmla="*/ 224790 h 533400"/>
                  <a:gd name="connsiteX198" fmla="*/ 152400 w 310515"/>
                  <a:gd name="connsiteY198" fmla="*/ 224790 h 533400"/>
                  <a:gd name="connsiteX199" fmla="*/ 147638 w 310515"/>
                  <a:gd name="connsiteY199" fmla="*/ 224790 h 533400"/>
                  <a:gd name="connsiteX200" fmla="*/ 143828 w 310515"/>
                  <a:gd name="connsiteY200" fmla="*/ 224790 h 533400"/>
                  <a:gd name="connsiteX201" fmla="*/ 140018 w 310515"/>
                  <a:gd name="connsiteY201" fmla="*/ 225742 h 533400"/>
                  <a:gd name="connsiteX202" fmla="*/ 136207 w 310515"/>
                  <a:gd name="connsiteY202" fmla="*/ 226695 h 533400"/>
                  <a:gd name="connsiteX203" fmla="*/ 132397 w 310515"/>
                  <a:gd name="connsiteY203" fmla="*/ 227648 h 533400"/>
                  <a:gd name="connsiteX204" fmla="*/ 128588 w 310515"/>
                  <a:gd name="connsiteY204" fmla="*/ 228600 h 533400"/>
                  <a:gd name="connsiteX205" fmla="*/ 124778 w 310515"/>
                  <a:gd name="connsiteY205" fmla="*/ 230505 h 533400"/>
                  <a:gd name="connsiteX206" fmla="*/ 121920 w 310515"/>
                  <a:gd name="connsiteY206" fmla="*/ 232410 h 533400"/>
                  <a:gd name="connsiteX207" fmla="*/ 119063 w 310515"/>
                  <a:gd name="connsiteY207" fmla="*/ 234315 h 533400"/>
                  <a:gd name="connsiteX208" fmla="*/ 116205 w 310515"/>
                  <a:gd name="connsiteY208" fmla="*/ 237173 h 533400"/>
                  <a:gd name="connsiteX209" fmla="*/ 113347 w 310515"/>
                  <a:gd name="connsiteY209" fmla="*/ 240030 h 533400"/>
                  <a:gd name="connsiteX210" fmla="*/ 110490 w 310515"/>
                  <a:gd name="connsiteY210" fmla="*/ 242888 h 533400"/>
                  <a:gd name="connsiteX211" fmla="*/ 107632 w 310515"/>
                  <a:gd name="connsiteY211" fmla="*/ 245745 h 533400"/>
                  <a:gd name="connsiteX212" fmla="*/ 104775 w 310515"/>
                  <a:gd name="connsiteY212" fmla="*/ 248603 h 533400"/>
                  <a:gd name="connsiteX213" fmla="*/ 102870 w 310515"/>
                  <a:gd name="connsiteY213" fmla="*/ 251460 h 533400"/>
                  <a:gd name="connsiteX214" fmla="*/ 100965 w 310515"/>
                  <a:gd name="connsiteY214" fmla="*/ 255270 h 533400"/>
                  <a:gd name="connsiteX215" fmla="*/ 99060 w 310515"/>
                  <a:gd name="connsiteY215" fmla="*/ 259080 h 533400"/>
                  <a:gd name="connsiteX216" fmla="*/ 97155 w 310515"/>
                  <a:gd name="connsiteY216" fmla="*/ 262890 h 533400"/>
                  <a:gd name="connsiteX217" fmla="*/ 96203 w 310515"/>
                  <a:gd name="connsiteY217" fmla="*/ 266700 h 533400"/>
                  <a:gd name="connsiteX218" fmla="*/ 94297 w 310515"/>
                  <a:gd name="connsiteY218" fmla="*/ 271463 h 533400"/>
                  <a:gd name="connsiteX219" fmla="*/ 93345 w 310515"/>
                  <a:gd name="connsiteY219" fmla="*/ 276225 h 533400"/>
                  <a:gd name="connsiteX220" fmla="*/ 92393 w 310515"/>
                  <a:gd name="connsiteY220" fmla="*/ 280988 h 533400"/>
                  <a:gd name="connsiteX221" fmla="*/ 91440 w 310515"/>
                  <a:gd name="connsiteY221" fmla="*/ 286703 h 533400"/>
                  <a:gd name="connsiteX222" fmla="*/ 90488 w 310515"/>
                  <a:gd name="connsiteY222" fmla="*/ 292418 h 533400"/>
                  <a:gd name="connsiteX223" fmla="*/ 89535 w 310515"/>
                  <a:gd name="connsiteY223" fmla="*/ 303848 h 533400"/>
                  <a:gd name="connsiteX224" fmla="*/ 88582 w 310515"/>
                  <a:gd name="connsiteY224" fmla="*/ 316230 h 533400"/>
                  <a:gd name="connsiteX225" fmla="*/ 87630 w 310515"/>
                  <a:gd name="connsiteY225" fmla="*/ 329565 h 533400"/>
                  <a:gd name="connsiteX226" fmla="*/ 87630 w 310515"/>
                  <a:gd name="connsiteY226" fmla="*/ 343853 h 533400"/>
                  <a:gd name="connsiteX227" fmla="*/ 87630 w 310515"/>
                  <a:gd name="connsiteY227" fmla="*/ 343853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</a:cxnLst>
                <a:rect l="l" t="t" r="r" b="b"/>
                <a:pathLst>
                  <a:path w="310515" h="533400">
                    <a:moveTo>
                      <a:pt x="220980" y="0"/>
                    </a:moveTo>
                    <a:lnTo>
                      <a:pt x="307657" y="0"/>
                    </a:lnTo>
                    <a:lnTo>
                      <a:pt x="307657" y="466725"/>
                    </a:lnTo>
                    <a:lnTo>
                      <a:pt x="307657" y="477203"/>
                    </a:lnTo>
                    <a:lnTo>
                      <a:pt x="308610" y="486728"/>
                    </a:lnTo>
                    <a:lnTo>
                      <a:pt x="308610" y="496253"/>
                    </a:lnTo>
                    <a:lnTo>
                      <a:pt x="308610" y="504825"/>
                    </a:lnTo>
                    <a:lnTo>
                      <a:pt x="308610" y="512445"/>
                    </a:lnTo>
                    <a:lnTo>
                      <a:pt x="308610" y="519113"/>
                    </a:lnTo>
                    <a:lnTo>
                      <a:pt x="309563" y="524828"/>
                    </a:lnTo>
                    <a:lnTo>
                      <a:pt x="310515" y="529590"/>
                    </a:lnTo>
                    <a:lnTo>
                      <a:pt x="228600" y="529590"/>
                    </a:lnTo>
                    <a:lnTo>
                      <a:pt x="227647" y="522923"/>
                    </a:lnTo>
                    <a:lnTo>
                      <a:pt x="226695" y="516255"/>
                    </a:lnTo>
                    <a:lnTo>
                      <a:pt x="226695" y="509588"/>
                    </a:lnTo>
                    <a:lnTo>
                      <a:pt x="226695" y="502920"/>
                    </a:lnTo>
                    <a:lnTo>
                      <a:pt x="226695" y="496253"/>
                    </a:lnTo>
                    <a:lnTo>
                      <a:pt x="226695" y="488632"/>
                    </a:lnTo>
                    <a:lnTo>
                      <a:pt x="226695" y="481013"/>
                    </a:lnTo>
                    <a:lnTo>
                      <a:pt x="226695" y="472440"/>
                    </a:lnTo>
                    <a:lnTo>
                      <a:pt x="223838" y="472440"/>
                    </a:lnTo>
                    <a:lnTo>
                      <a:pt x="220028" y="480060"/>
                    </a:lnTo>
                    <a:lnTo>
                      <a:pt x="216218" y="486728"/>
                    </a:lnTo>
                    <a:lnTo>
                      <a:pt x="211455" y="493395"/>
                    </a:lnTo>
                    <a:lnTo>
                      <a:pt x="206693" y="499110"/>
                    </a:lnTo>
                    <a:lnTo>
                      <a:pt x="201930" y="504825"/>
                    </a:lnTo>
                    <a:lnTo>
                      <a:pt x="196215" y="509588"/>
                    </a:lnTo>
                    <a:lnTo>
                      <a:pt x="190500" y="514350"/>
                    </a:lnTo>
                    <a:lnTo>
                      <a:pt x="184785" y="518160"/>
                    </a:lnTo>
                    <a:lnTo>
                      <a:pt x="178118" y="521970"/>
                    </a:lnTo>
                    <a:lnTo>
                      <a:pt x="171450" y="524828"/>
                    </a:lnTo>
                    <a:lnTo>
                      <a:pt x="164782" y="527685"/>
                    </a:lnTo>
                    <a:lnTo>
                      <a:pt x="158115" y="529590"/>
                    </a:lnTo>
                    <a:lnTo>
                      <a:pt x="150495" y="531495"/>
                    </a:lnTo>
                    <a:lnTo>
                      <a:pt x="142875" y="532448"/>
                    </a:lnTo>
                    <a:lnTo>
                      <a:pt x="135255" y="533400"/>
                    </a:lnTo>
                    <a:lnTo>
                      <a:pt x="126682" y="533400"/>
                    </a:lnTo>
                    <a:lnTo>
                      <a:pt x="119063" y="533400"/>
                    </a:lnTo>
                    <a:lnTo>
                      <a:pt x="111443" y="532448"/>
                    </a:lnTo>
                    <a:lnTo>
                      <a:pt x="103822" y="531495"/>
                    </a:lnTo>
                    <a:lnTo>
                      <a:pt x="96203" y="530543"/>
                    </a:lnTo>
                    <a:lnTo>
                      <a:pt x="89535" y="528638"/>
                    </a:lnTo>
                    <a:lnTo>
                      <a:pt x="82868" y="525780"/>
                    </a:lnTo>
                    <a:lnTo>
                      <a:pt x="76200" y="522923"/>
                    </a:lnTo>
                    <a:lnTo>
                      <a:pt x="69532" y="520065"/>
                    </a:lnTo>
                    <a:lnTo>
                      <a:pt x="63818" y="516255"/>
                    </a:lnTo>
                    <a:lnTo>
                      <a:pt x="58103" y="512445"/>
                    </a:lnTo>
                    <a:lnTo>
                      <a:pt x="52388" y="508635"/>
                    </a:lnTo>
                    <a:lnTo>
                      <a:pt x="47625" y="503873"/>
                    </a:lnTo>
                    <a:lnTo>
                      <a:pt x="42863" y="499110"/>
                    </a:lnTo>
                    <a:lnTo>
                      <a:pt x="38100" y="493395"/>
                    </a:lnTo>
                    <a:lnTo>
                      <a:pt x="33338" y="487680"/>
                    </a:lnTo>
                    <a:lnTo>
                      <a:pt x="29528" y="481013"/>
                    </a:lnTo>
                    <a:lnTo>
                      <a:pt x="25718" y="474345"/>
                    </a:lnTo>
                    <a:lnTo>
                      <a:pt x="21907" y="467678"/>
                    </a:lnTo>
                    <a:lnTo>
                      <a:pt x="19050" y="461010"/>
                    </a:lnTo>
                    <a:lnTo>
                      <a:pt x="16193" y="453390"/>
                    </a:lnTo>
                    <a:lnTo>
                      <a:pt x="13335" y="445770"/>
                    </a:lnTo>
                    <a:lnTo>
                      <a:pt x="10478" y="438150"/>
                    </a:lnTo>
                    <a:lnTo>
                      <a:pt x="8572" y="430530"/>
                    </a:lnTo>
                    <a:lnTo>
                      <a:pt x="6668" y="421957"/>
                    </a:lnTo>
                    <a:lnTo>
                      <a:pt x="4763" y="413385"/>
                    </a:lnTo>
                    <a:lnTo>
                      <a:pt x="3810" y="404813"/>
                    </a:lnTo>
                    <a:lnTo>
                      <a:pt x="2857" y="396240"/>
                    </a:lnTo>
                    <a:lnTo>
                      <a:pt x="1905" y="386715"/>
                    </a:lnTo>
                    <a:lnTo>
                      <a:pt x="953" y="377190"/>
                    </a:lnTo>
                    <a:lnTo>
                      <a:pt x="0" y="367665"/>
                    </a:lnTo>
                    <a:lnTo>
                      <a:pt x="0" y="357188"/>
                    </a:lnTo>
                    <a:lnTo>
                      <a:pt x="0" y="346710"/>
                    </a:lnTo>
                    <a:lnTo>
                      <a:pt x="0" y="332423"/>
                    </a:lnTo>
                    <a:lnTo>
                      <a:pt x="953" y="318135"/>
                    </a:lnTo>
                    <a:lnTo>
                      <a:pt x="1905" y="304800"/>
                    </a:lnTo>
                    <a:lnTo>
                      <a:pt x="3810" y="291465"/>
                    </a:lnTo>
                    <a:lnTo>
                      <a:pt x="5715" y="279083"/>
                    </a:lnTo>
                    <a:lnTo>
                      <a:pt x="8572" y="266700"/>
                    </a:lnTo>
                    <a:lnTo>
                      <a:pt x="11430" y="255270"/>
                    </a:lnTo>
                    <a:lnTo>
                      <a:pt x="15240" y="244792"/>
                    </a:lnTo>
                    <a:lnTo>
                      <a:pt x="19050" y="234315"/>
                    </a:lnTo>
                    <a:lnTo>
                      <a:pt x="22860" y="224790"/>
                    </a:lnTo>
                    <a:lnTo>
                      <a:pt x="27622" y="216217"/>
                    </a:lnTo>
                    <a:lnTo>
                      <a:pt x="33338" y="207645"/>
                    </a:lnTo>
                    <a:lnTo>
                      <a:pt x="36195" y="203835"/>
                    </a:lnTo>
                    <a:lnTo>
                      <a:pt x="39053" y="200025"/>
                    </a:lnTo>
                    <a:lnTo>
                      <a:pt x="41910" y="196215"/>
                    </a:lnTo>
                    <a:lnTo>
                      <a:pt x="44768" y="192405"/>
                    </a:lnTo>
                    <a:lnTo>
                      <a:pt x="47625" y="189548"/>
                    </a:lnTo>
                    <a:lnTo>
                      <a:pt x="50482" y="186690"/>
                    </a:lnTo>
                    <a:lnTo>
                      <a:pt x="54293" y="183833"/>
                    </a:lnTo>
                    <a:lnTo>
                      <a:pt x="58103" y="180975"/>
                    </a:lnTo>
                    <a:lnTo>
                      <a:pt x="61913" y="178117"/>
                    </a:lnTo>
                    <a:lnTo>
                      <a:pt x="65722" y="175260"/>
                    </a:lnTo>
                    <a:lnTo>
                      <a:pt x="69532" y="173355"/>
                    </a:lnTo>
                    <a:lnTo>
                      <a:pt x="73343" y="171450"/>
                    </a:lnTo>
                    <a:lnTo>
                      <a:pt x="77153" y="169545"/>
                    </a:lnTo>
                    <a:lnTo>
                      <a:pt x="80963" y="167640"/>
                    </a:lnTo>
                    <a:lnTo>
                      <a:pt x="84772" y="165735"/>
                    </a:lnTo>
                    <a:lnTo>
                      <a:pt x="88582" y="164783"/>
                    </a:lnTo>
                    <a:lnTo>
                      <a:pt x="92393" y="163830"/>
                    </a:lnTo>
                    <a:lnTo>
                      <a:pt x="96203" y="162878"/>
                    </a:lnTo>
                    <a:lnTo>
                      <a:pt x="100965" y="161925"/>
                    </a:lnTo>
                    <a:lnTo>
                      <a:pt x="104775" y="160973"/>
                    </a:lnTo>
                    <a:lnTo>
                      <a:pt x="109538" y="160020"/>
                    </a:lnTo>
                    <a:lnTo>
                      <a:pt x="114300" y="160020"/>
                    </a:lnTo>
                    <a:lnTo>
                      <a:pt x="119063" y="160020"/>
                    </a:lnTo>
                    <a:lnTo>
                      <a:pt x="123825" y="160020"/>
                    </a:lnTo>
                    <a:lnTo>
                      <a:pt x="132397" y="160020"/>
                    </a:lnTo>
                    <a:lnTo>
                      <a:pt x="140970" y="160973"/>
                    </a:lnTo>
                    <a:lnTo>
                      <a:pt x="149543" y="161925"/>
                    </a:lnTo>
                    <a:lnTo>
                      <a:pt x="157163" y="163830"/>
                    </a:lnTo>
                    <a:lnTo>
                      <a:pt x="164782" y="166688"/>
                    </a:lnTo>
                    <a:lnTo>
                      <a:pt x="171450" y="169545"/>
                    </a:lnTo>
                    <a:lnTo>
                      <a:pt x="178118" y="173355"/>
                    </a:lnTo>
                    <a:lnTo>
                      <a:pt x="183832" y="177165"/>
                    </a:lnTo>
                    <a:lnTo>
                      <a:pt x="189547" y="181928"/>
                    </a:lnTo>
                    <a:lnTo>
                      <a:pt x="195263" y="186690"/>
                    </a:lnTo>
                    <a:lnTo>
                      <a:pt x="200025" y="191453"/>
                    </a:lnTo>
                    <a:lnTo>
                      <a:pt x="203835" y="196215"/>
                    </a:lnTo>
                    <a:lnTo>
                      <a:pt x="207645" y="201930"/>
                    </a:lnTo>
                    <a:lnTo>
                      <a:pt x="211455" y="207645"/>
                    </a:lnTo>
                    <a:lnTo>
                      <a:pt x="215265" y="213360"/>
                    </a:lnTo>
                    <a:lnTo>
                      <a:pt x="218122" y="219075"/>
                    </a:lnTo>
                    <a:lnTo>
                      <a:pt x="220028" y="219075"/>
                    </a:lnTo>
                    <a:lnTo>
                      <a:pt x="220028" y="0"/>
                    </a:lnTo>
                    <a:lnTo>
                      <a:pt x="220980" y="0"/>
                    </a:lnTo>
                    <a:close/>
                    <a:moveTo>
                      <a:pt x="87630" y="343853"/>
                    </a:moveTo>
                    <a:lnTo>
                      <a:pt x="87630" y="354330"/>
                    </a:lnTo>
                    <a:lnTo>
                      <a:pt x="87630" y="364808"/>
                    </a:lnTo>
                    <a:lnTo>
                      <a:pt x="87630" y="374333"/>
                    </a:lnTo>
                    <a:lnTo>
                      <a:pt x="88582" y="383858"/>
                    </a:lnTo>
                    <a:lnTo>
                      <a:pt x="89535" y="392430"/>
                    </a:lnTo>
                    <a:lnTo>
                      <a:pt x="90488" y="401003"/>
                    </a:lnTo>
                    <a:lnTo>
                      <a:pt x="91440" y="408623"/>
                    </a:lnTo>
                    <a:lnTo>
                      <a:pt x="92393" y="415290"/>
                    </a:lnTo>
                    <a:lnTo>
                      <a:pt x="94297" y="421957"/>
                    </a:lnTo>
                    <a:lnTo>
                      <a:pt x="96203" y="427673"/>
                    </a:lnTo>
                    <a:lnTo>
                      <a:pt x="98107" y="433388"/>
                    </a:lnTo>
                    <a:lnTo>
                      <a:pt x="100013" y="439103"/>
                    </a:lnTo>
                    <a:lnTo>
                      <a:pt x="102870" y="443865"/>
                    </a:lnTo>
                    <a:lnTo>
                      <a:pt x="105728" y="448628"/>
                    </a:lnTo>
                    <a:lnTo>
                      <a:pt x="108585" y="452438"/>
                    </a:lnTo>
                    <a:lnTo>
                      <a:pt x="111443" y="456248"/>
                    </a:lnTo>
                    <a:lnTo>
                      <a:pt x="115253" y="459105"/>
                    </a:lnTo>
                    <a:lnTo>
                      <a:pt x="119063" y="461963"/>
                    </a:lnTo>
                    <a:lnTo>
                      <a:pt x="122872" y="464820"/>
                    </a:lnTo>
                    <a:lnTo>
                      <a:pt x="127635" y="466725"/>
                    </a:lnTo>
                    <a:lnTo>
                      <a:pt x="132397" y="467678"/>
                    </a:lnTo>
                    <a:lnTo>
                      <a:pt x="138113" y="468630"/>
                    </a:lnTo>
                    <a:lnTo>
                      <a:pt x="143828" y="469582"/>
                    </a:lnTo>
                    <a:lnTo>
                      <a:pt x="150495" y="469582"/>
                    </a:lnTo>
                    <a:lnTo>
                      <a:pt x="154305" y="469582"/>
                    </a:lnTo>
                    <a:lnTo>
                      <a:pt x="158115" y="469582"/>
                    </a:lnTo>
                    <a:lnTo>
                      <a:pt x="161925" y="468630"/>
                    </a:lnTo>
                    <a:lnTo>
                      <a:pt x="165735" y="467678"/>
                    </a:lnTo>
                    <a:lnTo>
                      <a:pt x="169545" y="466725"/>
                    </a:lnTo>
                    <a:lnTo>
                      <a:pt x="173355" y="465773"/>
                    </a:lnTo>
                    <a:lnTo>
                      <a:pt x="177165" y="463868"/>
                    </a:lnTo>
                    <a:lnTo>
                      <a:pt x="180975" y="461963"/>
                    </a:lnTo>
                    <a:lnTo>
                      <a:pt x="183832" y="459105"/>
                    </a:lnTo>
                    <a:lnTo>
                      <a:pt x="186690" y="456248"/>
                    </a:lnTo>
                    <a:lnTo>
                      <a:pt x="189547" y="453390"/>
                    </a:lnTo>
                    <a:lnTo>
                      <a:pt x="192405" y="450532"/>
                    </a:lnTo>
                    <a:lnTo>
                      <a:pt x="195263" y="447675"/>
                    </a:lnTo>
                    <a:lnTo>
                      <a:pt x="198120" y="443865"/>
                    </a:lnTo>
                    <a:lnTo>
                      <a:pt x="200025" y="440055"/>
                    </a:lnTo>
                    <a:lnTo>
                      <a:pt x="202882" y="436245"/>
                    </a:lnTo>
                    <a:lnTo>
                      <a:pt x="204788" y="431482"/>
                    </a:lnTo>
                    <a:lnTo>
                      <a:pt x="206693" y="427673"/>
                    </a:lnTo>
                    <a:lnTo>
                      <a:pt x="208597" y="422910"/>
                    </a:lnTo>
                    <a:lnTo>
                      <a:pt x="210503" y="418148"/>
                    </a:lnTo>
                    <a:lnTo>
                      <a:pt x="213360" y="407670"/>
                    </a:lnTo>
                    <a:lnTo>
                      <a:pt x="216218" y="397193"/>
                    </a:lnTo>
                    <a:lnTo>
                      <a:pt x="218122" y="385763"/>
                    </a:lnTo>
                    <a:lnTo>
                      <a:pt x="220028" y="373380"/>
                    </a:lnTo>
                    <a:lnTo>
                      <a:pt x="220980" y="360998"/>
                    </a:lnTo>
                    <a:lnTo>
                      <a:pt x="220980" y="347663"/>
                    </a:lnTo>
                    <a:lnTo>
                      <a:pt x="220980" y="338138"/>
                    </a:lnTo>
                    <a:lnTo>
                      <a:pt x="220980" y="329565"/>
                    </a:lnTo>
                    <a:lnTo>
                      <a:pt x="220980" y="320993"/>
                    </a:lnTo>
                    <a:lnTo>
                      <a:pt x="220028" y="313373"/>
                    </a:lnTo>
                    <a:lnTo>
                      <a:pt x="219075" y="304800"/>
                    </a:lnTo>
                    <a:lnTo>
                      <a:pt x="218122" y="297180"/>
                    </a:lnTo>
                    <a:lnTo>
                      <a:pt x="217170" y="289560"/>
                    </a:lnTo>
                    <a:lnTo>
                      <a:pt x="215265" y="282893"/>
                    </a:lnTo>
                    <a:lnTo>
                      <a:pt x="213360" y="276225"/>
                    </a:lnTo>
                    <a:lnTo>
                      <a:pt x="211455" y="270510"/>
                    </a:lnTo>
                    <a:lnTo>
                      <a:pt x="208597" y="264795"/>
                    </a:lnTo>
                    <a:lnTo>
                      <a:pt x="204788" y="258128"/>
                    </a:lnTo>
                    <a:lnTo>
                      <a:pt x="201930" y="253365"/>
                    </a:lnTo>
                    <a:lnTo>
                      <a:pt x="199072" y="248603"/>
                    </a:lnTo>
                    <a:lnTo>
                      <a:pt x="195263" y="243840"/>
                    </a:lnTo>
                    <a:lnTo>
                      <a:pt x="191453" y="240030"/>
                    </a:lnTo>
                    <a:lnTo>
                      <a:pt x="187643" y="236220"/>
                    </a:lnTo>
                    <a:lnTo>
                      <a:pt x="183832" y="233363"/>
                    </a:lnTo>
                    <a:lnTo>
                      <a:pt x="179070" y="230505"/>
                    </a:lnTo>
                    <a:lnTo>
                      <a:pt x="174307" y="228600"/>
                    </a:lnTo>
                    <a:lnTo>
                      <a:pt x="169545" y="226695"/>
                    </a:lnTo>
                    <a:lnTo>
                      <a:pt x="163830" y="225742"/>
                    </a:lnTo>
                    <a:lnTo>
                      <a:pt x="158115" y="224790"/>
                    </a:lnTo>
                    <a:lnTo>
                      <a:pt x="152400" y="224790"/>
                    </a:lnTo>
                    <a:lnTo>
                      <a:pt x="147638" y="224790"/>
                    </a:lnTo>
                    <a:lnTo>
                      <a:pt x="143828" y="224790"/>
                    </a:lnTo>
                    <a:lnTo>
                      <a:pt x="140018" y="225742"/>
                    </a:lnTo>
                    <a:lnTo>
                      <a:pt x="136207" y="226695"/>
                    </a:lnTo>
                    <a:lnTo>
                      <a:pt x="132397" y="227648"/>
                    </a:lnTo>
                    <a:lnTo>
                      <a:pt x="128588" y="228600"/>
                    </a:lnTo>
                    <a:lnTo>
                      <a:pt x="124778" y="230505"/>
                    </a:lnTo>
                    <a:lnTo>
                      <a:pt x="121920" y="232410"/>
                    </a:lnTo>
                    <a:lnTo>
                      <a:pt x="119063" y="234315"/>
                    </a:lnTo>
                    <a:lnTo>
                      <a:pt x="116205" y="237173"/>
                    </a:lnTo>
                    <a:lnTo>
                      <a:pt x="113347" y="240030"/>
                    </a:lnTo>
                    <a:lnTo>
                      <a:pt x="110490" y="242888"/>
                    </a:lnTo>
                    <a:lnTo>
                      <a:pt x="107632" y="245745"/>
                    </a:lnTo>
                    <a:lnTo>
                      <a:pt x="104775" y="248603"/>
                    </a:lnTo>
                    <a:lnTo>
                      <a:pt x="102870" y="251460"/>
                    </a:lnTo>
                    <a:lnTo>
                      <a:pt x="100965" y="255270"/>
                    </a:lnTo>
                    <a:lnTo>
                      <a:pt x="99060" y="259080"/>
                    </a:lnTo>
                    <a:lnTo>
                      <a:pt x="97155" y="262890"/>
                    </a:lnTo>
                    <a:lnTo>
                      <a:pt x="96203" y="266700"/>
                    </a:lnTo>
                    <a:lnTo>
                      <a:pt x="94297" y="271463"/>
                    </a:lnTo>
                    <a:lnTo>
                      <a:pt x="93345" y="276225"/>
                    </a:lnTo>
                    <a:lnTo>
                      <a:pt x="92393" y="280988"/>
                    </a:lnTo>
                    <a:lnTo>
                      <a:pt x="91440" y="286703"/>
                    </a:lnTo>
                    <a:lnTo>
                      <a:pt x="90488" y="292418"/>
                    </a:lnTo>
                    <a:lnTo>
                      <a:pt x="89535" y="303848"/>
                    </a:lnTo>
                    <a:lnTo>
                      <a:pt x="88582" y="316230"/>
                    </a:lnTo>
                    <a:lnTo>
                      <a:pt x="87630" y="329565"/>
                    </a:lnTo>
                    <a:lnTo>
                      <a:pt x="87630" y="343853"/>
                    </a:lnTo>
                    <a:lnTo>
                      <a:pt x="87630" y="343853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2808214B-2496-8ED2-F168-9D4C1B97D254}"/>
                  </a:ext>
                </a:extLst>
              </p:cNvPr>
              <p:cNvSpPr/>
              <p:nvPr/>
            </p:nvSpPr>
            <p:spPr>
              <a:xfrm>
                <a:off x="9913302" y="4008209"/>
                <a:ext cx="326707" cy="493394"/>
              </a:xfrm>
              <a:custGeom>
                <a:avLst/>
                <a:gdLst>
                  <a:gd name="connsiteX0" fmla="*/ 0 w 326707"/>
                  <a:gd name="connsiteY0" fmla="*/ 493395 h 493394"/>
                  <a:gd name="connsiteX1" fmla="*/ 0 w 326707"/>
                  <a:gd name="connsiteY1" fmla="*/ 0 h 493394"/>
                  <a:gd name="connsiteX2" fmla="*/ 90488 w 326707"/>
                  <a:gd name="connsiteY2" fmla="*/ 0 h 493394"/>
                  <a:gd name="connsiteX3" fmla="*/ 90488 w 326707"/>
                  <a:gd name="connsiteY3" fmla="*/ 200977 h 493394"/>
                  <a:gd name="connsiteX4" fmla="*/ 236220 w 326707"/>
                  <a:gd name="connsiteY4" fmla="*/ 200977 h 493394"/>
                  <a:gd name="connsiteX5" fmla="*/ 236220 w 326707"/>
                  <a:gd name="connsiteY5" fmla="*/ 0 h 493394"/>
                  <a:gd name="connsiteX6" fmla="*/ 326707 w 326707"/>
                  <a:gd name="connsiteY6" fmla="*/ 0 h 493394"/>
                  <a:gd name="connsiteX7" fmla="*/ 326707 w 326707"/>
                  <a:gd name="connsiteY7" fmla="*/ 493395 h 493394"/>
                  <a:gd name="connsiteX8" fmla="*/ 236220 w 326707"/>
                  <a:gd name="connsiteY8" fmla="*/ 493395 h 493394"/>
                  <a:gd name="connsiteX9" fmla="*/ 236220 w 326707"/>
                  <a:gd name="connsiteY9" fmla="*/ 275272 h 493394"/>
                  <a:gd name="connsiteX10" fmla="*/ 90488 w 326707"/>
                  <a:gd name="connsiteY10" fmla="*/ 275272 h 493394"/>
                  <a:gd name="connsiteX11" fmla="*/ 90488 w 326707"/>
                  <a:gd name="connsiteY11" fmla="*/ 493395 h 493394"/>
                  <a:gd name="connsiteX12" fmla="*/ 0 w 326707"/>
                  <a:gd name="connsiteY12" fmla="*/ 493395 h 493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26707" h="493394">
                    <a:moveTo>
                      <a:pt x="0" y="493395"/>
                    </a:moveTo>
                    <a:lnTo>
                      <a:pt x="0" y="0"/>
                    </a:lnTo>
                    <a:lnTo>
                      <a:pt x="90488" y="0"/>
                    </a:lnTo>
                    <a:lnTo>
                      <a:pt x="90488" y="200977"/>
                    </a:lnTo>
                    <a:lnTo>
                      <a:pt x="236220" y="200977"/>
                    </a:lnTo>
                    <a:lnTo>
                      <a:pt x="236220" y="0"/>
                    </a:lnTo>
                    <a:lnTo>
                      <a:pt x="326707" y="0"/>
                    </a:lnTo>
                    <a:lnTo>
                      <a:pt x="326707" y="493395"/>
                    </a:lnTo>
                    <a:lnTo>
                      <a:pt x="236220" y="493395"/>
                    </a:lnTo>
                    <a:lnTo>
                      <a:pt x="236220" y="275272"/>
                    </a:lnTo>
                    <a:lnTo>
                      <a:pt x="90488" y="275272"/>
                    </a:lnTo>
                    <a:lnTo>
                      <a:pt x="90488" y="493395"/>
                    </a:lnTo>
                    <a:lnTo>
                      <a:pt x="0" y="49339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B60645A9-D9C1-66A9-982D-B0A4251EEBF9}"/>
                  </a:ext>
                </a:extLst>
              </p:cNvPr>
              <p:cNvSpPr/>
              <p:nvPr/>
            </p:nvSpPr>
            <p:spPr>
              <a:xfrm>
                <a:off x="10289539" y="4132034"/>
                <a:ext cx="296227" cy="373380"/>
              </a:xfrm>
              <a:custGeom>
                <a:avLst/>
                <a:gdLst>
                  <a:gd name="connsiteX0" fmla="*/ 274320 w 296227"/>
                  <a:gd name="connsiteY0" fmla="*/ 281940 h 373380"/>
                  <a:gd name="connsiteX1" fmla="*/ 278130 w 296227"/>
                  <a:gd name="connsiteY1" fmla="*/ 351472 h 373380"/>
                  <a:gd name="connsiteX2" fmla="*/ 263842 w 296227"/>
                  <a:gd name="connsiteY2" fmla="*/ 357187 h 373380"/>
                  <a:gd name="connsiteX3" fmla="*/ 249555 w 296227"/>
                  <a:gd name="connsiteY3" fmla="*/ 361950 h 373380"/>
                  <a:gd name="connsiteX4" fmla="*/ 236220 w 296227"/>
                  <a:gd name="connsiteY4" fmla="*/ 365760 h 373380"/>
                  <a:gd name="connsiteX5" fmla="*/ 221932 w 296227"/>
                  <a:gd name="connsiteY5" fmla="*/ 368618 h 373380"/>
                  <a:gd name="connsiteX6" fmla="*/ 215265 w 296227"/>
                  <a:gd name="connsiteY6" fmla="*/ 369570 h 373380"/>
                  <a:gd name="connsiteX7" fmla="*/ 208597 w 296227"/>
                  <a:gd name="connsiteY7" fmla="*/ 370522 h 373380"/>
                  <a:gd name="connsiteX8" fmla="*/ 201930 w 296227"/>
                  <a:gd name="connsiteY8" fmla="*/ 371475 h 373380"/>
                  <a:gd name="connsiteX9" fmla="*/ 195263 w 296227"/>
                  <a:gd name="connsiteY9" fmla="*/ 372428 h 373380"/>
                  <a:gd name="connsiteX10" fmla="*/ 188595 w 296227"/>
                  <a:gd name="connsiteY10" fmla="*/ 373380 h 373380"/>
                  <a:gd name="connsiteX11" fmla="*/ 181928 w 296227"/>
                  <a:gd name="connsiteY11" fmla="*/ 373380 h 373380"/>
                  <a:gd name="connsiteX12" fmla="*/ 175260 w 296227"/>
                  <a:gd name="connsiteY12" fmla="*/ 373380 h 373380"/>
                  <a:gd name="connsiteX13" fmla="*/ 167640 w 296227"/>
                  <a:gd name="connsiteY13" fmla="*/ 373380 h 373380"/>
                  <a:gd name="connsiteX14" fmla="*/ 160972 w 296227"/>
                  <a:gd name="connsiteY14" fmla="*/ 373380 h 373380"/>
                  <a:gd name="connsiteX15" fmla="*/ 154305 w 296227"/>
                  <a:gd name="connsiteY15" fmla="*/ 373380 h 373380"/>
                  <a:gd name="connsiteX16" fmla="*/ 147638 w 296227"/>
                  <a:gd name="connsiteY16" fmla="*/ 373380 h 373380"/>
                  <a:gd name="connsiteX17" fmla="*/ 140970 w 296227"/>
                  <a:gd name="connsiteY17" fmla="*/ 372428 h 373380"/>
                  <a:gd name="connsiteX18" fmla="*/ 134303 w 296227"/>
                  <a:gd name="connsiteY18" fmla="*/ 371475 h 373380"/>
                  <a:gd name="connsiteX19" fmla="*/ 127635 w 296227"/>
                  <a:gd name="connsiteY19" fmla="*/ 370522 h 373380"/>
                  <a:gd name="connsiteX20" fmla="*/ 121920 w 296227"/>
                  <a:gd name="connsiteY20" fmla="*/ 369570 h 373380"/>
                  <a:gd name="connsiteX21" fmla="*/ 116205 w 296227"/>
                  <a:gd name="connsiteY21" fmla="*/ 368618 h 373380"/>
                  <a:gd name="connsiteX22" fmla="*/ 110490 w 296227"/>
                  <a:gd name="connsiteY22" fmla="*/ 366712 h 373380"/>
                  <a:gd name="connsiteX23" fmla="*/ 104775 w 296227"/>
                  <a:gd name="connsiteY23" fmla="*/ 364808 h 373380"/>
                  <a:gd name="connsiteX24" fmla="*/ 99060 w 296227"/>
                  <a:gd name="connsiteY24" fmla="*/ 362903 h 373380"/>
                  <a:gd name="connsiteX25" fmla="*/ 93345 w 296227"/>
                  <a:gd name="connsiteY25" fmla="*/ 360045 h 373380"/>
                  <a:gd name="connsiteX26" fmla="*/ 87630 w 296227"/>
                  <a:gd name="connsiteY26" fmla="*/ 358140 h 373380"/>
                  <a:gd name="connsiteX27" fmla="*/ 82867 w 296227"/>
                  <a:gd name="connsiteY27" fmla="*/ 355283 h 373380"/>
                  <a:gd name="connsiteX28" fmla="*/ 77153 w 296227"/>
                  <a:gd name="connsiteY28" fmla="*/ 352425 h 373380"/>
                  <a:gd name="connsiteX29" fmla="*/ 72390 w 296227"/>
                  <a:gd name="connsiteY29" fmla="*/ 349568 h 373380"/>
                  <a:gd name="connsiteX30" fmla="*/ 67628 w 296227"/>
                  <a:gd name="connsiteY30" fmla="*/ 346710 h 373380"/>
                  <a:gd name="connsiteX31" fmla="*/ 62865 w 296227"/>
                  <a:gd name="connsiteY31" fmla="*/ 343853 h 373380"/>
                  <a:gd name="connsiteX32" fmla="*/ 58103 w 296227"/>
                  <a:gd name="connsiteY32" fmla="*/ 340995 h 373380"/>
                  <a:gd name="connsiteX33" fmla="*/ 54292 w 296227"/>
                  <a:gd name="connsiteY33" fmla="*/ 337185 h 373380"/>
                  <a:gd name="connsiteX34" fmla="*/ 50482 w 296227"/>
                  <a:gd name="connsiteY34" fmla="*/ 333375 h 373380"/>
                  <a:gd name="connsiteX35" fmla="*/ 46672 w 296227"/>
                  <a:gd name="connsiteY35" fmla="*/ 329565 h 373380"/>
                  <a:gd name="connsiteX36" fmla="*/ 42863 w 296227"/>
                  <a:gd name="connsiteY36" fmla="*/ 325755 h 373380"/>
                  <a:gd name="connsiteX37" fmla="*/ 39053 w 296227"/>
                  <a:gd name="connsiteY37" fmla="*/ 321945 h 373380"/>
                  <a:gd name="connsiteX38" fmla="*/ 37147 w 296227"/>
                  <a:gd name="connsiteY38" fmla="*/ 317183 h 373380"/>
                  <a:gd name="connsiteX39" fmla="*/ 34290 w 296227"/>
                  <a:gd name="connsiteY39" fmla="*/ 313372 h 373380"/>
                  <a:gd name="connsiteX40" fmla="*/ 31432 w 296227"/>
                  <a:gd name="connsiteY40" fmla="*/ 308610 h 373380"/>
                  <a:gd name="connsiteX41" fmla="*/ 28575 w 296227"/>
                  <a:gd name="connsiteY41" fmla="*/ 303847 h 373380"/>
                  <a:gd name="connsiteX42" fmla="*/ 25717 w 296227"/>
                  <a:gd name="connsiteY42" fmla="*/ 299085 h 373380"/>
                  <a:gd name="connsiteX43" fmla="*/ 22860 w 296227"/>
                  <a:gd name="connsiteY43" fmla="*/ 294322 h 373380"/>
                  <a:gd name="connsiteX44" fmla="*/ 20003 w 296227"/>
                  <a:gd name="connsiteY44" fmla="*/ 289560 h 373380"/>
                  <a:gd name="connsiteX45" fmla="*/ 18097 w 296227"/>
                  <a:gd name="connsiteY45" fmla="*/ 284797 h 373380"/>
                  <a:gd name="connsiteX46" fmla="*/ 14288 w 296227"/>
                  <a:gd name="connsiteY46" fmla="*/ 274320 h 373380"/>
                  <a:gd name="connsiteX47" fmla="*/ 10478 w 296227"/>
                  <a:gd name="connsiteY47" fmla="*/ 263843 h 373380"/>
                  <a:gd name="connsiteX48" fmla="*/ 7620 w 296227"/>
                  <a:gd name="connsiteY48" fmla="*/ 253365 h 373380"/>
                  <a:gd name="connsiteX49" fmla="*/ 4763 w 296227"/>
                  <a:gd name="connsiteY49" fmla="*/ 241935 h 373380"/>
                  <a:gd name="connsiteX50" fmla="*/ 2857 w 296227"/>
                  <a:gd name="connsiteY50" fmla="*/ 229552 h 373380"/>
                  <a:gd name="connsiteX51" fmla="*/ 953 w 296227"/>
                  <a:gd name="connsiteY51" fmla="*/ 217170 h 373380"/>
                  <a:gd name="connsiteX52" fmla="*/ 0 w 296227"/>
                  <a:gd name="connsiteY52" fmla="*/ 204788 h 373380"/>
                  <a:gd name="connsiteX53" fmla="*/ 0 w 296227"/>
                  <a:gd name="connsiteY53" fmla="*/ 192405 h 373380"/>
                  <a:gd name="connsiteX54" fmla="*/ 0 w 296227"/>
                  <a:gd name="connsiteY54" fmla="*/ 179070 h 373380"/>
                  <a:gd name="connsiteX55" fmla="*/ 953 w 296227"/>
                  <a:gd name="connsiteY55" fmla="*/ 165735 h 373380"/>
                  <a:gd name="connsiteX56" fmla="*/ 2857 w 296227"/>
                  <a:gd name="connsiteY56" fmla="*/ 152400 h 373380"/>
                  <a:gd name="connsiteX57" fmla="*/ 4763 w 296227"/>
                  <a:gd name="connsiteY57" fmla="*/ 140018 h 373380"/>
                  <a:gd name="connsiteX58" fmla="*/ 7620 w 296227"/>
                  <a:gd name="connsiteY58" fmla="*/ 127635 h 373380"/>
                  <a:gd name="connsiteX59" fmla="*/ 10478 w 296227"/>
                  <a:gd name="connsiteY59" fmla="*/ 116205 h 373380"/>
                  <a:gd name="connsiteX60" fmla="*/ 14288 w 296227"/>
                  <a:gd name="connsiteY60" fmla="*/ 104775 h 373380"/>
                  <a:gd name="connsiteX61" fmla="*/ 18097 w 296227"/>
                  <a:gd name="connsiteY61" fmla="*/ 93345 h 373380"/>
                  <a:gd name="connsiteX62" fmla="*/ 20003 w 296227"/>
                  <a:gd name="connsiteY62" fmla="*/ 87630 h 373380"/>
                  <a:gd name="connsiteX63" fmla="*/ 22860 w 296227"/>
                  <a:gd name="connsiteY63" fmla="*/ 81915 h 373380"/>
                  <a:gd name="connsiteX64" fmla="*/ 25717 w 296227"/>
                  <a:gd name="connsiteY64" fmla="*/ 76200 h 373380"/>
                  <a:gd name="connsiteX65" fmla="*/ 28575 w 296227"/>
                  <a:gd name="connsiteY65" fmla="*/ 71438 h 373380"/>
                  <a:gd name="connsiteX66" fmla="*/ 31432 w 296227"/>
                  <a:gd name="connsiteY66" fmla="*/ 66675 h 373380"/>
                  <a:gd name="connsiteX67" fmla="*/ 34290 w 296227"/>
                  <a:gd name="connsiteY67" fmla="*/ 61913 h 373380"/>
                  <a:gd name="connsiteX68" fmla="*/ 37147 w 296227"/>
                  <a:gd name="connsiteY68" fmla="*/ 57150 h 373380"/>
                  <a:gd name="connsiteX69" fmla="*/ 40005 w 296227"/>
                  <a:gd name="connsiteY69" fmla="*/ 53340 h 373380"/>
                  <a:gd name="connsiteX70" fmla="*/ 43815 w 296227"/>
                  <a:gd name="connsiteY70" fmla="*/ 49530 h 373380"/>
                  <a:gd name="connsiteX71" fmla="*/ 46672 w 296227"/>
                  <a:gd name="connsiteY71" fmla="*/ 45720 h 373380"/>
                  <a:gd name="connsiteX72" fmla="*/ 50482 w 296227"/>
                  <a:gd name="connsiteY72" fmla="*/ 41910 h 373380"/>
                  <a:gd name="connsiteX73" fmla="*/ 54292 w 296227"/>
                  <a:gd name="connsiteY73" fmla="*/ 38100 h 373380"/>
                  <a:gd name="connsiteX74" fmla="*/ 58103 w 296227"/>
                  <a:gd name="connsiteY74" fmla="*/ 34290 h 373380"/>
                  <a:gd name="connsiteX75" fmla="*/ 61913 w 296227"/>
                  <a:gd name="connsiteY75" fmla="*/ 30480 h 373380"/>
                  <a:gd name="connsiteX76" fmla="*/ 65722 w 296227"/>
                  <a:gd name="connsiteY76" fmla="*/ 27622 h 373380"/>
                  <a:gd name="connsiteX77" fmla="*/ 69532 w 296227"/>
                  <a:gd name="connsiteY77" fmla="*/ 24765 h 373380"/>
                  <a:gd name="connsiteX78" fmla="*/ 73342 w 296227"/>
                  <a:gd name="connsiteY78" fmla="*/ 21907 h 373380"/>
                  <a:gd name="connsiteX79" fmla="*/ 78105 w 296227"/>
                  <a:gd name="connsiteY79" fmla="*/ 19050 h 373380"/>
                  <a:gd name="connsiteX80" fmla="*/ 81915 w 296227"/>
                  <a:gd name="connsiteY80" fmla="*/ 16193 h 373380"/>
                  <a:gd name="connsiteX81" fmla="*/ 86678 w 296227"/>
                  <a:gd name="connsiteY81" fmla="*/ 13335 h 373380"/>
                  <a:gd name="connsiteX82" fmla="*/ 91440 w 296227"/>
                  <a:gd name="connsiteY82" fmla="*/ 11430 h 373380"/>
                  <a:gd name="connsiteX83" fmla="*/ 96203 w 296227"/>
                  <a:gd name="connsiteY83" fmla="*/ 9525 h 373380"/>
                  <a:gd name="connsiteX84" fmla="*/ 100965 w 296227"/>
                  <a:gd name="connsiteY84" fmla="*/ 7620 h 373380"/>
                  <a:gd name="connsiteX85" fmla="*/ 105728 w 296227"/>
                  <a:gd name="connsiteY85" fmla="*/ 5715 h 373380"/>
                  <a:gd name="connsiteX86" fmla="*/ 110490 w 296227"/>
                  <a:gd name="connsiteY86" fmla="*/ 4763 h 373380"/>
                  <a:gd name="connsiteX87" fmla="*/ 115253 w 296227"/>
                  <a:gd name="connsiteY87" fmla="*/ 3810 h 373380"/>
                  <a:gd name="connsiteX88" fmla="*/ 120967 w 296227"/>
                  <a:gd name="connsiteY88" fmla="*/ 2857 h 373380"/>
                  <a:gd name="connsiteX89" fmla="*/ 126682 w 296227"/>
                  <a:gd name="connsiteY89" fmla="*/ 1905 h 373380"/>
                  <a:gd name="connsiteX90" fmla="*/ 132397 w 296227"/>
                  <a:gd name="connsiteY90" fmla="*/ 952 h 373380"/>
                  <a:gd name="connsiteX91" fmla="*/ 138113 w 296227"/>
                  <a:gd name="connsiteY91" fmla="*/ 0 h 373380"/>
                  <a:gd name="connsiteX92" fmla="*/ 143828 w 296227"/>
                  <a:gd name="connsiteY92" fmla="*/ 0 h 373380"/>
                  <a:gd name="connsiteX93" fmla="*/ 149542 w 296227"/>
                  <a:gd name="connsiteY93" fmla="*/ 0 h 373380"/>
                  <a:gd name="connsiteX94" fmla="*/ 157163 w 296227"/>
                  <a:gd name="connsiteY94" fmla="*/ 0 h 373380"/>
                  <a:gd name="connsiteX95" fmla="*/ 164782 w 296227"/>
                  <a:gd name="connsiteY95" fmla="*/ 0 h 373380"/>
                  <a:gd name="connsiteX96" fmla="*/ 172403 w 296227"/>
                  <a:gd name="connsiteY96" fmla="*/ 952 h 373380"/>
                  <a:gd name="connsiteX97" fmla="*/ 180022 w 296227"/>
                  <a:gd name="connsiteY97" fmla="*/ 1905 h 373380"/>
                  <a:gd name="connsiteX98" fmla="*/ 186690 w 296227"/>
                  <a:gd name="connsiteY98" fmla="*/ 2857 h 373380"/>
                  <a:gd name="connsiteX99" fmla="*/ 193357 w 296227"/>
                  <a:gd name="connsiteY99" fmla="*/ 4763 h 373380"/>
                  <a:gd name="connsiteX100" fmla="*/ 200025 w 296227"/>
                  <a:gd name="connsiteY100" fmla="*/ 6668 h 373380"/>
                  <a:gd name="connsiteX101" fmla="*/ 206692 w 296227"/>
                  <a:gd name="connsiteY101" fmla="*/ 9525 h 373380"/>
                  <a:gd name="connsiteX102" fmla="*/ 213360 w 296227"/>
                  <a:gd name="connsiteY102" fmla="*/ 12382 h 373380"/>
                  <a:gd name="connsiteX103" fmla="*/ 219075 w 296227"/>
                  <a:gd name="connsiteY103" fmla="*/ 15240 h 373380"/>
                  <a:gd name="connsiteX104" fmla="*/ 225742 w 296227"/>
                  <a:gd name="connsiteY104" fmla="*/ 19050 h 373380"/>
                  <a:gd name="connsiteX105" fmla="*/ 231457 w 296227"/>
                  <a:gd name="connsiteY105" fmla="*/ 22860 h 373380"/>
                  <a:gd name="connsiteX106" fmla="*/ 237172 w 296227"/>
                  <a:gd name="connsiteY106" fmla="*/ 26670 h 373380"/>
                  <a:gd name="connsiteX107" fmla="*/ 242888 w 296227"/>
                  <a:gd name="connsiteY107" fmla="*/ 31432 h 373380"/>
                  <a:gd name="connsiteX108" fmla="*/ 247650 w 296227"/>
                  <a:gd name="connsiteY108" fmla="*/ 36195 h 373380"/>
                  <a:gd name="connsiteX109" fmla="*/ 253365 w 296227"/>
                  <a:gd name="connsiteY109" fmla="*/ 41910 h 373380"/>
                  <a:gd name="connsiteX110" fmla="*/ 258128 w 296227"/>
                  <a:gd name="connsiteY110" fmla="*/ 47625 h 373380"/>
                  <a:gd name="connsiteX111" fmla="*/ 262890 w 296227"/>
                  <a:gd name="connsiteY111" fmla="*/ 54293 h 373380"/>
                  <a:gd name="connsiteX112" fmla="*/ 266700 w 296227"/>
                  <a:gd name="connsiteY112" fmla="*/ 60960 h 373380"/>
                  <a:gd name="connsiteX113" fmla="*/ 270510 w 296227"/>
                  <a:gd name="connsiteY113" fmla="*/ 67627 h 373380"/>
                  <a:gd name="connsiteX114" fmla="*/ 274320 w 296227"/>
                  <a:gd name="connsiteY114" fmla="*/ 75247 h 373380"/>
                  <a:gd name="connsiteX115" fmla="*/ 278130 w 296227"/>
                  <a:gd name="connsiteY115" fmla="*/ 82868 h 373380"/>
                  <a:gd name="connsiteX116" fmla="*/ 280988 w 296227"/>
                  <a:gd name="connsiteY116" fmla="*/ 91440 h 373380"/>
                  <a:gd name="connsiteX117" fmla="*/ 283845 w 296227"/>
                  <a:gd name="connsiteY117" fmla="*/ 100965 h 373380"/>
                  <a:gd name="connsiteX118" fmla="*/ 286703 w 296227"/>
                  <a:gd name="connsiteY118" fmla="*/ 110490 h 373380"/>
                  <a:gd name="connsiteX119" fmla="*/ 289560 w 296227"/>
                  <a:gd name="connsiteY119" fmla="*/ 120968 h 373380"/>
                  <a:gd name="connsiteX120" fmla="*/ 291465 w 296227"/>
                  <a:gd name="connsiteY120" fmla="*/ 131445 h 373380"/>
                  <a:gd name="connsiteX121" fmla="*/ 292417 w 296227"/>
                  <a:gd name="connsiteY121" fmla="*/ 142875 h 373380"/>
                  <a:gd name="connsiteX122" fmla="*/ 294322 w 296227"/>
                  <a:gd name="connsiteY122" fmla="*/ 154305 h 373380"/>
                  <a:gd name="connsiteX123" fmla="*/ 295275 w 296227"/>
                  <a:gd name="connsiteY123" fmla="*/ 166688 h 373380"/>
                  <a:gd name="connsiteX124" fmla="*/ 296228 w 296227"/>
                  <a:gd name="connsiteY124" fmla="*/ 179070 h 373380"/>
                  <a:gd name="connsiteX125" fmla="*/ 296228 w 296227"/>
                  <a:gd name="connsiteY125" fmla="*/ 192405 h 373380"/>
                  <a:gd name="connsiteX126" fmla="*/ 296228 w 296227"/>
                  <a:gd name="connsiteY126" fmla="*/ 209550 h 373380"/>
                  <a:gd name="connsiteX127" fmla="*/ 84772 w 296227"/>
                  <a:gd name="connsiteY127" fmla="*/ 209550 h 373380"/>
                  <a:gd name="connsiteX128" fmla="*/ 84772 w 296227"/>
                  <a:gd name="connsiteY128" fmla="*/ 215265 h 373380"/>
                  <a:gd name="connsiteX129" fmla="*/ 84772 w 296227"/>
                  <a:gd name="connsiteY129" fmla="*/ 221933 h 373380"/>
                  <a:gd name="connsiteX130" fmla="*/ 84772 w 296227"/>
                  <a:gd name="connsiteY130" fmla="*/ 227647 h 373380"/>
                  <a:gd name="connsiteX131" fmla="*/ 85725 w 296227"/>
                  <a:gd name="connsiteY131" fmla="*/ 233363 h 373380"/>
                  <a:gd name="connsiteX132" fmla="*/ 86678 w 296227"/>
                  <a:gd name="connsiteY132" fmla="*/ 239077 h 373380"/>
                  <a:gd name="connsiteX133" fmla="*/ 87630 w 296227"/>
                  <a:gd name="connsiteY133" fmla="*/ 244793 h 373380"/>
                  <a:gd name="connsiteX134" fmla="*/ 88582 w 296227"/>
                  <a:gd name="connsiteY134" fmla="*/ 249555 h 373380"/>
                  <a:gd name="connsiteX135" fmla="*/ 89535 w 296227"/>
                  <a:gd name="connsiteY135" fmla="*/ 254318 h 373380"/>
                  <a:gd name="connsiteX136" fmla="*/ 90488 w 296227"/>
                  <a:gd name="connsiteY136" fmla="*/ 259080 h 373380"/>
                  <a:gd name="connsiteX137" fmla="*/ 92392 w 296227"/>
                  <a:gd name="connsiteY137" fmla="*/ 263843 h 373380"/>
                  <a:gd name="connsiteX138" fmla="*/ 94297 w 296227"/>
                  <a:gd name="connsiteY138" fmla="*/ 267653 h 373380"/>
                  <a:gd name="connsiteX139" fmla="*/ 96203 w 296227"/>
                  <a:gd name="connsiteY139" fmla="*/ 271462 h 373380"/>
                  <a:gd name="connsiteX140" fmla="*/ 98107 w 296227"/>
                  <a:gd name="connsiteY140" fmla="*/ 275272 h 373380"/>
                  <a:gd name="connsiteX141" fmla="*/ 100965 w 296227"/>
                  <a:gd name="connsiteY141" fmla="*/ 279083 h 373380"/>
                  <a:gd name="connsiteX142" fmla="*/ 103822 w 296227"/>
                  <a:gd name="connsiteY142" fmla="*/ 282893 h 373380"/>
                  <a:gd name="connsiteX143" fmla="*/ 106680 w 296227"/>
                  <a:gd name="connsiteY143" fmla="*/ 285750 h 373380"/>
                  <a:gd name="connsiteX144" fmla="*/ 109538 w 296227"/>
                  <a:gd name="connsiteY144" fmla="*/ 288608 h 373380"/>
                  <a:gd name="connsiteX145" fmla="*/ 112395 w 296227"/>
                  <a:gd name="connsiteY145" fmla="*/ 291465 h 373380"/>
                  <a:gd name="connsiteX146" fmla="*/ 115253 w 296227"/>
                  <a:gd name="connsiteY146" fmla="*/ 294322 h 373380"/>
                  <a:gd name="connsiteX147" fmla="*/ 119063 w 296227"/>
                  <a:gd name="connsiteY147" fmla="*/ 297180 h 373380"/>
                  <a:gd name="connsiteX148" fmla="*/ 122872 w 296227"/>
                  <a:gd name="connsiteY148" fmla="*/ 298133 h 373380"/>
                  <a:gd name="connsiteX149" fmla="*/ 126682 w 296227"/>
                  <a:gd name="connsiteY149" fmla="*/ 300037 h 373380"/>
                  <a:gd name="connsiteX150" fmla="*/ 130492 w 296227"/>
                  <a:gd name="connsiteY150" fmla="*/ 301943 h 373380"/>
                  <a:gd name="connsiteX151" fmla="*/ 134303 w 296227"/>
                  <a:gd name="connsiteY151" fmla="*/ 303847 h 373380"/>
                  <a:gd name="connsiteX152" fmla="*/ 139065 w 296227"/>
                  <a:gd name="connsiteY152" fmla="*/ 304800 h 373380"/>
                  <a:gd name="connsiteX153" fmla="*/ 143828 w 296227"/>
                  <a:gd name="connsiteY153" fmla="*/ 305753 h 373380"/>
                  <a:gd name="connsiteX154" fmla="*/ 148590 w 296227"/>
                  <a:gd name="connsiteY154" fmla="*/ 306705 h 373380"/>
                  <a:gd name="connsiteX155" fmla="*/ 153353 w 296227"/>
                  <a:gd name="connsiteY155" fmla="*/ 307658 h 373380"/>
                  <a:gd name="connsiteX156" fmla="*/ 159067 w 296227"/>
                  <a:gd name="connsiteY156" fmla="*/ 308610 h 373380"/>
                  <a:gd name="connsiteX157" fmla="*/ 164782 w 296227"/>
                  <a:gd name="connsiteY157" fmla="*/ 309562 h 373380"/>
                  <a:gd name="connsiteX158" fmla="*/ 170497 w 296227"/>
                  <a:gd name="connsiteY158" fmla="*/ 309562 h 373380"/>
                  <a:gd name="connsiteX159" fmla="*/ 176213 w 296227"/>
                  <a:gd name="connsiteY159" fmla="*/ 309562 h 373380"/>
                  <a:gd name="connsiteX160" fmla="*/ 188595 w 296227"/>
                  <a:gd name="connsiteY160" fmla="*/ 309562 h 373380"/>
                  <a:gd name="connsiteX161" fmla="*/ 200025 w 296227"/>
                  <a:gd name="connsiteY161" fmla="*/ 308610 h 373380"/>
                  <a:gd name="connsiteX162" fmla="*/ 210503 w 296227"/>
                  <a:gd name="connsiteY162" fmla="*/ 307658 h 373380"/>
                  <a:gd name="connsiteX163" fmla="*/ 220028 w 296227"/>
                  <a:gd name="connsiteY163" fmla="*/ 305753 h 373380"/>
                  <a:gd name="connsiteX164" fmla="*/ 228600 w 296227"/>
                  <a:gd name="connsiteY164" fmla="*/ 303847 h 373380"/>
                  <a:gd name="connsiteX165" fmla="*/ 236220 w 296227"/>
                  <a:gd name="connsiteY165" fmla="*/ 300990 h 373380"/>
                  <a:gd name="connsiteX166" fmla="*/ 243840 w 296227"/>
                  <a:gd name="connsiteY166" fmla="*/ 298133 h 373380"/>
                  <a:gd name="connsiteX167" fmla="*/ 250507 w 296227"/>
                  <a:gd name="connsiteY167" fmla="*/ 295275 h 373380"/>
                  <a:gd name="connsiteX168" fmla="*/ 256222 w 296227"/>
                  <a:gd name="connsiteY168" fmla="*/ 292418 h 373380"/>
                  <a:gd name="connsiteX169" fmla="*/ 261938 w 296227"/>
                  <a:gd name="connsiteY169" fmla="*/ 288608 h 373380"/>
                  <a:gd name="connsiteX170" fmla="*/ 267653 w 296227"/>
                  <a:gd name="connsiteY170" fmla="*/ 284797 h 373380"/>
                  <a:gd name="connsiteX171" fmla="*/ 274320 w 296227"/>
                  <a:gd name="connsiteY171" fmla="*/ 281940 h 373380"/>
                  <a:gd name="connsiteX172" fmla="*/ 274320 w 296227"/>
                  <a:gd name="connsiteY172" fmla="*/ 281940 h 373380"/>
                  <a:gd name="connsiteX173" fmla="*/ 84772 w 296227"/>
                  <a:gd name="connsiteY173" fmla="*/ 155258 h 373380"/>
                  <a:gd name="connsiteX174" fmla="*/ 210503 w 296227"/>
                  <a:gd name="connsiteY174" fmla="*/ 155258 h 373380"/>
                  <a:gd name="connsiteX175" fmla="*/ 210503 w 296227"/>
                  <a:gd name="connsiteY175" fmla="*/ 142875 h 373380"/>
                  <a:gd name="connsiteX176" fmla="*/ 209550 w 296227"/>
                  <a:gd name="connsiteY176" fmla="*/ 132397 h 373380"/>
                  <a:gd name="connsiteX177" fmla="*/ 208597 w 296227"/>
                  <a:gd name="connsiteY177" fmla="*/ 121920 h 373380"/>
                  <a:gd name="connsiteX178" fmla="*/ 206692 w 296227"/>
                  <a:gd name="connsiteY178" fmla="*/ 112395 h 373380"/>
                  <a:gd name="connsiteX179" fmla="*/ 204788 w 296227"/>
                  <a:gd name="connsiteY179" fmla="*/ 103822 h 373380"/>
                  <a:gd name="connsiteX180" fmla="*/ 201930 w 296227"/>
                  <a:gd name="connsiteY180" fmla="*/ 95250 h 373380"/>
                  <a:gd name="connsiteX181" fmla="*/ 200978 w 296227"/>
                  <a:gd name="connsiteY181" fmla="*/ 91440 h 373380"/>
                  <a:gd name="connsiteX182" fmla="*/ 199072 w 296227"/>
                  <a:gd name="connsiteY182" fmla="*/ 87630 h 373380"/>
                  <a:gd name="connsiteX183" fmla="*/ 197167 w 296227"/>
                  <a:gd name="connsiteY183" fmla="*/ 83820 h 373380"/>
                  <a:gd name="connsiteX184" fmla="*/ 195263 w 296227"/>
                  <a:gd name="connsiteY184" fmla="*/ 80963 h 373380"/>
                  <a:gd name="connsiteX185" fmla="*/ 193357 w 296227"/>
                  <a:gd name="connsiteY185" fmla="*/ 78105 h 373380"/>
                  <a:gd name="connsiteX186" fmla="*/ 191453 w 296227"/>
                  <a:gd name="connsiteY186" fmla="*/ 75247 h 373380"/>
                  <a:gd name="connsiteX187" fmla="*/ 188595 w 296227"/>
                  <a:gd name="connsiteY187" fmla="*/ 72390 h 373380"/>
                  <a:gd name="connsiteX188" fmla="*/ 186690 w 296227"/>
                  <a:gd name="connsiteY188" fmla="*/ 70485 h 373380"/>
                  <a:gd name="connsiteX189" fmla="*/ 183832 w 296227"/>
                  <a:gd name="connsiteY189" fmla="*/ 67627 h 373380"/>
                  <a:gd name="connsiteX190" fmla="*/ 180975 w 296227"/>
                  <a:gd name="connsiteY190" fmla="*/ 65722 h 373380"/>
                  <a:gd name="connsiteX191" fmla="*/ 178117 w 296227"/>
                  <a:gd name="connsiteY191" fmla="*/ 63818 h 373380"/>
                  <a:gd name="connsiteX192" fmla="*/ 175260 w 296227"/>
                  <a:gd name="connsiteY192" fmla="*/ 61913 h 373380"/>
                  <a:gd name="connsiteX193" fmla="*/ 172403 w 296227"/>
                  <a:gd name="connsiteY193" fmla="*/ 60960 h 373380"/>
                  <a:gd name="connsiteX194" fmla="*/ 169545 w 296227"/>
                  <a:gd name="connsiteY194" fmla="*/ 60007 h 373380"/>
                  <a:gd name="connsiteX195" fmla="*/ 166688 w 296227"/>
                  <a:gd name="connsiteY195" fmla="*/ 59055 h 373380"/>
                  <a:gd name="connsiteX196" fmla="*/ 163830 w 296227"/>
                  <a:gd name="connsiteY196" fmla="*/ 58102 h 373380"/>
                  <a:gd name="connsiteX197" fmla="*/ 160020 w 296227"/>
                  <a:gd name="connsiteY197" fmla="*/ 57150 h 373380"/>
                  <a:gd name="connsiteX198" fmla="*/ 157163 w 296227"/>
                  <a:gd name="connsiteY198" fmla="*/ 57150 h 373380"/>
                  <a:gd name="connsiteX199" fmla="*/ 153353 w 296227"/>
                  <a:gd name="connsiteY199" fmla="*/ 57150 h 373380"/>
                  <a:gd name="connsiteX200" fmla="*/ 149542 w 296227"/>
                  <a:gd name="connsiteY200" fmla="*/ 57150 h 373380"/>
                  <a:gd name="connsiteX201" fmla="*/ 145732 w 296227"/>
                  <a:gd name="connsiteY201" fmla="*/ 57150 h 373380"/>
                  <a:gd name="connsiteX202" fmla="*/ 141922 w 296227"/>
                  <a:gd name="connsiteY202" fmla="*/ 57150 h 373380"/>
                  <a:gd name="connsiteX203" fmla="*/ 138113 w 296227"/>
                  <a:gd name="connsiteY203" fmla="*/ 58102 h 373380"/>
                  <a:gd name="connsiteX204" fmla="*/ 134303 w 296227"/>
                  <a:gd name="connsiteY204" fmla="*/ 59055 h 373380"/>
                  <a:gd name="connsiteX205" fmla="*/ 130492 w 296227"/>
                  <a:gd name="connsiteY205" fmla="*/ 60007 h 373380"/>
                  <a:gd name="connsiteX206" fmla="*/ 126682 w 296227"/>
                  <a:gd name="connsiteY206" fmla="*/ 60960 h 373380"/>
                  <a:gd name="connsiteX207" fmla="*/ 123825 w 296227"/>
                  <a:gd name="connsiteY207" fmla="*/ 61913 h 373380"/>
                  <a:gd name="connsiteX208" fmla="*/ 120967 w 296227"/>
                  <a:gd name="connsiteY208" fmla="*/ 63818 h 373380"/>
                  <a:gd name="connsiteX209" fmla="*/ 118110 w 296227"/>
                  <a:gd name="connsiteY209" fmla="*/ 65722 h 373380"/>
                  <a:gd name="connsiteX210" fmla="*/ 115253 w 296227"/>
                  <a:gd name="connsiteY210" fmla="*/ 67627 h 373380"/>
                  <a:gd name="connsiteX211" fmla="*/ 112395 w 296227"/>
                  <a:gd name="connsiteY211" fmla="*/ 69532 h 373380"/>
                  <a:gd name="connsiteX212" fmla="*/ 109538 w 296227"/>
                  <a:gd name="connsiteY212" fmla="*/ 72390 h 373380"/>
                  <a:gd name="connsiteX213" fmla="*/ 106680 w 296227"/>
                  <a:gd name="connsiteY213" fmla="*/ 75247 h 373380"/>
                  <a:gd name="connsiteX214" fmla="*/ 103822 w 296227"/>
                  <a:gd name="connsiteY214" fmla="*/ 78105 h 373380"/>
                  <a:gd name="connsiteX215" fmla="*/ 101917 w 296227"/>
                  <a:gd name="connsiteY215" fmla="*/ 80963 h 373380"/>
                  <a:gd name="connsiteX216" fmla="*/ 100013 w 296227"/>
                  <a:gd name="connsiteY216" fmla="*/ 84772 h 373380"/>
                  <a:gd name="connsiteX217" fmla="*/ 96203 w 296227"/>
                  <a:gd name="connsiteY217" fmla="*/ 92393 h 373380"/>
                  <a:gd name="connsiteX218" fmla="*/ 92392 w 296227"/>
                  <a:gd name="connsiteY218" fmla="*/ 100013 h 373380"/>
                  <a:gd name="connsiteX219" fmla="*/ 89535 w 296227"/>
                  <a:gd name="connsiteY219" fmla="*/ 107632 h 373380"/>
                  <a:gd name="connsiteX220" fmla="*/ 87630 w 296227"/>
                  <a:gd name="connsiteY220" fmla="*/ 116205 h 373380"/>
                  <a:gd name="connsiteX221" fmla="*/ 85725 w 296227"/>
                  <a:gd name="connsiteY221" fmla="*/ 124777 h 373380"/>
                  <a:gd name="connsiteX222" fmla="*/ 83820 w 296227"/>
                  <a:gd name="connsiteY222" fmla="*/ 133350 h 373380"/>
                  <a:gd name="connsiteX223" fmla="*/ 82867 w 296227"/>
                  <a:gd name="connsiteY223" fmla="*/ 142875 h 373380"/>
                  <a:gd name="connsiteX224" fmla="*/ 84772 w 296227"/>
                  <a:gd name="connsiteY224" fmla="*/ 155258 h 373380"/>
                  <a:gd name="connsiteX225" fmla="*/ 84772 w 296227"/>
                  <a:gd name="connsiteY225" fmla="*/ 155258 h 373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</a:cxnLst>
                <a:rect l="l" t="t" r="r" b="b"/>
                <a:pathLst>
                  <a:path w="296227" h="373380">
                    <a:moveTo>
                      <a:pt x="274320" y="281940"/>
                    </a:moveTo>
                    <a:lnTo>
                      <a:pt x="278130" y="351472"/>
                    </a:lnTo>
                    <a:lnTo>
                      <a:pt x="263842" y="357187"/>
                    </a:lnTo>
                    <a:lnTo>
                      <a:pt x="249555" y="361950"/>
                    </a:lnTo>
                    <a:lnTo>
                      <a:pt x="236220" y="365760"/>
                    </a:lnTo>
                    <a:lnTo>
                      <a:pt x="221932" y="368618"/>
                    </a:lnTo>
                    <a:lnTo>
                      <a:pt x="215265" y="369570"/>
                    </a:lnTo>
                    <a:lnTo>
                      <a:pt x="208597" y="370522"/>
                    </a:lnTo>
                    <a:lnTo>
                      <a:pt x="201930" y="371475"/>
                    </a:lnTo>
                    <a:lnTo>
                      <a:pt x="195263" y="372428"/>
                    </a:lnTo>
                    <a:lnTo>
                      <a:pt x="188595" y="373380"/>
                    </a:lnTo>
                    <a:lnTo>
                      <a:pt x="181928" y="373380"/>
                    </a:lnTo>
                    <a:lnTo>
                      <a:pt x="175260" y="373380"/>
                    </a:lnTo>
                    <a:lnTo>
                      <a:pt x="167640" y="373380"/>
                    </a:lnTo>
                    <a:lnTo>
                      <a:pt x="160972" y="373380"/>
                    </a:lnTo>
                    <a:lnTo>
                      <a:pt x="154305" y="373380"/>
                    </a:lnTo>
                    <a:lnTo>
                      <a:pt x="147638" y="373380"/>
                    </a:lnTo>
                    <a:lnTo>
                      <a:pt x="140970" y="372428"/>
                    </a:lnTo>
                    <a:lnTo>
                      <a:pt x="134303" y="371475"/>
                    </a:lnTo>
                    <a:lnTo>
                      <a:pt x="127635" y="370522"/>
                    </a:lnTo>
                    <a:lnTo>
                      <a:pt x="121920" y="369570"/>
                    </a:lnTo>
                    <a:lnTo>
                      <a:pt x="116205" y="368618"/>
                    </a:lnTo>
                    <a:lnTo>
                      <a:pt x="110490" y="366712"/>
                    </a:lnTo>
                    <a:lnTo>
                      <a:pt x="104775" y="364808"/>
                    </a:lnTo>
                    <a:lnTo>
                      <a:pt x="99060" y="362903"/>
                    </a:lnTo>
                    <a:lnTo>
                      <a:pt x="93345" y="360045"/>
                    </a:lnTo>
                    <a:lnTo>
                      <a:pt x="87630" y="358140"/>
                    </a:lnTo>
                    <a:lnTo>
                      <a:pt x="82867" y="355283"/>
                    </a:lnTo>
                    <a:lnTo>
                      <a:pt x="77153" y="352425"/>
                    </a:lnTo>
                    <a:lnTo>
                      <a:pt x="72390" y="349568"/>
                    </a:lnTo>
                    <a:lnTo>
                      <a:pt x="67628" y="346710"/>
                    </a:lnTo>
                    <a:lnTo>
                      <a:pt x="62865" y="343853"/>
                    </a:lnTo>
                    <a:lnTo>
                      <a:pt x="58103" y="340995"/>
                    </a:lnTo>
                    <a:lnTo>
                      <a:pt x="54292" y="337185"/>
                    </a:lnTo>
                    <a:lnTo>
                      <a:pt x="50482" y="333375"/>
                    </a:lnTo>
                    <a:lnTo>
                      <a:pt x="46672" y="329565"/>
                    </a:lnTo>
                    <a:lnTo>
                      <a:pt x="42863" y="325755"/>
                    </a:lnTo>
                    <a:lnTo>
                      <a:pt x="39053" y="321945"/>
                    </a:lnTo>
                    <a:lnTo>
                      <a:pt x="37147" y="317183"/>
                    </a:lnTo>
                    <a:lnTo>
                      <a:pt x="34290" y="313372"/>
                    </a:lnTo>
                    <a:lnTo>
                      <a:pt x="31432" y="308610"/>
                    </a:lnTo>
                    <a:lnTo>
                      <a:pt x="28575" y="303847"/>
                    </a:lnTo>
                    <a:lnTo>
                      <a:pt x="25717" y="299085"/>
                    </a:lnTo>
                    <a:lnTo>
                      <a:pt x="22860" y="294322"/>
                    </a:lnTo>
                    <a:lnTo>
                      <a:pt x="20003" y="289560"/>
                    </a:lnTo>
                    <a:lnTo>
                      <a:pt x="18097" y="284797"/>
                    </a:lnTo>
                    <a:lnTo>
                      <a:pt x="14288" y="274320"/>
                    </a:lnTo>
                    <a:lnTo>
                      <a:pt x="10478" y="263843"/>
                    </a:lnTo>
                    <a:lnTo>
                      <a:pt x="7620" y="253365"/>
                    </a:lnTo>
                    <a:lnTo>
                      <a:pt x="4763" y="241935"/>
                    </a:lnTo>
                    <a:lnTo>
                      <a:pt x="2857" y="229552"/>
                    </a:lnTo>
                    <a:lnTo>
                      <a:pt x="953" y="217170"/>
                    </a:lnTo>
                    <a:lnTo>
                      <a:pt x="0" y="204788"/>
                    </a:lnTo>
                    <a:lnTo>
                      <a:pt x="0" y="192405"/>
                    </a:lnTo>
                    <a:lnTo>
                      <a:pt x="0" y="179070"/>
                    </a:lnTo>
                    <a:lnTo>
                      <a:pt x="953" y="165735"/>
                    </a:lnTo>
                    <a:lnTo>
                      <a:pt x="2857" y="152400"/>
                    </a:lnTo>
                    <a:lnTo>
                      <a:pt x="4763" y="140018"/>
                    </a:lnTo>
                    <a:lnTo>
                      <a:pt x="7620" y="127635"/>
                    </a:lnTo>
                    <a:lnTo>
                      <a:pt x="10478" y="116205"/>
                    </a:lnTo>
                    <a:lnTo>
                      <a:pt x="14288" y="104775"/>
                    </a:lnTo>
                    <a:lnTo>
                      <a:pt x="18097" y="93345"/>
                    </a:lnTo>
                    <a:lnTo>
                      <a:pt x="20003" y="87630"/>
                    </a:lnTo>
                    <a:lnTo>
                      <a:pt x="22860" y="81915"/>
                    </a:lnTo>
                    <a:lnTo>
                      <a:pt x="25717" y="76200"/>
                    </a:lnTo>
                    <a:lnTo>
                      <a:pt x="28575" y="71438"/>
                    </a:lnTo>
                    <a:lnTo>
                      <a:pt x="31432" y="66675"/>
                    </a:lnTo>
                    <a:lnTo>
                      <a:pt x="34290" y="61913"/>
                    </a:lnTo>
                    <a:lnTo>
                      <a:pt x="37147" y="57150"/>
                    </a:lnTo>
                    <a:lnTo>
                      <a:pt x="40005" y="53340"/>
                    </a:lnTo>
                    <a:lnTo>
                      <a:pt x="43815" y="49530"/>
                    </a:lnTo>
                    <a:lnTo>
                      <a:pt x="46672" y="45720"/>
                    </a:lnTo>
                    <a:lnTo>
                      <a:pt x="50482" y="41910"/>
                    </a:lnTo>
                    <a:lnTo>
                      <a:pt x="54292" y="38100"/>
                    </a:lnTo>
                    <a:lnTo>
                      <a:pt x="58103" y="34290"/>
                    </a:lnTo>
                    <a:lnTo>
                      <a:pt x="61913" y="30480"/>
                    </a:lnTo>
                    <a:lnTo>
                      <a:pt x="65722" y="27622"/>
                    </a:lnTo>
                    <a:lnTo>
                      <a:pt x="69532" y="24765"/>
                    </a:lnTo>
                    <a:lnTo>
                      <a:pt x="73342" y="21907"/>
                    </a:lnTo>
                    <a:lnTo>
                      <a:pt x="78105" y="19050"/>
                    </a:lnTo>
                    <a:lnTo>
                      <a:pt x="81915" y="16193"/>
                    </a:lnTo>
                    <a:lnTo>
                      <a:pt x="86678" y="13335"/>
                    </a:lnTo>
                    <a:lnTo>
                      <a:pt x="91440" y="11430"/>
                    </a:lnTo>
                    <a:lnTo>
                      <a:pt x="96203" y="9525"/>
                    </a:lnTo>
                    <a:lnTo>
                      <a:pt x="100965" y="7620"/>
                    </a:lnTo>
                    <a:lnTo>
                      <a:pt x="105728" y="5715"/>
                    </a:lnTo>
                    <a:lnTo>
                      <a:pt x="110490" y="4763"/>
                    </a:lnTo>
                    <a:lnTo>
                      <a:pt x="115253" y="3810"/>
                    </a:lnTo>
                    <a:lnTo>
                      <a:pt x="120967" y="2857"/>
                    </a:lnTo>
                    <a:lnTo>
                      <a:pt x="126682" y="1905"/>
                    </a:lnTo>
                    <a:lnTo>
                      <a:pt x="132397" y="952"/>
                    </a:lnTo>
                    <a:lnTo>
                      <a:pt x="138113" y="0"/>
                    </a:lnTo>
                    <a:lnTo>
                      <a:pt x="143828" y="0"/>
                    </a:lnTo>
                    <a:lnTo>
                      <a:pt x="149542" y="0"/>
                    </a:lnTo>
                    <a:lnTo>
                      <a:pt x="157163" y="0"/>
                    </a:lnTo>
                    <a:lnTo>
                      <a:pt x="164782" y="0"/>
                    </a:lnTo>
                    <a:lnTo>
                      <a:pt x="172403" y="952"/>
                    </a:lnTo>
                    <a:lnTo>
                      <a:pt x="180022" y="1905"/>
                    </a:lnTo>
                    <a:lnTo>
                      <a:pt x="186690" y="2857"/>
                    </a:lnTo>
                    <a:lnTo>
                      <a:pt x="193357" y="4763"/>
                    </a:lnTo>
                    <a:lnTo>
                      <a:pt x="200025" y="6668"/>
                    </a:lnTo>
                    <a:lnTo>
                      <a:pt x="206692" y="9525"/>
                    </a:lnTo>
                    <a:lnTo>
                      <a:pt x="213360" y="12382"/>
                    </a:lnTo>
                    <a:lnTo>
                      <a:pt x="219075" y="15240"/>
                    </a:lnTo>
                    <a:lnTo>
                      <a:pt x="225742" y="19050"/>
                    </a:lnTo>
                    <a:lnTo>
                      <a:pt x="231457" y="22860"/>
                    </a:lnTo>
                    <a:lnTo>
                      <a:pt x="237172" y="26670"/>
                    </a:lnTo>
                    <a:lnTo>
                      <a:pt x="242888" y="31432"/>
                    </a:lnTo>
                    <a:lnTo>
                      <a:pt x="247650" y="36195"/>
                    </a:lnTo>
                    <a:lnTo>
                      <a:pt x="253365" y="41910"/>
                    </a:lnTo>
                    <a:lnTo>
                      <a:pt x="258128" y="47625"/>
                    </a:lnTo>
                    <a:lnTo>
                      <a:pt x="262890" y="54293"/>
                    </a:lnTo>
                    <a:lnTo>
                      <a:pt x="266700" y="60960"/>
                    </a:lnTo>
                    <a:lnTo>
                      <a:pt x="270510" y="67627"/>
                    </a:lnTo>
                    <a:lnTo>
                      <a:pt x="274320" y="75247"/>
                    </a:lnTo>
                    <a:lnTo>
                      <a:pt x="278130" y="82868"/>
                    </a:lnTo>
                    <a:lnTo>
                      <a:pt x="280988" y="91440"/>
                    </a:lnTo>
                    <a:lnTo>
                      <a:pt x="283845" y="100965"/>
                    </a:lnTo>
                    <a:lnTo>
                      <a:pt x="286703" y="110490"/>
                    </a:lnTo>
                    <a:lnTo>
                      <a:pt x="289560" y="120968"/>
                    </a:lnTo>
                    <a:lnTo>
                      <a:pt x="291465" y="131445"/>
                    </a:lnTo>
                    <a:lnTo>
                      <a:pt x="292417" y="142875"/>
                    </a:lnTo>
                    <a:lnTo>
                      <a:pt x="294322" y="154305"/>
                    </a:lnTo>
                    <a:lnTo>
                      <a:pt x="295275" y="166688"/>
                    </a:lnTo>
                    <a:lnTo>
                      <a:pt x="296228" y="179070"/>
                    </a:lnTo>
                    <a:lnTo>
                      <a:pt x="296228" y="192405"/>
                    </a:lnTo>
                    <a:lnTo>
                      <a:pt x="296228" y="209550"/>
                    </a:lnTo>
                    <a:lnTo>
                      <a:pt x="84772" y="209550"/>
                    </a:lnTo>
                    <a:lnTo>
                      <a:pt x="84772" y="215265"/>
                    </a:lnTo>
                    <a:lnTo>
                      <a:pt x="84772" y="221933"/>
                    </a:lnTo>
                    <a:lnTo>
                      <a:pt x="84772" y="227647"/>
                    </a:lnTo>
                    <a:lnTo>
                      <a:pt x="85725" y="233363"/>
                    </a:lnTo>
                    <a:lnTo>
                      <a:pt x="86678" y="239077"/>
                    </a:lnTo>
                    <a:lnTo>
                      <a:pt x="87630" y="244793"/>
                    </a:lnTo>
                    <a:lnTo>
                      <a:pt x="88582" y="249555"/>
                    </a:lnTo>
                    <a:lnTo>
                      <a:pt x="89535" y="254318"/>
                    </a:lnTo>
                    <a:lnTo>
                      <a:pt x="90488" y="259080"/>
                    </a:lnTo>
                    <a:lnTo>
                      <a:pt x="92392" y="263843"/>
                    </a:lnTo>
                    <a:lnTo>
                      <a:pt x="94297" y="267653"/>
                    </a:lnTo>
                    <a:lnTo>
                      <a:pt x="96203" y="271462"/>
                    </a:lnTo>
                    <a:lnTo>
                      <a:pt x="98107" y="275272"/>
                    </a:lnTo>
                    <a:lnTo>
                      <a:pt x="100965" y="279083"/>
                    </a:lnTo>
                    <a:lnTo>
                      <a:pt x="103822" y="282893"/>
                    </a:lnTo>
                    <a:lnTo>
                      <a:pt x="106680" y="285750"/>
                    </a:lnTo>
                    <a:lnTo>
                      <a:pt x="109538" y="288608"/>
                    </a:lnTo>
                    <a:lnTo>
                      <a:pt x="112395" y="291465"/>
                    </a:lnTo>
                    <a:lnTo>
                      <a:pt x="115253" y="294322"/>
                    </a:lnTo>
                    <a:lnTo>
                      <a:pt x="119063" y="297180"/>
                    </a:lnTo>
                    <a:lnTo>
                      <a:pt x="122872" y="298133"/>
                    </a:lnTo>
                    <a:lnTo>
                      <a:pt x="126682" y="300037"/>
                    </a:lnTo>
                    <a:lnTo>
                      <a:pt x="130492" y="301943"/>
                    </a:lnTo>
                    <a:lnTo>
                      <a:pt x="134303" y="303847"/>
                    </a:lnTo>
                    <a:lnTo>
                      <a:pt x="139065" y="304800"/>
                    </a:lnTo>
                    <a:lnTo>
                      <a:pt x="143828" y="305753"/>
                    </a:lnTo>
                    <a:lnTo>
                      <a:pt x="148590" y="306705"/>
                    </a:lnTo>
                    <a:lnTo>
                      <a:pt x="153353" y="307658"/>
                    </a:lnTo>
                    <a:lnTo>
                      <a:pt x="159067" y="308610"/>
                    </a:lnTo>
                    <a:lnTo>
                      <a:pt x="164782" y="309562"/>
                    </a:lnTo>
                    <a:lnTo>
                      <a:pt x="170497" y="309562"/>
                    </a:lnTo>
                    <a:lnTo>
                      <a:pt x="176213" y="309562"/>
                    </a:lnTo>
                    <a:lnTo>
                      <a:pt x="188595" y="309562"/>
                    </a:lnTo>
                    <a:lnTo>
                      <a:pt x="200025" y="308610"/>
                    </a:lnTo>
                    <a:lnTo>
                      <a:pt x="210503" y="307658"/>
                    </a:lnTo>
                    <a:lnTo>
                      <a:pt x="220028" y="305753"/>
                    </a:lnTo>
                    <a:lnTo>
                      <a:pt x="228600" y="303847"/>
                    </a:lnTo>
                    <a:lnTo>
                      <a:pt x="236220" y="300990"/>
                    </a:lnTo>
                    <a:lnTo>
                      <a:pt x="243840" y="298133"/>
                    </a:lnTo>
                    <a:lnTo>
                      <a:pt x="250507" y="295275"/>
                    </a:lnTo>
                    <a:lnTo>
                      <a:pt x="256222" y="292418"/>
                    </a:lnTo>
                    <a:lnTo>
                      <a:pt x="261938" y="288608"/>
                    </a:lnTo>
                    <a:lnTo>
                      <a:pt x="267653" y="284797"/>
                    </a:lnTo>
                    <a:lnTo>
                      <a:pt x="274320" y="281940"/>
                    </a:lnTo>
                    <a:lnTo>
                      <a:pt x="274320" y="281940"/>
                    </a:lnTo>
                    <a:close/>
                    <a:moveTo>
                      <a:pt x="84772" y="155258"/>
                    </a:moveTo>
                    <a:lnTo>
                      <a:pt x="210503" y="155258"/>
                    </a:lnTo>
                    <a:lnTo>
                      <a:pt x="210503" y="142875"/>
                    </a:lnTo>
                    <a:lnTo>
                      <a:pt x="209550" y="132397"/>
                    </a:lnTo>
                    <a:lnTo>
                      <a:pt x="208597" y="121920"/>
                    </a:lnTo>
                    <a:lnTo>
                      <a:pt x="206692" y="112395"/>
                    </a:lnTo>
                    <a:lnTo>
                      <a:pt x="204788" y="103822"/>
                    </a:lnTo>
                    <a:lnTo>
                      <a:pt x="201930" y="95250"/>
                    </a:lnTo>
                    <a:lnTo>
                      <a:pt x="200978" y="91440"/>
                    </a:lnTo>
                    <a:lnTo>
                      <a:pt x="199072" y="87630"/>
                    </a:lnTo>
                    <a:lnTo>
                      <a:pt x="197167" y="83820"/>
                    </a:lnTo>
                    <a:lnTo>
                      <a:pt x="195263" y="80963"/>
                    </a:lnTo>
                    <a:lnTo>
                      <a:pt x="193357" y="78105"/>
                    </a:lnTo>
                    <a:lnTo>
                      <a:pt x="191453" y="75247"/>
                    </a:lnTo>
                    <a:lnTo>
                      <a:pt x="188595" y="72390"/>
                    </a:lnTo>
                    <a:lnTo>
                      <a:pt x="186690" y="70485"/>
                    </a:lnTo>
                    <a:lnTo>
                      <a:pt x="183832" y="67627"/>
                    </a:lnTo>
                    <a:lnTo>
                      <a:pt x="180975" y="65722"/>
                    </a:lnTo>
                    <a:lnTo>
                      <a:pt x="178117" y="63818"/>
                    </a:lnTo>
                    <a:lnTo>
                      <a:pt x="175260" y="61913"/>
                    </a:lnTo>
                    <a:lnTo>
                      <a:pt x="172403" y="60960"/>
                    </a:lnTo>
                    <a:lnTo>
                      <a:pt x="169545" y="60007"/>
                    </a:lnTo>
                    <a:lnTo>
                      <a:pt x="166688" y="59055"/>
                    </a:lnTo>
                    <a:lnTo>
                      <a:pt x="163830" y="58102"/>
                    </a:lnTo>
                    <a:lnTo>
                      <a:pt x="160020" y="57150"/>
                    </a:lnTo>
                    <a:lnTo>
                      <a:pt x="157163" y="57150"/>
                    </a:lnTo>
                    <a:lnTo>
                      <a:pt x="153353" y="57150"/>
                    </a:lnTo>
                    <a:lnTo>
                      <a:pt x="149542" y="57150"/>
                    </a:lnTo>
                    <a:lnTo>
                      <a:pt x="145732" y="57150"/>
                    </a:lnTo>
                    <a:lnTo>
                      <a:pt x="141922" y="57150"/>
                    </a:lnTo>
                    <a:lnTo>
                      <a:pt x="138113" y="58102"/>
                    </a:lnTo>
                    <a:lnTo>
                      <a:pt x="134303" y="59055"/>
                    </a:lnTo>
                    <a:lnTo>
                      <a:pt x="130492" y="60007"/>
                    </a:lnTo>
                    <a:lnTo>
                      <a:pt x="126682" y="60960"/>
                    </a:lnTo>
                    <a:lnTo>
                      <a:pt x="123825" y="61913"/>
                    </a:lnTo>
                    <a:lnTo>
                      <a:pt x="120967" y="63818"/>
                    </a:lnTo>
                    <a:lnTo>
                      <a:pt x="118110" y="65722"/>
                    </a:lnTo>
                    <a:lnTo>
                      <a:pt x="115253" y="67627"/>
                    </a:lnTo>
                    <a:lnTo>
                      <a:pt x="112395" y="69532"/>
                    </a:lnTo>
                    <a:lnTo>
                      <a:pt x="109538" y="72390"/>
                    </a:lnTo>
                    <a:lnTo>
                      <a:pt x="106680" y="75247"/>
                    </a:lnTo>
                    <a:lnTo>
                      <a:pt x="103822" y="78105"/>
                    </a:lnTo>
                    <a:lnTo>
                      <a:pt x="101917" y="80963"/>
                    </a:lnTo>
                    <a:lnTo>
                      <a:pt x="100013" y="84772"/>
                    </a:lnTo>
                    <a:lnTo>
                      <a:pt x="96203" y="92393"/>
                    </a:lnTo>
                    <a:lnTo>
                      <a:pt x="92392" y="100013"/>
                    </a:lnTo>
                    <a:lnTo>
                      <a:pt x="89535" y="107632"/>
                    </a:lnTo>
                    <a:lnTo>
                      <a:pt x="87630" y="116205"/>
                    </a:lnTo>
                    <a:lnTo>
                      <a:pt x="85725" y="124777"/>
                    </a:lnTo>
                    <a:lnTo>
                      <a:pt x="83820" y="133350"/>
                    </a:lnTo>
                    <a:lnTo>
                      <a:pt x="82867" y="142875"/>
                    </a:lnTo>
                    <a:lnTo>
                      <a:pt x="84772" y="155258"/>
                    </a:lnTo>
                    <a:lnTo>
                      <a:pt x="84772" y="155258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7DDA9201-63CE-0D6D-9ED0-3C20164B196D}"/>
                  </a:ext>
                </a:extLst>
              </p:cNvPr>
              <p:cNvSpPr/>
              <p:nvPr/>
            </p:nvSpPr>
            <p:spPr>
              <a:xfrm>
                <a:off x="10601959" y="4132986"/>
                <a:ext cx="296227" cy="374332"/>
              </a:xfrm>
              <a:custGeom>
                <a:avLst/>
                <a:gdLst>
                  <a:gd name="connsiteX0" fmla="*/ 40005 w 296227"/>
                  <a:gd name="connsiteY0" fmla="*/ 96203 h 374332"/>
                  <a:gd name="connsiteX1" fmla="*/ 35243 w 296227"/>
                  <a:gd name="connsiteY1" fmla="*/ 25718 h 374332"/>
                  <a:gd name="connsiteX2" fmla="*/ 47625 w 296227"/>
                  <a:gd name="connsiteY2" fmla="*/ 20003 h 374332"/>
                  <a:gd name="connsiteX3" fmla="*/ 60008 w 296227"/>
                  <a:gd name="connsiteY3" fmla="*/ 15240 h 374332"/>
                  <a:gd name="connsiteX4" fmla="*/ 73343 w 296227"/>
                  <a:gd name="connsiteY4" fmla="*/ 10478 h 374332"/>
                  <a:gd name="connsiteX5" fmla="*/ 86678 w 296227"/>
                  <a:gd name="connsiteY5" fmla="*/ 6668 h 374332"/>
                  <a:gd name="connsiteX6" fmla="*/ 93345 w 296227"/>
                  <a:gd name="connsiteY6" fmla="*/ 4763 h 374332"/>
                  <a:gd name="connsiteX7" fmla="*/ 100965 w 296227"/>
                  <a:gd name="connsiteY7" fmla="*/ 3810 h 374332"/>
                  <a:gd name="connsiteX8" fmla="*/ 108585 w 296227"/>
                  <a:gd name="connsiteY8" fmla="*/ 2857 h 374332"/>
                  <a:gd name="connsiteX9" fmla="*/ 116205 w 296227"/>
                  <a:gd name="connsiteY9" fmla="*/ 1905 h 374332"/>
                  <a:gd name="connsiteX10" fmla="*/ 124778 w 296227"/>
                  <a:gd name="connsiteY10" fmla="*/ 953 h 374332"/>
                  <a:gd name="connsiteX11" fmla="*/ 133350 w 296227"/>
                  <a:gd name="connsiteY11" fmla="*/ 0 h 374332"/>
                  <a:gd name="connsiteX12" fmla="*/ 141922 w 296227"/>
                  <a:gd name="connsiteY12" fmla="*/ 0 h 374332"/>
                  <a:gd name="connsiteX13" fmla="*/ 152400 w 296227"/>
                  <a:gd name="connsiteY13" fmla="*/ 0 h 374332"/>
                  <a:gd name="connsiteX14" fmla="*/ 165735 w 296227"/>
                  <a:gd name="connsiteY14" fmla="*/ 0 h 374332"/>
                  <a:gd name="connsiteX15" fmla="*/ 178118 w 296227"/>
                  <a:gd name="connsiteY15" fmla="*/ 953 h 374332"/>
                  <a:gd name="connsiteX16" fmla="*/ 189547 w 296227"/>
                  <a:gd name="connsiteY16" fmla="*/ 1905 h 374332"/>
                  <a:gd name="connsiteX17" fmla="*/ 200025 w 296227"/>
                  <a:gd name="connsiteY17" fmla="*/ 3810 h 374332"/>
                  <a:gd name="connsiteX18" fmla="*/ 210503 w 296227"/>
                  <a:gd name="connsiteY18" fmla="*/ 6668 h 374332"/>
                  <a:gd name="connsiteX19" fmla="*/ 220028 w 296227"/>
                  <a:gd name="connsiteY19" fmla="*/ 9525 h 374332"/>
                  <a:gd name="connsiteX20" fmla="*/ 223838 w 296227"/>
                  <a:gd name="connsiteY20" fmla="*/ 11430 h 374332"/>
                  <a:gd name="connsiteX21" fmla="*/ 228600 w 296227"/>
                  <a:gd name="connsiteY21" fmla="*/ 13335 h 374332"/>
                  <a:gd name="connsiteX22" fmla="*/ 232410 w 296227"/>
                  <a:gd name="connsiteY22" fmla="*/ 15240 h 374332"/>
                  <a:gd name="connsiteX23" fmla="*/ 236220 w 296227"/>
                  <a:gd name="connsiteY23" fmla="*/ 17145 h 374332"/>
                  <a:gd name="connsiteX24" fmla="*/ 243840 w 296227"/>
                  <a:gd name="connsiteY24" fmla="*/ 20955 h 374332"/>
                  <a:gd name="connsiteX25" fmla="*/ 250508 w 296227"/>
                  <a:gd name="connsiteY25" fmla="*/ 26670 h 374332"/>
                  <a:gd name="connsiteX26" fmla="*/ 253365 w 296227"/>
                  <a:gd name="connsiteY26" fmla="*/ 29528 h 374332"/>
                  <a:gd name="connsiteX27" fmla="*/ 256222 w 296227"/>
                  <a:gd name="connsiteY27" fmla="*/ 32385 h 374332"/>
                  <a:gd name="connsiteX28" fmla="*/ 259080 w 296227"/>
                  <a:gd name="connsiteY28" fmla="*/ 35243 h 374332"/>
                  <a:gd name="connsiteX29" fmla="*/ 261938 w 296227"/>
                  <a:gd name="connsiteY29" fmla="*/ 38100 h 374332"/>
                  <a:gd name="connsiteX30" fmla="*/ 263842 w 296227"/>
                  <a:gd name="connsiteY30" fmla="*/ 40957 h 374332"/>
                  <a:gd name="connsiteX31" fmla="*/ 266700 w 296227"/>
                  <a:gd name="connsiteY31" fmla="*/ 43815 h 374332"/>
                  <a:gd name="connsiteX32" fmla="*/ 268605 w 296227"/>
                  <a:gd name="connsiteY32" fmla="*/ 47625 h 374332"/>
                  <a:gd name="connsiteX33" fmla="*/ 271463 w 296227"/>
                  <a:gd name="connsiteY33" fmla="*/ 50482 h 374332"/>
                  <a:gd name="connsiteX34" fmla="*/ 273367 w 296227"/>
                  <a:gd name="connsiteY34" fmla="*/ 54293 h 374332"/>
                  <a:gd name="connsiteX35" fmla="*/ 275272 w 296227"/>
                  <a:gd name="connsiteY35" fmla="*/ 58103 h 374332"/>
                  <a:gd name="connsiteX36" fmla="*/ 277178 w 296227"/>
                  <a:gd name="connsiteY36" fmla="*/ 61913 h 374332"/>
                  <a:gd name="connsiteX37" fmla="*/ 279083 w 296227"/>
                  <a:gd name="connsiteY37" fmla="*/ 65723 h 374332"/>
                  <a:gd name="connsiteX38" fmla="*/ 281940 w 296227"/>
                  <a:gd name="connsiteY38" fmla="*/ 74295 h 374332"/>
                  <a:gd name="connsiteX39" fmla="*/ 283845 w 296227"/>
                  <a:gd name="connsiteY39" fmla="*/ 82868 h 374332"/>
                  <a:gd name="connsiteX40" fmla="*/ 285750 w 296227"/>
                  <a:gd name="connsiteY40" fmla="*/ 92393 h 374332"/>
                  <a:gd name="connsiteX41" fmla="*/ 287655 w 296227"/>
                  <a:gd name="connsiteY41" fmla="*/ 101918 h 374332"/>
                  <a:gd name="connsiteX42" fmla="*/ 288608 w 296227"/>
                  <a:gd name="connsiteY42" fmla="*/ 112395 h 374332"/>
                  <a:gd name="connsiteX43" fmla="*/ 289560 w 296227"/>
                  <a:gd name="connsiteY43" fmla="*/ 122873 h 374332"/>
                  <a:gd name="connsiteX44" fmla="*/ 290513 w 296227"/>
                  <a:gd name="connsiteY44" fmla="*/ 134303 h 374332"/>
                  <a:gd name="connsiteX45" fmla="*/ 290513 w 296227"/>
                  <a:gd name="connsiteY45" fmla="*/ 144780 h 374332"/>
                  <a:gd name="connsiteX46" fmla="*/ 290513 w 296227"/>
                  <a:gd name="connsiteY46" fmla="*/ 303847 h 374332"/>
                  <a:gd name="connsiteX47" fmla="*/ 290513 w 296227"/>
                  <a:gd name="connsiteY47" fmla="*/ 312420 h 374332"/>
                  <a:gd name="connsiteX48" fmla="*/ 290513 w 296227"/>
                  <a:gd name="connsiteY48" fmla="*/ 320993 h 374332"/>
                  <a:gd name="connsiteX49" fmla="*/ 290513 w 296227"/>
                  <a:gd name="connsiteY49" fmla="*/ 328613 h 374332"/>
                  <a:gd name="connsiteX50" fmla="*/ 291465 w 296227"/>
                  <a:gd name="connsiteY50" fmla="*/ 337185 h 374332"/>
                  <a:gd name="connsiteX51" fmla="*/ 292417 w 296227"/>
                  <a:gd name="connsiteY51" fmla="*/ 344805 h 374332"/>
                  <a:gd name="connsiteX52" fmla="*/ 293370 w 296227"/>
                  <a:gd name="connsiteY52" fmla="*/ 353378 h 374332"/>
                  <a:gd name="connsiteX53" fmla="*/ 294322 w 296227"/>
                  <a:gd name="connsiteY53" fmla="*/ 360997 h 374332"/>
                  <a:gd name="connsiteX54" fmla="*/ 296228 w 296227"/>
                  <a:gd name="connsiteY54" fmla="*/ 368618 h 374332"/>
                  <a:gd name="connsiteX55" fmla="*/ 217170 w 296227"/>
                  <a:gd name="connsiteY55" fmla="*/ 368618 h 374332"/>
                  <a:gd name="connsiteX56" fmla="*/ 216218 w 296227"/>
                  <a:gd name="connsiteY56" fmla="*/ 363855 h 374332"/>
                  <a:gd name="connsiteX57" fmla="*/ 215265 w 296227"/>
                  <a:gd name="connsiteY57" fmla="*/ 359093 h 374332"/>
                  <a:gd name="connsiteX58" fmla="*/ 214313 w 296227"/>
                  <a:gd name="connsiteY58" fmla="*/ 353378 h 374332"/>
                  <a:gd name="connsiteX59" fmla="*/ 213360 w 296227"/>
                  <a:gd name="connsiteY59" fmla="*/ 347663 h 374332"/>
                  <a:gd name="connsiteX60" fmla="*/ 212408 w 296227"/>
                  <a:gd name="connsiteY60" fmla="*/ 340995 h 374332"/>
                  <a:gd name="connsiteX61" fmla="*/ 212408 w 296227"/>
                  <a:gd name="connsiteY61" fmla="*/ 334328 h 374332"/>
                  <a:gd name="connsiteX62" fmla="*/ 212408 w 296227"/>
                  <a:gd name="connsiteY62" fmla="*/ 326708 h 374332"/>
                  <a:gd name="connsiteX63" fmla="*/ 212408 w 296227"/>
                  <a:gd name="connsiteY63" fmla="*/ 318135 h 374332"/>
                  <a:gd name="connsiteX64" fmla="*/ 211455 w 296227"/>
                  <a:gd name="connsiteY64" fmla="*/ 318135 h 374332"/>
                  <a:gd name="connsiteX65" fmla="*/ 206693 w 296227"/>
                  <a:gd name="connsiteY65" fmla="*/ 324803 h 374332"/>
                  <a:gd name="connsiteX66" fmla="*/ 200978 w 296227"/>
                  <a:gd name="connsiteY66" fmla="*/ 331470 h 374332"/>
                  <a:gd name="connsiteX67" fmla="*/ 196215 w 296227"/>
                  <a:gd name="connsiteY67" fmla="*/ 337185 h 374332"/>
                  <a:gd name="connsiteX68" fmla="*/ 190500 w 296227"/>
                  <a:gd name="connsiteY68" fmla="*/ 341947 h 374332"/>
                  <a:gd name="connsiteX69" fmla="*/ 184785 w 296227"/>
                  <a:gd name="connsiteY69" fmla="*/ 346710 h 374332"/>
                  <a:gd name="connsiteX70" fmla="*/ 179070 w 296227"/>
                  <a:gd name="connsiteY70" fmla="*/ 351472 h 374332"/>
                  <a:gd name="connsiteX71" fmla="*/ 173355 w 296227"/>
                  <a:gd name="connsiteY71" fmla="*/ 355283 h 374332"/>
                  <a:gd name="connsiteX72" fmla="*/ 167640 w 296227"/>
                  <a:gd name="connsiteY72" fmla="*/ 359093 h 374332"/>
                  <a:gd name="connsiteX73" fmla="*/ 161925 w 296227"/>
                  <a:gd name="connsiteY73" fmla="*/ 362903 h 374332"/>
                  <a:gd name="connsiteX74" fmla="*/ 155258 w 296227"/>
                  <a:gd name="connsiteY74" fmla="*/ 365760 h 374332"/>
                  <a:gd name="connsiteX75" fmla="*/ 148590 w 296227"/>
                  <a:gd name="connsiteY75" fmla="*/ 368618 h 374332"/>
                  <a:gd name="connsiteX76" fmla="*/ 140970 w 296227"/>
                  <a:gd name="connsiteY76" fmla="*/ 370522 h 374332"/>
                  <a:gd name="connsiteX77" fmla="*/ 133350 w 296227"/>
                  <a:gd name="connsiteY77" fmla="*/ 372428 h 374332"/>
                  <a:gd name="connsiteX78" fmla="*/ 125730 w 296227"/>
                  <a:gd name="connsiteY78" fmla="*/ 373380 h 374332"/>
                  <a:gd name="connsiteX79" fmla="*/ 117158 w 296227"/>
                  <a:gd name="connsiteY79" fmla="*/ 374333 h 374332"/>
                  <a:gd name="connsiteX80" fmla="*/ 108585 w 296227"/>
                  <a:gd name="connsiteY80" fmla="*/ 374333 h 374332"/>
                  <a:gd name="connsiteX81" fmla="*/ 100965 w 296227"/>
                  <a:gd name="connsiteY81" fmla="*/ 374333 h 374332"/>
                  <a:gd name="connsiteX82" fmla="*/ 94297 w 296227"/>
                  <a:gd name="connsiteY82" fmla="*/ 373380 h 374332"/>
                  <a:gd name="connsiteX83" fmla="*/ 87630 w 296227"/>
                  <a:gd name="connsiteY83" fmla="*/ 372428 h 374332"/>
                  <a:gd name="connsiteX84" fmla="*/ 80963 w 296227"/>
                  <a:gd name="connsiteY84" fmla="*/ 370522 h 374332"/>
                  <a:gd name="connsiteX85" fmla="*/ 74295 w 296227"/>
                  <a:gd name="connsiteY85" fmla="*/ 368618 h 374332"/>
                  <a:gd name="connsiteX86" fmla="*/ 67628 w 296227"/>
                  <a:gd name="connsiteY86" fmla="*/ 366713 h 374332"/>
                  <a:gd name="connsiteX87" fmla="*/ 60960 w 296227"/>
                  <a:gd name="connsiteY87" fmla="*/ 363855 h 374332"/>
                  <a:gd name="connsiteX88" fmla="*/ 54293 w 296227"/>
                  <a:gd name="connsiteY88" fmla="*/ 360997 h 374332"/>
                  <a:gd name="connsiteX89" fmla="*/ 48578 w 296227"/>
                  <a:gd name="connsiteY89" fmla="*/ 358140 h 374332"/>
                  <a:gd name="connsiteX90" fmla="*/ 42863 w 296227"/>
                  <a:gd name="connsiteY90" fmla="*/ 354330 h 374332"/>
                  <a:gd name="connsiteX91" fmla="*/ 37147 w 296227"/>
                  <a:gd name="connsiteY91" fmla="*/ 350520 h 374332"/>
                  <a:gd name="connsiteX92" fmla="*/ 31433 w 296227"/>
                  <a:gd name="connsiteY92" fmla="*/ 345758 h 374332"/>
                  <a:gd name="connsiteX93" fmla="*/ 26670 w 296227"/>
                  <a:gd name="connsiteY93" fmla="*/ 340995 h 374332"/>
                  <a:gd name="connsiteX94" fmla="*/ 22860 w 296227"/>
                  <a:gd name="connsiteY94" fmla="*/ 335280 h 374332"/>
                  <a:gd name="connsiteX95" fmla="*/ 19050 w 296227"/>
                  <a:gd name="connsiteY95" fmla="*/ 329565 h 374332"/>
                  <a:gd name="connsiteX96" fmla="*/ 15240 w 296227"/>
                  <a:gd name="connsiteY96" fmla="*/ 323850 h 374332"/>
                  <a:gd name="connsiteX97" fmla="*/ 11430 w 296227"/>
                  <a:gd name="connsiteY97" fmla="*/ 317183 h 374332"/>
                  <a:gd name="connsiteX98" fmla="*/ 8572 w 296227"/>
                  <a:gd name="connsiteY98" fmla="*/ 310515 h 374332"/>
                  <a:gd name="connsiteX99" fmla="*/ 5715 w 296227"/>
                  <a:gd name="connsiteY99" fmla="*/ 303847 h 374332"/>
                  <a:gd name="connsiteX100" fmla="*/ 3810 w 296227"/>
                  <a:gd name="connsiteY100" fmla="*/ 297180 h 374332"/>
                  <a:gd name="connsiteX101" fmla="*/ 1905 w 296227"/>
                  <a:gd name="connsiteY101" fmla="*/ 290513 h 374332"/>
                  <a:gd name="connsiteX102" fmla="*/ 953 w 296227"/>
                  <a:gd name="connsiteY102" fmla="*/ 282893 h 374332"/>
                  <a:gd name="connsiteX103" fmla="*/ 0 w 296227"/>
                  <a:gd name="connsiteY103" fmla="*/ 275272 h 374332"/>
                  <a:gd name="connsiteX104" fmla="*/ 0 w 296227"/>
                  <a:gd name="connsiteY104" fmla="*/ 266700 h 374332"/>
                  <a:gd name="connsiteX105" fmla="*/ 0 w 296227"/>
                  <a:gd name="connsiteY105" fmla="*/ 260985 h 374332"/>
                  <a:gd name="connsiteX106" fmla="*/ 0 w 296227"/>
                  <a:gd name="connsiteY106" fmla="*/ 255270 h 374332"/>
                  <a:gd name="connsiteX107" fmla="*/ 0 w 296227"/>
                  <a:gd name="connsiteY107" fmla="*/ 249555 h 374332"/>
                  <a:gd name="connsiteX108" fmla="*/ 953 w 296227"/>
                  <a:gd name="connsiteY108" fmla="*/ 243840 h 374332"/>
                  <a:gd name="connsiteX109" fmla="*/ 1905 w 296227"/>
                  <a:gd name="connsiteY109" fmla="*/ 238125 h 374332"/>
                  <a:gd name="connsiteX110" fmla="*/ 2858 w 296227"/>
                  <a:gd name="connsiteY110" fmla="*/ 233363 h 374332"/>
                  <a:gd name="connsiteX111" fmla="*/ 3810 w 296227"/>
                  <a:gd name="connsiteY111" fmla="*/ 228600 h 374332"/>
                  <a:gd name="connsiteX112" fmla="*/ 4763 w 296227"/>
                  <a:gd name="connsiteY112" fmla="*/ 223838 h 374332"/>
                  <a:gd name="connsiteX113" fmla="*/ 5715 w 296227"/>
                  <a:gd name="connsiteY113" fmla="*/ 219075 h 374332"/>
                  <a:gd name="connsiteX114" fmla="*/ 7620 w 296227"/>
                  <a:gd name="connsiteY114" fmla="*/ 214313 h 374332"/>
                  <a:gd name="connsiteX115" fmla="*/ 9525 w 296227"/>
                  <a:gd name="connsiteY115" fmla="*/ 210503 h 374332"/>
                  <a:gd name="connsiteX116" fmla="*/ 11430 w 296227"/>
                  <a:gd name="connsiteY116" fmla="*/ 206693 h 374332"/>
                  <a:gd name="connsiteX117" fmla="*/ 14288 w 296227"/>
                  <a:gd name="connsiteY117" fmla="*/ 202883 h 374332"/>
                  <a:gd name="connsiteX118" fmla="*/ 17145 w 296227"/>
                  <a:gd name="connsiteY118" fmla="*/ 199073 h 374332"/>
                  <a:gd name="connsiteX119" fmla="*/ 20003 w 296227"/>
                  <a:gd name="connsiteY119" fmla="*/ 195263 h 374332"/>
                  <a:gd name="connsiteX120" fmla="*/ 22860 w 296227"/>
                  <a:gd name="connsiteY120" fmla="*/ 191453 h 374332"/>
                  <a:gd name="connsiteX121" fmla="*/ 25718 w 296227"/>
                  <a:gd name="connsiteY121" fmla="*/ 188595 h 374332"/>
                  <a:gd name="connsiteX122" fmla="*/ 28575 w 296227"/>
                  <a:gd name="connsiteY122" fmla="*/ 184785 h 374332"/>
                  <a:gd name="connsiteX123" fmla="*/ 32385 w 296227"/>
                  <a:gd name="connsiteY123" fmla="*/ 181928 h 374332"/>
                  <a:gd name="connsiteX124" fmla="*/ 36195 w 296227"/>
                  <a:gd name="connsiteY124" fmla="*/ 179070 h 374332"/>
                  <a:gd name="connsiteX125" fmla="*/ 40005 w 296227"/>
                  <a:gd name="connsiteY125" fmla="*/ 176213 h 374332"/>
                  <a:gd name="connsiteX126" fmla="*/ 43815 w 296227"/>
                  <a:gd name="connsiteY126" fmla="*/ 173355 h 374332"/>
                  <a:gd name="connsiteX127" fmla="*/ 47625 w 296227"/>
                  <a:gd name="connsiteY127" fmla="*/ 170498 h 374332"/>
                  <a:gd name="connsiteX128" fmla="*/ 51435 w 296227"/>
                  <a:gd name="connsiteY128" fmla="*/ 167640 h 374332"/>
                  <a:gd name="connsiteX129" fmla="*/ 55245 w 296227"/>
                  <a:gd name="connsiteY129" fmla="*/ 164783 h 374332"/>
                  <a:gd name="connsiteX130" fmla="*/ 60008 w 296227"/>
                  <a:gd name="connsiteY130" fmla="*/ 162878 h 374332"/>
                  <a:gd name="connsiteX131" fmla="*/ 63818 w 296227"/>
                  <a:gd name="connsiteY131" fmla="*/ 160973 h 374332"/>
                  <a:gd name="connsiteX132" fmla="*/ 68580 w 296227"/>
                  <a:gd name="connsiteY132" fmla="*/ 159068 h 374332"/>
                  <a:gd name="connsiteX133" fmla="*/ 78105 w 296227"/>
                  <a:gd name="connsiteY133" fmla="*/ 155258 h 374332"/>
                  <a:gd name="connsiteX134" fmla="*/ 88583 w 296227"/>
                  <a:gd name="connsiteY134" fmla="*/ 152400 h 374332"/>
                  <a:gd name="connsiteX135" fmla="*/ 99060 w 296227"/>
                  <a:gd name="connsiteY135" fmla="*/ 149543 h 374332"/>
                  <a:gd name="connsiteX136" fmla="*/ 110490 w 296227"/>
                  <a:gd name="connsiteY136" fmla="*/ 147638 h 374332"/>
                  <a:gd name="connsiteX137" fmla="*/ 122872 w 296227"/>
                  <a:gd name="connsiteY137" fmla="*/ 145733 h 374332"/>
                  <a:gd name="connsiteX138" fmla="*/ 135255 w 296227"/>
                  <a:gd name="connsiteY138" fmla="*/ 144780 h 374332"/>
                  <a:gd name="connsiteX139" fmla="*/ 148590 w 296227"/>
                  <a:gd name="connsiteY139" fmla="*/ 143828 h 374332"/>
                  <a:gd name="connsiteX140" fmla="*/ 161925 w 296227"/>
                  <a:gd name="connsiteY140" fmla="*/ 142875 h 374332"/>
                  <a:gd name="connsiteX141" fmla="*/ 176213 w 296227"/>
                  <a:gd name="connsiteY141" fmla="*/ 142875 h 374332"/>
                  <a:gd name="connsiteX142" fmla="*/ 191453 w 296227"/>
                  <a:gd name="connsiteY142" fmla="*/ 142875 h 374332"/>
                  <a:gd name="connsiteX143" fmla="*/ 209550 w 296227"/>
                  <a:gd name="connsiteY143" fmla="*/ 142875 h 374332"/>
                  <a:gd name="connsiteX144" fmla="*/ 209550 w 296227"/>
                  <a:gd name="connsiteY144" fmla="*/ 129540 h 374332"/>
                  <a:gd name="connsiteX145" fmla="*/ 209550 w 296227"/>
                  <a:gd name="connsiteY145" fmla="*/ 121920 h 374332"/>
                  <a:gd name="connsiteX146" fmla="*/ 208597 w 296227"/>
                  <a:gd name="connsiteY146" fmla="*/ 115253 h 374332"/>
                  <a:gd name="connsiteX147" fmla="*/ 206693 w 296227"/>
                  <a:gd name="connsiteY147" fmla="*/ 108585 h 374332"/>
                  <a:gd name="connsiteX148" fmla="*/ 204788 w 296227"/>
                  <a:gd name="connsiteY148" fmla="*/ 101918 h 374332"/>
                  <a:gd name="connsiteX149" fmla="*/ 201930 w 296227"/>
                  <a:gd name="connsiteY149" fmla="*/ 96203 h 374332"/>
                  <a:gd name="connsiteX150" fmla="*/ 199072 w 296227"/>
                  <a:gd name="connsiteY150" fmla="*/ 90488 h 374332"/>
                  <a:gd name="connsiteX151" fmla="*/ 196215 w 296227"/>
                  <a:gd name="connsiteY151" fmla="*/ 85725 h 374332"/>
                  <a:gd name="connsiteX152" fmla="*/ 192405 w 296227"/>
                  <a:gd name="connsiteY152" fmla="*/ 80010 h 374332"/>
                  <a:gd name="connsiteX153" fmla="*/ 190500 w 296227"/>
                  <a:gd name="connsiteY153" fmla="*/ 78105 h 374332"/>
                  <a:gd name="connsiteX154" fmla="*/ 187643 w 296227"/>
                  <a:gd name="connsiteY154" fmla="*/ 75248 h 374332"/>
                  <a:gd name="connsiteX155" fmla="*/ 185738 w 296227"/>
                  <a:gd name="connsiteY155" fmla="*/ 73343 h 374332"/>
                  <a:gd name="connsiteX156" fmla="*/ 182880 w 296227"/>
                  <a:gd name="connsiteY156" fmla="*/ 71438 h 374332"/>
                  <a:gd name="connsiteX157" fmla="*/ 180022 w 296227"/>
                  <a:gd name="connsiteY157" fmla="*/ 69532 h 374332"/>
                  <a:gd name="connsiteX158" fmla="*/ 177165 w 296227"/>
                  <a:gd name="connsiteY158" fmla="*/ 67628 h 374332"/>
                  <a:gd name="connsiteX159" fmla="*/ 174308 w 296227"/>
                  <a:gd name="connsiteY159" fmla="*/ 66675 h 374332"/>
                  <a:gd name="connsiteX160" fmla="*/ 171450 w 296227"/>
                  <a:gd name="connsiteY160" fmla="*/ 65723 h 374332"/>
                  <a:gd name="connsiteX161" fmla="*/ 168593 w 296227"/>
                  <a:gd name="connsiteY161" fmla="*/ 64770 h 374332"/>
                  <a:gd name="connsiteX162" fmla="*/ 164783 w 296227"/>
                  <a:gd name="connsiteY162" fmla="*/ 63818 h 374332"/>
                  <a:gd name="connsiteX163" fmla="*/ 160972 w 296227"/>
                  <a:gd name="connsiteY163" fmla="*/ 62865 h 374332"/>
                  <a:gd name="connsiteX164" fmla="*/ 157163 w 296227"/>
                  <a:gd name="connsiteY164" fmla="*/ 61913 h 374332"/>
                  <a:gd name="connsiteX165" fmla="*/ 149543 w 296227"/>
                  <a:gd name="connsiteY165" fmla="*/ 60960 h 374332"/>
                  <a:gd name="connsiteX166" fmla="*/ 140970 w 296227"/>
                  <a:gd name="connsiteY166" fmla="*/ 60960 h 374332"/>
                  <a:gd name="connsiteX167" fmla="*/ 133350 w 296227"/>
                  <a:gd name="connsiteY167" fmla="*/ 60960 h 374332"/>
                  <a:gd name="connsiteX168" fmla="*/ 125730 w 296227"/>
                  <a:gd name="connsiteY168" fmla="*/ 61913 h 374332"/>
                  <a:gd name="connsiteX169" fmla="*/ 118110 w 296227"/>
                  <a:gd name="connsiteY169" fmla="*/ 62865 h 374332"/>
                  <a:gd name="connsiteX170" fmla="*/ 111443 w 296227"/>
                  <a:gd name="connsiteY170" fmla="*/ 63818 h 374332"/>
                  <a:gd name="connsiteX171" fmla="*/ 104775 w 296227"/>
                  <a:gd name="connsiteY171" fmla="*/ 64770 h 374332"/>
                  <a:gd name="connsiteX172" fmla="*/ 98108 w 296227"/>
                  <a:gd name="connsiteY172" fmla="*/ 66675 h 374332"/>
                  <a:gd name="connsiteX173" fmla="*/ 91440 w 296227"/>
                  <a:gd name="connsiteY173" fmla="*/ 68580 h 374332"/>
                  <a:gd name="connsiteX174" fmla="*/ 84772 w 296227"/>
                  <a:gd name="connsiteY174" fmla="*/ 71438 h 374332"/>
                  <a:gd name="connsiteX175" fmla="*/ 78105 w 296227"/>
                  <a:gd name="connsiteY175" fmla="*/ 74295 h 374332"/>
                  <a:gd name="connsiteX176" fmla="*/ 71438 w 296227"/>
                  <a:gd name="connsiteY176" fmla="*/ 77153 h 374332"/>
                  <a:gd name="connsiteX177" fmla="*/ 65722 w 296227"/>
                  <a:gd name="connsiteY177" fmla="*/ 80010 h 374332"/>
                  <a:gd name="connsiteX178" fmla="*/ 60008 w 296227"/>
                  <a:gd name="connsiteY178" fmla="*/ 82868 h 374332"/>
                  <a:gd name="connsiteX179" fmla="*/ 55245 w 296227"/>
                  <a:gd name="connsiteY179" fmla="*/ 85725 h 374332"/>
                  <a:gd name="connsiteX180" fmla="*/ 50483 w 296227"/>
                  <a:gd name="connsiteY180" fmla="*/ 88582 h 374332"/>
                  <a:gd name="connsiteX181" fmla="*/ 45720 w 296227"/>
                  <a:gd name="connsiteY181" fmla="*/ 91440 h 374332"/>
                  <a:gd name="connsiteX182" fmla="*/ 40005 w 296227"/>
                  <a:gd name="connsiteY182" fmla="*/ 96203 h 374332"/>
                  <a:gd name="connsiteX183" fmla="*/ 40005 w 296227"/>
                  <a:gd name="connsiteY183" fmla="*/ 96203 h 374332"/>
                  <a:gd name="connsiteX184" fmla="*/ 208597 w 296227"/>
                  <a:gd name="connsiteY184" fmla="*/ 211455 h 374332"/>
                  <a:gd name="connsiteX185" fmla="*/ 208597 w 296227"/>
                  <a:gd name="connsiteY185" fmla="*/ 191453 h 374332"/>
                  <a:gd name="connsiteX186" fmla="*/ 200025 w 296227"/>
                  <a:gd name="connsiteY186" fmla="*/ 191453 h 374332"/>
                  <a:gd name="connsiteX187" fmla="*/ 185738 w 296227"/>
                  <a:gd name="connsiteY187" fmla="*/ 191453 h 374332"/>
                  <a:gd name="connsiteX188" fmla="*/ 172403 w 296227"/>
                  <a:gd name="connsiteY188" fmla="*/ 192405 h 374332"/>
                  <a:gd name="connsiteX189" fmla="*/ 160020 w 296227"/>
                  <a:gd name="connsiteY189" fmla="*/ 193358 h 374332"/>
                  <a:gd name="connsiteX190" fmla="*/ 148590 w 296227"/>
                  <a:gd name="connsiteY190" fmla="*/ 195263 h 374332"/>
                  <a:gd name="connsiteX191" fmla="*/ 138113 w 296227"/>
                  <a:gd name="connsiteY191" fmla="*/ 197168 h 374332"/>
                  <a:gd name="connsiteX192" fmla="*/ 128588 w 296227"/>
                  <a:gd name="connsiteY192" fmla="*/ 200025 h 374332"/>
                  <a:gd name="connsiteX193" fmla="*/ 123825 w 296227"/>
                  <a:gd name="connsiteY193" fmla="*/ 200978 h 374332"/>
                  <a:gd name="connsiteX194" fmla="*/ 119063 w 296227"/>
                  <a:gd name="connsiteY194" fmla="*/ 202883 h 374332"/>
                  <a:gd name="connsiteX195" fmla="*/ 115253 w 296227"/>
                  <a:gd name="connsiteY195" fmla="*/ 204788 h 374332"/>
                  <a:gd name="connsiteX196" fmla="*/ 111443 w 296227"/>
                  <a:gd name="connsiteY196" fmla="*/ 206693 h 374332"/>
                  <a:gd name="connsiteX197" fmla="*/ 107633 w 296227"/>
                  <a:gd name="connsiteY197" fmla="*/ 208598 h 374332"/>
                  <a:gd name="connsiteX198" fmla="*/ 103822 w 296227"/>
                  <a:gd name="connsiteY198" fmla="*/ 210503 h 374332"/>
                  <a:gd name="connsiteX199" fmla="*/ 100965 w 296227"/>
                  <a:gd name="connsiteY199" fmla="*/ 212408 h 374332"/>
                  <a:gd name="connsiteX200" fmla="*/ 98108 w 296227"/>
                  <a:gd name="connsiteY200" fmla="*/ 215265 h 374332"/>
                  <a:gd name="connsiteX201" fmla="*/ 95250 w 296227"/>
                  <a:gd name="connsiteY201" fmla="*/ 218123 h 374332"/>
                  <a:gd name="connsiteX202" fmla="*/ 92393 w 296227"/>
                  <a:gd name="connsiteY202" fmla="*/ 220980 h 374332"/>
                  <a:gd name="connsiteX203" fmla="*/ 89535 w 296227"/>
                  <a:gd name="connsiteY203" fmla="*/ 223838 h 374332"/>
                  <a:gd name="connsiteX204" fmla="*/ 87630 w 296227"/>
                  <a:gd name="connsiteY204" fmla="*/ 226695 h 374332"/>
                  <a:gd name="connsiteX205" fmla="*/ 85725 w 296227"/>
                  <a:gd name="connsiteY205" fmla="*/ 230505 h 374332"/>
                  <a:gd name="connsiteX206" fmla="*/ 83820 w 296227"/>
                  <a:gd name="connsiteY206" fmla="*/ 234315 h 374332"/>
                  <a:gd name="connsiteX207" fmla="*/ 82868 w 296227"/>
                  <a:gd name="connsiteY207" fmla="*/ 238125 h 374332"/>
                  <a:gd name="connsiteX208" fmla="*/ 81915 w 296227"/>
                  <a:gd name="connsiteY208" fmla="*/ 241935 h 374332"/>
                  <a:gd name="connsiteX209" fmla="*/ 80963 w 296227"/>
                  <a:gd name="connsiteY209" fmla="*/ 245745 h 374332"/>
                  <a:gd name="connsiteX210" fmla="*/ 80010 w 296227"/>
                  <a:gd name="connsiteY210" fmla="*/ 250508 h 374332"/>
                  <a:gd name="connsiteX211" fmla="*/ 80010 w 296227"/>
                  <a:gd name="connsiteY211" fmla="*/ 255270 h 374332"/>
                  <a:gd name="connsiteX212" fmla="*/ 80010 w 296227"/>
                  <a:gd name="connsiteY212" fmla="*/ 259080 h 374332"/>
                  <a:gd name="connsiteX213" fmla="*/ 80010 w 296227"/>
                  <a:gd name="connsiteY213" fmla="*/ 264795 h 374332"/>
                  <a:gd name="connsiteX214" fmla="*/ 80963 w 296227"/>
                  <a:gd name="connsiteY214" fmla="*/ 270510 h 374332"/>
                  <a:gd name="connsiteX215" fmla="*/ 81915 w 296227"/>
                  <a:gd name="connsiteY215" fmla="*/ 276225 h 374332"/>
                  <a:gd name="connsiteX216" fmla="*/ 82868 w 296227"/>
                  <a:gd name="connsiteY216" fmla="*/ 281940 h 374332"/>
                  <a:gd name="connsiteX217" fmla="*/ 85725 w 296227"/>
                  <a:gd name="connsiteY217" fmla="*/ 286703 h 374332"/>
                  <a:gd name="connsiteX218" fmla="*/ 88583 w 296227"/>
                  <a:gd name="connsiteY218" fmla="*/ 291465 h 374332"/>
                  <a:gd name="connsiteX219" fmla="*/ 91440 w 296227"/>
                  <a:gd name="connsiteY219" fmla="*/ 295275 h 374332"/>
                  <a:gd name="connsiteX220" fmla="*/ 95250 w 296227"/>
                  <a:gd name="connsiteY220" fmla="*/ 299085 h 374332"/>
                  <a:gd name="connsiteX221" fmla="*/ 99060 w 296227"/>
                  <a:gd name="connsiteY221" fmla="*/ 302895 h 374332"/>
                  <a:gd name="connsiteX222" fmla="*/ 102870 w 296227"/>
                  <a:gd name="connsiteY222" fmla="*/ 305753 h 374332"/>
                  <a:gd name="connsiteX223" fmla="*/ 107633 w 296227"/>
                  <a:gd name="connsiteY223" fmla="*/ 308610 h 374332"/>
                  <a:gd name="connsiteX224" fmla="*/ 112395 w 296227"/>
                  <a:gd name="connsiteY224" fmla="*/ 311468 h 374332"/>
                  <a:gd name="connsiteX225" fmla="*/ 118110 w 296227"/>
                  <a:gd name="connsiteY225" fmla="*/ 312420 h 374332"/>
                  <a:gd name="connsiteX226" fmla="*/ 123825 w 296227"/>
                  <a:gd name="connsiteY226" fmla="*/ 313372 h 374332"/>
                  <a:gd name="connsiteX227" fmla="*/ 129540 w 296227"/>
                  <a:gd name="connsiteY227" fmla="*/ 314325 h 374332"/>
                  <a:gd name="connsiteX228" fmla="*/ 136208 w 296227"/>
                  <a:gd name="connsiteY228" fmla="*/ 314325 h 374332"/>
                  <a:gd name="connsiteX229" fmla="*/ 140970 w 296227"/>
                  <a:gd name="connsiteY229" fmla="*/ 314325 h 374332"/>
                  <a:gd name="connsiteX230" fmla="*/ 144780 w 296227"/>
                  <a:gd name="connsiteY230" fmla="*/ 314325 h 374332"/>
                  <a:gd name="connsiteX231" fmla="*/ 149543 w 296227"/>
                  <a:gd name="connsiteY231" fmla="*/ 314325 h 374332"/>
                  <a:gd name="connsiteX232" fmla="*/ 153353 w 296227"/>
                  <a:gd name="connsiteY232" fmla="*/ 313372 h 374332"/>
                  <a:gd name="connsiteX233" fmla="*/ 157163 w 296227"/>
                  <a:gd name="connsiteY233" fmla="*/ 312420 h 374332"/>
                  <a:gd name="connsiteX234" fmla="*/ 160972 w 296227"/>
                  <a:gd name="connsiteY234" fmla="*/ 311468 h 374332"/>
                  <a:gd name="connsiteX235" fmla="*/ 164783 w 296227"/>
                  <a:gd name="connsiteY235" fmla="*/ 310515 h 374332"/>
                  <a:gd name="connsiteX236" fmla="*/ 168593 w 296227"/>
                  <a:gd name="connsiteY236" fmla="*/ 309563 h 374332"/>
                  <a:gd name="connsiteX237" fmla="*/ 172403 w 296227"/>
                  <a:gd name="connsiteY237" fmla="*/ 306705 h 374332"/>
                  <a:gd name="connsiteX238" fmla="*/ 175260 w 296227"/>
                  <a:gd name="connsiteY238" fmla="*/ 304800 h 374332"/>
                  <a:gd name="connsiteX239" fmla="*/ 178118 w 296227"/>
                  <a:gd name="connsiteY239" fmla="*/ 302895 h 374332"/>
                  <a:gd name="connsiteX240" fmla="*/ 180975 w 296227"/>
                  <a:gd name="connsiteY240" fmla="*/ 300038 h 374332"/>
                  <a:gd name="connsiteX241" fmla="*/ 183833 w 296227"/>
                  <a:gd name="connsiteY241" fmla="*/ 297180 h 374332"/>
                  <a:gd name="connsiteX242" fmla="*/ 186690 w 296227"/>
                  <a:gd name="connsiteY242" fmla="*/ 294322 h 374332"/>
                  <a:gd name="connsiteX243" fmla="*/ 188595 w 296227"/>
                  <a:gd name="connsiteY243" fmla="*/ 291465 h 374332"/>
                  <a:gd name="connsiteX244" fmla="*/ 191453 w 296227"/>
                  <a:gd name="connsiteY244" fmla="*/ 288608 h 374332"/>
                  <a:gd name="connsiteX245" fmla="*/ 193358 w 296227"/>
                  <a:gd name="connsiteY245" fmla="*/ 284797 h 374332"/>
                  <a:gd name="connsiteX246" fmla="*/ 195263 w 296227"/>
                  <a:gd name="connsiteY246" fmla="*/ 280988 h 374332"/>
                  <a:gd name="connsiteX247" fmla="*/ 197168 w 296227"/>
                  <a:gd name="connsiteY247" fmla="*/ 277178 h 374332"/>
                  <a:gd name="connsiteX248" fmla="*/ 199072 w 296227"/>
                  <a:gd name="connsiteY248" fmla="*/ 273368 h 374332"/>
                  <a:gd name="connsiteX249" fmla="*/ 200025 w 296227"/>
                  <a:gd name="connsiteY249" fmla="*/ 269558 h 374332"/>
                  <a:gd name="connsiteX250" fmla="*/ 200978 w 296227"/>
                  <a:gd name="connsiteY250" fmla="*/ 265747 h 374332"/>
                  <a:gd name="connsiteX251" fmla="*/ 201930 w 296227"/>
                  <a:gd name="connsiteY251" fmla="*/ 260985 h 374332"/>
                  <a:gd name="connsiteX252" fmla="*/ 203835 w 296227"/>
                  <a:gd name="connsiteY252" fmla="*/ 256223 h 374332"/>
                  <a:gd name="connsiteX253" fmla="*/ 205740 w 296227"/>
                  <a:gd name="connsiteY253" fmla="*/ 246698 h 374332"/>
                  <a:gd name="connsiteX254" fmla="*/ 207645 w 296227"/>
                  <a:gd name="connsiteY254" fmla="*/ 236220 h 374332"/>
                  <a:gd name="connsiteX255" fmla="*/ 208597 w 296227"/>
                  <a:gd name="connsiteY255" fmla="*/ 224790 h 374332"/>
                  <a:gd name="connsiteX256" fmla="*/ 208597 w 296227"/>
                  <a:gd name="connsiteY256" fmla="*/ 211455 h 374332"/>
                  <a:gd name="connsiteX257" fmla="*/ 208597 w 296227"/>
                  <a:gd name="connsiteY257" fmla="*/ 211455 h 374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</a:cxnLst>
                <a:rect l="l" t="t" r="r" b="b"/>
                <a:pathLst>
                  <a:path w="296227" h="374332">
                    <a:moveTo>
                      <a:pt x="40005" y="96203"/>
                    </a:moveTo>
                    <a:lnTo>
                      <a:pt x="35243" y="25718"/>
                    </a:lnTo>
                    <a:lnTo>
                      <a:pt x="47625" y="20003"/>
                    </a:lnTo>
                    <a:lnTo>
                      <a:pt x="60008" y="15240"/>
                    </a:lnTo>
                    <a:lnTo>
                      <a:pt x="73343" y="10478"/>
                    </a:lnTo>
                    <a:lnTo>
                      <a:pt x="86678" y="6668"/>
                    </a:lnTo>
                    <a:lnTo>
                      <a:pt x="93345" y="4763"/>
                    </a:lnTo>
                    <a:lnTo>
                      <a:pt x="100965" y="3810"/>
                    </a:lnTo>
                    <a:lnTo>
                      <a:pt x="108585" y="2857"/>
                    </a:lnTo>
                    <a:lnTo>
                      <a:pt x="116205" y="1905"/>
                    </a:lnTo>
                    <a:lnTo>
                      <a:pt x="124778" y="953"/>
                    </a:lnTo>
                    <a:lnTo>
                      <a:pt x="133350" y="0"/>
                    </a:lnTo>
                    <a:lnTo>
                      <a:pt x="141922" y="0"/>
                    </a:lnTo>
                    <a:lnTo>
                      <a:pt x="152400" y="0"/>
                    </a:lnTo>
                    <a:lnTo>
                      <a:pt x="165735" y="0"/>
                    </a:lnTo>
                    <a:lnTo>
                      <a:pt x="178118" y="953"/>
                    </a:lnTo>
                    <a:lnTo>
                      <a:pt x="189547" y="1905"/>
                    </a:lnTo>
                    <a:lnTo>
                      <a:pt x="200025" y="3810"/>
                    </a:lnTo>
                    <a:lnTo>
                      <a:pt x="210503" y="6668"/>
                    </a:lnTo>
                    <a:lnTo>
                      <a:pt x="220028" y="9525"/>
                    </a:lnTo>
                    <a:lnTo>
                      <a:pt x="223838" y="11430"/>
                    </a:lnTo>
                    <a:lnTo>
                      <a:pt x="228600" y="13335"/>
                    </a:lnTo>
                    <a:lnTo>
                      <a:pt x="232410" y="15240"/>
                    </a:lnTo>
                    <a:lnTo>
                      <a:pt x="236220" y="17145"/>
                    </a:lnTo>
                    <a:lnTo>
                      <a:pt x="243840" y="20955"/>
                    </a:lnTo>
                    <a:lnTo>
                      <a:pt x="250508" y="26670"/>
                    </a:lnTo>
                    <a:lnTo>
                      <a:pt x="253365" y="29528"/>
                    </a:lnTo>
                    <a:lnTo>
                      <a:pt x="256222" y="32385"/>
                    </a:lnTo>
                    <a:lnTo>
                      <a:pt x="259080" y="35243"/>
                    </a:lnTo>
                    <a:lnTo>
                      <a:pt x="261938" y="38100"/>
                    </a:lnTo>
                    <a:lnTo>
                      <a:pt x="263842" y="40957"/>
                    </a:lnTo>
                    <a:lnTo>
                      <a:pt x="266700" y="43815"/>
                    </a:lnTo>
                    <a:lnTo>
                      <a:pt x="268605" y="47625"/>
                    </a:lnTo>
                    <a:lnTo>
                      <a:pt x="271463" y="50482"/>
                    </a:lnTo>
                    <a:lnTo>
                      <a:pt x="273367" y="54293"/>
                    </a:lnTo>
                    <a:lnTo>
                      <a:pt x="275272" y="58103"/>
                    </a:lnTo>
                    <a:lnTo>
                      <a:pt x="277178" y="61913"/>
                    </a:lnTo>
                    <a:lnTo>
                      <a:pt x="279083" y="65723"/>
                    </a:lnTo>
                    <a:lnTo>
                      <a:pt x="281940" y="74295"/>
                    </a:lnTo>
                    <a:lnTo>
                      <a:pt x="283845" y="82868"/>
                    </a:lnTo>
                    <a:lnTo>
                      <a:pt x="285750" y="92393"/>
                    </a:lnTo>
                    <a:lnTo>
                      <a:pt x="287655" y="101918"/>
                    </a:lnTo>
                    <a:lnTo>
                      <a:pt x="288608" y="112395"/>
                    </a:lnTo>
                    <a:lnTo>
                      <a:pt x="289560" y="122873"/>
                    </a:lnTo>
                    <a:lnTo>
                      <a:pt x="290513" y="134303"/>
                    </a:lnTo>
                    <a:lnTo>
                      <a:pt x="290513" y="144780"/>
                    </a:lnTo>
                    <a:lnTo>
                      <a:pt x="290513" y="303847"/>
                    </a:lnTo>
                    <a:lnTo>
                      <a:pt x="290513" y="312420"/>
                    </a:lnTo>
                    <a:lnTo>
                      <a:pt x="290513" y="320993"/>
                    </a:lnTo>
                    <a:lnTo>
                      <a:pt x="290513" y="328613"/>
                    </a:lnTo>
                    <a:lnTo>
                      <a:pt x="291465" y="337185"/>
                    </a:lnTo>
                    <a:lnTo>
                      <a:pt x="292417" y="344805"/>
                    </a:lnTo>
                    <a:lnTo>
                      <a:pt x="293370" y="353378"/>
                    </a:lnTo>
                    <a:lnTo>
                      <a:pt x="294322" y="360997"/>
                    </a:lnTo>
                    <a:lnTo>
                      <a:pt x="296228" y="368618"/>
                    </a:lnTo>
                    <a:lnTo>
                      <a:pt x="217170" y="368618"/>
                    </a:lnTo>
                    <a:lnTo>
                      <a:pt x="216218" y="363855"/>
                    </a:lnTo>
                    <a:lnTo>
                      <a:pt x="215265" y="359093"/>
                    </a:lnTo>
                    <a:lnTo>
                      <a:pt x="214313" y="353378"/>
                    </a:lnTo>
                    <a:lnTo>
                      <a:pt x="213360" y="347663"/>
                    </a:lnTo>
                    <a:lnTo>
                      <a:pt x="212408" y="340995"/>
                    </a:lnTo>
                    <a:lnTo>
                      <a:pt x="212408" y="334328"/>
                    </a:lnTo>
                    <a:lnTo>
                      <a:pt x="212408" y="326708"/>
                    </a:lnTo>
                    <a:lnTo>
                      <a:pt x="212408" y="318135"/>
                    </a:lnTo>
                    <a:lnTo>
                      <a:pt x="211455" y="318135"/>
                    </a:lnTo>
                    <a:lnTo>
                      <a:pt x="206693" y="324803"/>
                    </a:lnTo>
                    <a:lnTo>
                      <a:pt x="200978" y="331470"/>
                    </a:lnTo>
                    <a:lnTo>
                      <a:pt x="196215" y="337185"/>
                    </a:lnTo>
                    <a:lnTo>
                      <a:pt x="190500" y="341947"/>
                    </a:lnTo>
                    <a:lnTo>
                      <a:pt x="184785" y="346710"/>
                    </a:lnTo>
                    <a:lnTo>
                      <a:pt x="179070" y="351472"/>
                    </a:lnTo>
                    <a:lnTo>
                      <a:pt x="173355" y="355283"/>
                    </a:lnTo>
                    <a:lnTo>
                      <a:pt x="167640" y="359093"/>
                    </a:lnTo>
                    <a:lnTo>
                      <a:pt x="161925" y="362903"/>
                    </a:lnTo>
                    <a:lnTo>
                      <a:pt x="155258" y="365760"/>
                    </a:lnTo>
                    <a:lnTo>
                      <a:pt x="148590" y="368618"/>
                    </a:lnTo>
                    <a:lnTo>
                      <a:pt x="140970" y="370522"/>
                    </a:lnTo>
                    <a:lnTo>
                      <a:pt x="133350" y="372428"/>
                    </a:lnTo>
                    <a:lnTo>
                      <a:pt x="125730" y="373380"/>
                    </a:lnTo>
                    <a:lnTo>
                      <a:pt x="117158" y="374333"/>
                    </a:lnTo>
                    <a:lnTo>
                      <a:pt x="108585" y="374333"/>
                    </a:lnTo>
                    <a:lnTo>
                      <a:pt x="100965" y="374333"/>
                    </a:lnTo>
                    <a:lnTo>
                      <a:pt x="94297" y="373380"/>
                    </a:lnTo>
                    <a:lnTo>
                      <a:pt x="87630" y="372428"/>
                    </a:lnTo>
                    <a:lnTo>
                      <a:pt x="80963" y="370522"/>
                    </a:lnTo>
                    <a:lnTo>
                      <a:pt x="74295" y="368618"/>
                    </a:lnTo>
                    <a:lnTo>
                      <a:pt x="67628" y="366713"/>
                    </a:lnTo>
                    <a:lnTo>
                      <a:pt x="60960" y="363855"/>
                    </a:lnTo>
                    <a:lnTo>
                      <a:pt x="54293" y="360997"/>
                    </a:lnTo>
                    <a:lnTo>
                      <a:pt x="48578" y="358140"/>
                    </a:lnTo>
                    <a:lnTo>
                      <a:pt x="42863" y="354330"/>
                    </a:lnTo>
                    <a:lnTo>
                      <a:pt x="37147" y="350520"/>
                    </a:lnTo>
                    <a:lnTo>
                      <a:pt x="31433" y="345758"/>
                    </a:lnTo>
                    <a:lnTo>
                      <a:pt x="26670" y="340995"/>
                    </a:lnTo>
                    <a:lnTo>
                      <a:pt x="22860" y="335280"/>
                    </a:lnTo>
                    <a:lnTo>
                      <a:pt x="19050" y="329565"/>
                    </a:lnTo>
                    <a:lnTo>
                      <a:pt x="15240" y="323850"/>
                    </a:lnTo>
                    <a:lnTo>
                      <a:pt x="11430" y="317183"/>
                    </a:lnTo>
                    <a:lnTo>
                      <a:pt x="8572" y="310515"/>
                    </a:lnTo>
                    <a:lnTo>
                      <a:pt x="5715" y="303847"/>
                    </a:lnTo>
                    <a:lnTo>
                      <a:pt x="3810" y="297180"/>
                    </a:lnTo>
                    <a:lnTo>
                      <a:pt x="1905" y="290513"/>
                    </a:lnTo>
                    <a:lnTo>
                      <a:pt x="953" y="282893"/>
                    </a:lnTo>
                    <a:lnTo>
                      <a:pt x="0" y="275272"/>
                    </a:lnTo>
                    <a:lnTo>
                      <a:pt x="0" y="266700"/>
                    </a:lnTo>
                    <a:lnTo>
                      <a:pt x="0" y="260985"/>
                    </a:lnTo>
                    <a:lnTo>
                      <a:pt x="0" y="255270"/>
                    </a:lnTo>
                    <a:lnTo>
                      <a:pt x="0" y="249555"/>
                    </a:lnTo>
                    <a:lnTo>
                      <a:pt x="953" y="243840"/>
                    </a:lnTo>
                    <a:lnTo>
                      <a:pt x="1905" y="238125"/>
                    </a:lnTo>
                    <a:lnTo>
                      <a:pt x="2858" y="233363"/>
                    </a:lnTo>
                    <a:lnTo>
                      <a:pt x="3810" y="228600"/>
                    </a:lnTo>
                    <a:lnTo>
                      <a:pt x="4763" y="223838"/>
                    </a:lnTo>
                    <a:lnTo>
                      <a:pt x="5715" y="219075"/>
                    </a:lnTo>
                    <a:lnTo>
                      <a:pt x="7620" y="214313"/>
                    </a:lnTo>
                    <a:lnTo>
                      <a:pt x="9525" y="210503"/>
                    </a:lnTo>
                    <a:lnTo>
                      <a:pt x="11430" y="206693"/>
                    </a:lnTo>
                    <a:lnTo>
                      <a:pt x="14288" y="202883"/>
                    </a:lnTo>
                    <a:lnTo>
                      <a:pt x="17145" y="199073"/>
                    </a:lnTo>
                    <a:lnTo>
                      <a:pt x="20003" y="195263"/>
                    </a:lnTo>
                    <a:lnTo>
                      <a:pt x="22860" y="191453"/>
                    </a:lnTo>
                    <a:lnTo>
                      <a:pt x="25718" y="188595"/>
                    </a:lnTo>
                    <a:lnTo>
                      <a:pt x="28575" y="184785"/>
                    </a:lnTo>
                    <a:lnTo>
                      <a:pt x="32385" y="181928"/>
                    </a:lnTo>
                    <a:lnTo>
                      <a:pt x="36195" y="179070"/>
                    </a:lnTo>
                    <a:lnTo>
                      <a:pt x="40005" y="176213"/>
                    </a:lnTo>
                    <a:lnTo>
                      <a:pt x="43815" y="173355"/>
                    </a:lnTo>
                    <a:lnTo>
                      <a:pt x="47625" y="170498"/>
                    </a:lnTo>
                    <a:lnTo>
                      <a:pt x="51435" y="167640"/>
                    </a:lnTo>
                    <a:lnTo>
                      <a:pt x="55245" y="164783"/>
                    </a:lnTo>
                    <a:lnTo>
                      <a:pt x="60008" y="162878"/>
                    </a:lnTo>
                    <a:lnTo>
                      <a:pt x="63818" y="160973"/>
                    </a:lnTo>
                    <a:lnTo>
                      <a:pt x="68580" y="159068"/>
                    </a:lnTo>
                    <a:lnTo>
                      <a:pt x="78105" y="155258"/>
                    </a:lnTo>
                    <a:lnTo>
                      <a:pt x="88583" y="152400"/>
                    </a:lnTo>
                    <a:lnTo>
                      <a:pt x="99060" y="149543"/>
                    </a:lnTo>
                    <a:lnTo>
                      <a:pt x="110490" y="147638"/>
                    </a:lnTo>
                    <a:lnTo>
                      <a:pt x="122872" y="145733"/>
                    </a:lnTo>
                    <a:lnTo>
                      <a:pt x="135255" y="144780"/>
                    </a:lnTo>
                    <a:lnTo>
                      <a:pt x="148590" y="143828"/>
                    </a:lnTo>
                    <a:lnTo>
                      <a:pt x="161925" y="142875"/>
                    </a:lnTo>
                    <a:lnTo>
                      <a:pt x="176213" y="142875"/>
                    </a:lnTo>
                    <a:lnTo>
                      <a:pt x="191453" y="142875"/>
                    </a:lnTo>
                    <a:lnTo>
                      <a:pt x="209550" y="142875"/>
                    </a:lnTo>
                    <a:lnTo>
                      <a:pt x="209550" y="129540"/>
                    </a:lnTo>
                    <a:lnTo>
                      <a:pt x="209550" y="121920"/>
                    </a:lnTo>
                    <a:lnTo>
                      <a:pt x="208597" y="115253"/>
                    </a:lnTo>
                    <a:lnTo>
                      <a:pt x="206693" y="108585"/>
                    </a:lnTo>
                    <a:lnTo>
                      <a:pt x="204788" y="101918"/>
                    </a:lnTo>
                    <a:lnTo>
                      <a:pt x="201930" y="96203"/>
                    </a:lnTo>
                    <a:lnTo>
                      <a:pt x="199072" y="90488"/>
                    </a:lnTo>
                    <a:lnTo>
                      <a:pt x="196215" y="85725"/>
                    </a:lnTo>
                    <a:lnTo>
                      <a:pt x="192405" y="80010"/>
                    </a:lnTo>
                    <a:lnTo>
                      <a:pt x="190500" y="78105"/>
                    </a:lnTo>
                    <a:lnTo>
                      <a:pt x="187643" y="75248"/>
                    </a:lnTo>
                    <a:lnTo>
                      <a:pt x="185738" y="73343"/>
                    </a:lnTo>
                    <a:lnTo>
                      <a:pt x="182880" y="71438"/>
                    </a:lnTo>
                    <a:lnTo>
                      <a:pt x="180022" y="69532"/>
                    </a:lnTo>
                    <a:lnTo>
                      <a:pt x="177165" y="67628"/>
                    </a:lnTo>
                    <a:lnTo>
                      <a:pt x="174308" y="66675"/>
                    </a:lnTo>
                    <a:lnTo>
                      <a:pt x="171450" y="65723"/>
                    </a:lnTo>
                    <a:lnTo>
                      <a:pt x="168593" y="64770"/>
                    </a:lnTo>
                    <a:lnTo>
                      <a:pt x="164783" y="63818"/>
                    </a:lnTo>
                    <a:lnTo>
                      <a:pt x="160972" y="62865"/>
                    </a:lnTo>
                    <a:lnTo>
                      <a:pt x="157163" y="61913"/>
                    </a:lnTo>
                    <a:lnTo>
                      <a:pt x="149543" y="60960"/>
                    </a:lnTo>
                    <a:lnTo>
                      <a:pt x="140970" y="60960"/>
                    </a:lnTo>
                    <a:lnTo>
                      <a:pt x="133350" y="60960"/>
                    </a:lnTo>
                    <a:lnTo>
                      <a:pt x="125730" y="61913"/>
                    </a:lnTo>
                    <a:lnTo>
                      <a:pt x="118110" y="62865"/>
                    </a:lnTo>
                    <a:lnTo>
                      <a:pt x="111443" y="63818"/>
                    </a:lnTo>
                    <a:lnTo>
                      <a:pt x="104775" y="64770"/>
                    </a:lnTo>
                    <a:lnTo>
                      <a:pt x="98108" y="66675"/>
                    </a:lnTo>
                    <a:lnTo>
                      <a:pt x="91440" y="68580"/>
                    </a:lnTo>
                    <a:lnTo>
                      <a:pt x="84772" y="71438"/>
                    </a:lnTo>
                    <a:lnTo>
                      <a:pt x="78105" y="74295"/>
                    </a:lnTo>
                    <a:lnTo>
                      <a:pt x="71438" y="77153"/>
                    </a:lnTo>
                    <a:lnTo>
                      <a:pt x="65722" y="80010"/>
                    </a:lnTo>
                    <a:lnTo>
                      <a:pt x="60008" y="82868"/>
                    </a:lnTo>
                    <a:lnTo>
                      <a:pt x="55245" y="85725"/>
                    </a:lnTo>
                    <a:lnTo>
                      <a:pt x="50483" y="88582"/>
                    </a:lnTo>
                    <a:lnTo>
                      <a:pt x="45720" y="91440"/>
                    </a:lnTo>
                    <a:lnTo>
                      <a:pt x="40005" y="96203"/>
                    </a:lnTo>
                    <a:lnTo>
                      <a:pt x="40005" y="96203"/>
                    </a:lnTo>
                    <a:close/>
                    <a:moveTo>
                      <a:pt x="208597" y="211455"/>
                    </a:moveTo>
                    <a:lnTo>
                      <a:pt x="208597" y="191453"/>
                    </a:lnTo>
                    <a:lnTo>
                      <a:pt x="200025" y="191453"/>
                    </a:lnTo>
                    <a:lnTo>
                      <a:pt x="185738" y="191453"/>
                    </a:lnTo>
                    <a:lnTo>
                      <a:pt x="172403" y="192405"/>
                    </a:lnTo>
                    <a:lnTo>
                      <a:pt x="160020" y="193358"/>
                    </a:lnTo>
                    <a:lnTo>
                      <a:pt x="148590" y="195263"/>
                    </a:lnTo>
                    <a:lnTo>
                      <a:pt x="138113" y="197168"/>
                    </a:lnTo>
                    <a:lnTo>
                      <a:pt x="128588" y="200025"/>
                    </a:lnTo>
                    <a:lnTo>
                      <a:pt x="123825" y="200978"/>
                    </a:lnTo>
                    <a:lnTo>
                      <a:pt x="119063" y="202883"/>
                    </a:lnTo>
                    <a:lnTo>
                      <a:pt x="115253" y="204788"/>
                    </a:lnTo>
                    <a:lnTo>
                      <a:pt x="111443" y="206693"/>
                    </a:lnTo>
                    <a:lnTo>
                      <a:pt x="107633" y="208598"/>
                    </a:lnTo>
                    <a:lnTo>
                      <a:pt x="103822" y="210503"/>
                    </a:lnTo>
                    <a:lnTo>
                      <a:pt x="100965" y="212408"/>
                    </a:lnTo>
                    <a:lnTo>
                      <a:pt x="98108" y="215265"/>
                    </a:lnTo>
                    <a:lnTo>
                      <a:pt x="95250" y="218123"/>
                    </a:lnTo>
                    <a:lnTo>
                      <a:pt x="92393" y="220980"/>
                    </a:lnTo>
                    <a:lnTo>
                      <a:pt x="89535" y="223838"/>
                    </a:lnTo>
                    <a:lnTo>
                      <a:pt x="87630" y="226695"/>
                    </a:lnTo>
                    <a:lnTo>
                      <a:pt x="85725" y="230505"/>
                    </a:lnTo>
                    <a:lnTo>
                      <a:pt x="83820" y="234315"/>
                    </a:lnTo>
                    <a:lnTo>
                      <a:pt x="82868" y="238125"/>
                    </a:lnTo>
                    <a:lnTo>
                      <a:pt x="81915" y="241935"/>
                    </a:lnTo>
                    <a:lnTo>
                      <a:pt x="80963" y="245745"/>
                    </a:lnTo>
                    <a:lnTo>
                      <a:pt x="80010" y="250508"/>
                    </a:lnTo>
                    <a:lnTo>
                      <a:pt x="80010" y="255270"/>
                    </a:lnTo>
                    <a:lnTo>
                      <a:pt x="80010" y="259080"/>
                    </a:lnTo>
                    <a:lnTo>
                      <a:pt x="80010" y="264795"/>
                    </a:lnTo>
                    <a:lnTo>
                      <a:pt x="80963" y="270510"/>
                    </a:lnTo>
                    <a:lnTo>
                      <a:pt x="81915" y="276225"/>
                    </a:lnTo>
                    <a:lnTo>
                      <a:pt x="82868" y="281940"/>
                    </a:lnTo>
                    <a:lnTo>
                      <a:pt x="85725" y="286703"/>
                    </a:lnTo>
                    <a:lnTo>
                      <a:pt x="88583" y="291465"/>
                    </a:lnTo>
                    <a:lnTo>
                      <a:pt x="91440" y="295275"/>
                    </a:lnTo>
                    <a:lnTo>
                      <a:pt x="95250" y="299085"/>
                    </a:lnTo>
                    <a:lnTo>
                      <a:pt x="99060" y="302895"/>
                    </a:lnTo>
                    <a:lnTo>
                      <a:pt x="102870" y="305753"/>
                    </a:lnTo>
                    <a:lnTo>
                      <a:pt x="107633" y="308610"/>
                    </a:lnTo>
                    <a:lnTo>
                      <a:pt x="112395" y="311468"/>
                    </a:lnTo>
                    <a:lnTo>
                      <a:pt x="118110" y="312420"/>
                    </a:lnTo>
                    <a:lnTo>
                      <a:pt x="123825" y="313372"/>
                    </a:lnTo>
                    <a:lnTo>
                      <a:pt x="129540" y="314325"/>
                    </a:lnTo>
                    <a:lnTo>
                      <a:pt x="136208" y="314325"/>
                    </a:lnTo>
                    <a:lnTo>
                      <a:pt x="140970" y="314325"/>
                    </a:lnTo>
                    <a:lnTo>
                      <a:pt x="144780" y="314325"/>
                    </a:lnTo>
                    <a:lnTo>
                      <a:pt x="149543" y="314325"/>
                    </a:lnTo>
                    <a:lnTo>
                      <a:pt x="153353" y="313372"/>
                    </a:lnTo>
                    <a:lnTo>
                      <a:pt x="157163" y="312420"/>
                    </a:lnTo>
                    <a:lnTo>
                      <a:pt x="160972" y="311468"/>
                    </a:lnTo>
                    <a:lnTo>
                      <a:pt x="164783" y="310515"/>
                    </a:lnTo>
                    <a:lnTo>
                      <a:pt x="168593" y="309563"/>
                    </a:lnTo>
                    <a:lnTo>
                      <a:pt x="172403" y="306705"/>
                    </a:lnTo>
                    <a:lnTo>
                      <a:pt x="175260" y="304800"/>
                    </a:lnTo>
                    <a:lnTo>
                      <a:pt x="178118" y="302895"/>
                    </a:lnTo>
                    <a:lnTo>
                      <a:pt x="180975" y="300038"/>
                    </a:lnTo>
                    <a:lnTo>
                      <a:pt x="183833" y="297180"/>
                    </a:lnTo>
                    <a:lnTo>
                      <a:pt x="186690" y="294322"/>
                    </a:lnTo>
                    <a:lnTo>
                      <a:pt x="188595" y="291465"/>
                    </a:lnTo>
                    <a:lnTo>
                      <a:pt x="191453" y="288608"/>
                    </a:lnTo>
                    <a:lnTo>
                      <a:pt x="193358" y="284797"/>
                    </a:lnTo>
                    <a:lnTo>
                      <a:pt x="195263" y="280988"/>
                    </a:lnTo>
                    <a:lnTo>
                      <a:pt x="197168" y="277178"/>
                    </a:lnTo>
                    <a:lnTo>
                      <a:pt x="199072" y="273368"/>
                    </a:lnTo>
                    <a:lnTo>
                      <a:pt x="200025" y="269558"/>
                    </a:lnTo>
                    <a:lnTo>
                      <a:pt x="200978" y="265747"/>
                    </a:lnTo>
                    <a:lnTo>
                      <a:pt x="201930" y="260985"/>
                    </a:lnTo>
                    <a:lnTo>
                      <a:pt x="203835" y="256223"/>
                    </a:lnTo>
                    <a:lnTo>
                      <a:pt x="205740" y="246698"/>
                    </a:lnTo>
                    <a:lnTo>
                      <a:pt x="207645" y="236220"/>
                    </a:lnTo>
                    <a:lnTo>
                      <a:pt x="208597" y="224790"/>
                    </a:lnTo>
                    <a:lnTo>
                      <a:pt x="208597" y="211455"/>
                    </a:lnTo>
                    <a:lnTo>
                      <a:pt x="208597" y="21145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BB278E48-FB39-C128-796A-CBDC351ABBE1}"/>
                  </a:ext>
                </a:extLst>
              </p:cNvPr>
              <p:cNvSpPr/>
              <p:nvPr/>
            </p:nvSpPr>
            <p:spPr>
              <a:xfrm>
                <a:off x="10949622" y="3972014"/>
                <a:ext cx="87629" cy="529590"/>
              </a:xfrm>
              <a:custGeom>
                <a:avLst/>
                <a:gdLst>
                  <a:gd name="connsiteX0" fmla="*/ 0 w 87629"/>
                  <a:gd name="connsiteY0" fmla="*/ 529590 h 529590"/>
                  <a:gd name="connsiteX1" fmla="*/ 0 w 87629"/>
                  <a:gd name="connsiteY1" fmla="*/ 0 h 529590"/>
                  <a:gd name="connsiteX2" fmla="*/ 87630 w 87629"/>
                  <a:gd name="connsiteY2" fmla="*/ 0 h 529590"/>
                  <a:gd name="connsiteX3" fmla="*/ 87630 w 87629"/>
                  <a:gd name="connsiteY3" fmla="*/ 529590 h 529590"/>
                  <a:gd name="connsiteX4" fmla="*/ 0 w 87629"/>
                  <a:gd name="connsiteY4" fmla="*/ 529590 h 529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629" h="529590">
                    <a:moveTo>
                      <a:pt x="0" y="529590"/>
                    </a:moveTo>
                    <a:lnTo>
                      <a:pt x="0" y="0"/>
                    </a:lnTo>
                    <a:lnTo>
                      <a:pt x="87630" y="0"/>
                    </a:lnTo>
                    <a:lnTo>
                      <a:pt x="87630" y="529590"/>
                    </a:lnTo>
                    <a:lnTo>
                      <a:pt x="0" y="52959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A58CA95D-0623-2DBC-3CF2-3A670655B7F0}"/>
                  </a:ext>
                </a:extLst>
              </p:cNvPr>
              <p:cNvSpPr/>
              <p:nvPr/>
            </p:nvSpPr>
            <p:spPr>
              <a:xfrm>
                <a:off x="11066779" y="4035832"/>
                <a:ext cx="218122" cy="470534"/>
              </a:xfrm>
              <a:custGeom>
                <a:avLst/>
                <a:gdLst>
                  <a:gd name="connsiteX0" fmla="*/ 58102 w 218122"/>
                  <a:gd name="connsiteY0" fmla="*/ 100965 h 470534"/>
                  <a:gd name="connsiteX1" fmla="*/ 58102 w 218122"/>
                  <a:gd name="connsiteY1" fmla="*/ 26670 h 470534"/>
                  <a:gd name="connsiteX2" fmla="*/ 145732 w 218122"/>
                  <a:gd name="connsiteY2" fmla="*/ 0 h 470534"/>
                  <a:gd name="connsiteX3" fmla="*/ 145732 w 218122"/>
                  <a:gd name="connsiteY3" fmla="*/ 100965 h 470534"/>
                  <a:gd name="connsiteX4" fmla="*/ 218122 w 218122"/>
                  <a:gd name="connsiteY4" fmla="*/ 100965 h 470534"/>
                  <a:gd name="connsiteX5" fmla="*/ 218122 w 218122"/>
                  <a:gd name="connsiteY5" fmla="*/ 165735 h 470534"/>
                  <a:gd name="connsiteX6" fmla="*/ 145732 w 218122"/>
                  <a:gd name="connsiteY6" fmla="*/ 165735 h 470534"/>
                  <a:gd name="connsiteX7" fmla="*/ 145732 w 218122"/>
                  <a:gd name="connsiteY7" fmla="*/ 353378 h 470534"/>
                  <a:gd name="connsiteX8" fmla="*/ 145732 w 218122"/>
                  <a:gd name="connsiteY8" fmla="*/ 360045 h 470534"/>
                  <a:gd name="connsiteX9" fmla="*/ 145732 w 218122"/>
                  <a:gd name="connsiteY9" fmla="*/ 366712 h 470534"/>
                  <a:gd name="connsiteX10" fmla="*/ 146685 w 218122"/>
                  <a:gd name="connsiteY10" fmla="*/ 372427 h 470534"/>
                  <a:gd name="connsiteX11" fmla="*/ 148590 w 218122"/>
                  <a:gd name="connsiteY11" fmla="*/ 377190 h 470534"/>
                  <a:gd name="connsiteX12" fmla="*/ 149543 w 218122"/>
                  <a:gd name="connsiteY12" fmla="*/ 381952 h 470534"/>
                  <a:gd name="connsiteX13" fmla="*/ 150495 w 218122"/>
                  <a:gd name="connsiteY13" fmla="*/ 385762 h 470534"/>
                  <a:gd name="connsiteX14" fmla="*/ 153352 w 218122"/>
                  <a:gd name="connsiteY14" fmla="*/ 389573 h 470534"/>
                  <a:gd name="connsiteX15" fmla="*/ 155257 w 218122"/>
                  <a:gd name="connsiteY15" fmla="*/ 392430 h 470534"/>
                  <a:gd name="connsiteX16" fmla="*/ 158115 w 218122"/>
                  <a:gd name="connsiteY16" fmla="*/ 395287 h 470534"/>
                  <a:gd name="connsiteX17" fmla="*/ 160972 w 218122"/>
                  <a:gd name="connsiteY17" fmla="*/ 398145 h 470534"/>
                  <a:gd name="connsiteX18" fmla="*/ 163830 w 218122"/>
                  <a:gd name="connsiteY18" fmla="*/ 399098 h 470534"/>
                  <a:gd name="connsiteX19" fmla="*/ 167640 w 218122"/>
                  <a:gd name="connsiteY19" fmla="*/ 401002 h 470534"/>
                  <a:gd name="connsiteX20" fmla="*/ 171450 w 218122"/>
                  <a:gd name="connsiteY20" fmla="*/ 401955 h 470534"/>
                  <a:gd name="connsiteX21" fmla="*/ 175260 w 218122"/>
                  <a:gd name="connsiteY21" fmla="*/ 402908 h 470534"/>
                  <a:gd name="connsiteX22" fmla="*/ 180022 w 218122"/>
                  <a:gd name="connsiteY22" fmla="*/ 403860 h 470534"/>
                  <a:gd name="connsiteX23" fmla="*/ 184785 w 218122"/>
                  <a:gd name="connsiteY23" fmla="*/ 403860 h 470534"/>
                  <a:gd name="connsiteX24" fmla="*/ 189547 w 218122"/>
                  <a:gd name="connsiteY24" fmla="*/ 403860 h 470534"/>
                  <a:gd name="connsiteX25" fmla="*/ 194310 w 218122"/>
                  <a:gd name="connsiteY25" fmla="*/ 402908 h 470534"/>
                  <a:gd name="connsiteX26" fmla="*/ 198120 w 218122"/>
                  <a:gd name="connsiteY26" fmla="*/ 402908 h 470534"/>
                  <a:gd name="connsiteX27" fmla="*/ 202882 w 218122"/>
                  <a:gd name="connsiteY27" fmla="*/ 401955 h 470534"/>
                  <a:gd name="connsiteX28" fmla="*/ 206693 w 218122"/>
                  <a:gd name="connsiteY28" fmla="*/ 400050 h 470534"/>
                  <a:gd name="connsiteX29" fmla="*/ 210502 w 218122"/>
                  <a:gd name="connsiteY29" fmla="*/ 399098 h 470534"/>
                  <a:gd name="connsiteX30" fmla="*/ 214313 w 218122"/>
                  <a:gd name="connsiteY30" fmla="*/ 398145 h 470534"/>
                  <a:gd name="connsiteX31" fmla="*/ 218122 w 218122"/>
                  <a:gd name="connsiteY31" fmla="*/ 396240 h 470534"/>
                  <a:gd name="connsiteX32" fmla="*/ 218122 w 218122"/>
                  <a:gd name="connsiteY32" fmla="*/ 459105 h 470534"/>
                  <a:gd name="connsiteX33" fmla="*/ 211455 w 218122"/>
                  <a:gd name="connsiteY33" fmla="*/ 461962 h 470534"/>
                  <a:gd name="connsiteX34" fmla="*/ 204788 w 218122"/>
                  <a:gd name="connsiteY34" fmla="*/ 464820 h 470534"/>
                  <a:gd name="connsiteX35" fmla="*/ 197168 w 218122"/>
                  <a:gd name="connsiteY35" fmla="*/ 465773 h 470534"/>
                  <a:gd name="connsiteX36" fmla="*/ 190500 w 218122"/>
                  <a:gd name="connsiteY36" fmla="*/ 467677 h 470534"/>
                  <a:gd name="connsiteX37" fmla="*/ 182880 w 218122"/>
                  <a:gd name="connsiteY37" fmla="*/ 469583 h 470534"/>
                  <a:gd name="connsiteX38" fmla="*/ 175260 w 218122"/>
                  <a:gd name="connsiteY38" fmla="*/ 469583 h 470534"/>
                  <a:gd name="connsiteX39" fmla="*/ 167640 w 218122"/>
                  <a:gd name="connsiteY39" fmla="*/ 470535 h 470534"/>
                  <a:gd name="connsiteX40" fmla="*/ 159068 w 218122"/>
                  <a:gd name="connsiteY40" fmla="*/ 470535 h 470534"/>
                  <a:gd name="connsiteX41" fmla="*/ 153352 w 218122"/>
                  <a:gd name="connsiteY41" fmla="*/ 470535 h 470534"/>
                  <a:gd name="connsiteX42" fmla="*/ 146685 w 218122"/>
                  <a:gd name="connsiteY42" fmla="*/ 470535 h 470534"/>
                  <a:gd name="connsiteX43" fmla="*/ 140970 w 218122"/>
                  <a:gd name="connsiteY43" fmla="*/ 469583 h 470534"/>
                  <a:gd name="connsiteX44" fmla="*/ 136207 w 218122"/>
                  <a:gd name="connsiteY44" fmla="*/ 469583 h 470534"/>
                  <a:gd name="connsiteX45" fmla="*/ 130493 w 218122"/>
                  <a:gd name="connsiteY45" fmla="*/ 468630 h 470534"/>
                  <a:gd name="connsiteX46" fmla="*/ 124777 w 218122"/>
                  <a:gd name="connsiteY46" fmla="*/ 466725 h 470534"/>
                  <a:gd name="connsiteX47" fmla="*/ 120015 w 218122"/>
                  <a:gd name="connsiteY47" fmla="*/ 465773 h 470534"/>
                  <a:gd name="connsiteX48" fmla="*/ 115252 w 218122"/>
                  <a:gd name="connsiteY48" fmla="*/ 464820 h 470534"/>
                  <a:gd name="connsiteX49" fmla="*/ 110490 w 218122"/>
                  <a:gd name="connsiteY49" fmla="*/ 462915 h 470534"/>
                  <a:gd name="connsiteX50" fmla="*/ 105727 w 218122"/>
                  <a:gd name="connsiteY50" fmla="*/ 461010 h 470534"/>
                  <a:gd name="connsiteX51" fmla="*/ 101918 w 218122"/>
                  <a:gd name="connsiteY51" fmla="*/ 459105 h 470534"/>
                  <a:gd name="connsiteX52" fmla="*/ 98107 w 218122"/>
                  <a:gd name="connsiteY52" fmla="*/ 456248 h 470534"/>
                  <a:gd name="connsiteX53" fmla="*/ 94297 w 218122"/>
                  <a:gd name="connsiteY53" fmla="*/ 454343 h 470534"/>
                  <a:gd name="connsiteX54" fmla="*/ 90488 w 218122"/>
                  <a:gd name="connsiteY54" fmla="*/ 451485 h 470534"/>
                  <a:gd name="connsiteX55" fmla="*/ 86677 w 218122"/>
                  <a:gd name="connsiteY55" fmla="*/ 448627 h 470534"/>
                  <a:gd name="connsiteX56" fmla="*/ 83820 w 218122"/>
                  <a:gd name="connsiteY56" fmla="*/ 445770 h 470534"/>
                  <a:gd name="connsiteX57" fmla="*/ 80963 w 218122"/>
                  <a:gd name="connsiteY57" fmla="*/ 441960 h 470534"/>
                  <a:gd name="connsiteX58" fmla="*/ 78105 w 218122"/>
                  <a:gd name="connsiteY58" fmla="*/ 438150 h 470534"/>
                  <a:gd name="connsiteX59" fmla="*/ 75247 w 218122"/>
                  <a:gd name="connsiteY59" fmla="*/ 435293 h 470534"/>
                  <a:gd name="connsiteX60" fmla="*/ 72390 w 218122"/>
                  <a:gd name="connsiteY60" fmla="*/ 430530 h 470534"/>
                  <a:gd name="connsiteX61" fmla="*/ 69532 w 218122"/>
                  <a:gd name="connsiteY61" fmla="*/ 426720 h 470534"/>
                  <a:gd name="connsiteX62" fmla="*/ 67627 w 218122"/>
                  <a:gd name="connsiteY62" fmla="*/ 421958 h 470534"/>
                  <a:gd name="connsiteX63" fmla="*/ 65722 w 218122"/>
                  <a:gd name="connsiteY63" fmla="*/ 417195 h 470534"/>
                  <a:gd name="connsiteX64" fmla="*/ 64770 w 218122"/>
                  <a:gd name="connsiteY64" fmla="*/ 412433 h 470534"/>
                  <a:gd name="connsiteX65" fmla="*/ 62865 w 218122"/>
                  <a:gd name="connsiteY65" fmla="*/ 407670 h 470534"/>
                  <a:gd name="connsiteX66" fmla="*/ 61913 w 218122"/>
                  <a:gd name="connsiteY66" fmla="*/ 401955 h 470534"/>
                  <a:gd name="connsiteX67" fmla="*/ 60960 w 218122"/>
                  <a:gd name="connsiteY67" fmla="*/ 396240 h 470534"/>
                  <a:gd name="connsiteX68" fmla="*/ 59055 w 218122"/>
                  <a:gd name="connsiteY68" fmla="*/ 389573 h 470534"/>
                  <a:gd name="connsiteX69" fmla="*/ 59055 w 218122"/>
                  <a:gd name="connsiteY69" fmla="*/ 383858 h 470534"/>
                  <a:gd name="connsiteX70" fmla="*/ 58102 w 218122"/>
                  <a:gd name="connsiteY70" fmla="*/ 377190 h 470534"/>
                  <a:gd name="connsiteX71" fmla="*/ 58102 w 218122"/>
                  <a:gd name="connsiteY71" fmla="*/ 370523 h 470534"/>
                  <a:gd name="connsiteX72" fmla="*/ 58102 w 218122"/>
                  <a:gd name="connsiteY72" fmla="*/ 365760 h 470534"/>
                  <a:gd name="connsiteX73" fmla="*/ 58102 w 218122"/>
                  <a:gd name="connsiteY73" fmla="*/ 165735 h 470534"/>
                  <a:gd name="connsiteX74" fmla="*/ 0 w 218122"/>
                  <a:gd name="connsiteY74" fmla="*/ 165735 h 470534"/>
                  <a:gd name="connsiteX75" fmla="*/ 0 w 218122"/>
                  <a:gd name="connsiteY75" fmla="*/ 100965 h 470534"/>
                  <a:gd name="connsiteX76" fmla="*/ 58102 w 218122"/>
                  <a:gd name="connsiteY76" fmla="*/ 100965 h 470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218122" h="470534">
                    <a:moveTo>
                      <a:pt x="58102" y="100965"/>
                    </a:moveTo>
                    <a:lnTo>
                      <a:pt x="58102" y="26670"/>
                    </a:lnTo>
                    <a:lnTo>
                      <a:pt x="145732" y="0"/>
                    </a:lnTo>
                    <a:lnTo>
                      <a:pt x="145732" y="100965"/>
                    </a:lnTo>
                    <a:lnTo>
                      <a:pt x="218122" y="100965"/>
                    </a:lnTo>
                    <a:lnTo>
                      <a:pt x="218122" y="165735"/>
                    </a:lnTo>
                    <a:lnTo>
                      <a:pt x="145732" y="165735"/>
                    </a:lnTo>
                    <a:lnTo>
                      <a:pt x="145732" y="353378"/>
                    </a:lnTo>
                    <a:lnTo>
                      <a:pt x="145732" y="360045"/>
                    </a:lnTo>
                    <a:lnTo>
                      <a:pt x="145732" y="366712"/>
                    </a:lnTo>
                    <a:lnTo>
                      <a:pt x="146685" y="372427"/>
                    </a:lnTo>
                    <a:lnTo>
                      <a:pt x="148590" y="377190"/>
                    </a:lnTo>
                    <a:lnTo>
                      <a:pt x="149543" y="381952"/>
                    </a:lnTo>
                    <a:lnTo>
                      <a:pt x="150495" y="385762"/>
                    </a:lnTo>
                    <a:lnTo>
                      <a:pt x="153352" y="389573"/>
                    </a:lnTo>
                    <a:lnTo>
                      <a:pt x="155257" y="392430"/>
                    </a:lnTo>
                    <a:lnTo>
                      <a:pt x="158115" y="395287"/>
                    </a:lnTo>
                    <a:lnTo>
                      <a:pt x="160972" y="398145"/>
                    </a:lnTo>
                    <a:lnTo>
                      <a:pt x="163830" y="399098"/>
                    </a:lnTo>
                    <a:lnTo>
                      <a:pt x="167640" y="401002"/>
                    </a:lnTo>
                    <a:lnTo>
                      <a:pt x="171450" y="401955"/>
                    </a:lnTo>
                    <a:lnTo>
                      <a:pt x="175260" y="402908"/>
                    </a:lnTo>
                    <a:lnTo>
                      <a:pt x="180022" y="403860"/>
                    </a:lnTo>
                    <a:lnTo>
                      <a:pt x="184785" y="403860"/>
                    </a:lnTo>
                    <a:lnTo>
                      <a:pt x="189547" y="403860"/>
                    </a:lnTo>
                    <a:lnTo>
                      <a:pt x="194310" y="402908"/>
                    </a:lnTo>
                    <a:lnTo>
                      <a:pt x="198120" y="402908"/>
                    </a:lnTo>
                    <a:lnTo>
                      <a:pt x="202882" y="401955"/>
                    </a:lnTo>
                    <a:lnTo>
                      <a:pt x="206693" y="400050"/>
                    </a:lnTo>
                    <a:lnTo>
                      <a:pt x="210502" y="399098"/>
                    </a:lnTo>
                    <a:lnTo>
                      <a:pt x="214313" y="398145"/>
                    </a:lnTo>
                    <a:lnTo>
                      <a:pt x="218122" y="396240"/>
                    </a:lnTo>
                    <a:lnTo>
                      <a:pt x="218122" y="459105"/>
                    </a:lnTo>
                    <a:lnTo>
                      <a:pt x="211455" y="461962"/>
                    </a:lnTo>
                    <a:lnTo>
                      <a:pt x="204788" y="464820"/>
                    </a:lnTo>
                    <a:lnTo>
                      <a:pt x="197168" y="465773"/>
                    </a:lnTo>
                    <a:lnTo>
                      <a:pt x="190500" y="467677"/>
                    </a:lnTo>
                    <a:lnTo>
                      <a:pt x="182880" y="469583"/>
                    </a:lnTo>
                    <a:lnTo>
                      <a:pt x="175260" y="469583"/>
                    </a:lnTo>
                    <a:lnTo>
                      <a:pt x="167640" y="470535"/>
                    </a:lnTo>
                    <a:lnTo>
                      <a:pt x="159068" y="470535"/>
                    </a:lnTo>
                    <a:lnTo>
                      <a:pt x="153352" y="470535"/>
                    </a:lnTo>
                    <a:lnTo>
                      <a:pt x="146685" y="470535"/>
                    </a:lnTo>
                    <a:lnTo>
                      <a:pt x="140970" y="469583"/>
                    </a:lnTo>
                    <a:lnTo>
                      <a:pt x="136207" y="469583"/>
                    </a:lnTo>
                    <a:lnTo>
                      <a:pt x="130493" y="468630"/>
                    </a:lnTo>
                    <a:lnTo>
                      <a:pt x="124777" y="466725"/>
                    </a:lnTo>
                    <a:lnTo>
                      <a:pt x="120015" y="465773"/>
                    </a:lnTo>
                    <a:lnTo>
                      <a:pt x="115252" y="464820"/>
                    </a:lnTo>
                    <a:lnTo>
                      <a:pt x="110490" y="462915"/>
                    </a:lnTo>
                    <a:lnTo>
                      <a:pt x="105727" y="461010"/>
                    </a:lnTo>
                    <a:lnTo>
                      <a:pt x="101918" y="459105"/>
                    </a:lnTo>
                    <a:lnTo>
                      <a:pt x="98107" y="456248"/>
                    </a:lnTo>
                    <a:lnTo>
                      <a:pt x="94297" y="454343"/>
                    </a:lnTo>
                    <a:lnTo>
                      <a:pt x="90488" y="451485"/>
                    </a:lnTo>
                    <a:lnTo>
                      <a:pt x="86677" y="448627"/>
                    </a:lnTo>
                    <a:lnTo>
                      <a:pt x="83820" y="445770"/>
                    </a:lnTo>
                    <a:lnTo>
                      <a:pt x="80963" y="441960"/>
                    </a:lnTo>
                    <a:lnTo>
                      <a:pt x="78105" y="438150"/>
                    </a:lnTo>
                    <a:lnTo>
                      <a:pt x="75247" y="435293"/>
                    </a:lnTo>
                    <a:lnTo>
                      <a:pt x="72390" y="430530"/>
                    </a:lnTo>
                    <a:lnTo>
                      <a:pt x="69532" y="426720"/>
                    </a:lnTo>
                    <a:lnTo>
                      <a:pt x="67627" y="421958"/>
                    </a:lnTo>
                    <a:lnTo>
                      <a:pt x="65722" y="417195"/>
                    </a:lnTo>
                    <a:lnTo>
                      <a:pt x="64770" y="412433"/>
                    </a:lnTo>
                    <a:lnTo>
                      <a:pt x="62865" y="407670"/>
                    </a:lnTo>
                    <a:lnTo>
                      <a:pt x="61913" y="401955"/>
                    </a:lnTo>
                    <a:lnTo>
                      <a:pt x="60960" y="396240"/>
                    </a:lnTo>
                    <a:lnTo>
                      <a:pt x="59055" y="389573"/>
                    </a:lnTo>
                    <a:lnTo>
                      <a:pt x="59055" y="383858"/>
                    </a:lnTo>
                    <a:lnTo>
                      <a:pt x="58102" y="377190"/>
                    </a:lnTo>
                    <a:lnTo>
                      <a:pt x="58102" y="370523"/>
                    </a:lnTo>
                    <a:lnTo>
                      <a:pt x="58102" y="365760"/>
                    </a:lnTo>
                    <a:lnTo>
                      <a:pt x="58102" y="165735"/>
                    </a:lnTo>
                    <a:lnTo>
                      <a:pt x="0" y="165735"/>
                    </a:lnTo>
                    <a:lnTo>
                      <a:pt x="0" y="100965"/>
                    </a:lnTo>
                    <a:lnTo>
                      <a:pt x="58102" y="10096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AE342F83-D988-095C-4F37-822E4C5E2321}"/>
                  </a:ext>
                </a:extLst>
              </p:cNvPr>
              <p:cNvSpPr/>
              <p:nvPr/>
            </p:nvSpPr>
            <p:spPr>
              <a:xfrm>
                <a:off x="11307762" y="3972014"/>
                <a:ext cx="287655" cy="529590"/>
              </a:xfrm>
              <a:custGeom>
                <a:avLst/>
                <a:gdLst>
                  <a:gd name="connsiteX0" fmla="*/ 0 w 287655"/>
                  <a:gd name="connsiteY0" fmla="*/ 529590 h 529590"/>
                  <a:gd name="connsiteX1" fmla="*/ 0 w 287655"/>
                  <a:gd name="connsiteY1" fmla="*/ 0 h 529590"/>
                  <a:gd name="connsiteX2" fmla="*/ 87630 w 287655"/>
                  <a:gd name="connsiteY2" fmla="*/ 0 h 529590"/>
                  <a:gd name="connsiteX3" fmla="*/ 87630 w 287655"/>
                  <a:gd name="connsiteY3" fmla="*/ 212408 h 529590"/>
                  <a:gd name="connsiteX4" fmla="*/ 89535 w 287655"/>
                  <a:gd name="connsiteY4" fmla="*/ 212408 h 529590"/>
                  <a:gd name="connsiteX5" fmla="*/ 94298 w 287655"/>
                  <a:gd name="connsiteY5" fmla="*/ 206692 h 529590"/>
                  <a:gd name="connsiteX6" fmla="*/ 98107 w 287655"/>
                  <a:gd name="connsiteY6" fmla="*/ 200978 h 529590"/>
                  <a:gd name="connsiteX7" fmla="*/ 102870 w 287655"/>
                  <a:gd name="connsiteY7" fmla="*/ 196215 h 529590"/>
                  <a:gd name="connsiteX8" fmla="*/ 106680 w 287655"/>
                  <a:gd name="connsiteY8" fmla="*/ 191453 h 529590"/>
                  <a:gd name="connsiteX9" fmla="*/ 111443 w 287655"/>
                  <a:gd name="connsiteY9" fmla="*/ 186690 h 529590"/>
                  <a:gd name="connsiteX10" fmla="*/ 116205 w 287655"/>
                  <a:gd name="connsiteY10" fmla="*/ 181928 h 529590"/>
                  <a:gd name="connsiteX11" fmla="*/ 120968 w 287655"/>
                  <a:gd name="connsiteY11" fmla="*/ 178117 h 529590"/>
                  <a:gd name="connsiteX12" fmla="*/ 125730 w 287655"/>
                  <a:gd name="connsiteY12" fmla="*/ 174308 h 529590"/>
                  <a:gd name="connsiteX13" fmla="*/ 130493 w 287655"/>
                  <a:gd name="connsiteY13" fmla="*/ 171450 h 529590"/>
                  <a:gd name="connsiteX14" fmla="*/ 136207 w 287655"/>
                  <a:gd name="connsiteY14" fmla="*/ 168592 h 529590"/>
                  <a:gd name="connsiteX15" fmla="*/ 141923 w 287655"/>
                  <a:gd name="connsiteY15" fmla="*/ 165735 h 529590"/>
                  <a:gd name="connsiteX16" fmla="*/ 148590 w 287655"/>
                  <a:gd name="connsiteY16" fmla="*/ 163830 h 529590"/>
                  <a:gd name="connsiteX17" fmla="*/ 155257 w 287655"/>
                  <a:gd name="connsiteY17" fmla="*/ 162878 h 529590"/>
                  <a:gd name="connsiteX18" fmla="*/ 162877 w 287655"/>
                  <a:gd name="connsiteY18" fmla="*/ 161925 h 529590"/>
                  <a:gd name="connsiteX19" fmla="*/ 171450 w 287655"/>
                  <a:gd name="connsiteY19" fmla="*/ 160973 h 529590"/>
                  <a:gd name="connsiteX20" fmla="*/ 180023 w 287655"/>
                  <a:gd name="connsiteY20" fmla="*/ 160020 h 529590"/>
                  <a:gd name="connsiteX21" fmla="*/ 189548 w 287655"/>
                  <a:gd name="connsiteY21" fmla="*/ 160973 h 529590"/>
                  <a:gd name="connsiteX22" fmla="*/ 199073 w 287655"/>
                  <a:gd name="connsiteY22" fmla="*/ 161925 h 529590"/>
                  <a:gd name="connsiteX23" fmla="*/ 207645 w 287655"/>
                  <a:gd name="connsiteY23" fmla="*/ 162878 h 529590"/>
                  <a:gd name="connsiteX24" fmla="*/ 215265 w 287655"/>
                  <a:gd name="connsiteY24" fmla="*/ 164783 h 529590"/>
                  <a:gd name="connsiteX25" fmla="*/ 222885 w 287655"/>
                  <a:gd name="connsiteY25" fmla="*/ 167640 h 529590"/>
                  <a:gd name="connsiteX26" fmla="*/ 230505 w 287655"/>
                  <a:gd name="connsiteY26" fmla="*/ 170498 h 529590"/>
                  <a:gd name="connsiteX27" fmla="*/ 234315 w 287655"/>
                  <a:gd name="connsiteY27" fmla="*/ 172403 h 529590"/>
                  <a:gd name="connsiteX28" fmla="*/ 237173 w 287655"/>
                  <a:gd name="connsiteY28" fmla="*/ 174308 h 529590"/>
                  <a:gd name="connsiteX29" fmla="*/ 240030 w 287655"/>
                  <a:gd name="connsiteY29" fmla="*/ 176213 h 529590"/>
                  <a:gd name="connsiteX30" fmla="*/ 243840 w 287655"/>
                  <a:gd name="connsiteY30" fmla="*/ 178117 h 529590"/>
                  <a:gd name="connsiteX31" fmla="*/ 249555 w 287655"/>
                  <a:gd name="connsiteY31" fmla="*/ 182880 h 529590"/>
                  <a:gd name="connsiteX32" fmla="*/ 254318 w 287655"/>
                  <a:gd name="connsiteY32" fmla="*/ 187642 h 529590"/>
                  <a:gd name="connsiteX33" fmla="*/ 259080 w 287655"/>
                  <a:gd name="connsiteY33" fmla="*/ 193358 h 529590"/>
                  <a:gd name="connsiteX34" fmla="*/ 263843 w 287655"/>
                  <a:gd name="connsiteY34" fmla="*/ 199073 h 529590"/>
                  <a:gd name="connsiteX35" fmla="*/ 267652 w 287655"/>
                  <a:gd name="connsiteY35" fmla="*/ 204788 h 529590"/>
                  <a:gd name="connsiteX36" fmla="*/ 271463 w 287655"/>
                  <a:gd name="connsiteY36" fmla="*/ 211455 h 529590"/>
                  <a:gd name="connsiteX37" fmla="*/ 274320 w 287655"/>
                  <a:gd name="connsiteY37" fmla="*/ 219075 h 529590"/>
                  <a:gd name="connsiteX38" fmla="*/ 277177 w 287655"/>
                  <a:gd name="connsiteY38" fmla="*/ 225742 h 529590"/>
                  <a:gd name="connsiteX39" fmla="*/ 280035 w 287655"/>
                  <a:gd name="connsiteY39" fmla="*/ 233363 h 529590"/>
                  <a:gd name="connsiteX40" fmla="*/ 281940 w 287655"/>
                  <a:gd name="connsiteY40" fmla="*/ 241935 h 529590"/>
                  <a:gd name="connsiteX41" fmla="*/ 283845 w 287655"/>
                  <a:gd name="connsiteY41" fmla="*/ 249555 h 529590"/>
                  <a:gd name="connsiteX42" fmla="*/ 284798 w 287655"/>
                  <a:gd name="connsiteY42" fmla="*/ 258128 h 529590"/>
                  <a:gd name="connsiteX43" fmla="*/ 285750 w 287655"/>
                  <a:gd name="connsiteY43" fmla="*/ 267653 h 529590"/>
                  <a:gd name="connsiteX44" fmla="*/ 286702 w 287655"/>
                  <a:gd name="connsiteY44" fmla="*/ 276225 h 529590"/>
                  <a:gd name="connsiteX45" fmla="*/ 287655 w 287655"/>
                  <a:gd name="connsiteY45" fmla="*/ 285750 h 529590"/>
                  <a:gd name="connsiteX46" fmla="*/ 287655 w 287655"/>
                  <a:gd name="connsiteY46" fmla="*/ 295275 h 529590"/>
                  <a:gd name="connsiteX47" fmla="*/ 287655 w 287655"/>
                  <a:gd name="connsiteY47" fmla="*/ 529590 h 529590"/>
                  <a:gd name="connsiteX48" fmla="*/ 200025 w 287655"/>
                  <a:gd name="connsiteY48" fmla="*/ 529590 h 529590"/>
                  <a:gd name="connsiteX49" fmla="*/ 200025 w 287655"/>
                  <a:gd name="connsiteY49" fmla="*/ 310515 h 529590"/>
                  <a:gd name="connsiteX50" fmla="*/ 199073 w 287655"/>
                  <a:gd name="connsiteY50" fmla="*/ 300990 h 529590"/>
                  <a:gd name="connsiteX51" fmla="*/ 199073 w 287655"/>
                  <a:gd name="connsiteY51" fmla="*/ 291465 h 529590"/>
                  <a:gd name="connsiteX52" fmla="*/ 198120 w 287655"/>
                  <a:gd name="connsiteY52" fmla="*/ 281940 h 529590"/>
                  <a:gd name="connsiteX53" fmla="*/ 197168 w 287655"/>
                  <a:gd name="connsiteY53" fmla="*/ 274320 h 529590"/>
                  <a:gd name="connsiteX54" fmla="*/ 195263 w 287655"/>
                  <a:gd name="connsiteY54" fmla="*/ 267653 h 529590"/>
                  <a:gd name="connsiteX55" fmla="*/ 193357 w 287655"/>
                  <a:gd name="connsiteY55" fmla="*/ 260985 h 529590"/>
                  <a:gd name="connsiteX56" fmla="*/ 190500 w 287655"/>
                  <a:gd name="connsiteY56" fmla="*/ 255270 h 529590"/>
                  <a:gd name="connsiteX57" fmla="*/ 187643 w 287655"/>
                  <a:gd name="connsiteY57" fmla="*/ 250508 h 529590"/>
                  <a:gd name="connsiteX58" fmla="*/ 184785 w 287655"/>
                  <a:gd name="connsiteY58" fmla="*/ 245745 h 529590"/>
                  <a:gd name="connsiteX59" fmla="*/ 180975 w 287655"/>
                  <a:gd name="connsiteY59" fmla="*/ 241935 h 529590"/>
                  <a:gd name="connsiteX60" fmla="*/ 179070 w 287655"/>
                  <a:gd name="connsiteY60" fmla="*/ 240983 h 529590"/>
                  <a:gd name="connsiteX61" fmla="*/ 177165 w 287655"/>
                  <a:gd name="connsiteY61" fmla="*/ 239078 h 529590"/>
                  <a:gd name="connsiteX62" fmla="*/ 175260 w 287655"/>
                  <a:gd name="connsiteY62" fmla="*/ 237173 h 529590"/>
                  <a:gd name="connsiteX63" fmla="*/ 172402 w 287655"/>
                  <a:gd name="connsiteY63" fmla="*/ 236220 h 529590"/>
                  <a:gd name="connsiteX64" fmla="*/ 167640 w 287655"/>
                  <a:gd name="connsiteY64" fmla="*/ 234315 h 529590"/>
                  <a:gd name="connsiteX65" fmla="*/ 161925 w 287655"/>
                  <a:gd name="connsiteY65" fmla="*/ 232410 h 529590"/>
                  <a:gd name="connsiteX66" fmla="*/ 156210 w 287655"/>
                  <a:gd name="connsiteY66" fmla="*/ 232410 h 529590"/>
                  <a:gd name="connsiteX67" fmla="*/ 149543 w 287655"/>
                  <a:gd name="connsiteY67" fmla="*/ 231458 h 529590"/>
                  <a:gd name="connsiteX68" fmla="*/ 145732 w 287655"/>
                  <a:gd name="connsiteY68" fmla="*/ 231458 h 529590"/>
                  <a:gd name="connsiteX69" fmla="*/ 141923 w 287655"/>
                  <a:gd name="connsiteY69" fmla="*/ 232410 h 529590"/>
                  <a:gd name="connsiteX70" fmla="*/ 138113 w 287655"/>
                  <a:gd name="connsiteY70" fmla="*/ 232410 h 529590"/>
                  <a:gd name="connsiteX71" fmla="*/ 134302 w 287655"/>
                  <a:gd name="connsiteY71" fmla="*/ 233363 h 529590"/>
                  <a:gd name="connsiteX72" fmla="*/ 131445 w 287655"/>
                  <a:gd name="connsiteY72" fmla="*/ 234315 h 529590"/>
                  <a:gd name="connsiteX73" fmla="*/ 127635 w 287655"/>
                  <a:gd name="connsiteY73" fmla="*/ 235267 h 529590"/>
                  <a:gd name="connsiteX74" fmla="*/ 124777 w 287655"/>
                  <a:gd name="connsiteY74" fmla="*/ 236220 h 529590"/>
                  <a:gd name="connsiteX75" fmla="*/ 121920 w 287655"/>
                  <a:gd name="connsiteY75" fmla="*/ 238125 h 529590"/>
                  <a:gd name="connsiteX76" fmla="*/ 119063 w 287655"/>
                  <a:gd name="connsiteY76" fmla="*/ 239078 h 529590"/>
                  <a:gd name="connsiteX77" fmla="*/ 116205 w 287655"/>
                  <a:gd name="connsiteY77" fmla="*/ 240983 h 529590"/>
                  <a:gd name="connsiteX78" fmla="*/ 113348 w 287655"/>
                  <a:gd name="connsiteY78" fmla="*/ 242888 h 529590"/>
                  <a:gd name="connsiteX79" fmla="*/ 111443 w 287655"/>
                  <a:gd name="connsiteY79" fmla="*/ 244792 h 529590"/>
                  <a:gd name="connsiteX80" fmla="*/ 108585 w 287655"/>
                  <a:gd name="connsiteY80" fmla="*/ 247650 h 529590"/>
                  <a:gd name="connsiteX81" fmla="*/ 106680 w 287655"/>
                  <a:gd name="connsiteY81" fmla="*/ 250508 h 529590"/>
                  <a:gd name="connsiteX82" fmla="*/ 104775 w 287655"/>
                  <a:gd name="connsiteY82" fmla="*/ 252413 h 529590"/>
                  <a:gd name="connsiteX83" fmla="*/ 102870 w 287655"/>
                  <a:gd name="connsiteY83" fmla="*/ 255270 h 529590"/>
                  <a:gd name="connsiteX84" fmla="*/ 99060 w 287655"/>
                  <a:gd name="connsiteY84" fmla="*/ 261938 h 529590"/>
                  <a:gd name="connsiteX85" fmla="*/ 96202 w 287655"/>
                  <a:gd name="connsiteY85" fmla="*/ 267653 h 529590"/>
                  <a:gd name="connsiteX86" fmla="*/ 93345 w 287655"/>
                  <a:gd name="connsiteY86" fmla="*/ 275273 h 529590"/>
                  <a:gd name="connsiteX87" fmla="*/ 91440 w 287655"/>
                  <a:gd name="connsiteY87" fmla="*/ 282893 h 529590"/>
                  <a:gd name="connsiteX88" fmla="*/ 89535 w 287655"/>
                  <a:gd name="connsiteY88" fmla="*/ 290513 h 529590"/>
                  <a:gd name="connsiteX89" fmla="*/ 88582 w 287655"/>
                  <a:gd name="connsiteY89" fmla="*/ 299085 h 529590"/>
                  <a:gd name="connsiteX90" fmla="*/ 87630 w 287655"/>
                  <a:gd name="connsiteY90" fmla="*/ 307658 h 529590"/>
                  <a:gd name="connsiteX91" fmla="*/ 87630 w 287655"/>
                  <a:gd name="connsiteY91" fmla="*/ 317183 h 529590"/>
                  <a:gd name="connsiteX92" fmla="*/ 87630 w 287655"/>
                  <a:gd name="connsiteY92" fmla="*/ 529590 h 529590"/>
                  <a:gd name="connsiteX93" fmla="*/ 0 w 287655"/>
                  <a:gd name="connsiteY93" fmla="*/ 529590 h 529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287655" h="529590">
                    <a:moveTo>
                      <a:pt x="0" y="529590"/>
                    </a:moveTo>
                    <a:lnTo>
                      <a:pt x="0" y="0"/>
                    </a:lnTo>
                    <a:lnTo>
                      <a:pt x="87630" y="0"/>
                    </a:lnTo>
                    <a:lnTo>
                      <a:pt x="87630" y="212408"/>
                    </a:lnTo>
                    <a:lnTo>
                      <a:pt x="89535" y="212408"/>
                    </a:lnTo>
                    <a:lnTo>
                      <a:pt x="94298" y="206692"/>
                    </a:lnTo>
                    <a:lnTo>
                      <a:pt x="98107" y="200978"/>
                    </a:lnTo>
                    <a:lnTo>
                      <a:pt x="102870" y="196215"/>
                    </a:lnTo>
                    <a:lnTo>
                      <a:pt x="106680" y="191453"/>
                    </a:lnTo>
                    <a:lnTo>
                      <a:pt x="111443" y="186690"/>
                    </a:lnTo>
                    <a:lnTo>
                      <a:pt x="116205" y="181928"/>
                    </a:lnTo>
                    <a:lnTo>
                      <a:pt x="120968" y="178117"/>
                    </a:lnTo>
                    <a:lnTo>
                      <a:pt x="125730" y="174308"/>
                    </a:lnTo>
                    <a:lnTo>
                      <a:pt x="130493" y="171450"/>
                    </a:lnTo>
                    <a:lnTo>
                      <a:pt x="136207" y="168592"/>
                    </a:lnTo>
                    <a:lnTo>
                      <a:pt x="141923" y="165735"/>
                    </a:lnTo>
                    <a:lnTo>
                      <a:pt x="148590" y="163830"/>
                    </a:lnTo>
                    <a:lnTo>
                      <a:pt x="155257" y="162878"/>
                    </a:lnTo>
                    <a:lnTo>
                      <a:pt x="162877" y="161925"/>
                    </a:lnTo>
                    <a:lnTo>
                      <a:pt x="171450" y="160973"/>
                    </a:lnTo>
                    <a:lnTo>
                      <a:pt x="180023" y="160020"/>
                    </a:lnTo>
                    <a:lnTo>
                      <a:pt x="189548" y="160973"/>
                    </a:lnTo>
                    <a:lnTo>
                      <a:pt x="199073" y="161925"/>
                    </a:lnTo>
                    <a:lnTo>
                      <a:pt x="207645" y="162878"/>
                    </a:lnTo>
                    <a:lnTo>
                      <a:pt x="215265" y="164783"/>
                    </a:lnTo>
                    <a:lnTo>
                      <a:pt x="222885" y="167640"/>
                    </a:lnTo>
                    <a:lnTo>
                      <a:pt x="230505" y="170498"/>
                    </a:lnTo>
                    <a:lnTo>
                      <a:pt x="234315" y="172403"/>
                    </a:lnTo>
                    <a:lnTo>
                      <a:pt x="237173" y="174308"/>
                    </a:lnTo>
                    <a:lnTo>
                      <a:pt x="240030" y="176213"/>
                    </a:lnTo>
                    <a:lnTo>
                      <a:pt x="243840" y="178117"/>
                    </a:lnTo>
                    <a:lnTo>
                      <a:pt x="249555" y="182880"/>
                    </a:lnTo>
                    <a:lnTo>
                      <a:pt x="254318" y="187642"/>
                    </a:lnTo>
                    <a:lnTo>
                      <a:pt x="259080" y="193358"/>
                    </a:lnTo>
                    <a:lnTo>
                      <a:pt x="263843" y="199073"/>
                    </a:lnTo>
                    <a:lnTo>
                      <a:pt x="267652" y="204788"/>
                    </a:lnTo>
                    <a:lnTo>
                      <a:pt x="271463" y="211455"/>
                    </a:lnTo>
                    <a:lnTo>
                      <a:pt x="274320" y="219075"/>
                    </a:lnTo>
                    <a:lnTo>
                      <a:pt x="277177" y="225742"/>
                    </a:lnTo>
                    <a:lnTo>
                      <a:pt x="280035" y="233363"/>
                    </a:lnTo>
                    <a:lnTo>
                      <a:pt x="281940" y="241935"/>
                    </a:lnTo>
                    <a:lnTo>
                      <a:pt x="283845" y="249555"/>
                    </a:lnTo>
                    <a:lnTo>
                      <a:pt x="284798" y="258128"/>
                    </a:lnTo>
                    <a:lnTo>
                      <a:pt x="285750" y="267653"/>
                    </a:lnTo>
                    <a:lnTo>
                      <a:pt x="286702" y="276225"/>
                    </a:lnTo>
                    <a:lnTo>
                      <a:pt x="287655" y="285750"/>
                    </a:lnTo>
                    <a:lnTo>
                      <a:pt x="287655" y="295275"/>
                    </a:lnTo>
                    <a:lnTo>
                      <a:pt x="287655" y="529590"/>
                    </a:lnTo>
                    <a:lnTo>
                      <a:pt x="200025" y="529590"/>
                    </a:lnTo>
                    <a:lnTo>
                      <a:pt x="200025" y="310515"/>
                    </a:lnTo>
                    <a:lnTo>
                      <a:pt x="199073" y="300990"/>
                    </a:lnTo>
                    <a:lnTo>
                      <a:pt x="199073" y="291465"/>
                    </a:lnTo>
                    <a:lnTo>
                      <a:pt x="198120" y="281940"/>
                    </a:lnTo>
                    <a:lnTo>
                      <a:pt x="197168" y="274320"/>
                    </a:lnTo>
                    <a:lnTo>
                      <a:pt x="195263" y="267653"/>
                    </a:lnTo>
                    <a:lnTo>
                      <a:pt x="193357" y="260985"/>
                    </a:lnTo>
                    <a:lnTo>
                      <a:pt x="190500" y="255270"/>
                    </a:lnTo>
                    <a:lnTo>
                      <a:pt x="187643" y="250508"/>
                    </a:lnTo>
                    <a:lnTo>
                      <a:pt x="184785" y="245745"/>
                    </a:lnTo>
                    <a:lnTo>
                      <a:pt x="180975" y="241935"/>
                    </a:lnTo>
                    <a:lnTo>
                      <a:pt x="179070" y="240983"/>
                    </a:lnTo>
                    <a:lnTo>
                      <a:pt x="177165" y="239078"/>
                    </a:lnTo>
                    <a:lnTo>
                      <a:pt x="175260" y="237173"/>
                    </a:lnTo>
                    <a:lnTo>
                      <a:pt x="172402" y="236220"/>
                    </a:lnTo>
                    <a:lnTo>
                      <a:pt x="167640" y="234315"/>
                    </a:lnTo>
                    <a:lnTo>
                      <a:pt x="161925" y="232410"/>
                    </a:lnTo>
                    <a:lnTo>
                      <a:pt x="156210" y="232410"/>
                    </a:lnTo>
                    <a:lnTo>
                      <a:pt x="149543" y="231458"/>
                    </a:lnTo>
                    <a:lnTo>
                      <a:pt x="145732" y="231458"/>
                    </a:lnTo>
                    <a:lnTo>
                      <a:pt x="141923" y="232410"/>
                    </a:lnTo>
                    <a:lnTo>
                      <a:pt x="138113" y="232410"/>
                    </a:lnTo>
                    <a:lnTo>
                      <a:pt x="134302" y="233363"/>
                    </a:lnTo>
                    <a:lnTo>
                      <a:pt x="131445" y="234315"/>
                    </a:lnTo>
                    <a:lnTo>
                      <a:pt x="127635" y="235267"/>
                    </a:lnTo>
                    <a:lnTo>
                      <a:pt x="124777" y="236220"/>
                    </a:lnTo>
                    <a:lnTo>
                      <a:pt x="121920" y="238125"/>
                    </a:lnTo>
                    <a:lnTo>
                      <a:pt x="119063" y="239078"/>
                    </a:lnTo>
                    <a:lnTo>
                      <a:pt x="116205" y="240983"/>
                    </a:lnTo>
                    <a:lnTo>
                      <a:pt x="113348" y="242888"/>
                    </a:lnTo>
                    <a:lnTo>
                      <a:pt x="111443" y="244792"/>
                    </a:lnTo>
                    <a:lnTo>
                      <a:pt x="108585" y="247650"/>
                    </a:lnTo>
                    <a:lnTo>
                      <a:pt x="106680" y="250508"/>
                    </a:lnTo>
                    <a:lnTo>
                      <a:pt x="104775" y="252413"/>
                    </a:lnTo>
                    <a:lnTo>
                      <a:pt x="102870" y="255270"/>
                    </a:lnTo>
                    <a:lnTo>
                      <a:pt x="99060" y="261938"/>
                    </a:lnTo>
                    <a:lnTo>
                      <a:pt x="96202" y="267653"/>
                    </a:lnTo>
                    <a:lnTo>
                      <a:pt x="93345" y="275273"/>
                    </a:lnTo>
                    <a:lnTo>
                      <a:pt x="91440" y="282893"/>
                    </a:lnTo>
                    <a:lnTo>
                      <a:pt x="89535" y="290513"/>
                    </a:lnTo>
                    <a:lnTo>
                      <a:pt x="88582" y="299085"/>
                    </a:lnTo>
                    <a:lnTo>
                      <a:pt x="87630" y="307658"/>
                    </a:lnTo>
                    <a:lnTo>
                      <a:pt x="87630" y="317183"/>
                    </a:lnTo>
                    <a:lnTo>
                      <a:pt x="87630" y="529590"/>
                    </a:lnTo>
                    <a:lnTo>
                      <a:pt x="0" y="52959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0758F724-06E0-C643-7A07-6D8D0421D270}"/>
                  </a:ext>
                </a:extLst>
              </p:cNvPr>
              <p:cNvSpPr/>
              <p:nvPr/>
            </p:nvSpPr>
            <p:spPr>
              <a:xfrm>
                <a:off x="8125459" y="4675912"/>
                <a:ext cx="393382" cy="506729"/>
              </a:xfrm>
              <a:custGeom>
                <a:avLst/>
                <a:gdLst>
                  <a:gd name="connsiteX0" fmla="*/ 92393 w 393382"/>
                  <a:gd name="connsiteY0" fmla="*/ 254317 h 506729"/>
                  <a:gd name="connsiteX1" fmla="*/ 92393 w 393382"/>
                  <a:gd name="connsiteY1" fmla="*/ 266700 h 506729"/>
                  <a:gd name="connsiteX2" fmla="*/ 92393 w 393382"/>
                  <a:gd name="connsiteY2" fmla="*/ 278130 h 506729"/>
                  <a:gd name="connsiteX3" fmla="*/ 92393 w 393382"/>
                  <a:gd name="connsiteY3" fmla="*/ 288607 h 506729"/>
                  <a:gd name="connsiteX4" fmla="*/ 93345 w 393382"/>
                  <a:gd name="connsiteY4" fmla="*/ 299085 h 506729"/>
                  <a:gd name="connsiteX5" fmla="*/ 94298 w 393382"/>
                  <a:gd name="connsiteY5" fmla="*/ 309563 h 506729"/>
                  <a:gd name="connsiteX6" fmla="*/ 95250 w 393382"/>
                  <a:gd name="connsiteY6" fmla="*/ 319088 h 506729"/>
                  <a:gd name="connsiteX7" fmla="*/ 97155 w 393382"/>
                  <a:gd name="connsiteY7" fmla="*/ 328613 h 506729"/>
                  <a:gd name="connsiteX8" fmla="*/ 99060 w 393382"/>
                  <a:gd name="connsiteY8" fmla="*/ 337185 h 506729"/>
                  <a:gd name="connsiteX9" fmla="*/ 100965 w 393382"/>
                  <a:gd name="connsiteY9" fmla="*/ 345758 h 506729"/>
                  <a:gd name="connsiteX10" fmla="*/ 102870 w 393382"/>
                  <a:gd name="connsiteY10" fmla="*/ 353377 h 506729"/>
                  <a:gd name="connsiteX11" fmla="*/ 105728 w 393382"/>
                  <a:gd name="connsiteY11" fmla="*/ 360997 h 506729"/>
                  <a:gd name="connsiteX12" fmla="*/ 108585 w 393382"/>
                  <a:gd name="connsiteY12" fmla="*/ 368617 h 506729"/>
                  <a:gd name="connsiteX13" fmla="*/ 111443 w 393382"/>
                  <a:gd name="connsiteY13" fmla="*/ 375285 h 506729"/>
                  <a:gd name="connsiteX14" fmla="*/ 114300 w 393382"/>
                  <a:gd name="connsiteY14" fmla="*/ 381952 h 506729"/>
                  <a:gd name="connsiteX15" fmla="*/ 117158 w 393382"/>
                  <a:gd name="connsiteY15" fmla="*/ 388620 h 506729"/>
                  <a:gd name="connsiteX16" fmla="*/ 120968 w 393382"/>
                  <a:gd name="connsiteY16" fmla="*/ 394335 h 506729"/>
                  <a:gd name="connsiteX17" fmla="*/ 124778 w 393382"/>
                  <a:gd name="connsiteY17" fmla="*/ 400050 h 506729"/>
                  <a:gd name="connsiteX18" fmla="*/ 128588 w 393382"/>
                  <a:gd name="connsiteY18" fmla="*/ 405765 h 506729"/>
                  <a:gd name="connsiteX19" fmla="*/ 132398 w 393382"/>
                  <a:gd name="connsiteY19" fmla="*/ 410527 h 506729"/>
                  <a:gd name="connsiteX20" fmla="*/ 136208 w 393382"/>
                  <a:gd name="connsiteY20" fmla="*/ 414338 h 506729"/>
                  <a:gd name="connsiteX21" fmla="*/ 140018 w 393382"/>
                  <a:gd name="connsiteY21" fmla="*/ 418147 h 506729"/>
                  <a:gd name="connsiteX22" fmla="*/ 144780 w 393382"/>
                  <a:gd name="connsiteY22" fmla="*/ 421958 h 506729"/>
                  <a:gd name="connsiteX23" fmla="*/ 148590 w 393382"/>
                  <a:gd name="connsiteY23" fmla="*/ 424815 h 506729"/>
                  <a:gd name="connsiteX24" fmla="*/ 153353 w 393382"/>
                  <a:gd name="connsiteY24" fmla="*/ 427672 h 506729"/>
                  <a:gd name="connsiteX25" fmla="*/ 158115 w 393382"/>
                  <a:gd name="connsiteY25" fmla="*/ 430530 h 506729"/>
                  <a:gd name="connsiteX26" fmla="*/ 162878 w 393382"/>
                  <a:gd name="connsiteY26" fmla="*/ 432435 h 506729"/>
                  <a:gd name="connsiteX27" fmla="*/ 167640 w 393382"/>
                  <a:gd name="connsiteY27" fmla="*/ 434340 h 506729"/>
                  <a:gd name="connsiteX28" fmla="*/ 173355 w 393382"/>
                  <a:gd name="connsiteY28" fmla="*/ 435292 h 506729"/>
                  <a:gd name="connsiteX29" fmla="*/ 179070 w 393382"/>
                  <a:gd name="connsiteY29" fmla="*/ 436245 h 506729"/>
                  <a:gd name="connsiteX30" fmla="*/ 184785 w 393382"/>
                  <a:gd name="connsiteY30" fmla="*/ 437197 h 506729"/>
                  <a:gd name="connsiteX31" fmla="*/ 190500 w 393382"/>
                  <a:gd name="connsiteY31" fmla="*/ 437197 h 506729"/>
                  <a:gd name="connsiteX32" fmla="*/ 196215 w 393382"/>
                  <a:gd name="connsiteY32" fmla="*/ 437197 h 506729"/>
                  <a:gd name="connsiteX33" fmla="*/ 201930 w 393382"/>
                  <a:gd name="connsiteY33" fmla="*/ 437197 h 506729"/>
                  <a:gd name="connsiteX34" fmla="*/ 207645 w 393382"/>
                  <a:gd name="connsiteY34" fmla="*/ 437197 h 506729"/>
                  <a:gd name="connsiteX35" fmla="*/ 213360 w 393382"/>
                  <a:gd name="connsiteY35" fmla="*/ 436245 h 506729"/>
                  <a:gd name="connsiteX36" fmla="*/ 219075 w 393382"/>
                  <a:gd name="connsiteY36" fmla="*/ 435292 h 506729"/>
                  <a:gd name="connsiteX37" fmla="*/ 223838 w 393382"/>
                  <a:gd name="connsiteY37" fmla="*/ 434340 h 506729"/>
                  <a:gd name="connsiteX38" fmla="*/ 228600 w 393382"/>
                  <a:gd name="connsiteY38" fmla="*/ 432435 h 506729"/>
                  <a:gd name="connsiteX39" fmla="*/ 233363 w 393382"/>
                  <a:gd name="connsiteY39" fmla="*/ 430530 h 506729"/>
                  <a:gd name="connsiteX40" fmla="*/ 238125 w 393382"/>
                  <a:gd name="connsiteY40" fmla="*/ 427672 h 506729"/>
                  <a:gd name="connsiteX41" fmla="*/ 242888 w 393382"/>
                  <a:gd name="connsiteY41" fmla="*/ 424815 h 506729"/>
                  <a:gd name="connsiteX42" fmla="*/ 246698 w 393382"/>
                  <a:gd name="connsiteY42" fmla="*/ 421958 h 506729"/>
                  <a:gd name="connsiteX43" fmla="*/ 251460 w 393382"/>
                  <a:gd name="connsiteY43" fmla="*/ 418147 h 506729"/>
                  <a:gd name="connsiteX44" fmla="*/ 255270 w 393382"/>
                  <a:gd name="connsiteY44" fmla="*/ 414338 h 506729"/>
                  <a:gd name="connsiteX45" fmla="*/ 259080 w 393382"/>
                  <a:gd name="connsiteY45" fmla="*/ 410527 h 506729"/>
                  <a:gd name="connsiteX46" fmla="*/ 262890 w 393382"/>
                  <a:gd name="connsiteY46" fmla="*/ 405765 h 506729"/>
                  <a:gd name="connsiteX47" fmla="*/ 266700 w 393382"/>
                  <a:gd name="connsiteY47" fmla="*/ 401002 h 506729"/>
                  <a:gd name="connsiteX48" fmla="*/ 270510 w 393382"/>
                  <a:gd name="connsiteY48" fmla="*/ 395288 h 506729"/>
                  <a:gd name="connsiteX49" fmla="*/ 274320 w 393382"/>
                  <a:gd name="connsiteY49" fmla="*/ 389572 h 506729"/>
                  <a:gd name="connsiteX50" fmla="*/ 277178 w 393382"/>
                  <a:gd name="connsiteY50" fmla="*/ 383858 h 506729"/>
                  <a:gd name="connsiteX51" fmla="*/ 280035 w 393382"/>
                  <a:gd name="connsiteY51" fmla="*/ 377190 h 506729"/>
                  <a:gd name="connsiteX52" fmla="*/ 282893 w 393382"/>
                  <a:gd name="connsiteY52" fmla="*/ 370522 h 506729"/>
                  <a:gd name="connsiteX53" fmla="*/ 285750 w 393382"/>
                  <a:gd name="connsiteY53" fmla="*/ 363855 h 506729"/>
                  <a:gd name="connsiteX54" fmla="*/ 287655 w 393382"/>
                  <a:gd name="connsiteY54" fmla="*/ 356235 h 506729"/>
                  <a:gd name="connsiteX55" fmla="*/ 289560 w 393382"/>
                  <a:gd name="connsiteY55" fmla="*/ 348615 h 506729"/>
                  <a:gd name="connsiteX56" fmla="*/ 291465 w 393382"/>
                  <a:gd name="connsiteY56" fmla="*/ 340042 h 506729"/>
                  <a:gd name="connsiteX57" fmla="*/ 293370 w 393382"/>
                  <a:gd name="connsiteY57" fmla="*/ 330517 h 506729"/>
                  <a:gd name="connsiteX58" fmla="*/ 294322 w 393382"/>
                  <a:gd name="connsiteY58" fmla="*/ 320992 h 506729"/>
                  <a:gd name="connsiteX59" fmla="*/ 295275 w 393382"/>
                  <a:gd name="connsiteY59" fmla="*/ 311467 h 506729"/>
                  <a:gd name="connsiteX60" fmla="*/ 296228 w 393382"/>
                  <a:gd name="connsiteY60" fmla="*/ 300990 h 506729"/>
                  <a:gd name="connsiteX61" fmla="*/ 297180 w 393382"/>
                  <a:gd name="connsiteY61" fmla="*/ 290513 h 506729"/>
                  <a:gd name="connsiteX62" fmla="*/ 298133 w 393382"/>
                  <a:gd name="connsiteY62" fmla="*/ 279082 h 506729"/>
                  <a:gd name="connsiteX63" fmla="*/ 298133 w 393382"/>
                  <a:gd name="connsiteY63" fmla="*/ 267653 h 506729"/>
                  <a:gd name="connsiteX64" fmla="*/ 298133 w 393382"/>
                  <a:gd name="connsiteY64" fmla="*/ 255270 h 506729"/>
                  <a:gd name="connsiteX65" fmla="*/ 298133 w 393382"/>
                  <a:gd name="connsiteY65" fmla="*/ 243840 h 506729"/>
                  <a:gd name="connsiteX66" fmla="*/ 298133 w 393382"/>
                  <a:gd name="connsiteY66" fmla="*/ 232410 h 506729"/>
                  <a:gd name="connsiteX67" fmla="*/ 297180 w 393382"/>
                  <a:gd name="connsiteY67" fmla="*/ 221932 h 506729"/>
                  <a:gd name="connsiteX68" fmla="*/ 296228 w 393382"/>
                  <a:gd name="connsiteY68" fmla="*/ 211455 h 506729"/>
                  <a:gd name="connsiteX69" fmla="*/ 295275 w 393382"/>
                  <a:gd name="connsiteY69" fmla="*/ 200977 h 506729"/>
                  <a:gd name="connsiteX70" fmla="*/ 294322 w 393382"/>
                  <a:gd name="connsiteY70" fmla="*/ 191452 h 506729"/>
                  <a:gd name="connsiteX71" fmla="*/ 293370 w 393382"/>
                  <a:gd name="connsiteY71" fmla="*/ 181927 h 506729"/>
                  <a:gd name="connsiteX72" fmla="*/ 291465 w 393382"/>
                  <a:gd name="connsiteY72" fmla="*/ 172402 h 506729"/>
                  <a:gd name="connsiteX73" fmla="*/ 289560 w 393382"/>
                  <a:gd name="connsiteY73" fmla="*/ 163830 h 506729"/>
                  <a:gd name="connsiteX74" fmla="*/ 287655 w 393382"/>
                  <a:gd name="connsiteY74" fmla="*/ 155257 h 506729"/>
                  <a:gd name="connsiteX75" fmla="*/ 284798 w 393382"/>
                  <a:gd name="connsiteY75" fmla="*/ 147638 h 506729"/>
                  <a:gd name="connsiteX76" fmla="*/ 281940 w 393382"/>
                  <a:gd name="connsiteY76" fmla="*/ 140017 h 506729"/>
                  <a:gd name="connsiteX77" fmla="*/ 279083 w 393382"/>
                  <a:gd name="connsiteY77" fmla="*/ 133350 h 506729"/>
                  <a:gd name="connsiteX78" fmla="*/ 277178 w 393382"/>
                  <a:gd name="connsiteY78" fmla="*/ 125730 h 506729"/>
                  <a:gd name="connsiteX79" fmla="*/ 273368 w 393382"/>
                  <a:gd name="connsiteY79" fmla="*/ 119063 h 506729"/>
                  <a:gd name="connsiteX80" fmla="*/ 270510 w 393382"/>
                  <a:gd name="connsiteY80" fmla="*/ 113347 h 506729"/>
                  <a:gd name="connsiteX81" fmla="*/ 266700 w 393382"/>
                  <a:gd name="connsiteY81" fmla="*/ 107632 h 506729"/>
                  <a:gd name="connsiteX82" fmla="*/ 262890 w 393382"/>
                  <a:gd name="connsiteY82" fmla="*/ 102870 h 506729"/>
                  <a:gd name="connsiteX83" fmla="*/ 259080 w 393382"/>
                  <a:gd name="connsiteY83" fmla="*/ 98107 h 506729"/>
                  <a:gd name="connsiteX84" fmla="*/ 255270 w 393382"/>
                  <a:gd name="connsiteY84" fmla="*/ 94297 h 506729"/>
                  <a:gd name="connsiteX85" fmla="*/ 251460 w 393382"/>
                  <a:gd name="connsiteY85" fmla="*/ 90488 h 506729"/>
                  <a:gd name="connsiteX86" fmla="*/ 247650 w 393382"/>
                  <a:gd name="connsiteY86" fmla="*/ 86677 h 506729"/>
                  <a:gd name="connsiteX87" fmla="*/ 242888 w 393382"/>
                  <a:gd name="connsiteY87" fmla="*/ 83820 h 506729"/>
                  <a:gd name="connsiteX88" fmla="*/ 238125 w 393382"/>
                  <a:gd name="connsiteY88" fmla="*/ 80963 h 506729"/>
                  <a:gd name="connsiteX89" fmla="*/ 233363 w 393382"/>
                  <a:gd name="connsiteY89" fmla="*/ 78105 h 506729"/>
                  <a:gd name="connsiteX90" fmla="*/ 228600 w 393382"/>
                  <a:gd name="connsiteY90" fmla="*/ 75247 h 506729"/>
                  <a:gd name="connsiteX91" fmla="*/ 223838 w 393382"/>
                  <a:gd name="connsiteY91" fmla="*/ 73342 h 506729"/>
                  <a:gd name="connsiteX92" fmla="*/ 218123 w 393382"/>
                  <a:gd name="connsiteY92" fmla="*/ 72390 h 506729"/>
                  <a:gd name="connsiteX93" fmla="*/ 212408 w 393382"/>
                  <a:gd name="connsiteY93" fmla="*/ 70485 h 506729"/>
                  <a:gd name="connsiteX94" fmla="*/ 206693 w 393382"/>
                  <a:gd name="connsiteY94" fmla="*/ 69532 h 506729"/>
                  <a:gd name="connsiteX95" fmla="*/ 200978 w 393382"/>
                  <a:gd name="connsiteY95" fmla="*/ 68580 h 506729"/>
                  <a:gd name="connsiteX96" fmla="*/ 195263 w 393382"/>
                  <a:gd name="connsiteY96" fmla="*/ 68580 h 506729"/>
                  <a:gd name="connsiteX97" fmla="*/ 189548 w 393382"/>
                  <a:gd name="connsiteY97" fmla="*/ 68580 h 506729"/>
                  <a:gd name="connsiteX98" fmla="*/ 183833 w 393382"/>
                  <a:gd name="connsiteY98" fmla="*/ 69532 h 506729"/>
                  <a:gd name="connsiteX99" fmla="*/ 178118 w 393382"/>
                  <a:gd name="connsiteY99" fmla="*/ 70485 h 506729"/>
                  <a:gd name="connsiteX100" fmla="*/ 172403 w 393382"/>
                  <a:gd name="connsiteY100" fmla="*/ 72390 h 506729"/>
                  <a:gd name="connsiteX101" fmla="*/ 167640 w 393382"/>
                  <a:gd name="connsiteY101" fmla="*/ 73342 h 506729"/>
                  <a:gd name="connsiteX102" fmla="*/ 161925 w 393382"/>
                  <a:gd name="connsiteY102" fmla="*/ 75247 h 506729"/>
                  <a:gd name="connsiteX103" fmla="*/ 157163 w 393382"/>
                  <a:gd name="connsiteY103" fmla="*/ 78105 h 506729"/>
                  <a:gd name="connsiteX104" fmla="*/ 152400 w 393382"/>
                  <a:gd name="connsiteY104" fmla="*/ 80963 h 506729"/>
                  <a:gd name="connsiteX105" fmla="*/ 147638 w 393382"/>
                  <a:gd name="connsiteY105" fmla="*/ 83820 h 506729"/>
                  <a:gd name="connsiteX106" fmla="*/ 142875 w 393382"/>
                  <a:gd name="connsiteY106" fmla="*/ 86677 h 506729"/>
                  <a:gd name="connsiteX107" fmla="*/ 139065 w 393382"/>
                  <a:gd name="connsiteY107" fmla="*/ 90488 h 506729"/>
                  <a:gd name="connsiteX108" fmla="*/ 135255 w 393382"/>
                  <a:gd name="connsiteY108" fmla="*/ 94297 h 506729"/>
                  <a:gd name="connsiteX109" fmla="*/ 131445 w 393382"/>
                  <a:gd name="connsiteY109" fmla="*/ 98107 h 506729"/>
                  <a:gd name="connsiteX110" fmla="*/ 127635 w 393382"/>
                  <a:gd name="connsiteY110" fmla="*/ 102870 h 506729"/>
                  <a:gd name="connsiteX111" fmla="*/ 123825 w 393382"/>
                  <a:gd name="connsiteY111" fmla="*/ 107632 h 506729"/>
                  <a:gd name="connsiteX112" fmla="*/ 120015 w 393382"/>
                  <a:gd name="connsiteY112" fmla="*/ 113347 h 506729"/>
                  <a:gd name="connsiteX113" fmla="*/ 116205 w 393382"/>
                  <a:gd name="connsiteY113" fmla="*/ 119063 h 506729"/>
                  <a:gd name="connsiteX114" fmla="*/ 113348 w 393382"/>
                  <a:gd name="connsiteY114" fmla="*/ 124777 h 506729"/>
                  <a:gd name="connsiteX115" fmla="*/ 110490 w 393382"/>
                  <a:gd name="connsiteY115" fmla="*/ 131445 h 506729"/>
                  <a:gd name="connsiteX116" fmla="*/ 107633 w 393382"/>
                  <a:gd name="connsiteY116" fmla="*/ 138113 h 506729"/>
                  <a:gd name="connsiteX117" fmla="*/ 104775 w 393382"/>
                  <a:gd name="connsiteY117" fmla="*/ 145732 h 506729"/>
                  <a:gd name="connsiteX118" fmla="*/ 102870 w 393382"/>
                  <a:gd name="connsiteY118" fmla="*/ 153352 h 506729"/>
                  <a:gd name="connsiteX119" fmla="*/ 100965 w 393382"/>
                  <a:gd name="connsiteY119" fmla="*/ 161925 h 506729"/>
                  <a:gd name="connsiteX120" fmla="*/ 99060 w 393382"/>
                  <a:gd name="connsiteY120" fmla="*/ 170497 h 506729"/>
                  <a:gd name="connsiteX121" fmla="*/ 97155 w 393382"/>
                  <a:gd name="connsiteY121" fmla="*/ 179070 h 506729"/>
                  <a:gd name="connsiteX122" fmla="*/ 95250 w 393382"/>
                  <a:gd name="connsiteY122" fmla="*/ 188595 h 506729"/>
                  <a:gd name="connsiteX123" fmla="*/ 94298 w 393382"/>
                  <a:gd name="connsiteY123" fmla="*/ 198120 h 506729"/>
                  <a:gd name="connsiteX124" fmla="*/ 93345 w 393382"/>
                  <a:gd name="connsiteY124" fmla="*/ 208597 h 506729"/>
                  <a:gd name="connsiteX125" fmla="*/ 92393 w 393382"/>
                  <a:gd name="connsiteY125" fmla="*/ 219075 h 506729"/>
                  <a:gd name="connsiteX126" fmla="*/ 92393 w 393382"/>
                  <a:gd name="connsiteY126" fmla="*/ 229552 h 506729"/>
                  <a:gd name="connsiteX127" fmla="*/ 92393 w 393382"/>
                  <a:gd name="connsiteY127" fmla="*/ 240982 h 506729"/>
                  <a:gd name="connsiteX128" fmla="*/ 92393 w 393382"/>
                  <a:gd name="connsiteY128" fmla="*/ 254317 h 506729"/>
                  <a:gd name="connsiteX129" fmla="*/ 92393 w 393382"/>
                  <a:gd name="connsiteY129" fmla="*/ 254317 h 506729"/>
                  <a:gd name="connsiteX130" fmla="*/ 0 w 393382"/>
                  <a:gd name="connsiteY130" fmla="*/ 255270 h 506729"/>
                  <a:gd name="connsiteX131" fmla="*/ 0 w 393382"/>
                  <a:gd name="connsiteY131" fmla="*/ 240030 h 506729"/>
                  <a:gd name="connsiteX132" fmla="*/ 953 w 393382"/>
                  <a:gd name="connsiteY132" fmla="*/ 224790 h 506729"/>
                  <a:gd name="connsiteX133" fmla="*/ 1905 w 393382"/>
                  <a:gd name="connsiteY133" fmla="*/ 210502 h 506729"/>
                  <a:gd name="connsiteX134" fmla="*/ 3810 w 393382"/>
                  <a:gd name="connsiteY134" fmla="*/ 196215 h 506729"/>
                  <a:gd name="connsiteX135" fmla="*/ 5715 w 393382"/>
                  <a:gd name="connsiteY135" fmla="*/ 182880 h 506729"/>
                  <a:gd name="connsiteX136" fmla="*/ 8573 w 393382"/>
                  <a:gd name="connsiteY136" fmla="*/ 169545 h 506729"/>
                  <a:gd name="connsiteX137" fmla="*/ 11430 w 393382"/>
                  <a:gd name="connsiteY137" fmla="*/ 157163 h 506729"/>
                  <a:gd name="connsiteX138" fmla="*/ 15240 w 393382"/>
                  <a:gd name="connsiteY138" fmla="*/ 144780 h 506729"/>
                  <a:gd name="connsiteX139" fmla="*/ 19050 w 393382"/>
                  <a:gd name="connsiteY139" fmla="*/ 133350 h 506729"/>
                  <a:gd name="connsiteX140" fmla="*/ 22860 w 393382"/>
                  <a:gd name="connsiteY140" fmla="*/ 121920 h 506729"/>
                  <a:gd name="connsiteX141" fmla="*/ 27623 w 393382"/>
                  <a:gd name="connsiteY141" fmla="*/ 111442 h 506729"/>
                  <a:gd name="connsiteX142" fmla="*/ 32385 w 393382"/>
                  <a:gd name="connsiteY142" fmla="*/ 100965 h 506729"/>
                  <a:gd name="connsiteX143" fmla="*/ 38100 w 393382"/>
                  <a:gd name="connsiteY143" fmla="*/ 91440 h 506729"/>
                  <a:gd name="connsiteX144" fmla="*/ 43815 w 393382"/>
                  <a:gd name="connsiteY144" fmla="*/ 81915 h 506729"/>
                  <a:gd name="connsiteX145" fmla="*/ 50483 w 393382"/>
                  <a:gd name="connsiteY145" fmla="*/ 73342 h 506729"/>
                  <a:gd name="connsiteX146" fmla="*/ 57150 w 393382"/>
                  <a:gd name="connsiteY146" fmla="*/ 64770 h 506729"/>
                  <a:gd name="connsiteX147" fmla="*/ 63818 w 393382"/>
                  <a:gd name="connsiteY147" fmla="*/ 57150 h 506729"/>
                  <a:gd name="connsiteX148" fmla="*/ 71438 w 393382"/>
                  <a:gd name="connsiteY148" fmla="*/ 50482 h 506729"/>
                  <a:gd name="connsiteX149" fmla="*/ 79058 w 393382"/>
                  <a:gd name="connsiteY149" fmla="*/ 43815 h 506729"/>
                  <a:gd name="connsiteX150" fmla="*/ 86678 w 393382"/>
                  <a:gd name="connsiteY150" fmla="*/ 37147 h 506729"/>
                  <a:gd name="connsiteX151" fmla="*/ 94298 w 393382"/>
                  <a:gd name="connsiteY151" fmla="*/ 31432 h 506729"/>
                  <a:gd name="connsiteX152" fmla="*/ 101918 w 393382"/>
                  <a:gd name="connsiteY152" fmla="*/ 25717 h 506729"/>
                  <a:gd name="connsiteX153" fmla="*/ 110490 w 393382"/>
                  <a:gd name="connsiteY153" fmla="*/ 20955 h 506729"/>
                  <a:gd name="connsiteX154" fmla="*/ 119063 w 393382"/>
                  <a:gd name="connsiteY154" fmla="*/ 17145 h 506729"/>
                  <a:gd name="connsiteX155" fmla="*/ 127635 w 393382"/>
                  <a:gd name="connsiteY155" fmla="*/ 13335 h 506729"/>
                  <a:gd name="connsiteX156" fmla="*/ 137160 w 393382"/>
                  <a:gd name="connsiteY156" fmla="*/ 9525 h 506729"/>
                  <a:gd name="connsiteX157" fmla="*/ 146685 w 393382"/>
                  <a:gd name="connsiteY157" fmla="*/ 6667 h 506729"/>
                  <a:gd name="connsiteX158" fmla="*/ 156210 w 393382"/>
                  <a:gd name="connsiteY158" fmla="*/ 3810 h 506729"/>
                  <a:gd name="connsiteX159" fmla="*/ 165735 w 393382"/>
                  <a:gd name="connsiteY159" fmla="*/ 1905 h 506729"/>
                  <a:gd name="connsiteX160" fmla="*/ 175260 w 393382"/>
                  <a:gd name="connsiteY160" fmla="*/ 952 h 506729"/>
                  <a:gd name="connsiteX161" fmla="*/ 185738 w 393382"/>
                  <a:gd name="connsiteY161" fmla="*/ 0 h 506729"/>
                  <a:gd name="connsiteX162" fmla="*/ 196215 w 393382"/>
                  <a:gd name="connsiteY162" fmla="*/ 0 h 506729"/>
                  <a:gd name="connsiteX163" fmla="*/ 202883 w 393382"/>
                  <a:gd name="connsiteY163" fmla="*/ 0 h 506729"/>
                  <a:gd name="connsiteX164" fmla="*/ 209550 w 393382"/>
                  <a:gd name="connsiteY164" fmla="*/ 0 h 506729"/>
                  <a:gd name="connsiteX165" fmla="*/ 216218 w 393382"/>
                  <a:gd name="connsiteY165" fmla="*/ 952 h 506729"/>
                  <a:gd name="connsiteX166" fmla="*/ 222885 w 393382"/>
                  <a:gd name="connsiteY166" fmla="*/ 1905 h 506729"/>
                  <a:gd name="connsiteX167" fmla="*/ 229553 w 393382"/>
                  <a:gd name="connsiteY167" fmla="*/ 2857 h 506729"/>
                  <a:gd name="connsiteX168" fmla="*/ 236220 w 393382"/>
                  <a:gd name="connsiteY168" fmla="*/ 4763 h 506729"/>
                  <a:gd name="connsiteX169" fmla="*/ 241935 w 393382"/>
                  <a:gd name="connsiteY169" fmla="*/ 5715 h 506729"/>
                  <a:gd name="connsiteX170" fmla="*/ 248603 w 393382"/>
                  <a:gd name="connsiteY170" fmla="*/ 6667 h 506729"/>
                  <a:gd name="connsiteX171" fmla="*/ 254318 w 393382"/>
                  <a:gd name="connsiteY171" fmla="*/ 8572 h 506729"/>
                  <a:gd name="connsiteX172" fmla="*/ 260033 w 393382"/>
                  <a:gd name="connsiteY172" fmla="*/ 10477 h 506729"/>
                  <a:gd name="connsiteX173" fmla="*/ 265748 w 393382"/>
                  <a:gd name="connsiteY173" fmla="*/ 12382 h 506729"/>
                  <a:gd name="connsiteX174" fmla="*/ 271463 w 393382"/>
                  <a:gd name="connsiteY174" fmla="*/ 15240 h 506729"/>
                  <a:gd name="connsiteX175" fmla="*/ 277178 w 393382"/>
                  <a:gd name="connsiteY175" fmla="*/ 18097 h 506729"/>
                  <a:gd name="connsiteX176" fmla="*/ 282893 w 393382"/>
                  <a:gd name="connsiteY176" fmla="*/ 20955 h 506729"/>
                  <a:gd name="connsiteX177" fmla="*/ 288608 w 393382"/>
                  <a:gd name="connsiteY177" fmla="*/ 23813 h 506729"/>
                  <a:gd name="connsiteX178" fmla="*/ 294322 w 393382"/>
                  <a:gd name="connsiteY178" fmla="*/ 26670 h 506729"/>
                  <a:gd name="connsiteX179" fmla="*/ 300038 w 393382"/>
                  <a:gd name="connsiteY179" fmla="*/ 30480 h 506729"/>
                  <a:gd name="connsiteX180" fmla="*/ 305753 w 393382"/>
                  <a:gd name="connsiteY180" fmla="*/ 34290 h 506729"/>
                  <a:gd name="connsiteX181" fmla="*/ 311468 w 393382"/>
                  <a:gd name="connsiteY181" fmla="*/ 38100 h 506729"/>
                  <a:gd name="connsiteX182" fmla="*/ 316230 w 393382"/>
                  <a:gd name="connsiteY182" fmla="*/ 41910 h 506729"/>
                  <a:gd name="connsiteX183" fmla="*/ 320993 w 393382"/>
                  <a:gd name="connsiteY183" fmla="*/ 46672 h 506729"/>
                  <a:gd name="connsiteX184" fmla="*/ 325755 w 393382"/>
                  <a:gd name="connsiteY184" fmla="*/ 51435 h 506729"/>
                  <a:gd name="connsiteX185" fmla="*/ 330518 w 393382"/>
                  <a:gd name="connsiteY185" fmla="*/ 56197 h 506729"/>
                  <a:gd name="connsiteX186" fmla="*/ 335280 w 393382"/>
                  <a:gd name="connsiteY186" fmla="*/ 60960 h 506729"/>
                  <a:gd name="connsiteX187" fmla="*/ 340043 w 393382"/>
                  <a:gd name="connsiteY187" fmla="*/ 66675 h 506729"/>
                  <a:gd name="connsiteX188" fmla="*/ 343853 w 393382"/>
                  <a:gd name="connsiteY188" fmla="*/ 72390 h 506729"/>
                  <a:gd name="connsiteX189" fmla="*/ 347663 w 393382"/>
                  <a:gd name="connsiteY189" fmla="*/ 78105 h 506729"/>
                  <a:gd name="connsiteX190" fmla="*/ 351472 w 393382"/>
                  <a:gd name="connsiteY190" fmla="*/ 84772 h 506729"/>
                  <a:gd name="connsiteX191" fmla="*/ 355283 w 393382"/>
                  <a:gd name="connsiteY191" fmla="*/ 91440 h 506729"/>
                  <a:gd name="connsiteX192" fmla="*/ 359093 w 393382"/>
                  <a:gd name="connsiteY192" fmla="*/ 98107 h 506729"/>
                  <a:gd name="connsiteX193" fmla="*/ 362903 w 393382"/>
                  <a:gd name="connsiteY193" fmla="*/ 104775 h 506729"/>
                  <a:gd name="connsiteX194" fmla="*/ 366713 w 393382"/>
                  <a:gd name="connsiteY194" fmla="*/ 111442 h 506729"/>
                  <a:gd name="connsiteX195" fmla="*/ 369570 w 393382"/>
                  <a:gd name="connsiteY195" fmla="*/ 118110 h 506729"/>
                  <a:gd name="connsiteX196" fmla="*/ 372428 w 393382"/>
                  <a:gd name="connsiteY196" fmla="*/ 125730 h 506729"/>
                  <a:gd name="connsiteX197" fmla="*/ 375285 w 393382"/>
                  <a:gd name="connsiteY197" fmla="*/ 133350 h 506729"/>
                  <a:gd name="connsiteX198" fmla="*/ 378143 w 393382"/>
                  <a:gd name="connsiteY198" fmla="*/ 140970 h 506729"/>
                  <a:gd name="connsiteX199" fmla="*/ 381000 w 393382"/>
                  <a:gd name="connsiteY199" fmla="*/ 148590 h 506729"/>
                  <a:gd name="connsiteX200" fmla="*/ 382905 w 393382"/>
                  <a:gd name="connsiteY200" fmla="*/ 157163 h 506729"/>
                  <a:gd name="connsiteX201" fmla="*/ 384810 w 393382"/>
                  <a:gd name="connsiteY201" fmla="*/ 165735 h 506729"/>
                  <a:gd name="connsiteX202" fmla="*/ 386715 w 393382"/>
                  <a:gd name="connsiteY202" fmla="*/ 174307 h 506729"/>
                  <a:gd name="connsiteX203" fmla="*/ 388620 w 393382"/>
                  <a:gd name="connsiteY203" fmla="*/ 182880 h 506729"/>
                  <a:gd name="connsiteX204" fmla="*/ 389572 w 393382"/>
                  <a:gd name="connsiteY204" fmla="*/ 192405 h 506729"/>
                  <a:gd name="connsiteX205" fmla="*/ 390525 w 393382"/>
                  <a:gd name="connsiteY205" fmla="*/ 201930 h 506729"/>
                  <a:gd name="connsiteX206" fmla="*/ 391478 w 393382"/>
                  <a:gd name="connsiteY206" fmla="*/ 211455 h 506729"/>
                  <a:gd name="connsiteX207" fmla="*/ 392430 w 393382"/>
                  <a:gd name="connsiteY207" fmla="*/ 220980 h 506729"/>
                  <a:gd name="connsiteX208" fmla="*/ 393383 w 393382"/>
                  <a:gd name="connsiteY208" fmla="*/ 231457 h 506729"/>
                  <a:gd name="connsiteX209" fmla="*/ 393383 w 393382"/>
                  <a:gd name="connsiteY209" fmla="*/ 241935 h 506729"/>
                  <a:gd name="connsiteX210" fmla="*/ 393383 w 393382"/>
                  <a:gd name="connsiteY210" fmla="*/ 252413 h 506729"/>
                  <a:gd name="connsiteX211" fmla="*/ 393383 w 393382"/>
                  <a:gd name="connsiteY211" fmla="*/ 262890 h 506729"/>
                  <a:gd name="connsiteX212" fmla="*/ 393383 w 393382"/>
                  <a:gd name="connsiteY212" fmla="*/ 273367 h 506729"/>
                  <a:gd name="connsiteX213" fmla="*/ 392430 w 393382"/>
                  <a:gd name="connsiteY213" fmla="*/ 282892 h 506729"/>
                  <a:gd name="connsiteX214" fmla="*/ 391478 w 393382"/>
                  <a:gd name="connsiteY214" fmla="*/ 292417 h 506729"/>
                  <a:gd name="connsiteX215" fmla="*/ 390525 w 393382"/>
                  <a:gd name="connsiteY215" fmla="*/ 301942 h 506729"/>
                  <a:gd name="connsiteX216" fmla="*/ 389572 w 393382"/>
                  <a:gd name="connsiteY216" fmla="*/ 311467 h 506729"/>
                  <a:gd name="connsiteX217" fmla="*/ 388620 w 393382"/>
                  <a:gd name="connsiteY217" fmla="*/ 320992 h 506729"/>
                  <a:gd name="connsiteX218" fmla="*/ 386715 w 393382"/>
                  <a:gd name="connsiteY218" fmla="*/ 330517 h 506729"/>
                  <a:gd name="connsiteX219" fmla="*/ 384810 w 393382"/>
                  <a:gd name="connsiteY219" fmla="*/ 339090 h 506729"/>
                  <a:gd name="connsiteX220" fmla="*/ 382905 w 393382"/>
                  <a:gd name="connsiteY220" fmla="*/ 347663 h 506729"/>
                  <a:gd name="connsiteX221" fmla="*/ 381000 w 393382"/>
                  <a:gd name="connsiteY221" fmla="*/ 356235 h 506729"/>
                  <a:gd name="connsiteX222" fmla="*/ 378143 w 393382"/>
                  <a:gd name="connsiteY222" fmla="*/ 363855 h 506729"/>
                  <a:gd name="connsiteX223" fmla="*/ 375285 w 393382"/>
                  <a:gd name="connsiteY223" fmla="*/ 371475 h 506729"/>
                  <a:gd name="connsiteX224" fmla="*/ 372428 w 393382"/>
                  <a:gd name="connsiteY224" fmla="*/ 379095 h 506729"/>
                  <a:gd name="connsiteX225" fmla="*/ 369570 w 393382"/>
                  <a:gd name="connsiteY225" fmla="*/ 386715 h 506729"/>
                  <a:gd name="connsiteX226" fmla="*/ 366713 w 393382"/>
                  <a:gd name="connsiteY226" fmla="*/ 394335 h 506729"/>
                  <a:gd name="connsiteX227" fmla="*/ 362903 w 393382"/>
                  <a:gd name="connsiteY227" fmla="*/ 401002 h 506729"/>
                  <a:gd name="connsiteX228" fmla="*/ 359093 w 393382"/>
                  <a:gd name="connsiteY228" fmla="*/ 407670 h 506729"/>
                  <a:gd name="connsiteX229" fmla="*/ 355283 w 393382"/>
                  <a:gd name="connsiteY229" fmla="*/ 414338 h 506729"/>
                  <a:gd name="connsiteX230" fmla="*/ 351472 w 393382"/>
                  <a:gd name="connsiteY230" fmla="*/ 421005 h 506729"/>
                  <a:gd name="connsiteX231" fmla="*/ 347663 w 393382"/>
                  <a:gd name="connsiteY231" fmla="*/ 426720 h 506729"/>
                  <a:gd name="connsiteX232" fmla="*/ 343853 w 393382"/>
                  <a:gd name="connsiteY232" fmla="*/ 432435 h 506729"/>
                  <a:gd name="connsiteX233" fmla="*/ 340043 w 393382"/>
                  <a:gd name="connsiteY233" fmla="*/ 438150 h 506729"/>
                  <a:gd name="connsiteX234" fmla="*/ 335280 w 393382"/>
                  <a:gd name="connsiteY234" fmla="*/ 443865 h 506729"/>
                  <a:gd name="connsiteX235" fmla="*/ 330518 w 393382"/>
                  <a:gd name="connsiteY235" fmla="*/ 449580 h 506729"/>
                  <a:gd name="connsiteX236" fmla="*/ 325755 w 393382"/>
                  <a:gd name="connsiteY236" fmla="*/ 454342 h 506729"/>
                  <a:gd name="connsiteX237" fmla="*/ 320993 w 393382"/>
                  <a:gd name="connsiteY237" fmla="*/ 459105 h 506729"/>
                  <a:gd name="connsiteX238" fmla="*/ 316230 w 393382"/>
                  <a:gd name="connsiteY238" fmla="*/ 462915 h 506729"/>
                  <a:gd name="connsiteX239" fmla="*/ 311468 w 393382"/>
                  <a:gd name="connsiteY239" fmla="*/ 466725 h 506729"/>
                  <a:gd name="connsiteX240" fmla="*/ 305753 w 393382"/>
                  <a:gd name="connsiteY240" fmla="*/ 470535 h 506729"/>
                  <a:gd name="connsiteX241" fmla="*/ 300038 w 393382"/>
                  <a:gd name="connsiteY241" fmla="*/ 474345 h 506729"/>
                  <a:gd name="connsiteX242" fmla="*/ 294322 w 393382"/>
                  <a:gd name="connsiteY242" fmla="*/ 478155 h 506729"/>
                  <a:gd name="connsiteX243" fmla="*/ 288608 w 393382"/>
                  <a:gd name="connsiteY243" fmla="*/ 481965 h 506729"/>
                  <a:gd name="connsiteX244" fmla="*/ 282893 w 393382"/>
                  <a:gd name="connsiteY244" fmla="*/ 484822 h 506729"/>
                  <a:gd name="connsiteX245" fmla="*/ 277178 w 393382"/>
                  <a:gd name="connsiteY245" fmla="*/ 487680 h 506729"/>
                  <a:gd name="connsiteX246" fmla="*/ 271463 w 393382"/>
                  <a:gd name="connsiteY246" fmla="*/ 490538 h 506729"/>
                  <a:gd name="connsiteX247" fmla="*/ 265748 w 393382"/>
                  <a:gd name="connsiteY247" fmla="*/ 493395 h 506729"/>
                  <a:gd name="connsiteX248" fmla="*/ 260033 w 393382"/>
                  <a:gd name="connsiteY248" fmla="*/ 496252 h 506729"/>
                  <a:gd name="connsiteX249" fmla="*/ 254318 w 393382"/>
                  <a:gd name="connsiteY249" fmla="*/ 498158 h 506729"/>
                  <a:gd name="connsiteX250" fmla="*/ 248603 w 393382"/>
                  <a:gd name="connsiteY250" fmla="*/ 500063 h 506729"/>
                  <a:gd name="connsiteX251" fmla="*/ 241935 w 393382"/>
                  <a:gd name="connsiteY251" fmla="*/ 501967 h 506729"/>
                  <a:gd name="connsiteX252" fmla="*/ 236220 w 393382"/>
                  <a:gd name="connsiteY252" fmla="*/ 502920 h 506729"/>
                  <a:gd name="connsiteX253" fmla="*/ 229553 w 393382"/>
                  <a:gd name="connsiteY253" fmla="*/ 503872 h 506729"/>
                  <a:gd name="connsiteX254" fmla="*/ 222885 w 393382"/>
                  <a:gd name="connsiteY254" fmla="*/ 504825 h 506729"/>
                  <a:gd name="connsiteX255" fmla="*/ 216218 w 393382"/>
                  <a:gd name="connsiteY255" fmla="*/ 505777 h 506729"/>
                  <a:gd name="connsiteX256" fmla="*/ 209550 w 393382"/>
                  <a:gd name="connsiteY256" fmla="*/ 506730 h 506729"/>
                  <a:gd name="connsiteX257" fmla="*/ 202883 w 393382"/>
                  <a:gd name="connsiteY257" fmla="*/ 506730 h 506729"/>
                  <a:gd name="connsiteX258" fmla="*/ 196215 w 393382"/>
                  <a:gd name="connsiteY258" fmla="*/ 506730 h 506729"/>
                  <a:gd name="connsiteX259" fmla="*/ 186690 w 393382"/>
                  <a:gd name="connsiteY259" fmla="*/ 506730 h 506729"/>
                  <a:gd name="connsiteX260" fmla="*/ 177165 w 393382"/>
                  <a:gd name="connsiteY260" fmla="*/ 505777 h 506729"/>
                  <a:gd name="connsiteX261" fmla="*/ 167640 w 393382"/>
                  <a:gd name="connsiteY261" fmla="*/ 504825 h 506729"/>
                  <a:gd name="connsiteX262" fmla="*/ 158115 w 393382"/>
                  <a:gd name="connsiteY262" fmla="*/ 502920 h 506729"/>
                  <a:gd name="connsiteX263" fmla="*/ 148590 w 393382"/>
                  <a:gd name="connsiteY263" fmla="*/ 501015 h 506729"/>
                  <a:gd name="connsiteX264" fmla="*/ 139065 w 393382"/>
                  <a:gd name="connsiteY264" fmla="*/ 498158 h 506729"/>
                  <a:gd name="connsiteX265" fmla="*/ 130493 w 393382"/>
                  <a:gd name="connsiteY265" fmla="*/ 495300 h 506729"/>
                  <a:gd name="connsiteX266" fmla="*/ 120968 w 393382"/>
                  <a:gd name="connsiteY266" fmla="*/ 491490 h 506729"/>
                  <a:gd name="connsiteX267" fmla="*/ 112395 w 393382"/>
                  <a:gd name="connsiteY267" fmla="*/ 487680 h 506729"/>
                  <a:gd name="connsiteX268" fmla="*/ 103823 w 393382"/>
                  <a:gd name="connsiteY268" fmla="*/ 482917 h 506729"/>
                  <a:gd name="connsiteX269" fmla="*/ 96203 w 393382"/>
                  <a:gd name="connsiteY269" fmla="*/ 478155 h 506729"/>
                  <a:gd name="connsiteX270" fmla="*/ 87630 w 393382"/>
                  <a:gd name="connsiteY270" fmla="*/ 472440 h 506729"/>
                  <a:gd name="connsiteX271" fmla="*/ 80010 w 393382"/>
                  <a:gd name="connsiteY271" fmla="*/ 466725 h 506729"/>
                  <a:gd name="connsiteX272" fmla="*/ 72390 w 393382"/>
                  <a:gd name="connsiteY272" fmla="*/ 460058 h 506729"/>
                  <a:gd name="connsiteX273" fmla="*/ 64770 w 393382"/>
                  <a:gd name="connsiteY273" fmla="*/ 453390 h 506729"/>
                  <a:gd name="connsiteX274" fmla="*/ 58103 w 393382"/>
                  <a:gd name="connsiteY274" fmla="*/ 445770 h 506729"/>
                  <a:gd name="connsiteX275" fmla="*/ 51435 w 393382"/>
                  <a:gd name="connsiteY275" fmla="*/ 438150 h 506729"/>
                  <a:gd name="connsiteX276" fmla="*/ 44768 w 393382"/>
                  <a:gd name="connsiteY276" fmla="*/ 429577 h 506729"/>
                  <a:gd name="connsiteX277" fmla="*/ 39053 w 393382"/>
                  <a:gd name="connsiteY277" fmla="*/ 420052 h 506729"/>
                  <a:gd name="connsiteX278" fmla="*/ 33338 w 393382"/>
                  <a:gd name="connsiteY278" fmla="*/ 410527 h 506729"/>
                  <a:gd name="connsiteX279" fmla="*/ 29528 w 393382"/>
                  <a:gd name="connsiteY279" fmla="*/ 401955 h 506729"/>
                  <a:gd name="connsiteX280" fmla="*/ 24765 w 393382"/>
                  <a:gd name="connsiteY280" fmla="*/ 391477 h 506729"/>
                  <a:gd name="connsiteX281" fmla="*/ 20955 w 393382"/>
                  <a:gd name="connsiteY281" fmla="*/ 380047 h 506729"/>
                  <a:gd name="connsiteX282" fmla="*/ 17145 w 393382"/>
                  <a:gd name="connsiteY282" fmla="*/ 367665 h 506729"/>
                  <a:gd name="connsiteX283" fmla="*/ 13335 w 393382"/>
                  <a:gd name="connsiteY283" fmla="*/ 355283 h 506729"/>
                  <a:gd name="connsiteX284" fmla="*/ 10478 w 393382"/>
                  <a:gd name="connsiteY284" fmla="*/ 341947 h 506729"/>
                  <a:gd name="connsiteX285" fmla="*/ 7620 w 393382"/>
                  <a:gd name="connsiteY285" fmla="*/ 328613 h 506729"/>
                  <a:gd name="connsiteX286" fmla="*/ 5715 w 393382"/>
                  <a:gd name="connsiteY286" fmla="*/ 315278 h 506729"/>
                  <a:gd name="connsiteX287" fmla="*/ 3810 w 393382"/>
                  <a:gd name="connsiteY287" fmla="*/ 300990 h 506729"/>
                  <a:gd name="connsiteX288" fmla="*/ 2858 w 393382"/>
                  <a:gd name="connsiteY288" fmla="*/ 285750 h 506729"/>
                  <a:gd name="connsiteX289" fmla="*/ 1905 w 393382"/>
                  <a:gd name="connsiteY289" fmla="*/ 270510 h 506729"/>
                  <a:gd name="connsiteX290" fmla="*/ 1905 w 393382"/>
                  <a:gd name="connsiteY290" fmla="*/ 255270 h 506729"/>
                  <a:gd name="connsiteX291" fmla="*/ 0 w 393382"/>
                  <a:gd name="connsiteY291" fmla="*/ 255270 h 506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</a:cxnLst>
                <a:rect l="l" t="t" r="r" b="b"/>
                <a:pathLst>
                  <a:path w="393382" h="506729">
                    <a:moveTo>
                      <a:pt x="92393" y="254317"/>
                    </a:moveTo>
                    <a:lnTo>
                      <a:pt x="92393" y="266700"/>
                    </a:lnTo>
                    <a:lnTo>
                      <a:pt x="92393" y="278130"/>
                    </a:lnTo>
                    <a:lnTo>
                      <a:pt x="92393" y="288607"/>
                    </a:lnTo>
                    <a:lnTo>
                      <a:pt x="93345" y="299085"/>
                    </a:lnTo>
                    <a:lnTo>
                      <a:pt x="94298" y="309563"/>
                    </a:lnTo>
                    <a:lnTo>
                      <a:pt x="95250" y="319088"/>
                    </a:lnTo>
                    <a:lnTo>
                      <a:pt x="97155" y="328613"/>
                    </a:lnTo>
                    <a:lnTo>
                      <a:pt x="99060" y="337185"/>
                    </a:lnTo>
                    <a:lnTo>
                      <a:pt x="100965" y="345758"/>
                    </a:lnTo>
                    <a:lnTo>
                      <a:pt x="102870" y="353377"/>
                    </a:lnTo>
                    <a:lnTo>
                      <a:pt x="105728" y="360997"/>
                    </a:lnTo>
                    <a:lnTo>
                      <a:pt x="108585" y="368617"/>
                    </a:lnTo>
                    <a:lnTo>
                      <a:pt x="111443" y="375285"/>
                    </a:lnTo>
                    <a:lnTo>
                      <a:pt x="114300" y="381952"/>
                    </a:lnTo>
                    <a:lnTo>
                      <a:pt x="117158" y="388620"/>
                    </a:lnTo>
                    <a:lnTo>
                      <a:pt x="120968" y="394335"/>
                    </a:lnTo>
                    <a:lnTo>
                      <a:pt x="124778" y="400050"/>
                    </a:lnTo>
                    <a:lnTo>
                      <a:pt x="128588" y="405765"/>
                    </a:lnTo>
                    <a:lnTo>
                      <a:pt x="132398" y="410527"/>
                    </a:lnTo>
                    <a:lnTo>
                      <a:pt x="136208" y="414338"/>
                    </a:lnTo>
                    <a:lnTo>
                      <a:pt x="140018" y="418147"/>
                    </a:lnTo>
                    <a:lnTo>
                      <a:pt x="144780" y="421958"/>
                    </a:lnTo>
                    <a:lnTo>
                      <a:pt x="148590" y="424815"/>
                    </a:lnTo>
                    <a:lnTo>
                      <a:pt x="153353" y="427672"/>
                    </a:lnTo>
                    <a:lnTo>
                      <a:pt x="158115" y="430530"/>
                    </a:lnTo>
                    <a:lnTo>
                      <a:pt x="162878" y="432435"/>
                    </a:lnTo>
                    <a:lnTo>
                      <a:pt x="167640" y="434340"/>
                    </a:lnTo>
                    <a:lnTo>
                      <a:pt x="173355" y="435292"/>
                    </a:lnTo>
                    <a:lnTo>
                      <a:pt x="179070" y="436245"/>
                    </a:lnTo>
                    <a:lnTo>
                      <a:pt x="184785" y="437197"/>
                    </a:lnTo>
                    <a:lnTo>
                      <a:pt x="190500" y="437197"/>
                    </a:lnTo>
                    <a:lnTo>
                      <a:pt x="196215" y="437197"/>
                    </a:lnTo>
                    <a:lnTo>
                      <a:pt x="201930" y="437197"/>
                    </a:lnTo>
                    <a:lnTo>
                      <a:pt x="207645" y="437197"/>
                    </a:lnTo>
                    <a:lnTo>
                      <a:pt x="213360" y="436245"/>
                    </a:lnTo>
                    <a:lnTo>
                      <a:pt x="219075" y="435292"/>
                    </a:lnTo>
                    <a:lnTo>
                      <a:pt x="223838" y="434340"/>
                    </a:lnTo>
                    <a:lnTo>
                      <a:pt x="228600" y="432435"/>
                    </a:lnTo>
                    <a:lnTo>
                      <a:pt x="233363" y="430530"/>
                    </a:lnTo>
                    <a:lnTo>
                      <a:pt x="238125" y="427672"/>
                    </a:lnTo>
                    <a:lnTo>
                      <a:pt x="242888" y="424815"/>
                    </a:lnTo>
                    <a:lnTo>
                      <a:pt x="246698" y="421958"/>
                    </a:lnTo>
                    <a:lnTo>
                      <a:pt x="251460" y="418147"/>
                    </a:lnTo>
                    <a:lnTo>
                      <a:pt x="255270" y="414338"/>
                    </a:lnTo>
                    <a:lnTo>
                      <a:pt x="259080" y="410527"/>
                    </a:lnTo>
                    <a:lnTo>
                      <a:pt x="262890" y="405765"/>
                    </a:lnTo>
                    <a:lnTo>
                      <a:pt x="266700" y="401002"/>
                    </a:lnTo>
                    <a:lnTo>
                      <a:pt x="270510" y="395288"/>
                    </a:lnTo>
                    <a:lnTo>
                      <a:pt x="274320" y="389572"/>
                    </a:lnTo>
                    <a:lnTo>
                      <a:pt x="277178" y="383858"/>
                    </a:lnTo>
                    <a:lnTo>
                      <a:pt x="280035" y="377190"/>
                    </a:lnTo>
                    <a:lnTo>
                      <a:pt x="282893" y="370522"/>
                    </a:lnTo>
                    <a:lnTo>
                      <a:pt x="285750" y="363855"/>
                    </a:lnTo>
                    <a:lnTo>
                      <a:pt x="287655" y="356235"/>
                    </a:lnTo>
                    <a:lnTo>
                      <a:pt x="289560" y="348615"/>
                    </a:lnTo>
                    <a:lnTo>
                      <a:pt x="291465" y="340042"/>
                    </a:lnTo>
                    <a:lnTo>
                      <a:pt x="293370" y="330517"/>
                    </a:lnTo>
                    <a:lnTo>
                      <a:pt x="294322" y="320992"/>
                    </a:lnTo>
                    <a:lnTo>
                      <a:pt x="295275" y="311467"/>
                    </a:lnTo>
                    <a:lnTo>
                      <a:pt x="296228" y="300990"/>
                    </a:lnTo>
                    <a:lnTo>
                      <a:pt x="297180" y="290513"/>
                    </a:lnTo>
                    <a:lnTo>
                      <a:pt x="298133" y="279082"/>
                    </a:lnTo>
                    <a:lnTo>
                      <a:pt x="298133" y="267653"/>
                    </a:lnTo>
                    <a:lnTo>
                      <a:pt x="298133" y="255270"/>
                    </a:lnTo>
                    <a:lnTo>
                      <a:pt x="298133" y="243840"/>
                    </a:lnTo>
                    <a:lnTo>
                      <a:pt x="298133" y="232410"/>
                    </a:lnTo>
                    <a:lnTo>
                      <a:pt x="297180" y="221932"/>
                    </a:lnTo>
                    <a:lnTo>
                      <a:pt x="296228" y="211455"/>
                    </a:lnTo>
                    <a:lnTo>
                      <a:pt x="295275" y="200977"/>
                    </a:lnTo>
                    <a:lnTo>
                      <a:pt x="294322" y="191452"/>
                    </a:lnTo>
                    <a:lnTo>
                      <a:pt x="293370" y="181927"/>
                    </a:lnTo>
                    <a:lnTo>
                      <a:pt x="291465" y="172402"/>
                    </a:lnTo>
                    <a:lnTo>
                      <a:pt x="289560" y="163830"/>
                    </a:lnTo>
                    <a:lnTo>
                      <a:pt x="287655" y="155257"/>
                    </a:lnTo>
                    <a:lnTo>
                      <a:pt x="284798" y="147638"/>
                    </a:lnTo>
                    <a:lnTo>
                      <a:pt x="281940" y="140017"/>
                    </a:lnTo>
                    <a:lnTo>
                      <a:pt x="279083" y="133350"/>
                    </a:lnTo>
                    <a:lnTo>
                      <a:pt x="277178" y="125730"/>
                    </a:lnTo>
                    <a:lnTo>
                      <a:pt x="273368" y="119063"/>
                    </a:lnTo>
                    <a:lnTo>
                      <a:pt x="270510" y="113347"/>
                    </a:lnTo>
                    <a:lnTo>
                      <a:pt x="266700" y="107632"/>
                    </a:lnTo>
                    <a:lnTo>
                      <a:pt x="262890" y="102870"/>
                    </a:lnTo>
                    <a:lnTo>
                      <a:pt x="259080" y="98107"/>
                    </a:lnTo>
                    <a:lnTo>
                      <a:pt x="255270" y="94297"/>
                    </a:lnTo>
                    <a:lnTo>
                      <a:pt x="251460" y="90488"/>
                    </a:lnTo>
                    <a:lnTo>
                      <a:pt x="247650" y="86677"/>
                    </a:lnTo>
                    <a:lnTo>
                      <a:pt x="242888" y="83820"/>
                    </a:lnTo>
                    <a:lnTo>
                      <a:pt x="238125" y="80963"/>
                    </a:lnTo>
                    <a:lnTo>
                      <a:pt x="233363" y="78105"/>
                    </a:lnTo>
                    <a:lnTo>
                      <a:pt x="228600" y="75247"/>
                    </a:lnTo>
                    <a:lnTo>
                      <a:pt x="223838" y="73342"/>
                    </a:lnTo>
                    <a:lnTo>
                      <a:pt x="218123" y="72390"/>
                    </a:lnTo>
                    <a:lnTo>
                      <a:pt x="212408" y="70485"/>
                    </a:lnTo>
                    <a:lnTo>
                      <a:pt x="206693" y="69532"/>
                    </a:lnTo>
                    <a:lnTo>
                      <a:pt x="200978" y="68580"/>
                    </a:lnTo>
                    <a:lnTo>
                      <a:pt x="195263" y="68580"/>
                    </a:lnTo>
                    <a:lnTo>
                      <a:pt x="189548" y="68580"/>
                    </a:lnTo>
                    <a:lnTo>
                      <a:pt x="183833" y="69532"/>
                    </a:lnTo>
                    <a:lnTo>
                      <a:pt x="178118" y="70485"/>
                    </a:lnTo>
                    <a:lnTo>
                      <a:pt x="172403" y="72390"/>
                    </a:lnTo>
                    <a:lnTo>
                      <a:pt x="167640" y="73342"/>
                    </a:lnTo>
                    <a:lnTo>
                      <a:pt x="161925" y="75247"/>
                    </a:lnTo>
                    <a:lnTo>
                      <a:pt x="157163" y="78105"/>
                    </a:lnTo>
                    <a:lnTo>
                      <a:pt x="152400" y="80963"/>
                    </a:lnTo>
                    <a:lnTo>
                      <a:pt x="147638" y="83820"/>
                    </a:lnTo>
                    <a:lnTo>
                      <a:pt x="142875" y="86677"/>
                    </a:lnTo>
                    <a:lnTo>
                      <a:pt x="139065" y="90488"/>
                    </a:lnTo>
                    <a:lnTo>
                      <a:pt x="135255" y="94297"/>
                    </a:lnTo>
                    <a:lnTo>
                      <a:pt x="131445" y="98107"/>
                    </a:lnTo>
                    <a:lnTo>
                      <a:pt x="127635" y="102870"/>
                    </a:lnTo>
                    <a:lnTo>
                      <a:pt x="123825" y="107632"/>
                    </a:lnTo>
                    <a:lnTo>
                      <a:pt x="120015" y="113347"/>
                    </a:lnTo>
                    <a:lnTo>
                      <a:pt x="116205" y="119063"/>
                    </a:lnTo>
                    <a:lnTo>
                      <a:pt x="113348" y="124777"/>
                    </a:lnTo>
                    <a:lnTo>
                      <a:pt x="110490" y="131445"/>
                    </a:lnTo>
                    <a:lnTo>
                      <a:pt x="107633" y="138113"/>
                    </a:lnTo>
                    <a:lnTo>
                      <a:pt x="104775" y="145732"/>
                    </a:lnTo>
                    <a:lnTo>
                      <a:pt x="102870" y="153352"/>
                    </a:lnTo>
                    <a:lnTo>
                      <a:pt x="100965" y="161925"/>
                    </a:lnTo>
                    <a:lnTo>
                      <a:pt x="99060" y="170497"/>
                    </a:lnTo>
                    <a:lnTo>
                      <a:pt x="97155" y="179070"/>
                    </a:lnTo>
                    <a:lnTo>
                      <a:pt x="95250" y="188595"/>
                    </a:lnTo>
                    <a:lnTo>
                      <a:pt x="94298" y="198120"/>
                    </a:lnTo>
                    <a:lnTo>
                      <a:pt x="93345" y="208597"/>
                    </a:lnTo>
                    <a:lnTo>
                      <a:pt x="92393" y="219075"/>
                    </a:lnTo>
                    <a:lnTo>
                      <a:pt x="92393" y="229552"/>
                    </a:lnTo>
                    <a:lnTo>
                      <a:pt x="92393" y="240982"/>
                    </a:lnTo>
                    <a:lnTo>
                      <a:pt x="92393" y="254317"/>
                    </a:lnTo>
                    <a:lnTo>
                      <a:pt x="92393" y="254317"/>
                    </a:lnTo>
                    <a:close/>
                    <a:moveTo>
                      <a:pt x="0" y="255270"/>
                    </a:moveTo>
                    <a:lnTo>
                      <a:pt x="0" y="240030"/>
                    </a:lnTo>
                    <a:lnTo>
                      <a:pt x="953" y="224790"/>
                    </a:lnTo>
                    <a:lnTo>
                      <a:pt x="1905" y="210502"/>
                    </a:lnTo>
                    <a:lnTo>
                      <a:pt x="3810" y="196215"/>
                    </a:lnTo>
                    <a:lnTo>
                      <a:pt x="5715" y="182880"/>
                    </a:lnTo>
                    <a:lnTo>
                      <a:pt x="8573" y="169545"/>
                    </a:lnTo>
                    <a:lnTo>
                      <a:pt x="11430" y="157163"/>
                    </a:lnTo>
                    <a:lnTo>
                      <a:pt x="15240" y="144780"/>
                    </a:lnTo>
                    <a:lnTo>
                      <a:pt x="19050" y="133350"/>
                    </a:lnTo>
                    <a:lnTo>
                      <a:pt x="22860" y="121920"/>
                    </a:lnTo>
                    <a:lnTo>
                      <a:pt x="27623" y="111442"/>
                    </a:lnTo>
                    <a:lnTo>
                      <a:pt x="32385" y="100965"/>
                    </a:lnTo>
                    <a:lnTo>
                      <a:pt x="38100" y="91440"/>
                    </a:lnTo>
                    <a:lnTo>
                      <a:pt x="43815" y="81915"/>
                    </a:lnTo>
                    <a:lnTo>
                      <a:pt x="50483" y="73342"/>
                    </a:lnTo>
                    <a:lnTo>
                      <a:pt x="57150" y="64770"/>
                    </a:lnTo>
                    <a:lnTo>
                      <a:pt x="63818" y="57150"/>
                    </a:lnTo>
                    <a:lnTo>
                      <a:pt x="71438" y="50482"/>
                    </a:lnTo>
                    <a:lnTo>
                      <a:pt x="79058" y="43815"/>
                    </a:lnTo>
                    <a:lnTo>
                      <a:pt x="86678" y="37147"/>
                    </a:lnTo>
                    <a:lnTo>
                      <a:pt x="94298" y="31432"/>
                    </a:lnTo>
                    <a:lnTo>
                      <a:pt x="101918" y="25717"/>
                    </a:lnTo>
                    <a:lnTo>
                      <a:pt x="110490" y="20955"/>
                    </a:lnTo>
                    <a:lnTo>
                      <a:pt x="119063" y="17145"/>
                    </a:lnTo>
                    <a:lnTo>
                      <a:pt x="127635" y="13335"/>
                    </a:lnTo>
                    <a:lnTo>
                      <a:pt x="137160" y="9525"/>
                    </a:lnTo>
                    <a:lnTo>
                      <a:pt x="146685" y="6667"/>
                    </a:lnTo>
                    <a:lnTo>
                      <a:pt x="156210" y="3810"/>
                    </a:lnTo>
                    <a:lnTo>
                      <a:pt x="165735" y="1905"/>
                    </a:lnTo>
                    <a:lnTo>
                      <a:pt x="175260" y="952"/>
                    </a:lnTo>
                    <a:lnTo>
                      <a:pt x="185738" y="0"/>
                    </a:lnTo>
                    <a:lnTo>
                      <a:pt x="196215" y="0"/>
                    </a:lnTo>
                    <a:lnTo>
                      <a:pt x="202883" y="0"/>
                    </a:lnTo>
                    <a:lnTo>
                      <a:pt x="209550" y="0"/>
                    </a:lnTo>
                    <a:lnTo>
                      <a:pt x="216218" y="952"/>
                    </a:lnTo>
                    <a:lnTo>
                      <a:pt x="222885" y="1905"/>
                    </a:lnTo>
                    <a:lnTo>
                      <a:pt x="229553" y="2857"/>
                    </a:lnTo>
                    <a:lnTo>
                      <a:pt x="236220" y="4763"/>
                    </a:lnTo>
                    <a:lnTo>
                      <a:pt x="241935" y="5715"/>
                    </a:lnTo>
                    <a:lnTo>
                      <a:pt x="248603" y="6667"/>
                    </a:lnTo>
                    <a:lnTo>
                      <a:pt x="254318" y="8572"/>
                    </a:lnTo>
                    <a:lnTo>
                      <a:pt x="260033" y="10477"/>
                    </a:lnTo>
                    <a:lnTo>
                      <a:pt x="265748" y="12382"/>
                    </a:lnTo>
                    <a:lnTo>
                      <a:pt x="271463" y="15240"/>
                    </a:lnTo>
                    <a:lnTo>
                      <a:pt x="277178" y="18097"/>
                    </a:lnTo>
                    <a:lnTo>
                      <a:pt x="282893" y="20955"/>
                    </a:lnTo>
                    <a:lnTo>
                      <a:pt x="288608" y="23813"/>
                    </a:lnTo>
                    <a:lnTo>
                      <a:pt x="294322" y="26670"/>
                    </a:lnTo>
                    <a:lnTo>
                      <a:pt x="300038" y="30480"/>
                    </a:lnTo>
                    <a:lnTo>
                      <a:pt x="305753" y="34290"/>
                    </a:lnTo>
                    <a:lnTo>
                      <a:pt x="311468" y="38100"/>
                    </a:lnTo>
                    <a:lnTo>
                      <a:pt x="316230" y="41910"/>
                    </a:lnTo>
                    <a:lnTo>
                      <a:pt x="320993" y="46672"/>
                    </a:lnTo>
                    <a:lnTo>
                      <a:pt x="325755" y="51435"/>
                    </a:lnTo>
                    <a:lnTo>
                      <a:pt x="330518" y="56197"/>
                    </a:lnTo>
                    <a:lnTo>
                      <a:pt x="335280" y="60960"/>
                    </a:lnTo>
                    <a:lnTo>
                      <a:pt x="340043" y="66675"/>
                    </a:lnTo>
                    <a:lnTo>
                      <a:pt x="343853" y="72390"/>
                    </a:lnTo>
                    <a:lnTo>
                      <a:pt x="347663" y="78105"/>
                    </a:lnTo>
                    <a:lnTo>
                      <a:pt x="351472" y="84772"/>
                    </a:lnTo>
                    <a:lnTo>
                      <a:pt x="355283" y="91440"/>
                    </a:lnTo>
                    <a:lnTo>
                      <a:pt x="359093" y="98107"/>
                    </a:lnTo>
                    <a:lnTo>
                      <a:pt x="362903" y="104775"/>
                    </a:lnTo>
                    <a:lnTo>
                      <a:pt x="366713" y="111442"/>
                    </a:lnTo>
                    <a:lnTo>
                      <a:pt x="369570" y="118110"/>
                    </a:lnTo>
                    <a:lnTo>
                      <a:pt x="372428" y="125730"/>
                    </a:lnTo>
                    <a:lnTo>
                      <a:pt x="375285" y="133350"/>
                    </a:lnTo>
                    <a:lnTo>
                      <a:pt x="378143" y="140970"/>
                    </a:lnTo>
                    <a:lnTo>
                      <a:pt x="381000" y="148590"/>
                    </a:lnTo>
                    <a:lnTo>
                      <a:pt x="382905" y="157163"/>
                    </a:lnTo>
                    <a:lnTo>
                      <a:pt x="384810" y="165735"/>
                    </a:lnTo>
                    <a:lnTo>
                      <a:pt x="386715" y="174307"/>
                    </a:lnTo>
                    <a:lnTo>
                      <a:pt x="388620" y="182880"/>
                    </a:lnTo>
                    <a:lnTo>
                      <a:pt x="389572" y="192405"/>
                    </a:lnTo>
                    <a:lnTo>
                      <a:pt x="390525" y="201930"/>
                    </a:lnTo>
                    <a:lnTo>
                      <a:pt x="391478" y="211455"/>
                    </a:lnTo>
                    <a:lnTo>
                      <a:pt x="392430" y="220980"/>
                    </a:lnTo>
                    <a:lnTo>
                      <a:pt x="393383" y="231457"/>
                    </a:lnTo>
                    <a:lnTo>
                      <a:pt x="393383" y="241935"/>
                    </a:lnTo>
                    <a:lnTo>
                      <a:pt x="393383" y="252413"/>
                    </a:lnTo>
                    <a:lnTo>
                      <a:pt x="393383" y="262890"/>
                    </a:lnTo>
                    <a:lnTo>
                      <a:pt x="393383" y="273367"/>
                    </a:lnTo>
                    <a:lnTo>
                      <a:pt x="392430" y="282892"/>
                    </a:lnTo>
                    <a:lnTo>
                      <a:pt x="391478" y="292417"/>
                    </a:lnTo>
                    <a:lnTo>
                      <a:pt x="390525" y="301942"/>
                    </a:lnTo>
                    <a:lnTo>
                      <a:pt x="389572" y="311467"/>
                    </a:lnTo>
                    <a:lnTo>
                      <a:pt x="388620" y="320992"/>
                    </a:lnTo>
                    <a:lnTo>
                      <a:pt x="386715" y="330517"/>
                    </a:lnTo>
                    <a:lnTo>
                      <a:pt x="384810" y="339090"/>
                    </a:lnTo>
                    <a:lnTo>
                      <a:pt x="382905" y="347663"/>
                    </a:lnTo>
                    <a:lnTo>
                      <a:pt x="381000" y="356235"/>
                    </a:lnTo>
                    <a:lnTo>
                      <a:pt x="378143" y="363855"/>
                    </a:lnTo>
                    <a:lnTo>
                      <a:pt x="375285" y="371475"/>
                    </a:lnTo>
                    <a:lnTo>
                      <a:pt x="372428" y="379095"/>
                    </a:lnTo>
                    <a:lnTo>
                      <a:pt x="369570" y="386715"/>
                    </a:lnTo>
                    <a:lnTo>
                      <a:pt x="366713" y="394335"/>
                    </a:lnTo>
                    <a:lnTo>
                      <a:pt x="362903" y="401002"/>
                    </a:lnTo>
                    <a:lnTo>
                      <a:pt x="359093" y="407670"/>
                    </a:lnTo>
                    <a:lnTo>
                      <a:pt x="355283" y="414338"/>
                    </a:lnTo>
                    <a:lnTo>
                      <a:pt x="351472" y="421005"/>
                    </a:lnTo>
                    <a:lnTo>
                      <a:pt x="347663" y="426720"/>
                    </a:lnTo>
                    <a:lnTo>
                      <a:pt x="343853" y="432435"/>
                    </a:lnTo>
                    <a:lnTo>
                      <a:pt x="340043" y="438150"/>
                    </a:lnTo>
                    <a:lnTo>
                      <a:pt x="335280" y="443865"/>
                    </a:lnTo>
                    <a:lnTo>
                      <a:pt x="330518" y="449580"/>
                    </a:lnTo>
                    <a:lnTo>
                      <a:pt x="325755" y="454342"/>
                    </a:lnTo>
                    <a:lnTo>
                      <a:pt x="320993" y="459105"/>
                    </a:lnTo>
                    <a:lnTo>
                      <a:pt x="316230" y="462915"/>
                    </a:lnTo>
                    <a:lnTo>
                      <a:pt x="311468" y="466725"/>
                    </a:lnTo>
                    <a:lnTo>
                      <a:pt x="305753" y="470535"/>
                    </a:lnTo>
                    <a:lnTo>
                      <a:pt x="300038" y="474345"/>
                    </a:lnTo>
                    <a:lnTo>
                      <a:pt x="294322" y="478155"/>
                    </a:lnTo>
                    <a:lnTo>
                      <a:pt x="288608" y="481965"/>
                    </a:lnTo>
                    <a:lnTo>
                      <a:pt x="282893" y="484822"/>
                    </a:lnTo>
                    <a:lnTo>
                      <a:pt x="277178" y="487680"/>
                    </a:lnTo>
                    <a:lnTo>
                      <a:pt x="271463" y="490538"/>
                    </a:lnTo>
                    <a:lnTo>
                      <a:pt x="265748" y="493395"/>
                    </a:lnTo>
                    <a:lnTo>
                      <a:pt x="260033" y="496252"/>
                    </a:lnTo>
                    <a:lnTo>
                      <a:pt x="254318" y="498158"/>
                    </a:lnTo>
                    <a:lnTo>
                      <a:pt x="248603" y="500063"/>
                    </a:lnTo>
                    <a:lnTo>
                      <a:pt x="241935" y="501967"/>
                    </a:lnTo>
                    <a:lnTo>
                      <a:pt x="236220" y="502920"/>
                    </a:lnTo>
                    <a:lnTo>
                      <a:pt x="229553" y="503872"/>
                    </a:lnTo>
                    <a:lnTo>
                      <a:pt x="222885" y="504825"/>
                    </a:lnTo>
                    <a:lnTo>
                      <a:pt x="216218" y="505777"/>
                    </a:lnTo>
                    <a:lnTo>
                      <a:pt x="209550" y="506730"/>
                    </a:lnTo>
                    <a:lnTo>
                      <a:pt x="202883" y="506730"/>
                    </a:lnTo>
                    <a:lnTo>
                      <a:pt x="196215" y="506730"/>
                    </a:lnTo>
                    <a:lnTo>
                      <a:pt x="186690" y="506730"/>
                    </a:lnTo>
                    <a:lnTo>
                      <a:pt x="177165" y="505777"/>
                    </a:lnTo>
                    <a:lnTo>
                      <a:pt x="167640" y="504825"/>
                    </a:lnTo>
                    <a:lnTo>
                      <a:pt x="158115" y="502920"/>
                    </a:lnTo>
                    <a:lnTo>
                      <a:pt x="148590" y="501015"/>
                    </a:lnTo>
                    <a:lnTo>
                      <a:pt x="139065" y="498158"/>
                    </a:lnTo>
                    <a:lnTo>
                      <a:pt x="130493" y="495300"/>
                    </a:lnTo>
                    <a:lnTo>
                      <a:pt x="120968" y="491490"/>
                    </a:lnTo>
                    <a:lnTo>
                      <a:pt x="112395" y="487680"/>
                    </a:lnTo>
                    <a:lnTo>
                      <a:pt x="103823" y="482917"/>
                    </a:lnTo>
                    <a:lnTo>
                      <a:pt x="96203" y="478155"/>
                    </a:lnTo>
                    <a:lnTo>
                      <a:pt x="87630" y="472440"/>
                    </a:lnTo>
                    <a:lnTo>
                      <a:pt x="80010" y="466725"/>
                    </a:lnTo>
                    <a:lnTo>
                      <a:pt x="72390" y="460058"/>
                    </a:lnTo>
                    <a:lnTo>
                      <a:pt x="64770" y="453390"/>
                    </a:lnTo>
                    <a:lnTo>
                      <a:pt x="58103" y="445770"/>
                    </a:lnTo>
                    <a:lnTo>
                      <a:pt x="51435" y="438150"/>
                    </a:lnTo>
                    <a:lnTo>
                      <a:pt x="44768" y="429577"/>
                    </a:lnTo>
                    <a:lnTo>
                      <a:pt x="39053" y="420052"/>
                    </a:lnTo>
                    <a:lnTo>
                      <a:pt x="33338" y="410527"/>
                    </a:lnTo>
                    <a:lnTo>
                      <a:pt x="29528" y="401955"/>
                    </a:lnTo>
                    <a:lnTo>
                      <a:pt x="24765" y="391477"/>
                    </a:lnTo>
                    <a:lnTo>
                      <a:pt x="20955" y="380047"/>
                    </a:lnTo>
                    <a:lnTo>
                      <a:pt x="17145" y="367665"/>
                    </a:lnTo>
                    <a:lnTo>
                      <a:pt x="13335" y="355283"/>
                    </a:lnTo>
                    <a:lnTo>
                      <a:pt x="10478" y="341947"/>
                    </a:lnTo>
                    <a:lnTo>
                      <a:pt x="7620" y="328613"/>
                    </a:lnTo>
                    <a:lnTo>
                      <a:pt x="5715" y="315278"/>
                    </a:lnTo>
                    <a:lnTo>
                      <a:pt x="3810" y="300990"/>
                    </a:lnTo>
                    <a:lnTo>
                      <a:pt x="2858" y="285750"/>
                    </a:lnTo>
                    <a:lnTo>
                      <a:pt x="1905" y="270510"/>
                    </a:lnTo>
                    <a:lnTo>
                      <a:pt x="1905" y="255270"/>
                    </a:lnTo>
                    <a:lnTo>
                      <a:pt x="0" y="25527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3020A95F-D90E-729E-60C1-763CAEA51FAB}"/>
                  </a:ext>
                </a:extLst>
              </p:cNvPr>
              <p:cNvSpPr/>
              <p:nvPr/>
            </p:nvSpPr>
            <p:spPr>
              <a:xfrm>
                <a:off x="8566467" y="4807356"/>
                <a:ext cx="190500" cy="369569"/>
              </a:xfrm>
              <a:custGeom>
                <a:avLst/>
                <a:gdLst>
                  <a:gd name="connsiteX0" fmla="*/ 1905 w 190500"/>
                  <a:gd name="connsiteY0" fmla="*/ 369570 h 369569"/>
                  <a:gd name="connsiteX1" fmla="*/ 1905 w 190500"/>
                  <a:gd name="connsiteY1" fmla="*/ 65723 h 369569"/>
                  <a:gd name="connsiteX2" fmla="*/ 1905 w 190500"/>
                  <a:gd name="connsiteY2" fmla="*/ 56198 h 369569"/>
                  <a:gd name="connsiteX3" fmla="*/ 1905 w 190500"/>
                  <a:gd name="connsiteY3" fmla="*/ 47625 h 369569"/>
                  <a:gd name="connsiteX4" fmla="*/ 1905 w 190500"/>
                  <a:gd name="connsiteY4" fmla="*/ 40005 h 369569"/>
                  <a:gd name="connsiteX5" fmla="*/ 1905 w 190500"/>
                  <a:gd name="connsiteY5" fmla="*/ 31433 h 369569"/>
                  <a:gd name="connsiteX6" fmla="*/ 1905 w 190500"/>
                  <a:gd name="connsiteY6" fmla="*/ 24765 h 369569"/>
                  <a:gd name="connsiteX7" fmla="*/ 952 w 190500"/>
                  <a:gd name="connsiteY7" fmla="*/ 18098 h 369569"/>
                  <a:gd name="connsiteX8" fmla="*/ 0 w 190500"/>
                  <a:gd name="connsiteY8" fmla="*/ 11430 h 369569"/>
                  <a:gd name="connsiteX9" fmla="*/ 0 w 190500"/>
                  <a:gd name="connsiteY9" fmla="*/ 5715 h 369569"/>
                  <a:gd name="connsiteX10" fmla="*/ 79057 w 190500"/>
                  <a:gd name="connsiteY10" fmla="*/ 5715 h 369569"/>
                  <a:gd name="connsiteX11" fmla="*/ 80010 w 190500"/>
                  <a:gd name="connsiteY11" fmla="*/ 11430 h 369569"/>
                  <a:gd name="connsiteX12" fmla="*/ 80010 w 190500"/>
                  <a:gd name="connsiteY12" fmla="*/ 18098 h 369569"/>
                  <a:gd name="connsiteX13" fmla="*/ 80010 w 190500"/>
                  <a:gd name="connsiteY13" fmla="*/ 26670 h 369569"/>
                  <a:gd name="connsiteX14" fmla="*/ 80963 w 190500"/>
                  <a:gd name="connsiteY14" fmla="*/ 36195 h 369569"/>
                  <a:gd name="connsiteX15" fmla="*/ 80963 w 190500"/>
                  <a:gd name="connsiteY15" fmla="*/ 45720 h 369569"/>
                  <a:gd name="connsiteX16" fmla="*/ 81915 w 190500"/>
                  <a:gd name="connsiteY16" fmla="*/ 55245 h 369569"/>
                  <a:gd name="connsiteX17" fmla="*/ 81915 w 190500"/>
                  <a:gd name="connsiteY17" fmla="*/ 63818 h 369569"/>
                  <a:gd name="connsiteX18" fmla="*/ 81915 w 190500"/>
                  <a:gd name="connsiteY18" fmla="*/ 72390 h 369569"/>
                  <a:gd name="connsiteX19" fmla="*/ 83820 w 190500"/>
                  <a:gd name="connsiteY19" fmla="*/ 72390 h 369569"/>
                  <a:gd name="connsiteX20" fmla="*/ 86677 w 190500"/>
                  <a:gd name="connsiteY20" fmla="*/ 65723 h 369569"/>
                  <a:gd name="connsiteX21" fmla="*/ 89535 w 190500"/>
                  <a:gd name="connsiteY21" fmla="*/ 59055 h 369569"/>
                  <a:gd name="connsiteX22" fmla="*/ 93345 w 190500"/>
                  <a:gd name="connsiteY22" fmla="*/ 52388 h 369569"/>
                  <a:gd name="connsiteX23" fmla="*/ 97155 w 190500"/>
                  <a:gd name="connsiteY23" fmla="*/ 45720 h 369569"/>
                  <a:gd name="connsiteX24" fmla="*/ 101917 w 190500"/>
                  <a:gd name="connsiteY24" fmla="*/ 40005 h 369569"/>
                  <a:gd name="connsiteX25" fmla="*/ 106680 w 190500"/>
                  <a:gd name="connsiteY25" fmla="*/ 33338 h 369569"/>
                  <a:gd name="connsiteX26" fmla="*/ 112395 w 190500"/>
                  <a:gd name="connsiteY26" fmla="*/ 27623 h 369569"/>
                  <a:gd name="connsiteX27" fmla="*/ 117157 w 190500"/>
                  <a:gd name="connsiteY27" fmla="*/ 21908 h 369569"/>
                  <a:gd name="connsiteX28" fmla="*/ 120967 w 190500"/>
                  <a:gd name="connsiteY28" fmla="*/ 20002 h 369569"/>
                  <a:gd name="connsiteX29" fmla="*/ 123825 w 190500"/>
                  <a:gd name="connsiteY29" fmla="*/ 17145 h 369569"/>
                  <a:gd name="connsiteX30" fmla="*/ 126682 w 190500"/>
                  <a:gd name="connsiteY30" fmla="*/ 15240 h 369569"/>
                  <a:gd name="connsiteX31" fmla="*/ 129540 w 190500"/>
                  <a:gd name="connsiteY31" fmla="*/ 12383 h 369569"/>
                  <a:gd name="connsiteX32" fmla="*/ 133350 w 190500"/>
                  <a:gd name="connsiteY32" fmla="*/ 10477 h 369569"/>
                  <a:gd name="connsiteX33" fmla="*/ 136207 w 190500"/>
                  <a:gd name="connsiteY33" fmla="*/ 9525 h 369569"/>
                  <a:gd name="connsiteX34" fmla="*/ 140017 w 190500"/>
                  <a:gd name="connsiteY34" fmla="*/ 7620 h 369569"/>
                  <a:gd name="connsiteX35" fmla="*/ 143827 w 190500"/>
                  <a:gd name="connsiteY35" fmla="*/ 5715 h 369569"/>
                  <a:gd name="connsiteX36" fmla="*/ 147638 w 190500"/>
                  <a:gd name="connsiteY36" fmla="*/ 4763 h 369569"/>
                  <a:gd name="connsiteX37" fmla="*/ 151447 w 190500"/>
                  <a:gd name="connsiteY37" fmla="*/ 3810 h 369569"/>
                  <a:gd name="connsiteX38" fmla="*/ 155257 w 190500"/>
                  <a:gd name="connsiteY38" fmla="*/ 2858 h 369569"/>
                  <a:gd name="connsiteX39" fmla="*/ 159067 w 190500"/>
                  <a:gd name="connsiteY39" fmla="*/ 1905 h 369569"/>
                  <a:gd name="connsiteX40" fmla="*/ 163830 w 190500"/>
                  <a:gd name="connsiteY40" fmla="*/ 952 h 369569"/>
                  <a:gd name="connsiteX41" fmla="*/ 167640 w 190500"/>
                  <a:gd name="connsiteY41" fmla="*/ 952 h 369569"/>
                  <a:gd name="connsiteX42" fmla="*/ 171450 w 190500"/>
                  <a:gd name="connsiteY42" fmla="*/ 952 h 369569"/>
                  <a:gd name="connsiteX43" fmla="*/ 175260 w 190500"/>
                  <a:gd name="connsiteY43" fmla="*/ 0 h 369569"/>
                  <a:gd name="connsiteX44" fmla="*/ 178117 w 190500"/>
                  <a:gd name="connsiteY44" fmla="*/ 952 h 369569"/>
                  <a:gd name="connsiteX45" fmla="*/ 181927 w 190500"/>
                  <a:gd name="connsiteY45" fmla="*/ 952 h 369569"/>
                  <a:gd name="connsiteX46" fmla="*/ 186690 w 190500"/>
                  <a:gd name="connsiteY46" fmla="*/ 1905 h 369569"/>
                  <a:gd name="connsiteX47" fmla="*/ 190500 w 190500"/>
                  <a:gd name="connsiteY47" fmla="*/ 2858 h 369569"/>
                  <a:gd name="connsiteX48" fmla="*/ 190500 w 190500"/>
                  <a:gd name="connsiteY48" fmla="*/ 83820 h 369569"/>
                  <a:gd name="connsiteX49" fmla="*/ 183832 w 190500"/>
                  <a:gd name="connsiteY49" fmla="*/ 82868 h 369569"/>
                  <a:gd name="connsiteX50" fmla="*/ 177165 w 190500"/>
                  <a:gd name="connsiteY50" fmla="*/ 81915 h 369569"/>
                  <a:gd name="connsiteX51" fmla="*/ 171450 w 190500"/>
                  <a:gd name="connsiteY51" fmla="*/ 80963 h 369569"/>
                  <a:gd name="connsiteX52" fmla="*/ 165735 w 190500"/>
                  <a:gd name="connsiteY52" fmla="*/ 80963 h 369569"/>
                  <a:gd name="connsiteX53" fmla="*/ 161925 w 190500"/>
                  <a:gd name="connsiteY53" fmla="*/ 80963 h 369569"/>
                  <a:gd name="connsiteX54" fmla="*/ 157163 w 190500"/>
                  <a:gd name="connsiteY54" fmla="*/ 80963 h 369569"/>
                  <a:gd name="connsiteX55" fmla="*/ 154305 w 190500"/>
                  <a:gd name="connsiteY55" fmla="*/ 81915 h 369569"/>
                  <a:gd name="connsiteX56" fmla="*/ 150495 w 190500"/>
                  <a:gd name="connsiteY56" fmla="*/ 81915 h 369569"/>
                  <a:gd name="connsiteX57" fmla="*/ 146685 w 190500"/>
                  <a:gd name="connsiteY57" fmla="*/ 82868 h 369569"/>
                  <a:gd name="connsiteX58" fmla="*/ 142875 w 190500"/>
                  <a:gd name="connsiteY58" fmla="*/ 83820 h 369569"/>
                  <a:gd name="connsiteX59" fmla="*/ 140017 w 190500"/>
                  <a:gd name="connsiteY59" fmla="*/ 84773 h 369569"/>
                  <a:gd name="connsiteX60" fmla="*/ 136207 w 190500"/>
                  <a:gd name="connsiteY60" fmla="*/ 85725 h 369569"/>
                  <a:gd name="connsiteX61" fmla="*/ 133350 w 190500"/>
                  <a:gd name="connsiteY61" fmla="*/ 87630 h 369569"/>
                  <a:gd name="connsiteX62" fmla="*/ 129540 w 190500"/>
                  <a:gd name="connsiteY62" fmla="*/ 89535 h 369569"/>
                  <a:gd name="connsiteX63" fmla="*/ 126682 w 190500"/>
                  <a:gd name="connsiteY63" fmla="*/ 91440 h 369569"/>
                  <a:gd name="connsiteX64" fmla="*/ 123825 w 190500"/>
                  <a:gd name="connsiteY64" fmla="*/ 93345 h 369569"/>
                  <a:gd name="connsiteX65" fmla="*/ 118110 w 190500"/>
                  <a:gd name="connsiteY65" fmla="*/ 97155 h 369569"/>
                  <a:gd name="connsiteX66" fmla="*/ 112395 w 190500"/>
                  <a:gd name="connsiteY66" fmla="*/ 102870 h 369569"/>
                  <a:gd name="connsiteX67" fmla="*/ 109538 w 190500"/>
                  <a:gd name="connsiteY67" fmla="*/ 105727 h 369569"/>
                  <a:gd name="connsiteX68" fmla="*/ 106680 w 190500"/>
                  <a:gd name="connsiteY68" fmla="*/ 108585 h 369569"/>
                  <a:gd name="connsiteX69" fmla="*/ 104775 w 190500"/>
                  <a:gd name="connsiteY69" fmla="*/ 111443 h 369569"/>
                  <a:gd name="connsiteX70" fmla="*/ 102870 w 190500"/>
                  <a:gd name="connsiteY70" fmla="*/ 115252 h 369569"/>
                  <a:gd name="connsiteX71" fmla="*/ 100013 w 190500"/>
                  <a:gd name="connsiteY71" fmla="*/ 118110 h 369569"/>
                  <a:gd name="connsiteX72" fmla="*/ 99060 w 190500"/>
                  <a:gd name="connsiteY72" fmla="*/ 121920 h 369569"/>
                  <a:gd name="connsiteX73" fmla="*/ 97155 w 190500"/>
                  <a:gd name="connsiteY73" fmla="*/ 125730 h 369569"/>
                  <a:gd name="connsiteX74" fmla="*/ 95250 w 190500"/>
                  <a:gd name="connsiteY74" fmla="*/ 130493 h 369569"/>
                  <a:gd name="connsiteX75" fmla="*/ 94297 w 190500"/>
                  <a:gd name="connsiteY75" fmla="*/ 134302 h 369569"/>
                  <a:gd name="connsiteX76" fmla="*/ 93345 w 190500"/>
                  <a:gd name="connsiteY76" fmla="*/ 139065 h 369569"/>
                  <a:gd name="connsiteX77" fmla="*/ 92392 w 190500"/>
                  <a:gd name="connsiteY77" fmla="*/ 143827 h 369569"/>
                  <a:gd name="connsiteX78" fmla="*/ 91440 w 190500"/>
                  <a:gd name="connsiteY78" fmla="*/ 148590 h 369569"/>
                  <a:gd name="connsiteX79" fmla="*/ 90488 w 190500"/>
                  <a:gd name="connsiteY79" fmla="*/ 154305 h 369569"/>
                  <a:gd name="connsiteX80" fmla="*/ 89535 w 190500"/>
                  <a:gd name="connsiteY80" fmla="*/ 159068 h 369569"/>
                  <a:gd name="connsiteX81" fmla="*/ 89535 w 190500"/>
                  <a:gd name="connsiteY81" fmla="*/ 164783 h 369569"/>
                  <a:gd name="connsiteX82" fmla="*/ 91440 w 190500"/>
                  <a:gd name="connsiteY82" fmla="*/ 170498 h 369569"/>
                  <a:gd name="connsiteX83" fmla="*/ 91440 w 190500"/>
                  <a:gd name="connsiteY83" fmla="*/ 369570 h 369569"/>
                  <a:gd name="connsiteX84" fmla="*/ 1905 w 190500"/>
                  <a:gd name="connsiteY84" fmla="*/ 369570 h 369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190500" h="369569">
                    <a:moveTo>
                      <a:pt x="1905" y="369570"/>
                    </a:moveTo>
                    <a:lnTo>
                      <a:pt x="1905" y="65723"/>
                    </a:lnTo>
                    <a:lnTo>
                      <a:pt x="1905" y="56198"/>
                    </a:lnTo>
                    <a:lnTo>
                      <a:pt x="1905" y="47625"/>
                    </a:lnTo>
                    <a:lnTo>
                      <a:pt x="1905" y="40005"/>
                    </a:lnTo>
                    <a:lnTo>
                      <a:pt x="1905" y="31433"/>
                    </a:lnTo>
                    <a:lnTo>
                      <a:pt x="1905" y="24765"/>
                    </a:lnTo>
                    <a:lnTo>
                      <a:pt x="952" y="18098"/>
                    </a:lnTo>
                    <a:lnTo>
                      <a:pt x="0" y="11430"/>
                    </a:lnTo>
                    <a:lnTo>
                      <a:pt x="0" y="5715"/>
                    </a:lnTo>
                    <a:lnTo>
                      <a:pt x="79057" y="5715"/>
                    </a:lnTo>
                    <a:lnTo>
                      <a:pt x="80010" y="11430"/>
                    </a:lnTo>
                    <a:lnTo>
                      <a:pt x="80010" y="18098"/>
                    </a:lnTo>
                    <a:lnTo>
                      <a:pt x="80010" y="26670"/>
                    </a:lnTo>
                    <a:lnTo>
                      <a:pt x="80963" y="36195"/>
                    </a:lnTo>
                    <a:lnTo>
                      <a:pt x="80963" y="45720"/>
                    </a:lnTo>
                    <a:lnTo>
                      <a:pt x="81915" y="55245"/>
                    </a:lnTo>
                    <a:lnTo>
                      <a:pt x="81915" y="63818"/>
                    </a:lnTo>
                    <a:lnTo>
                      <a:pt x="81915" y="72390"/>
                    </a:lnTo>
                    <a:lnTo>
                      <a:pt x="83820" y="72390"/>
                    </a:lnTo>
                    <a:lnTo>
                      <a:pt x="86677" y="65723"/>
                    </a:lnTo>
                    <a:lnTo>
                      <a:pt x="89535" y="59055"/>
                    </a:lnTo>
                    <a:lnTo>
                      <a:pt x="93345" y="52388"/>
                    </a:lnTo>
                    <a:lnTo>
                      <a:pt x="97155" y="45720"/>
                    </a:lnTo>
                    <a:lnTo>
                      <a:pt x="101917" y="40005"/>
                    </a:lnTo>
                    <a:lnTo>
                      <a:pt x="106680" y="33338"/>
                    </a:lnTo>
                    <a:lnTo>
                      <a:pt x="112395" y="27623"/>
                    </a:lnTo>
                    <a:lnTo>
                      <a:pt x="117157" y="21908"/>
                    </a:lnTo>
                    <a:lnTo>
                      <a:pt x="120967" y="20002"/>
                    </a:lnTo>
                    <a:lnTo>
                      <a:pt x="123825" y="17145"/>
                    </a:lnTo>
                    <a:lnTo>
                      <a:pt x="126682" y="15240"/>
                    </a:lnTo>
                    <a:lnTo>
                      <a:pt x="129540" y="12383"/>
                    </a:lnTo>
                    <a:lnTo>
                      <a:pt x="133350" y="10477"/>
                    </a:lnTo>
                    <a:lnTo>
                      <a:pt x="136207" y="9525"/>
                    </a:lnTo>
                    <a:lnTo>
                      <a:pt x="140017" y="7620"/>
                    </a:lnTo>
                    <a:lnTo>
                      <a:pt x="143827" y="5715"/>
                    </a:lnTo>
                    <a:lnTo>
                      <a:pt x="147638" y="4763"/>
                    </a:lnTo>
                    <a:lnTo>
                      <a:pt x="151447" y="3810"/>
                    </a:lnTo>
                    <a:lnTo>
                      <a:pt x="155257" y="2858"/>
                    </a:lnTo>
                    <a:lnTo>
                      <a:pt x="159067" y="1905"/>
                    </a:lnTo>
                    <a:lnTo>
                      <a:pt x="163830" y="952"/>
                    </a:lnTo>
                    <a:lnTo>
                      <a:pt x="167640" y="952"/>
                    </a:lnTo>
                    <a:lnTo>
                      <a:pt x="171450" y="952"/>
                    </a:lnTo>
                    <a:lnTo>
                      <a:pt x="175260" y="0"/>
                    </a:lnTo>
                    <a:lnTo>
                      <a:pt x="178117" y="952"/>
                    </a:lnTo>
                    <a:lnTo>
                      <a:pt x="181927" y="952"/>
                    </a:lnTo>
                    <a:lnTo>
                      <a:pt x="186690" y="1905"/>
                    </a:lnTo>
                    <a:lnTo>
                      <a:pt x="190500" y="2858"/>
                    </a:lnTo>
                    <a:lnTo>
                      <a:pt x="190500" y="83820"/>
                    </a:lnTo>
                    <a:lnTo>
                      <a:pt x="183832" y="82868"/>
                    </a:lnTo>
                    <a:lnTo>
                      <a:pt x="177165" y="81915"/>
                    </a:lnTo>
                    <a:lnTo>
                      <a:pt x="171450" y="80963"/>
                    </a:lnTo>
                    <a:lnTo>
                      <a:pt x="165735" y="80963"/>
                    </a:lnTo>
                    <a:lnTo>
                      <a:pt x="161925" y="80963"/>
                    </a:lnTo>
                    <a:lnTo>
                      <a:pt x="157163" y="80963"/>
                    </a:lnTo>
                    <a:lnTo>
                      <a:pt x="154305" y="81915"/>
                    </a:lnTo>
                    <a:lnTo>
                      <a:pt x="150495" y="81915"/>
                    </a:lnTo>
                    <a:lnTo>
                      <a:pt x="146685" y="82868"/>
                    </a:lnTo>
                    <a:lnTo>
                      <a:pt x="142875" y="83820"/>
                    </a:lnTo>
                    <a:lnTo>
                      <a:pt x="140017" y="84773"/>
                    </a:lnTo>
                    <a:lnTo>
                      <a:pt x="136207" y="85725"/>
                    </a:lnTo>
                    <a:lnTo>
                      <a:pt x="133350" y="87630"/>
                    </a:lnTo>
                    <a:lnTo>
                      <a:pt x="129540" y="89535"/>
                    </a:lnTo>
                    <a:lnTo>
                      <a:pt x="126682" y="91440"/>
                    </a:lnTo>
                    <a:lnTo>
                      <a:pt x="123825" y="93345"/>
                    </a:lnTo>
                    <a:lnTo>
                      <a:pt x="118110" y="97155"/>
                    </a:lnTo>
                    <a:lnTo>
                      <a:pt x="112395" y="102870"/>
                    </a:lnTo>
                    <a:lnTo>
                      <a:pt x="109538" y="105727"/>
                    </a:lnTo>
                    <a:lnTo>
                      <a:pt x="106680" y="108585"/>
                    </a:lnTo>
                    <a:lnTo>
                      <a:pt x="104775" y="111443"/>
                    </a:lnTo>
                    <a:lnTo>
                      <a:pt x="102870" y="115252"/>
                    </a:lnTo>
                    <a:lnTo>
                      <a:pt x="100013" y="118110"/>
                    </a:lnTo>
                    <a:lnTo>
                      <a:pt x="99060" y="121920"/>
                    </a:lnTo>
                    <a:lnTo>
                      <a:pt x="97155" y="125730"/>
                    </a:lnTo>
                    <a:lnTo>
                      <a:pt x="95250" y="130493"/>
                    </a:lnTo>
                    <a:lnTo>
                      <a:pt x="94297" y="134302"/>
                    </a:lnTo>
                    <a:lnTo>
                      <a:pt x="93345" y="139065"/>
                    </a:lnTo>
                    <a:lnTo>
                      <a:pt x="92392" y="143827"/>
                    </a:lnTo>
                    <a:lnTo>
                      <a:pt x="91440" y="148590"/>
                    </a:lnTo>
                    <a:lnTo>
                      <a:pt x="90488" y="154305"/>
                    </a:lnTo>
                    <a:lnTo>
                      <a:pt x="89535" y="159068"/>
                    </a:lnTo>
                    <a:lnTo>
                      <a:pt x="89535" y="164783"/>
                    </a:lnTo>
                    <a:lnTo>
                      <a:pt x="91440" y="170498"/>
                    </a:lnTo>
                    <a:lnTo>
                      <a:pt x="91440" y="369570"/>
                    </a:lnTo>
                    <a:lnTo>
                      <a:pt x="1905" y="36957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A439E703-FDC8-9B97-5A81-DEE611F44387}"/>
                  </a:ext>
                </a:extLst>
              </p:cNvPr>
              <p:cNvSpPr/>
              <p:nvPr/>
            </p:nvSpPr>
            <p:spPr>
              <a:xfrm>
                <a:off x="8776017" y="4808309"/>
                <a:ext cx="312419" cy="525779"/>
              </a:xfrm>
              <a:custGeom>
                <a:avLst/>
                <a:gdLst>
                  <a:gd name="connsiteX0" fmla="*/ 88582 w 312419"/>
                  <a:gd name="connsiteY0" fmla="*/ 183833 h 525779"/>
                  <a:gd name="connsiteX1" fmla="*/ 88582 w 312419"/>
                  <a:gd name="connsiteY1" fmla="*/ 198120 h 525779"/>
                  <a:gd name="connsiteX2" fmla="*/ 89535 w 312419"/>
                  <a:gd name="connsiteY2" fmla="*/ 211455 h 525779"/>
                  <a:gd name="connsiteX3" fmla="*/ 90488 w 312419"/>
                  <a:gd name="connsiteY3" fmla="*/ 223838 h 525779"/>
                  <a:gd name="connsiteX4" fmla="*/ 92392 w 312419"/>
                  <a:gd name="connsiteY4" fmla="*/ 236220 h 525779"/>
                  <a:gd name="connsiteX5" fmla="*/ 93345 w 312419"/>
                  <a:gd name="connsiteY5" fmla="*/ 241935 h 525779"/>
                  <a:gd name="connsiteX6" fmla="*/ 94297 w 312419"/>
                  <a:gd name="connsiteY6" fmla="*/ 247650 h 525779"/>
                  <a:gd name="connsiteX7" fmla="*/ 95250 w 312419"/>
                  <a:gd name="connsiteY7" fmla="*/ 253365 h 525779"/>
                  <a:gd name="connsiteX8" fmla="*/ 96202 w 312419"/>
                  <a:gd name="connsiteY8" fmla="*/ 258128 h 525779"/>
                  <a:gd name="connsiteX9" fmla="*/ 97155 w 312419"/>
                  <a:gd name="connsiteY9" fmla="*/ 262890 h 525779"/>
                  <a:gd name="connsiteX10" fmla="*/ 99060 w 312419"/>
                  <a:gd name="connsiteY10" fmla="*/ 266700 h 525779"/>
                  <a:gd name="connsiteX11" fmla="*/ 100965 w 312419"/>
                  <a:gd name="connsiteY11" fmla="*/ 270510 h 525779"/>
                  <a:gd name="connsiteX12" fmla="*/ 102870 w 312419"/>
                  <a:gd name="connsiteY12" fmla="*/ 274320 h 525779"/>
                  <a:gd name="connsiteX13" fmla="*/ 104775 w 312419"/>
                  <a:gd name="connsiteY13" fmla="*/ 278130 h 525779"/>
                  <a:gd name="connsiteX14" fmla="*/ 106680 w 312419"/>
                  <a:gd name="connsiteY14" fmla="*/ 281940 h 525779"/>
                  <a:gd name="connsiteX15" fmla="*/ 109538 w 312419"/>
                  <a:gd name="connsiteY15" fmla="*/ 284798 h 525779"/>
                  <a:gd name="connsiteX16" fmla="*/ 111442 w 312419"/>
                  <a:gd name="connsiteY16" fmla="*/ 287655 h 525779"/>
                  <a:gd name="connsiteX17" fmla="*/ 114300 w 312419"/>
                  <a:gd name="connsiteY17" fmla="*/ 290513 h 525779"/>
                  <a:gd name="connsiteX18" fmla="*/ 117157 w 312419"/>
                  <a:gd name="connsiteY18" fmla="*/ 293370 h 525779"/>
                  <a:gd name="connsiteX19" fmla="*/ 120015 w 312419"/>
                  <a:gd name="connsiteY19" fmla="*/ 296228 h 525779"/>
                  <a:gd name="connsiteX20" fmla="*/ 122872 w 312419"/>
                  <a:gd name="connsiteY20" fmla="*/ 298133 h 525779"/>
                  <a:gd name="connsiteX21" fmla="*/ 125730 w 312419"/>
                  <a:gd name="connsiteY21" fmla="*/ 300038 h 525779"/>
                  <a:gd name="connsiteX22" fmla="*/ 128588 w 312419"/>
                  <a:gd name="connsiteY22" fmla="*/ 301942 h 525779"/>
                  <a:gd name="connsiteX23" fmla="*/ 131445 w 312419"/>
                  <a:gd name="connsiteY23" fmla="*/ 302895 h 525779"/>
                  <a:gd name="connsiteX24" fmla="*/ 134302 w 312419"/>
                  <a:gd name="connsiteY24" fmla="*/ 303848 h 525779"/>
                  <a:gd name="connsiteX25" fmla="*/ 137160 w 312419"/>
                  <a:gd name="connsiteY25" fmla="*/ 304800 h 525779"/>
                  <a:gd name="connsiteX26" fmla="*/ 140017 w 312419"/>
                  <a:gd name="connsiteY26" fmla="*/ 305753 h 525779"/>
                  <a:gd name="connsiteX27" fmla="*/ 142875 w 312419"/>
                  <a:gd name="connsiteY27" fmla="*/ 305753 h 525779"/>
                  <a:gd name="connsiteX28" fmla="*/ 145732 w 312419"/>
                  <a:gd name="connsiteY28" fmla="*/ 305753 h 525779"/>
                  <a:gd name="connsiteX29" fmla="*/ 150495 w 312419"/>
                  <a:gd name="connsiteY29" fmla="*/ 305753 h 525779"/>
                  <a:gd name="connsiteX30" fmla="*/ 155257 w 312419"/>
                  <a:gd name="connsiteY30" fmla="*/ 305753 h 525779"/>
                  <a:gd name="connsiteX31" fmla="*/ 160020 w 312419"/>
                  <a:gd name="connsiteY31" fmla="*/ 305753 h 525779"/>
                  <a:gd name="connsiteX32" fmla="*/ 164782 w 312419"/>
                  <a:gd name="connsiteY32" fmla="*/ 304800 h 525779"/>
                  <a:gd name="connsiteX33" fmla="*/ 168592 w 312419"/>
                  <a:gd name="connsiteY33" fmla="*/ 303848 h 525779"/>
                  <a:gd name="connsiteX34" fmla="*/ 172402 w 312419"/>
                  <a:gd name="connsiteY34" fmla="*/ 302895 h 525779"/>
                  <a:gd name="connsiteX35" fmla="*/ 176213 w 312419"/>
                  <a:gd name="connsiteY35" fmla="*/ 300990 h 525779"/>
                  <a:gd name="connsiteX36" fmla="*/ 180022 w 312419"/>
                  <a:gd name="connsiteY36" fmla="*/ 299085 h 525779"/>
                  <a:gd name="connsiteX37" fmla="*/ 183832 w 312419"/>
                  <a:gd name="connsiteY37" fmla="*/ 297180 h 525779"/>
                  <a:gd name="connsiteX38" fmla="*/ 186690 w 312419"/>
                  <a:gd name="connsiteY38" fmla="*/ 295275 h 525779"/>
                  <a:gd name="connsiteX39" fmla="*/ 190500 w 312419"/>
                  <a:gd name="connsiteY39" fmla="*/ 292417 h 525779"/>
                  <a:gd name="connsiteX40" fmla="*/ 193357 w 312419"/>
                  <a:gd name="connsiteY40" fmla="*/ 289560 h 525779"/>
                  <a:gd name="connsiteX41" fmla="*/ 196215 w 312419"/>
                  <a:gd name="connsiteY41" fmla="*/ 286703 h 525779"/>
                  <a:gd name="connsiteX42" fmla="*/ 199072 w 312419"/>
                  <a:gd name="connsiteY42" fmla="*/ 283845 h 525779"/>
                  <a:gd name="connsiteX43" fmla="*/ 201930 w 312419"/>
                  <a:gd name="connsiteY43" fmla="*/ 280035 h 525779"/>
                  <a:gd name="connsiteX44" fmla="*/ 204788 w 312419"/>
                  <a:gd name="connsiteY44" fmla="*/ 276225 h 525779"/>
                  <a:gd name="connsiteX45" fmla="*/ 206692 w 312419"/>
                  <a:gd name="connsiteY45" fmla="*/ 272415 h 525779"/>
                  <a:gd name="connsiteX46" fmla="*/ 208597 w 312419"/>
                  <a:gd name="connsiteY46" fmla="*/ 268605 h 525779"/>
                  <a:gd name="connsiteX47" fmla="*/ 210502 w 312419"/>
                  <a:gd name="connsiteY47" fmla="*/ 263842 h 525779"/>
                  <a:gd name="connsiteX48" fmla="*/ 212407 w 312419"/>
                  <a:gd name="connsiteY48" fmla="*/ 259080 h 525779"/>
                  <a:gd name="connsiteX49" fmla="*/ 213360 w 312419"/>
                  <a:gd name="connsiteY49" fmla="*/ 254317 h 525779"/>
                  <a:gd name="connsiteX50" fmla="*/ 214313 w 312419"/>
                  <a:gd name="connsiteY50" fmla="*/ 249555 h 525779"/>
                  <a:gd name="connsiteX51" fmla="*/ 215265 w 312419"/>
                  <a:gd name="connsiteY51" fmla="*/ 243840 h 525779"/>
                  <a:gd name="connsiteX52" fmla="*/ 217170 w 312419"/>
                  <a:gd name="connsiteY52" fmla="*/ 238125 h 525779"/>
                  <a:gd name="connsiteX53" fmla="*/ 219075 w 312419"/>
                  <a:gd name="connsiteY53" fmla="*/ 225742 h 525779"/>
                  <a:gd name="connsiteX54" fmla="*/ 220980 w 312419"/>
                  <a:gd name="connsiteY54" fmla="*/ 212408 h 525779"/>
                  <a:gd name="connsiteX55" fmla="*/ 221932 w 312419"/>
                  <a:gd name="connsiteY55" fmla="*/ 198120 h 525779"/>
                  <a:gd name="connsiteX56" fmla="*/ 221932 w 312419"/>
                  <a:gd name="connsiteY56" fmla="*/ 182880 h 525779"/>
                  <a:gd name="connsiteX57" fmla="*/ 221932 w 312419"/>
                  <a:gd name="connsiteY57" fmla="*/ 168593 h 525779"/>
                  <a:gd name="connsiteX58" fmla="*/ 220980 w 312419"/>
                  <a:gd name="connsiteY58" fmla="*/ 155258 h 525779"/>
                  <a:gd name="connsiteX59" fmla="*/ 220027 w 312419"/>
                  <a:gd name="connsiteY59" fmla="*/ 148590 h 525779"/>
                  <a:gd name="connsiteX60" fmla="*/ 219075 w 312419"/>
                  <a:gd name="connsiteY60" fmla="*/ 142875 h 525779"/>
                  <a:gd name="connsiteX61" fmla="*/ 218122 w 312419"/>
                  <a:gd name="connsiteY61" fmla="*/ 137160 h 525779"/>
                  <a:gd name="connsiteX62" fmla="*/ 217170 w 312419"/>
                  <a:gd name="connsiteY62" fmla="*/ 131445 h 525779"/>
                  <a:gd name="connsiteX63" fmla="*/ 216217 w 312419"/>
                  <a:gd name="connsiteY63" fmla="*/ 125730 h 525779"/>
                  <a:gd name="connsiteX64" fmla="*/ 214313 w 312419"/>
                  <a:gd name="connsiteY64" fmla="*/ 120968 h 525779"/>
                  <a:gd name="connsiteX65" fmla="*/ 212407 w 312419"/>
                  <a:gd name="connsiteY65" fmla="*/ 116205 h 525779"/>
                  <a:gd name="connsiteX66" fmla="*/ 210502 w 312419"/>
                  <a:gd name="connsiteY66" fmla="*/ 111443 h 525779"/>
                  <a:gd name="connsiteX67" fmla="*/ 208597 w 312419"/>
                  <a:gd name="connsiteY67" fmla="*/ 106680 h 525779"/>
                  <a:gd name="connsiteX68" fmla="*/ 206692 w 312419"/>
                  <a:gd name="connsiteY68" fmla="*/ 102870 h 525779"/>
                  <a:gd name="connsiteX69" fmla="*/ 204788 w 312419"/>
                  <a:gd name="connsiteY69" fmla="*/ 99060 h 525779"/>
                  <a:gd name="connsiteX70" fmla="*/ 201930 w 312419"/>
                  <a:gd name="connsiteY70" fmla="*/ 95250 h 525779"/>
                  <a:gd name="connsiteX71" fmla="*/ 200025 w 312419"/>
                  <a:gd name="connsiteY71" fmla="*/ 91440 h 525779"/>
                  <a:gd name="connsiteX72" fmla="*/ 197167 w 312419"/>
                  <a:gd name="connsiteY72" fmla="*/ 88583 h 525779"/>
                  <a:gd name="connsiteX73" fmla="*/ 194310 w 312419"/>
                  <a:gd name="connsiteY73" fmla="*/ 85725 h 525779"/>
                  <a:gd name="connsiteX74" fmla="*/ 191452 w 312419"/>
                  <a:gd name="connsiteY74" fmla="*/ 82868 h 525779"/>
                  <a:gd name="connsiteX75" fmla="*/ 188595 w 312419"/>
                  <a:gd name="connsiteY75" fmla="*/ 80010 h 525779"/>
                  <a:gd name="connsiteX76" fmla="*/ 185738 w 312419"/>
                  <a:gd name="connsiteY76" fmla="*/ 77153 h 525779"/>
                  <a:gd name="connsiteX77" fmla="*/ 182880 w 312419"/>
                  <a:gd name="connsiteY77" fmla="*/ 75248 h 525779"/>
                  <a:gd name="connsiteX78" fmla="*/ 180022 w 312419"/>
                  <a:gd name="connsiteY78" fmla="*/ 73343 h 525779"/>
                  <a:gd name="connsiteX79" fmla="*/ 177165 w 312419"/>
                  <a:gd name="connsiteY79" fmla="*/ 71438 h 525779"/>
                  <a:gd name="connsiteX80" fmla="*/ 173355 w 312419"/>
                  <a:gd name="connsiteY80" fmla="*/ 70485 h 525779"/>
                  <a:gd name="connsiteX81" fmla="*/ 169545 w 312419"/>
                  <a:gd name="connsiteY81" fmla="*/ 69533 h 525779"/>
                  <a:gd name="connsiteX82" fmla="*/ 165735 w 312419"/>
                  <a:gd name="connsiteY82" fmla="*/ 68580 h 525779"/>
                  <a:gd name="connsiteX83" fmla="*/ 161925 w 312419"/>
                  <a:gd name="connsiteY83" fmla="*/ 67628 h 525779"/>
                  <a:gd name="connsiteX84" fmla="*/ 158115 w 312419"/>
                  <a:gd name="connsiteY84" fmla="*/ 66675 h 525779"/>
                  <a:gd name="connsiteX85" fmla="*/ 154305 w 312419"/>
                  <a:gd name="connsiteY85" fmla="*/ 66675 h 525779"/>
                  <a:gd name="connsiteX86" fmla="*/ 150495 w 312419"/>
                  <a:gd name="connsiteY86" fmla="*/ 66675 h 525779"/>
                  <a:gd name="connsiteX87" fmla="*/ 146685 w 312419"/>
                  <a:gd name="connsiteY87" fmla="*/ 66675 h 525779"/>
                  <a:gd name="connsiteX88" fmla="*/ 142875 w 312419"/>
                  <a:gd name="connsiteY88" fmla="*/ 66675 h 525779"/>
                  <a:gd name="connsiteX89" fmla="*/ 139065 w 312419"/>
                  <a:gd name="connsiteY89" fmla="*/ 67628 h 525779"/>
                  <a:gd name="connsiteX90" fmla="*/ 135255 w 312419"/>
                  <a:gd name="connsiteY90" fmla="*/ 68580 h 525779"/>
                  <a:gd name="connsiteX91" fmla="*/ 131445 w 312419"/>
                  <a:gd name="connsiteY91" fmla="*/ 69533 h 525779"/>
                  <a:gd name="connsiteX92" fmla="*/ 127635 w 312419"/>
                  <a:gd name="connsiteY92" fmla="*/ 70485 h 525779"/>
                  <a:gd name="connsiteX93" fmla="*/ 124777 w 312419"/>
                  <a:gd name="connsiteY93" fmla="*/ 72390 h 525779"/>
                  <a:gd name="connsiteX94" fmla="*/ 121920 w 312419"/>
                  <a:gd name="connsiteY94" fmla="*/ 74295 h 525779"/>
                  <a:gd name="connsiteX95" fmla="*/ 119063 w 312419"/>
                  <a:gd name="connsiteY95" fmla="*/ 76200 h 525779"/>
                  <a:gd name="connsiteX96" fmla="*/ 116205 w 312419"/>
                  <a:gd name="connsiteY96" fmla="*/ 79058 h 525779"/>
                  <a:gd name="connsiteX97" fmla="*/ 113347 w 312419"/>
                  <a:gd name="connsiteY97" fmla="*/ 81915 h 525779"/>
                  <a:gd name="connsiteX98" fmla="*/ 110490 w 312419"/>
                  <a:gd name="connsiteY98" fmla="*/ 84773 h 525779"/>
                  <a:gd name="connsiteX99" fmla="*/ 107632 w 312419"/>
                  <a:gd name="connsiteY99" fmla="*/ 87630 h 525779"/>
                  <a:gd name="connsiteX100" fmla="*/ 105727 w 312419"/>
                  <a:gd name="connsiteY100" fmla="*/ 90488 h 525779"/>
                  <a:gd name="connsiteX101" fmla="*/ 103822 w 312419"/>
                  <a:gd name="connsiteY101" fmla="*/ 94298 h 525779"/>
                  <a:gd name="connsiteX102" fmla="*/ 101917 w 312419"/>
                  <a:gd name="connsiteY102" fmla="*/ 98108 h 525779"/>
                  <a:gd name="connsiteX103" fmla="*/ 100013 w 312419"/>
                  <a:gd name="connsiteY103" fmla="*/ 101918 h 525779"/>
                  <a:gd name="connsiteX104" fmla="*/ 98107 w 312419"/>
                  <a:gd name="connsiteY104" fmla="*/ 105728 h 525779"/>
                  <a:gd name="connsiteX105" fmla="*/ 96202 w 312419"/>
                  <a:gd name="connsiteY105" fmla="*/ 109538 h 525779"/>
                  <a:gd name="connsiteX106" fmla="*/ 95250 w 312419"/>
                  <a:gd name="connsiteY106" fmla="*/ 114300 h 525779"/>
                  <a:gd name="connsiteX107" fmla="*/ 92392 w 312419"/>
                  <a:gd name="connsiteY107" fmla="*/ 123825 h 525779"/>
                  <a:gd name="connsiteX108" fmla="*/ 90488 w 312419"/>
                  <a:gd name="connsiteY108" fmla="*/ 134303 h 525779"/>
                  <a:gd name="connsiteX109" fmla="*/ 88582 w 312419"/>
                  <a:gd name="connsiteY109" fmla="*/ 145733 h 525779"/>
                  <a:gd name="connsiteX110" fmla="*/ 87630 w 312419"/>
                  <a:gd name="connsiteY110" fmla="*/ 158115 h 525779"/>
                  <a:gd name="connsiteX111" fmla="*/ 86677 w 312419"/>
                  <a:gd name="connsiteY111" fmla="*/ 171450 h 525779"/>
                  <a:gd name="connsiteX112" fmla="*/ 88582 w 312419"/>
                  <a:gd name="connsiteY112" fmla="*/ 183833 h 525779"/>
                  <a:gd name="connsiteX113" fmla="*/ 88582 w 312419"/>
                  <a:gd name="connsiteY113" fmla="*/ 183833 h 525779"/>
                  <a:gd name="connsiteX114" fmla="*/ 17145 w 312419"/>
                  <a:gd name="connsiteY114" fmla="*/ 502920 h 525779"/>
                  <a:gd name="connsiteX115" fmla="*/ 21907 w 312419"/>
                  <a:gd name="connsiteY115" fmla="*/ 424815 h 525779"/>
                  <a:gd name="connsiteX116" fmla="*/ 28575 w 312419"/>
                  <a:gd name="connsiteY116" fmla="*/ 428625 h 525779"/>
                  <a:gd name="connsiteX117" fmla="*/ 35242 w 312419"/>
                  <a:gd name="connsiteY117" fmla="*/ 432435 h 525779"/>
                  <a:gd name="connsiteX118" fmla="*/ 41910 w 312419"/>
                  <a:gd name="connsiteY118" fmla="*/ 435292 h 525779"/>
                  <a:gd name="connsiteX119" fmla="*/ 48577 w 312419"/>
                  <a:gd name="connsiteY119" fmla="*/ 438150 h 525779"/>
                  <a:gd name="connsiteX120" fmla="*/ 55245 w 312419"/>
                  <a:gd name="connsiteY120" fmla="*/ 441008 h 525779"/>
                  <a:gd name="connsiteX121" fmla="*/ 61913 w 312419"/>
                  <a:gd name="connsiteY121" fmla="*/ 443865 h 525779"/>
                  <a:gd name="connsiteX122" fmla="*/ 68580 w 312419"/>
                  <a:gd name="connsiteY122" fmla="*/ 445770 h 525779"/>
                  <a:gd name="connsiteX123" fmla="*/ 75247 w 312419"/>
                  <a:gd name="connsiteY123" fmla="*/ 447675 h 525779"/>
                  <a:gd name="connsiteX124" fmla="*/ 81915 w 312419"/>
                  <a:gd name="connsiteY124" fmla="*/ 449580 h 525779"/>
                  <a:gd name="connsiteX125" fmla="*/ 88582 w 312419"/>
                  <a:gd name="connsiteY125" fmla="*/ 451485 h 525779"/>
                  <a:gd name="connsiteX126" fmla="*/ 95250 w 312419"/>
                  <a:gd name="connsiteY126" fmla="*/ 452438 h 525779"/>
                  <a:gd name="connsiteX127" fmla="*/ 101917 w 312419"/>
                  <a:gd name="connsiteY127" fmla="*/ 453390 h 525779"/>
                  <a:gd name="connsiteX128" fmla="*/ 108585 w 312419"/>
                  <a:gd name="connsiteY128" fmla="*/ 454342 h 525779"/>
                  <a:gd name="connsiteX129" fmla="*/ 115252 w 312419"/>
                  <a:gd name="connsiteY129" fmla="*/ 455295 h 525779"/>
                  <a:gd name="connsiteX130" fmla="*/ 121920 w 312419"/>
                  <a:gd name="connsiteY130" fmla="*/ 455295 h 525779"/>
                  <a:gd name="connsiteX131" fmla="*/ 128588 w 312419"/>
                  <a:gd name="connsiteY131" fmla="*/ 455295 h 525779"/>
                  <a:gd name="connsiteX132" fmla="*/ 138113 w 312419"/>
                  <a:gd name="connsiteY132" fmla="*/ 455295 h 525779"/>
                  <a:gd name="connsiteX133" fmla="*/ 146685 w 312419"/>
                  <a:gd name="connsiteY133" fmla="*/ 454342 h 525779"/>
                  <a:gd name="connsiteX134" fmla="*/ 155257 w 312419"/>
                  <a:gd name="connsiteY134" fmla="*/ 453390 h 525779"/>
                  <a:gd name="connsiteX135" fmla="*/ 162877 w 312419"/>
                  <a:gd name="connsiteY135" fmla="*/ 451485 h 525779"/>
                  <a:gd name="connsiteX136" fmla="*/ 169545 w 312419"/>
                  <a:gd name="connsiteY136" fmla="*/ 449580 h 525779"/>
                  <a:gd name="connsiteX137" fmla="*/ 176213 w 312419"/>
                  <a:gd name="connsiteY137" fmla="*/ 446723 h 525779"/>
                  <a:gd name="connsiteX138" fmla="*/ 179070 w 312419"/>
                  <a:gd name="connsiteY138" fmla="*/ 445770 h 525779"/>
                  <a:gd name="connsiteX139" fmla="*/ 181927 w 312419"/>
                  <a:gd name="connsiteY139" fmla="*/ 443865 h 525779"/>
                  <a:gd name="connsiteX140" fmla="*/ 184785 w 312419"/>
                  <a:gd name="connsiteY140" fmla="*/ 441960 h 525779"/>
                  <a:gd name="connsiteX141" fmla="*/ 187642 w 312419"/>
                  <a:gd name="connsiteY141" fmla="*/ 440055 h 525779"/>
                  <a:gd name="connsiteX142" fmla="*/ 192405 w 312419"/>
                  <a:gd name="connsiteY142" fmla="*/ 436245 h 525779"/>
                  <a:gd name="connsiteX143" fmla="*/ 197167 w 312419"/>
                  <a:gd name="connsiteY143" fmla="*/ 432435 h 525779"/>
                  <a:gd name="connsiteX144" fmla="*/ 200977 w 312419"/>
                  <a:gd name="connsiteY144" fmla="*/ 427673 h 525779"/>
                  <a:gd name="connsiteX145" fmla="*/ 204788 w 312419"/>
                  <a:gd name="connsiteY145" fmla="*/ 422910 h 525779"/>
                  <a:gd name="connsiteX146" fmla="*/ 207645 w 312419"/>
                  <a:gd name="connsiteY146" fmla="*/ 417195 h 525779"/>
                  <a:gd name="connsiteX147" fmla="*/ 210502 w 312419"/>
                  <a:gd name="connsiteY147" fmla="*/ 411480 h 525779"/>
                  <a:gd name="connsiteX148" fmla="*/ 213360 w 312419"/>
                  <a:gd name="connsiteY148" fmla="*/ 405765 h 525779"/>
                  <a:gd name="connsiteX149" fmla="*/ 215265 w 312419"/>
                  <a:gd name="connsiteY149" fmla="*/ 399098 h 525779"/>
                  <a:gd name="connsiteX150" fmla="*/ 217170 w 312419"/>
                  <a:gd name="connsiteY150" fmla="*/ 392430 h 525779"/>
                  <a:gd name="connsiteX151" fmla="*/ 219075 w 312419"/>
                  <a:gd name="connsiteY151" fmla="*/ 385763 h 525779"/>
                  <a:gd name="connsiteX152" fmla="*/ 220027 w 312419"/>
                  <a:gd name="connsiteY152" fmla="*/ 379095 h 525779"/>
                  <a:gd name="connsiteX153" fmla="*/ 220980 w 312419"/>
                  <a:gd name="connsiteY153" fmla="*/ 372428 h 525779"/>
                  <a:gd name="connsiteX154" fmla="*/ 221932 w 312419"/>
                  <a:gd name="connsiteY154" fmla="*/ 364808 h 525779"/>
                  <a:gd name="connsiteX155" fmla="*/ 221932 w 312419"/>
                  <a:gd name="connsiteY155" fmla="*/ 357188 h 525779"/>
                  <a:gd name="connsiteX156" fmla="*/ 221932 w 312419"/>
                  <a:gd name="connsiteY156" fmla="*/ 348615 h 525779"/>
                  <a:gd name="connsiteX157" fmla="*/ 221932 w 312419"/>
                  <a:gd name="connsiteY157" fmla="*/ 340042 h 525779"/>
                  <a:gd name="connsiteX158" fmla="*/ 221932 w 312419"/>
                  <a:gd name="connsiteY158" fmla="*/ 307658 h 525779"/>
                  <a:gd name="connsiteX159" fmla="*/ 220980 w 312419"/>
                  <a:gd name="connsiteY159" fmla="*/ 307658 h 525779"/>
                  <a:gd name="connsiteX160" fmla="*/ 217170 w 312419"/>
                  <a:gd name="connsiteY160" fmla="*/ 314325 h 525779"/>
                  <a:gd name="connsiteX161" fmla="*/ 213360 w 312419"/>
                  <a:gd name="connsiteY161" fmla="*/ 320040 h 525779"/>
                  <a:gd name="connsiteX162" fmla="*/ 209550 w 312419"/>
                  <a:gd name="connsiteY162" fmla="*/ 325755 h 525779"/>
                  <a:gd name="connsiteX163" fmla="*/ 205740 w 312419"/>
                  <a:gd name="connsiteY163" fmla="*/ 331470 h 525779"/>
                  <a:gd name="connsiteX164" fmla="*/ 200977 w 312419"/>
                  <a:gd name="connsiteY164" fmla="*/ 337185 h 525779"/>
                  <a:gd name="connsiteX165" fmla="*/ 196215 w 312419"/>
                  <a:gd name="connsiteY165" fmla="*/ 341948 h 525779"/>
                  <a:gd name="connsiteX166" fmla="*/ 190500 w 312419"/>
                  <a:gd name="connsiteY166" fmla="*/ 346710 h 525779"/>
                  <a:gd name="connsiteX167" fmla="*/ 184785 w 312419"/>
                  <a:gd name="connsiteY167" fmla="*/ 350520 h 525779"/>
                  <a:gd name="connsiteX168" fmla="*/ 181927 w 312419"/>
                  <a:gd name="connsiteY168" fmla="*/ 352425 h 525779"/>
                  <a:gd name="connsiteX169" fmla="*/ 179070 w 312419"/>
                  <a:gd name="connsiteY169" fmla="*/ 354330 h 525779"/>
                  <a:gd name="connsiteX170" fmla="*/ 176213 w 312419"/>
                  <a:gd name="connsiteY170" fmla="*/ 356235 h 525779"/>
                  <a:gd name="connsiteX171" fmla="*/ 173355 w 312419"/>
                  <a:gd name="connsiteY171" fmla="*/ 358140 h 525779"/>
                  <a:gd name="connsiteX172" fmla="*/ 169545 w 312419"/>
                  <a:gd name="connsiteY172" fmla="*/ 360045 h 525779"/>
                  <a:gd name="connsiteX173" fmla="*/ 165735 w 312419"/>
                  <a:gd name="connsiteY173" fmla="*/ 361950 h 525779"/>
                  <a:gd name="connsiteX174" fmla="*/ 161925 w 312419"/>
                  <a:gd name="connsiteY174" fmla="*/ 362903 h 525779"/>
                  <a:gd name="connsiteX175" fmla="*/ 160020 w 312419"/>
                  <a:gd name="connsiteY175" fmla="*/ 364808 h 525779"/>
                  <a:gd name="connsiteX176" fmla="*/ 151447 w 312419"/>
                  <a:gd name="connsiteY176" fmla="*/ 366713 h 525779"/>
                  <a:gd name="connsiteX177" fmla="*/ 142875 w 312419"/>
                  <a:gd name="connsiteY177" fmla="*/ 367665 h 525779"/>
                  <a:gd name="connsiteX178" fmla="*/ 134302 w 312419"/>
                  <a:gd name="connsiteY178" fmla="*/ 368617 h 525779"/>
                  <a:gd name="connsiteX179" fmla="*/ 124777 w 312419"/>
                  <a:gd name="connsiteY179" fmla="*/ 368617 h 525779"/>
                  <a:gd name="connsiteX180" fmla="*/ 120015 w 312419"/>
                  <a:gd name="connsiteY180" fmla="*/ 368617 h 525779"/>
                  <a:gd name="connsiteX181" fmla="*/ 114300 w 312419"/>
                  <a:gd name="connsiteY181" fmla="*/ 366713 h 525779"/>
                  <a:gd name="connsiteX182" fmla="*/ 108585 w 312419"/>
                  <a:gd name="connsiteY182" fmla="*/ 366713 h 525779"/>
                  <a:gd name="connsiteX183" fmla="*/ 103822 w 312419"/>
                  <a:gd name="connsiteY183" fmla="*/ 365760 h 525779"/>
                  <a:gd name="connsiteX184" fmla="*/ 98107 w 312419"/>
                  <a:gd name="connsiteY184" fmla="*/ 364808 h 525779"/>
                  <a:gd name="connsiteX185" fmla="*/ 92392 w 312419"/>
                  <a:gd name="connsiteY185" fmla="*/ 362903 h 525779"/>
                  <a:gd name="connsiteX186" fmla="*/ 87630 w 312419"/>
                  <a:gd name="connsiteY186" fmla="*/ 361950 h 525779"/>
                  <a:gd name="connsiteX187" fmla="*/ 81915 w 312419"/>
                  <a:gd name="connsiteY187" fmla="*/ 360045 h 525779"/>
                  <a:gd name="connsiteX188" fmla="*/ 76200 w 312419"/>
                  <a:gd name="connsiteY188" fmla="*/ 357188 h 525779"/>
                  <a:gd name="connsiteX189" fmla="*/ 70485 w 312419"/>
                  <a:gd name="connsiteY189" fmla="*/ 354330 h 525779"/>
                  <a:gd name="connsiteX190" fmla="*/ 64770 w 312419"/>
                  <a:gd name="connsiteY190" fmla="*/ 351473 h 525779"/>
                  <a:gd name="connsiteX191" fmla="*/ 59055 w 312419"/>
                  <a:gd name="connsiteY191" fmla="*/ 348615 h 525779"/>
                  <a:gd name="connsiteX192" fmla="*/ 54292 w 312419"/>
                  <a:gd name="connsiteY192" fmla="*/ 344805 h 525779"/>
                  <a:gd name="connsiteX193" fmla="*/ 49530 w 312419"/>
                  <a:gd name="connsiteY193" fmla="*/ 340995 h 525779"/>
                  <a:gd name="connsiteX194" fmla="*/ 44767 w 312419"/>
                  <a:gd name="connsiteY194" fmla="*/ 337185 h 525779"/>
                  <a:gd name="connsiteX195" fmla="*/ 40005 w 312419"/>
                  <a:gd name="connsiteY195" fmla="*/ 332423 h 525779"/>
                  <a:gd name="connsiteX196" fmla="*/ 36195 w 312419"/>
                  <a:gd name="connsiteY196" fmla="*/ 326708 h 525779"/>
                  <a:gd name="connsiteX197" fmla="*/ 32385 w 312419"/>
                  <a:gd name="connsiteY197" fmla="*/ 320992 h 525779"/>
                  <a:gd name="connsiteX198" fmla="*/ 27622 w 312419"/>
                  <a:gd name="connsiteY198" fmla="*/ 314325 h 525779"/>
                  <a:gd name="connsiteX199" fmla="*/ 23813 w 312419"/>
                  <a:gd name="connsiteY199" fmla="*/ 307658 h 525779"/>
                  <a:gd name="connsiteX200" fmla="*/ 20002 w 312419"/>
                  <a:gd name="connsiteY200" fmla="*/ 300038 h 525779"/>
                  <a:gd name="connsiteX201" fmla="*/ 16192 w 312419"/>
                  <a:gd name="connsiteY201" fmla="*/ 292417 h 525779"/>
                  <a:gd name="connsiteX202" fmla="*/ 13335 w 312419"/>
                  <a:gd name="connsiteY202" fmla="*/ 283845 h 525779"/>
                  <a:gd name="connsiteX203" fmla="*/ 10477 w 312419"/>
                  <a:gd name="connsiteY203" fmla="*/ 275273 h 525779"/>
                  <a:gd name="connsiteX204" fmla="*/ 7620 w 312419"/>
                  <a:gd name="connsiteY204" fmla="*/ 265748 h 525779"/>
                  <a:gd name="connsiteX205" fmla="*/ 4763 w 312419"/>
                  <a:gd name="connsiteY205" fmla="*/ 256223 h 525779"/>
                  <a:gd name="connsiteX206" fmla="*/ 2857 w 312419"/>
                  <a:gd name="connsiteY206" fmla="*/ 245745 h 525779"/>
                  <a:gd name="connsiteX207" fmla="*/ 1905 w 312419"/>
                  <a:gd name="connsiteY207" fmla="*/ 235267 h 525779"/>
                  <a:gd name="connsiteX208" fmla="*/ 952 w 312419"/>
                  <a:gd name="connsiteY208" fmla="*/ 224790 h 525779"/>
                  <a:gd name="connsiteX209" fmla="*/ 0 w 312419"/>
                  <a:gd name="connsiteY209" fmla="*/ 212408 h 525779"/>
                  <a:gd name="connsiteX210" fmla="*/ 0 w 312419"/>
                  <a:gd name="connsiteY210" fmla="*/ 200025 h 525779"/>
                  <a:gd name="connsiteX211" fmla="*/ 0 w 312419"/>
                  <a:gd name="connsiteY211" fmla="*/ 187643 h 525779"/>
                  <a:gd name="connsiteX212" fmla="*/ 0 w 312419"/>
                  <a:gd name="connsiteY212" fmla="*/ 174308 h 525779"/>
                  <a:gd name="connsiteX213" fmla="*/ 952 w 312419"/>
                  <a:gd name="connsiteY213" fmla="*/ 160973 h 525779"/>
                  <a:gd name="connsiteX214" fmla="*/ 1905 w 312419"/>
                  <a:gd name="connsiteY214" fmla="*/ 148590 h 525779"/>
                  <a:gd name="connsiteX215" fmla="*/ 2857 w 312419"/>
                  <a:gd name="connsiteY215" fmla="*/ 136208 h 525779"/>
                  <a:gd name="connsiteX216" fmla="*/ 4763 w 312419"/>
                  <a:gd name="connsiteY216" fmla="*/ 124778 h 525779"/>
                  <a:gd name="connsiteX217" fmla="*/ 7620 w 312419"/>
                  <a:gd name="connsiteY217" fmla="*/ 113348 h 525779"/>
                  <a:gd name="connsiteX218" fmla="*/ 10477 w 312419"/>
                  <a:gd name="connsiteY218" fmla="*/ 101918 h 525779"/>
                  <a:gd name="connsiteX219" fmla="*/ 13335 w 312419"/>
                  <a:gd name="connsiteY219" fmla="*/ 91440 h 525779"/>
                  <a:gd name="connsiteX220" fmla="*/ 17145 w 312419"/>
                  <a:gd name="connsiteY220" fmla="*/ 80963 h 525779"/>
                  <a:gd name="connsiteX221" fmla="*/ 20955 w 312419"/>
                  <a:gd name="connsiteY221" fmla="*/ 71438 h 525779"/>
                  <a:gd name="connsiteX222" fmla="*/ 25717 w 312419"/>
                  <a:gd name="connsiteY222" fmla="*/ 61913 h 525779"/>
                  <a:gd name="connsiteX223" fmla="*/ 31432 w 312419"/>
                  <a:gd name="connsiteY223" fmla="*/ 53340 h 525779"/>
                  <a:gd name="connsiteX224" fmla="*/ 34290 w 312419"/>
                  <a:gd name="connsiteY224" fmla="*/ 49530 h 525779"/>
                  <a:gd name="connsiteX225" fmla="*/ 37147 w 312419"/>
                  <a:gd name="connsiteY225" fmla="*/ 45720 h 525779"/>
                  <a:gd name="connsiteX226" fmla="*/ 40005 w 312419"/>
                  <a:gd name="connsiteY226" fmla="*/ 41910 h 525779"/>
                  <a:gd name="connsiteX227" fmla="*/ 42863 w 312419"/>
                  <a:gd name="connsiteY227" fmla="*/ 38100 h 525779"/>
                  <a:gd name="connsiteX228" fmla="*/ 45720 w 312419"/>
                  <a:gd name="connsiteY228" fmla="*/ 34290 h 525779"/>
                  <a:gd name="connsiteX229" fmla="*/ 49530 w 312419"/>
                  <a:gd name="connsiteY229" fmla="*/ 30480 h 525779"/>
                  <a:gd name="connsiteX230" fmla="*/ 53340 w 312419"/>
                  <a:gd name="connsiteY230" fmla="*/ 27623 h 525779"/>
                  <a:gd name="connsiteX231" fmla="*/ 57150 w 312419"/>
                  <a:gd name="connsiteY231" fmla="*/ 23813 h 525779"/>
                  <a:gd name="connsiteX232" fmla="*/ 60960 w 312419"/>
                  <a:gd name="connsiteY232" fmla="*/ 20955 h 525779"/>
                  <a:gd name="connsiteX233" fmla="*/ 64770 w 312419"/>
                  <a:gd name="connsiteY233" fmla="*/ 18098 h 525779"/>
                  <a:gd name="connsiteX234" fmla="*/ 68580 w 312419"/>
                  <a:gd name="connsiteY234" fmla="*/ 15240 h 525779"/>
                  <a:gd name="connsiteX235" fmla="*/ 72390 w 312419"/>
                  <a:gd name="connsiteY235" fmla="*/ 12383 h 525779"/>
                  <a:gd name="connsiteX236" fmla="*/ 77152 w 312419"/>
                  <a:gd name="connsiteY236" fmla="*/ 10478 h 525779"/>
                  <a:gd name="connsiteX237" fmla="*/ 80963 w 312419"/>
                  <a:gd name="connsiteY237" fmla="*/ 8573 h 525779"/>
                  <a:gd name="connsiteX238" fmla="*/ 85725 w 312419"/>
                  <a:gd name="connsiteY238" fmla="*/ 6668 h 525779"/>
                  <a:gd name="connsiteX239" fmla="*/ 90488 w 312419"/>
                  <a:gd name="connsiteY239" fmla="*/ 5715 h 525779"/>
                  <a:gd name="connsiteX240" fmla="*/ 95250 w 312419"/>
                  <a:gd name="connsiteY240" fmla="*/ 3810 h 525779"/>
                  <a:gd name="connsiteX241" fmla="*/ 100013 w 312419"/>
                  <a:gd name="connsiteY241" fmla="*/ 2858 h 525779"/>
                  <a:gd name="connsiteX242" fmla="*/ 105727 w 312419"/>
                  <a:gd name="connsiteY242" fmla="*/ 1905 h 525779"/>
                  <a:gd name="connsiteX243" fmla="*/ 110490 w 312419"/>
                  <a:gd name="connsiteY243" fmla="*/ 953 h 525779"/>
                  <a:gd name="connsiteX244" fmla="*/ 116205 w 312419"/>
                  <a:gd name="connsiteY244" fmla="*/ 0 h 525779"/>
                  <a:gd name="connsiteX245" fmla="*/ 121920 w 312419"/>
                  <a:gd name="connsiteY245" fmla="*/ 0 h 525779"/>
                  <a:gd name="connsiteX246" fmla="*/ 127635 w 312419"/>
                  <a:gd name="connsiteY246" fmla="*/ 0 h 525779"/>
                  <a:gd name="connsiteX247" fmla="*/ 133350 w 312419"/>
                  <a:gd name="connsiteY247" fmla="*/ 0 h 525779"/>
                  <a:gd name="connsiteX248" fmla="*/ 139065 w 312419"/>
                  <a:gd name="connsiteY248" fmla="*/ 0 h 525779"/>
                  <a:gd name="connsiteX249" fmla="*/ 144780 w 312419"/>
                  <a:gd name="connsiteY249" fmla="*/ 0 h 525779"/>
                  <a:gd name="connsiteX250" fmla="*/ 150495 w 312419"/>
                  <a:gd name="connsiteY250" fmla="*/ 953 h 525779"/>
                  <a:gd name="connsiteX251" fmla="*/ 156210 w 312419"/>
                  <a:gd name="connsiteY251" fmla="*/ 1905 h 525779"/>
                  <a:gd name="connsiteX252" fmla="*/ 161925 w 312419"/>
                  <a:gd name="connsiteY252" fmla="*/ 2858 h 525779"/>
                  <a:gd name="connsiteX253" fmla="*/ 167640 w 312419"/>
                  <a:gd name="connsiteY253" fmla="*/ 3810 h 525779"/>
                  <a:gd name="connsiteX254" fmla="*/ 172402 w 312419"/>
                  <a:gd name="connsiteY254" fmla="*/ 5715 h 525779"/>
                  <a:gd name="connsiteX255" fmla="*/ 177165 w 312419"/>
                  <a:gd name="connsiteY255" fmla="*/ 7620 h 525779"/>
                  <a:gd name="connsiteX256" fmla="*/ 181927 w 312419"/>
                  <a:gd name="connsiteY256" fmla="*/ 9525 h 525779"/>
                  <a:gd name="connsiteX257" fmla="*/ 185738 w 312419"/>
                  <a:gd name="connsiteY257" fmla="*/ 11430 h 525779"/>
                  <a:gd name="connsiteX258" fmla="*/ 189547 w 312419"/>
                  <a:gd name="connsiteY258" fmla="*/ 14288 h 525779"/>
                  <a:gd name="connsiteX259" fmla="*/ 193357 w 312419"/>
                  <a:gd name="connsiteY259" fmla="*/ 17145 h 525779"/>
                  <a:gd name="connsiteX260" fmla="*/ 197167 w 312419"/>
                  <a:gd name="connsiteY260" fmla="*/ 20003 h 525779"/>
                  <a:gd name="connsiteX261" fmla="*/ 200977 w 312419"/>
                  <a:gd name="connsiteY261" fmla="*/ 22860 h 525779"/>
                  <a:gd name="connsiteX262" fmla="*/ 203835 w 312419"/>
                  <a:gd name="connsiteY262" fmla="*/ 25718 h 525779"/>
                  <a:gd name="connsiteX263" fmla="*/ 206692 w 312419"/>
                  <a:gd name="connsiteY263" fmla="*/ 28575 h 525779"/>
                  <a:gd name="connsiteX264" fmla="*/ 212407 w 312419"/>
                  <a:gd name="connsiteY264" fmla="*/ 35243 h 525779"/>
                  <a:gd name="connsiteX265" fmla="*/ 218122 w 312419"/>
                  <a:gd name="connsiteY265" fmla="*/ 42863 h 525779"/>
                  <a:gd name="connsiteX266" fmla="*/ 223838 w 312419"/>
                  <a:gd name="connsiteY266" fmla="*/ 51435 h 525779"/>
                  <a:gd name="connsiteX267" fmla="*/ 229552 w 312419"/>
                  <a:gd name="connsiteY267" fmla="*/ 60960 h 525779"/>
                  <a:gd name="connsiteX268" fmla="*/ 232410 w 312419"/>
                  <a:gd name="connsiteY268" fmla="*/ 60960 h 525779"/>
                  <a:gd name="connsiteX269" fmla="*/ 232410 w 312419"/>
                  <a:gd name="connsiteY269" fmla="*/ 58103 h 525779"/>
                  <a:gd name="connsiteX270" fmla="*/ 233363 w 312419"/>
                  <a:gd name="connsiteY270" fmla="*/ 53340 h 525779"/>
                  <a:gd name="connsiteX271" fmla="*/ 233363 w 312419"/>
                  <a:gd name="connsiteY271" fmla="*/ 48578 h 525779"/>
                  <a:gd name="connsiteX272" fmla="*/ 233363 w 312419"/>
                  <a:gd name="connsiteY272" fmla="*/ 42863 h 525779"/>
                  <a:gd name="connsiteX273" fmla="*/ 233363 w 312419"/>
                  <a:gd name="connsiteY273" fmla="*/ 37148 h 525779"/>
                  <a:gd name="connsiteX274" fmla="*/ 233363 w 312419"/>
                  <a:gd name="connsiteY274" fmla="*/ 31433 h 525779"/>
                  <a:gd name="connsiteX275" fmla="*/ 233363 w 312419"/>
                  <a:gd name="connsiteY275" fmla="*/ 25718 h 525779"/>
                  <a:gd name="connsiteX276" fmla="*/ 234315 w 312419"/>
                  <a:gd name="connsiteY276" fmla="*/ 20955 h 525779"/>
                  <a:gd name="connsiteX277" fmla="*/ 234315 w 312419"/>
                  <a:gd name="connsiteY277" fmla="*/ 17145 h 525779"/>
                  <a:gd name="connsiteX278" fmla="*/ 234315 w 312419"/>
                  <a:gd name="connsiteY278" fmla="*/ 12383 h 525779"/>
                  <a:gd name="connsiteX279" fmla="*/ 234315 w 312419"/>
                  <a:gd name="connsiteY279" fmla="*/ 8573 h 525779"/>
                  <a:gd name="connsiteX280" fmla="*/ 234315 w 312419"/>
                  <a:gd name="connsiteY280" fmla="*/ 4763 h 525779"/>
                  <a:gd name="connsiteX281" fmla="*/ 312420 w 312419"/>
                  <a:gd name="connsiteY281" fmla="*/ 4763 h 525779"/>
                  <a:gd name="connsiteX282" fmla="*/ 311467 w 312419"/>
                  <a:gd name="connsiteY282" fmla="*/ 14288 h 525779"/>
                  <a:gd name="connsiteX283" fmla="*/ 310515 w 312419"/>
                  <a:gd name="connsiteY283" fmla="*/ 22860 h 525779"/>
                  <a:gd name="connsiteX284" fmla="*/ 310515 w 312419"/>
                  <a:gd name="connsiteY284" fmla="*/ 30480 h 525779"/>
                  <a:gd name="connsiteX285" fmla="*/ 310515 w 312419"/>
                  <a:gd name="connsiteY285" fmla="*/ 38100 h 525779"/>
                  <a:gd name="connsiteX286" fmla="*/ 310515 w 312419"/>
                  <a:gd name="connsiteY286" fmla="*/ 44768 h 525779"/>
                  <a:gd name="connsiteX287" fmla="*/ 310515 w 312419"/>
                  <a:gd name="connsiteY287" fmla="*/ 51435 h 525779"/>
                  <a:gd name="connsiteX288" fmla="*/ 310515 w 312419"/>
                  <a:gd name="connsiteY288" fmla="*/ 55245 h 525779"/>
                  <a:gd name="connsiteX289" fmla="*/ 310515 w 312419"/>
                  <a:gd name="connsiteY289" fmla="*/ 60008 h 525779"/>
                  <a:gd name="connsiteX290" fmla="*/ 310515 w 312419"/>
                  <a:gd name="connsiteY290" fmla="*/ 329565 h 525779"/>
                  <a:gd name="connsiteX291" fmla="*/ 310515 w 312419"/>
                  <a:gd name="connsiteY291" fmla="*/ 340995 h 525779"/>
                  <a:gd name="connsiteX292" fmla="*/ 310515 w 312419"/>
                  <a:gd name="connsiteY292" fmla="*/ 352425 h 525779"/>
                  <a:gd name="connsiteX293" fmla="*/ 309563 w 312419"/>
                  <a:gd name="connsiteY293" fmla="*/ 362903 h 525779"/>
                  <a:gd name="connsiteX294" fmla="*/ 308610 w 312419"/>
                  <a:gd name="connsiteY294" fmla="*/ 373380 h 525779"/>
                  <a:gd name="connsiteX295" fmla="*/ 302895 w 312419"/>
                  <a:gd name="connsiteY295" fmla="*/ 383858 h 525779"/>
                  <a:gd name="connsiteX296" fmla="*/ 300990 w 312419"/>
                  <a:gd name="connsiteY296" fmla="*/ 393383 h 525779"/>
                  <a:gd name="connsiteX297" fmla="*/ 299085 w 312419"/>
                  <a:gd name="connsiteY297" fmla="*/ 402908 h 525779"/>
                  <a:gd name="connsiteX298" fmla="*/ 296227 w 312419"/>
                  <a:gd name="connsiteY298" fmla="*/ 412433 h 525779"/>
                  <a:gd name="connsiteX299" fmla="*/ 293370 w 312419"/>
                  <a:gd name="connsiteY299" fmla="*/ 421005 h 525779"/>
                  <a:gd name="connsiteX300" fmla="*/ 290513 w 312419"/>
                  <a:gd name="connsiteY300" fmla="*/ 429578 h 525779"/>
                  <a:gd name="connsiteX301" fmla="*/ 287655 w 312419"/>
                  <a:gd name="connsiteY301" fmla="*/ 438150 h 525779"/>
                  <a:gd name="connsiteX302" fmla="*/ 283845 w 312419"/>
                  <a:gd name="connsiteY302" fmla="*/ 446723 h 525779"/>
                  <a:gd name="connsiteX303" fmla="*/ 280035 w 312419"/>
                  <a:gd name="connsiteY303" fmla="*/ 454342 h 525779"/>
                  <a:gd name="connsiteX304" fmla="*/ 276225 w 312419"/>
                  <a:gd name="connsiteY304" fmla="*/ 461963 h 525779"/>
                  <a:gd name="connsiteX305" fmla="*/ 272415 w 312419"/>
                  <a:gd name="connsiteY305" fmla="*/ 468630 h 525779"/>
                  <a:gd name="connsiteX306" fmla="*/ 267652 w 312419"/>
                  <a:gd name="connsiteY306" fmla="*/ 475298 h 525779"/>
                  <a:gd name="connsiteX307" fmla="*/ 262890 w 312419"/>
                  <a:gd name="connsiteY307" fmla="*/ 481013 h 525779"/>
                  <a:gd name="connsiteX308" fmla="*/ 258127 w 312419"/>
                  <a:gd name="connsiteY308" fmla="*/ 486728 h 525779"/>
                  <a:gd name="connsiteX309" fmla="*/ 252413 w 312419"/>
                  <a:gd name="connsiteY309" fmla="*/ 492442 h 525779"/>
                  <a:gd name="connsiteX310" fmla="*/ 245745 w 312419"/>
                  <a:gd name="connsiteY310" fmla="*/ 497205 h 525779"/>
                  <a:gd name="connsiteX311" fmla="*/ 239077 w 312419"/>
                  <a:gd name="connsiteY311" fmla="*/ 501967 h 525779"/>
                  <a:gd name="connsiteX312" fmla="*/ 232410 w 312419"/>
                  <a:gd name="connsiteY312" fmla="*/ 505778 h 525779"/>
                  <a:gd name="connsiteX313" fmla="*/ 224790 w 312419"/>
                  <a:gd name="connsiteY313" fmla="*/ 509588 h 525779"/>
                  <a:gd name="connsiteX314" fmla="*/ 217170 w 312419"/>
                  <a:gd name="connsiteY314" fmla="*/ 513398 h 525779"/>
                  <a:gd name="connsiteX315" fmla="*/ 208597 w 312419"/>
                  <a:gd name="connsiteY315" fmla="*/ 516255 h 525779"/>
                  <a:gd name="connsiteX316" fmla="*/ 200025 w 312419"/>
                  <a:gd name="connsiteY316" fmla="*/ 519113 h 525779"/>
                  <a:gd name="connsiteX317" fmla="*/ 191452 w 312419"/>
                  <a:gd name="connsiteY317" fmla="*/ 521017 h 525779"/>
                  <a:gd name="connsiteX318" fmla="*/ 181927 w 312419"/>
                  <a:gd name="connsiteY318" fmla="*/ 522923 h 525779"/>
                  <a:gd name="connsiteX319" fmla="*/ 171450 w 312419"/>
                  <a:gd name="connsiteY319" fmla="*/ 523875 h 525779"/>
                  <a:gd name="connsiteX320" fmla="*/ 160972 w 312419"/>
                  <a:gd name="connsiteY320" fmla="*/ 524828 h 525779"/>
                  <a:gd name="connsiteX321" fmla="*/ 150495 w 312419"/>
                  <a:gd name="connsiteY321" fmla="*/ 525780 h 525779"/>
                  <a:gd name="connsiteX322" fmla="*/ 140970 w 312419"/>
                  <a:gd name="connsiteY322" fmla="*/ 525780 h 525779"/>
                  <a:gd name="connsiteX323" fmla="*/ 131445 w 312419"/>
                  <a:gd name="connsiteY323" fmla="*/ 525780 h 525779"/>
                  <a:gd name="connsiteX324" fmla="*/ 122872 w 312419"/>
                  <a:gd name="connsiteY324" fmla="*/ 525780 h 525779"/>
                  <a:gd name="connsiteX325" fmla="*/ 114300 w 312419"/>
                  <a:gd name="connsiteY325" fmla="*/ 525780 h 525779"/>
                  <a:gd name="connsiteX326" fmla="*/ 105727 w 312419"/>
                  <a:gd name="connsiteY326" fmla="*/ 524828 h 525779"/>
                  <a:gd name="connsiteX327" fmla="*/ 97155 w 312419"/>
                  <a:gd name="connsiteY327" fmla="*/ 523875 h 525779"/>
                  <a:gd name="connsiteX328" fmla="*/ 89535 w 312419"/>
                  <a:gd name="connsiteY328" fmla="*/ 521970 h 525779"/>
                  <a:gd name="connsiteX329" fmla="*/ 81915 w 312419"/>
                  <a:gd name="connsiteY329" fmla="*/ 521017 h 525779"/>
                  <a:gd name="connsiteX330" fmla="*/ 74295 w 312419"/>
                  <a:gd name="connsiteY330" fmla="*/ 519113 h 525779"/>
                  <a:gd name="connsiteX331" fmla="*/ 66675 w 312419"/>
                  <a:gd name="connsiteY331" fmla="*/ 517208 h 525779"/>
                  <a:gd name="connsiteX332" fmla="*/ 59055 w 312419"/>
                  <a:gd name="connsiteY332" fmla="*/ 515303 h 525779"/>
                  <a:gd name="connsiteX333" fmla="*/ 51435 w 312419"/>
                  <a:gd name="connsiteY333" fmla="*/ 513398 h 525779"/>
                  <a:gd name="connsiteX334" fmla="*/ 44767 w 312419"/>
                  <a:gd name="connsiteY334" fmla="*/ 511492 h 525779"/>
                  <a:gd name="connsiteX335" fmla="*/ 38100 w 312419"/>
                  <a:gd name="connsiteY335" fmla="*/ 509588 h 525779"/>
                  <a:gd name="connsiteX336" fmla="*/ 31432 w 312419"/>
                  <a:gd name="connsiteY336" fmla="*/ 507683 h 525779"/>
                  <a:gd name="connsiteX337" fmla="*/ 24765 w 312419"/>
                  <a:gd name="connsiteY337" fmla="*/ 505778 h 525779"/>
                  <a:gd name="connsiteX338" fmla="*/ 17145 w 312419"/>
                  <a:gd name="connsiteY338" fmla="*/ 502920 h 525779"/>
                  <a:gd name="connsiteX339" fmla="*/ 17145 w 312419"/>
                  <a:gd name="connsiteY339" fmla="*/ 502920 h 525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</a:cxnLst>
                <a:rect l="l" t="t" r="r" b="b"/>
                <a:pathLst>
                  <a:path w="312419" h="525779">
                    <a:moveTo>
                      <a:pt x="88582" y="183833"/>
                    </a:moveTo>
                    <a:lnTo>
                      <a:pt x="88582" y="198120"/>
                    </a:lnTo>
                    <a:lnTo>
                      <a:pt x="89535" y="211455"/>
                    </a:lnTo>
                    <a:lnTo>
                      <a:pt x="90488" y="223838"/>
                    </a:lnTo>
                    <a:lnTo>
                      <a:pt x="92392" y="236220"/>
                    </a:lnTo>
                    <a:lnTo>
                      <a:pt x="93345" y="241935"/>
                    </a:lnTo>
                    <a:lnTo>
                      <a:pt x="94297" y="247650"/>
                    </a:lnTo>
                    <a:lnTo>
                      <a:pt x="95250" y="253365"/>
                    </a:lnTo>
                    <a:lnTo>
                      <a:pt x="96202" y="258128"/>
                    </a:lnTo>
                    <a:lnTo>
                      <a:pt x="97155" y="262890"/>
                    </a:lnTo>
                    <a:lnTo>
                      <a:pt x="99060" y="266700"/>
                    </a:lnTo>
                    <a:lnTo>
                      <a:pt x="100965" y="270510"/>
                    </a:lnTo>
                    <a:lnTo>
                      <a:pt x="102870" y="274320"/>
                    </a:lnTo>
                    <a:lnTo>
                      <a:pt x="104775" y="278130"/>
                    </a:lnTo>
                    <a:lnTo>
                      <a:pt x="106680" y="281940"/>
                    </a:lnTo>
                    <a:lnTo>
                      <a:pt x="109538" y="284798"/>
                    </a:lnTo>
                    <a:lnTo>
                      <a:pt x="111442" y="287655"/>
                    </a:lnTo>
                    <a:lnTo>
                      <a:pt x="114300" y="290513"/>
                    </a:lnTo>
                    <a:lnTo>
                      <a:pt x="117157" y="293370"/>
                    </a:lnTo>
                    <a:lnTo>
                      <a:pt x="120015" y="296228"/>
                    </a:lnTo>
                    <a:lnTo>
                      <a:pt x="122872" y="298133"/>
                    </a:lnTo>
                    <a:lnTo>
                      <a:pt x="125730" y="300038"/>
                    </a:lnTo>
                    <a:lnTo>
                      <a:pt x="128588" y="301942"/>
                    </a:lnTo>
                    <a:lnTo>
                      <a:pt x="131445" y="302895"/>
                    </a:lnTo>
                    <a:lnTo>
                      <a:pt x="134302" y="303848"/>
                    </a:lnTo>
                    <a:lnTo>
                      <a:pt x="137160" y="304800"/>
                    </a:lnTo>
                    <a:lnTo>
                      <a:pt x="140017" y="305753"/>
                    </a:lnTo>
                    <a:lnTo>
                      <a:pt x="142875" y="305753"/>
                    </a:lnTo>
                    <a:lnTo>
                      <a:pt x="145732" y="305753"/>
                    </a:lnTo>
                    <a:lnTo>
                      <a:pt x="150495" y="305753"/>
                    </a:lnTo>
                    <a:lnTo>
                      <a:pt x="155257" y="305753"/>
                    </a:lnTo>
                    <a:lnTo>
                      <a:pt x="160020" y="305753"/>
                    </a:lnTo>
                    <a:lnTo>
                      <a:pt x="164782" y="304800"/>
                    </a:lnTo>
                    <a:lnTo>
                      <a:pt x="168592" y="303848"/>
                    </a:lnTo>
                    <a:lnTo>
                      <a:pt x="172402" y="302895"/>
                    </a:lnTo>
                    <a:lnTo>
                      <a:pt x="176213" y="300990"/>
                    </a:lnTo>
                    <a:lnTo>
                      <a:pt x="180022" y="299085"/>
                    </a:lnTo>
                    <a:lnTo>
                      <a:pt x="183832" y="297180"/>
                    </a:lnTo>
                    <a:lnTo>
                      <a:pt x="186690" y="295275"/>
                    </a:lnTo>
                    <a:lnTo>
                      <a:pt x="190500" y="292417"/>
                    </a:lnTo>
                    <a:lnTo>
                      <a:pt x="193357" y="289560"/>
                    </a:lnTo>
                    <a:lnTo>
                      <a:pt x="196215" y="286703"/>
                    </a:lnTo>
                    <a:lnTo>
                      <a:pt x="199072" y="283845"/>
                    </a:lnTo>
                    <a:lnTo>
                      <a:pt x="201930" y="280035"/>
                    </a:lnTo>
                    <a:lnTo>
                      <a:pt x="204788" y="276225"/>
                    </a:lnTo>
                    <a:lnTo>
                      <a:pt x="206692" y="272415"/>
                    </a:lnTo>
                    <a:lnTo>
                      <a:pt x="208597" y="268605"/>
                    </a:lnTo>
                    <a:lnTo>
                      <a:pt x="210502" y="263842"/>
                    </a:lnTo>
                    <a:lnTo>
                      <a:pt x="212407" y="259080"/>
                    </a:lnTo>
                    <a:lnTo>
                      <a:pt x="213360" y="254317"/>
                    </a:lnTo>
                    <a:lnTo>
                      <a:pt x="214313" y="249555"/>
                    </a:lnTo>
                    <a:lnTo>
                      <a:pt x="215265" y="243840"/>
                    </a:lnTo>
                    <a:lnTo>
                      <a:pt x="217170" y="238125"/>
                    </a:lnTo>
                    <a:lnTo>
                      <a:pt x="219075" y="225742"/>
                    </a:lnTo>
                    <a:lnTo>
                      <a:pt x="220980" y="212408"/>
                    </a:lnTo>
                    <a:lnTo>
                      <a:pt x="221932" y="198120"/>
                    </a:lnTo>
                    <a:lnTo>
                      <a:pt x="221932" y="182880"/>
                    </a:lnTo>
                    <a:lnTo>
                      <a:pt x="221932" y="168593"/>
                    </a:lnTo>
                    <a:lnTo>
                      <a:pt x="220980" y="155258"/>
                    </a:lnTo>
                    <a:lnTo>
                      <a:pt x="220027" y="148590"/>
                    </a:lnTo>
                    <a:lnTo>
                      <a:pt x="219075" y="142875"/>
                    </a:lnTo>
                    <a:lnTo>
                      <a:pt x="218122" y="137160"/>
                    </a:lnTo>
                    <a:lnTo>
                      <a:pt x="217170" y="131445"/>
                    </a:lnTo>
                    <a:lnTo>
                      <a:pt x="216217" y="125730"/>
                    </a:lnTo>
                    <a:lnTo>
                      <a:pt x="214313" y="120968"/>
                    </a:lnTo>
                    <a:lnTo>
                      <a:pt x="212407" y="116205"/>
                    </a:lnTo>
                    <a:lnTo>
                      <a:pt x="210502" y="111443"/>
                    </a:lnTo>
                    <a:lnTo>
                      <a:pt x="208597" y="106680"/>
                    </a:lnTo>
                    <a:lnTo>
                      <a:pt x="206692" y="102870"/>
                    </a:lnTo>
                    <a:lnTo>
                      <a:pt x="204788" y="99060"/>
                    </a:lnTo>
                    <a:lnTo>
                      <a:pt x="201930" y="95250"/>
                    </a:lnTo>
                    <a:lnTo>
                      <a:pt x="200025" y="91440"/>
                    </a:lnTo>
                    <a:lnTo>
                      <a:pt x="197167" y="88583"/>
                    </a:lnTo>
                    <a:lnTo>
                      <a:pt x="194310" y="85725"/>
                    </a:lnTo>
                    <a:lnTo>
                      <a:pt x="191452" y="82868"/>
                    </a:lnTo>
                    <a:lnTo>
                      <a:pt x="188595" y="80010"/>
                    </a:lnTo>
                    <a:lnTo>
                      <a:pt x="185738" y="77153"/>
                    </a:lnTo>
                    <a:lnTo>
                      <a:pt x="182880" y="75248"/>
                    </a:lnTo>
                    <a:lnTo>
                      <a:pt x="180022" y="73343"/>
                    </a:lnTo>
                    <a:lnTo>
                      <a:pt x="177165" y="71438"/>
                    </a:lnTo>
                    <a:lnTo>
                      <a:pt x="173355" y="70485"/>
                    </a:lnTo>
                    <a:lnTo>
                      <a:pt x="169545" y="69533"/>
                    </a:lnTo>
                    <a:lnTo>
                      <a:pt x="165735" y="68580"/>
                    </a:lnTo>
                    <a:lnTo>
                      <a:pt x="161925" y="67628"/>
                    </a:lnTo>
                    <a:lnTo>
                      <a:pt x="158115" y="66675"/>
                    </a:lnTo>
                    <a:lnTo>
                      <a:pt x="154305" y="66675"/>
                    </a:lnTo>
                    <a:lnTo>
                      <a:pt x="150495" y="66675"/>
                    </a:lnTo>
                    <a:lnTo>
                      <a:pt x="146685" y="66675"/>
                    </a:lnTo>
                    <a:lnTo>
                      <a:pt x="142875" y="66675"/>
                    </a:lnTo>
                    <a:lnTo>
                      <a:pt x="139065" y="67628"/>
                    </a:lnTo>
                    <a:lnTo>
                      <a:pt x="135255" y="68580"/>
                    </a:lnTo>
                    <a:lnTo>
                      <a:pt x="131445" y="69533"/>
                    </a:lnTo>
                    <a:lnTo>
                      <a:pt x="127635" y="70485"/>
                    </a:lnTo>
                    <a:lnTo>
                      <a:pt x="124777" y="72390"/>
                    </a:lnTo>
                    <a:lnTo>
                      <a:pt x="121920" y="74295"/>
                    </a:lnTo>
                    <a:lnTo>
                      <a:pt x="119063" y="76200"/>
                    </a:lnTo>
                    <a:lnTo>
                      <a:pt x="116205" y="79058"/>
                    </a:lnTo>
                    <a:lnTo>
                      <a:pt x="113347" y="81915"/>
                    </a:lnTo>
                    <a:lnTo>
                      <a:pt x="110490" y="84773"/>
                    </a:lnTo>
                    <a:lnTo>
                      <a:pt x="107632" y="87630"/>
                    </a:lnTo>
                    <a:lnTo>
                      <a:pt x="105727" y="90488"/>
                    </a:lnTo>
                    <a:lnTo>
                      <a:pt x="103822" y="94298"/>
                    </a:lnTo>
                    <a:lnTo>
                      <a:pt x="101917" y="98108"/>
                    </a:lnTo>
                    <a:lnTo>
                      <a:pt x="100013" y="101918"/>
                    </a:lnTo>
                    <a:lnTo>
                      <a:pt x="98107" y="105728"/>
                    </a:lnTo>
                    <a:lnTo>
                      <a:pt x="96202" y="109538"/>
                    </a:lnTo>
                    <a:lnTo>
                      <a:pt x="95250" y="114300"/>
                    </a:lnTo>
                    <a:lnTo>
                      <a:pt x="92392" y="123825"/>
                    </a:lnTo>
                    <a:lnTo>
                      <a:pt x="90488" y="134303"/>
                    </a:lnTo>
                    <a:lnTo>
                      <a:pt x="88582" y="145733"/>
                    </a:lnTo>
                    <a:lnTo>
                      <a:pt x="87630" y="158115"/>
                    </a:lnTo>
                    <a:lnTo>
                      <a:pt x="86677" y="171450"/>
                    </a:lnTo>
                    <a:lnTo>
                      <a:pt x="88582" y="183833"/>
                    </a:lnTo>
                    <a:lnTo>
                      <a:pt x="88582" y="183833"/>
                    </a:lnTo>
                    <a:close/>
                    <a:moveTo>
                      <a:pt x="17145" y="502920"/>
                    </a:moveTo>
                    <a:lnTo>
                      <a:pt x="21907" y="424815"/>
                    </a:lnTo>
                    <a:lnTo>
                      <a:pt x="28575" y="428625"/>
                    </a:lnTo>
                    <a:lnTo>
                      <a:pt x="35242" y="432435"/>
                    </a:lnTo>
                    <a:lnTo>
                      <a:pt x="41910" y="435292"/>
                    </a:lnTo>
                    <a:lnTo>
                      <a:pt x="48577" y="438150"/>
                    </a:lnTo>
                    <a:lnTo>
                      <a:pt x="55245" y="441008"/>
                    </a:lnTo>
                    <a:lnTo>
                      <a:pt x="61913" y="443865"/>
                    </a:lnTo>
                    <a:lnTo>
                      <a:pt x="68580" y="445770"/>
                    </a:lnTo>
                    <a:lnTo>
                      <a:pt x="75247" y="447675"/>
                    </a:lnTo>
                    <a:lnTo>
                      <a:pt x="81915" y="449580"/>
                    </a:lnTo>
                    <a:lnTo>
                      <a:pt x="88582" y="451485"/>
                    </a:lnTo>
                    <a:lnTo>
                      <a:pt x="95250" y="452438"/>
                    </a:lnTo>
                    <a:lnTo>
                      <a:pt x="101917" y="453390"/>
                    </a:lnTo>
                    <a:lnTo>
                      <a:pt x="108585" y="454342"/>
                    </a:lnTo>
                    <a:lnTo>
                      <a:pt x="115252" y="455295"/>
                    </a:lnTo>
                    <a:lnTo>
                      <a:pt x="121920" y="455295"/>
                    </a:lnTo>
                    <a:lnTo>
                      <a:pt x="128588" y="455295"/>
                    </a:lnTo>
                    <a:lnTo>
                      <a:pt x="138113" y="455295"/>
                    </a:lnTo>
                    <a:lnTo>
                      <a:pt x="146685" y="454342"/>
                    </a:lnTo>
                    <a:lnTo>
                      <a:pt x="155257" y="453390"/>
                    </a:lnTo>
                    <a:lnTo>
                      <a:pt x="162877" y="451485"/>
                    </a:lnTo>
                    <a:lnTo>
                      <a:pt x="169545" y="449580"/>
                    </a:lnTo>
                    <a:lnTo>
                      <a:pt x="176213" y="446723"/>
                    </a:lnTo>
                    <a:lnTo>
                      <a:pt x="179070" y="445770"/>
                    </a:lnTo>
                    <a:lnTo>
                      <a:pt x="181927" y="443865"/>
                    </a:lnTo>
                    <a:lnTo>
                      <a:pt x="184785" y="441960"/>
                    </a:lnTo>
                    <a:lnTo>
                      <a:pt x="187642" y="440055"/>
                    </a:lnTo>
                    <a:lnTo>
                      <a:pt x="192405" y="436245"/>
                    </a:lnTo>
                    <a:lnTo>
                      <a:pt x="197167" y="432435"/>
                    </a:lnTo>
                    <a:lnTo>
                      <a:pt x="200977" y="427673"/>
                    </a:lnTo>
                    <a:lnTo>
                      <a:pt x="204788" y="422910"/>
                    </a:lnTo>
                    <a:lnTo>
                      <a:pt x="207645" y="417195"/>
                    </a:lnTo>
                    <a:lnTo>
                      <a:pt x="210502" y="411480"/>
                    </a:lnTo>
                    <a:lnTo>
                      <a:pt x="213360" y="405765"/>
                    </a:lnTo>
                    <a:lnTo>
                      <a:pt x="215265" y="399098"/>
                    </a:lnTo>
                    <a:lnTo>
                      <a:pt x="217170" y="392430"/>
                    </a:lnTo>
                    <a:lnTo>
                      <a:pt x="219075" y="385763"/>
                    </a:lnTo>
                    <a:lnTo>
                      <a:pt x="220027" y="379095"/>
                    </a:lnTo>
                    <a:lnTo>
                      <a:pt x="220980" y="372428"/>
                    </a:lnTo>
                    <a:lnTo>
                      <a:pt x="221932" y="364808"/>
                    </a:lnTo>
                    <a:lnTo>
                      <a:pt x="221932" y="357188"/>
                    </a:lnTo>
                    <a:lnTo>
                      <a:pt x="221932" y="348615"/>
                    </a:lnTo>
                    <a:lnTo>
                      <a:pt x="221932" y="340042"/>
                    </a:lnTo>
                    <a:lnTo>
                      <a:pt x="221932" y="307658"/>
                    </a:lnTo>
                    <a:lnTo>
                      <a:pt x="220980" y="307658"/>
                    </a:lnTo>
                    <a:lnTo>
                      <a:pt x="217170" y="314325"/>
                    </a:lnTo>
                    <a:lnTo>
                      <a:pt x="213360" y="320040"/>
                    </a:lnTo>
                    <a:lnTo>
                      <a:pt x="209550" y="325755"/>
                    </a:lnTo>
                    <a:lnTo>
                      <a:pt x="205740" y="331470"/>
                    </a:lnTo>
                    <a:lnTo>
                      <a:pt x="200977" y="337185"/>
                    </a:lnTo>
                    <a:lnTo>
                      <a:pt x="196215" y="341948"/>
                    </a:lnTo>
                    <a:lnTo>
                      <a:pt x="190500" y="346710"/>
                    </a:lnTo>
                    <a:lnTo>
                      <a:pt x="184785" y="350520"/>
                    </a:lnTo>
                    <a:lnTo>
                      <a:pt x="181927" y="352425"/>
                    </a:lnTo>
                    <a:lnTo>
                      <a:pt x="179070" y="354330"/>
                    </a:lnTo>
                    <a:lnTo>
                      <a:pt x="176213" y="356235"/>
                    </a:lnTo>
                    <a:lnTo>
                      <a:pt x="173355" y="358140"/>
                    </a:lnTo>
                    <a:lnTo>
                      <a:pt x="169545" y="360045"/>
                    </a:lnTo>
                    <a:lnTo>
                      <a:pt x="165735" y="361950"/>
                    </a:lnTo>
                    <a:lnTo>
                      <a:pt x="161925" y="362903"/>
                    </a:lnTo>
                    <a:lnTo>
                      <a:pt x="160020" y="364808"/>
                    </a:lnTo>
                    <a:lnTo>
                      <a:pt x="151447" y="366713"/>
                    </a:lnTo>
                    <a:lnTo>
                      <a:pt x="142875" y="367665"/>
                    </a:lnTo>
                    <a:lnTo>
                      <a:pt x="134302" y="368617"/>
                    </a:lnTo>
                    <a:lnTo>
                      <a:pt x="124777" y="368617"/>
                    </a:lnTo>
                    <a:lnTo>
                      <a:pt x="120015" y="368617"/>
                    </a:lnTo>
                    <a:lnTo>
                      <a:pt x="114300" y="366713"/>
                    </a:lnTo>
                    <a:lnTo>
                      <a:pt x="108585" y="366713"/>
                    </a:lnTo>
                    <a:lnTo>
                      <a:pt x="103822" y="365760"/>
                    </a:lnTo>
                    <a:lnTo>
                      <a:pt x="98107" y="364808"/>
                    </a:lnTo>
                    <a:lnTo>
                      <a:pt x="92392" y="362903"/>
                    </a:lnTo>
                    <a:lnTo>
                      <a:pt x="87630" y="361950"/>
                    </a:lnTo>
                    <a:lnTo>
                      <a:pt x="81915" y="360045"/>
                    </a:lnTo>
                    <a:lnTo>
                      <a:pt x="76200" y="357188"/>
                    </a:lnTo>
                    <a:lnTo>
                      <a:pt x="70485" y="354330"/>
                    </a:lnTo>
                    <a:lnTo>
                      <a:pt x="64770" y="351473"/>
                    </a:lnTo>
                    <a:lnTo>
                      <a:pt x="59055" y="348615"/>
                    </a:lnTo>
                    <a:lnTo>
                      <a:pt x="54292" y="344805"/>
                    </a:lnTo>
                    <a:lnTo>
                      <a:pt x="49530" y="340995"/>
                    </a:lnTo>
                    <a:lnTo>
                      <a:pt x="44767" y="337185"/>
                    </a:lnTo>
                    <a:lnTo>
                      <a:pt x="40005" y="332423"/>
                    </a:lnTo>
                    <a:lnTo>
                      <a:pt x="36195" y="326708"/>
                    </a:lnTo>
                    <a:lnTo>
                      <a:pt x="32385" y="320992"/>
                    </a:lnTo>
                    <a:lnTo>
                      <a:pt x="27622" y="314325"/>
                    </a:lnTo>
                    <a:lnTo>
                      <a:pt x="23813" y="307658"/>
                    </a:lnTo>
                    <a:lnTo>
                      <a:pt x="20002" y="300038"/>
                    </a:lnTo>
                    <a:lnTo>
                      <a:pt x="16192" y="292417"/>
                    </a:lnTo>
                    <a:lnTo>
                      <a:pt x="13335" y="283845"/>
                    </a:lnTo>
                    <a:lnTo>
                      <a:pt x="10477" y="275273"/>
                    </a:lnTo>
                    <a:lnTo>
                      <a:pt x="7620" y="265748"/>
                    </a:lnTo>
                    <a:lnTo>
                      <a:pt x="4763" y="256223"/>
                    </a:lnTo>
                    <a:lnTo>
                      <a:pt x="2857" y="245745"/>
                    </a:lnTo>
                    <a:lnTo>
                      <a:pt x="1905" y="235267"/>
                    </a:lnTo>
                    <a:lnTo>
                      <a:pt x="952" y="224790"/>
                    </a:lnTo>
                    <a:lnTo>
                      <a:pt x="0" y="212408"/>
                    </a:lnTo>
                    <a:lnTo>
                      <a:pt x="0" y="200025"/>
                    </a:lnTo>
                    <a:lnTo>
                      <a:pt x="0" y="187643"/>
                    </a:lnTo>
                    <a:lnTo>
                      <a:pt x="0" y="174308"/>
                    </a:lnTo>
                    <a:lnTo>
                      <a:pt x="952" y="160973"/>
                    </a:lnTo>
                    <a:lnTo>
                      <a:pt x="1905" y="148590"/>
                    </a:lnTo>
                    <a:lnTo>
                      <a:pt x="2857" y="136208"/>
                    </a:lnTo>
                    <a:lnTo>
                      <a:pt x="4763" y="124778"/>
                    </a:lnTo>
                    <a:lnTo>
                      <a:pt x="7620" y="113348"/>
                    </a:lnTo>
                    <a:lnTo>
                      <a:pt x="10477" y="101918"/>
                    </a:lnTo>
                    <a:lnTo>
                      <a:pt x="13335" y="91440"/>
                    </a:lnTo>
                    <a:lnTo>
                      <a:pt x="17145" y="80963"/>
                    </a:lnTo>
                    <a:lnTo>
                      <a:pt x="20955" y="71438"/>
                    </a:lnTo>
                    <a:lnTo>
                      <a:pt x="25717" y="61913"/>
                    </a:lnTo>
                    <a:lnTo>
                      <a:pt x="31432" y="53340"/>
                    </a:lnTo>
                    <a:lnTo>
                      <a:pt x="34290" y="49530"/>
                    </a:lnTo>
                    <a:lnTo>
                      <a:pt x="37147" y="45720"/>
                    </a:lnTo>
                    <a:lnTo>
                      <a:pt x="40005" y="41910"/>
                    </a:lnTo>
                    <a:lnTo>
                      <a:pt x="42863" y="38100"/>
                    </a:lnTo>
                    <a:lnTo>
                      <a:pt x="45720" y="34290"/>
                    </a:lnTo>
                    <a:lnTo>
                      <a:pt x="49530" y="30480"/>
                    </a:lnTo>
                    <a:lnTo>
                      <a:pt x="53340" y="27623"/>
                    </a:lnTo>
                    <a:lnTo>
                      <a:pt x="57150" y="23813"/>
                    </a:lnTo>
                    <a:lnTo>
                      <a:pt x="60960" y="20955"/>
                    </a:lnTo>
                    <a:lnTo>
                      <a:pt x="64770" y="18098"/>
                    </a:lnTo>
                    <a:lnTo>
                      <a:pt x="68580" y="15240"/>
                    </a:lnTo>
                    <a:lnTo>
                      <a:pt x="72390" y="12383"/>
                    </a:lnTo>
                    <a:lnTo>
                      <a:pt x="77152" y="10478"/>
                    </a:lnTo>
                    <a:lnTo>
                      <a:pt x="80963" y="8573"/>
                    </a:lnTo>
                    <a:lnTo>
                      <a:pt x="85725" y="6668"/>
                    </a:lnTo>
                    <a:lnTo>
                      <a:pt x="90488" y="5715"/>
                    </a:lnTo>
                    <a:lnTo>
                      <a:pt x="95250" y="3810"/>
                    </a:lnTo>
                    <a:lnTo>
                      <a:pt x="100013" y="2858"/>
                    </a:lnTo>
                    <a:lnTo>
                      <a:pt x="105727" y="1905"/>
                    </a:lnTo>
                    <a:lnTo>
                      <a:pt x="110490" y="953"/>
                    </a:lnTo>
                    <a:lnTo>
                      <a:pt x="116205" y="0"/>
                    </a:lnTo>
                    <a:lnTo>
                      <a:pt x="121920" y="0"/>
                    </a:lnTo>
                    <a:lnTo>
                      <a:pt x="127635" y="0"/>
                    </a:lnTo>
                    <a:lnTo>
                      <a:pt x="133350" y="0"/>
                    </a:lnTo>
                    <a:lnTo>
                      <a:pt x="139065" y="0"/>
                    </a:lnTo>
                    <a:lnTo>
                      <a:pt x="144780" y="0"/>
                    </a:lnTo>
                    <a:lnTo>
                      <a:pt x="150495" y="953"/>
                    </a:lnTo>
                    <a:lnTo>
                      <a:pt x="156210" y="1905"/>
                    </a:lnTo>
                    <a:lnTo>
                      <a:pt x="161925" y="2858"/>
                    </a:lnTo>
                    <a:lnTo>
                      <a:pt x="167640" y="3810"/>
                    </a:lnTo>
                    <a:lnTo>
                      <a:pt x="172402" y="5715"/>
                    </a:lnTo>
                    <a:lnTo>
                      <a:pt x="177165" y="7620"/>
                    </a:lnTo>
                    <a:lnTo>
                      <a:pt x="181927" y="9525"/>
                    </a:lnTo>
                    <a:lnTo>
                      <a:pt x="185738" y="11430"/>
                    </a:lnTo>
                    <a:lnTo>
                      <a:pt x="189547" y="14288"/>
                    </a:lnTo>
                    <a:lnTo>
                      <a:pt x="193357" y="17145"/>
                    </a:lnTo>
                    <a:lnTo>
                      <a:pt x="197167" y="20003"/>
                    </a:lnTo>
                    <a:lnTo>
                      <a:pt x="200977" y="22860"/>
                    </a:lnTo>
                    <a:lnTo>
                      <a:pt x="203835" y="25718"/>
                    </a:lnTo>
                    <a:lnTo>
                      <a:pt x="206692" y="28575"/>
                    </a:lnTo>
                    <a:lnTo>
                      <a:pt x="212407" y="35243"/>
                    </a:lnTo>
                    <a:lnTo>
                      <a:pt x="218122" y="42863"/>
                    </a:lnTo>
                    <a:lnTo>
                      <a:pt x="223838" y="51435"/>
                    </a:lnTo>
                    <a:lnTo>
                      <a:pt x="229552" y="60960"/>
                    </a:lnTo>
                    <a:lnTo>
                      <a:pt x="232410" y="60960"/>
                    </a:lnTo>
                    <a:lnTo>
                      <a:pt x="232410" y="58103"/>
                    </a:lnTo>
                    <a:lnTo>
                      <a:pt x="233363" y="53340"/>
                    </a:lnTo>
                    <a:lnTo>
                      <a:pt x="233363" y="48578"/>
                    </a:lnTo>
                    <a:lnTo>
                      <a:pt x="233363" y="42863"/>
                    </a:lnTo>
                    <a:lnTo>
                      <a:pt x="233363" y="37148"/>
                    </a:lnTo>
                    <a:lnTo>
                      <a:pt x="233363" y="31433"/>
                    </a:lnTo>
                    <a:lnTo>
                      <a:pt x="233363" y="25718"/>
                    </a:lnTo>
                    <a:lnTo>
                      <a:pt x="234315" y="20955"/>
                    </a:lnTo>
                    <a:lnTo>
                      <a:pt x="234315" y="17145"/>
                    </a:lnTo>
                    <a:lnTo>
                      <a:pt x="234315" y="12383"/>
                    </a:lnTo>
                    <a:lnTo>
                      <a:pt x="234315" y="8573"/>
                    </a:lnTo>
                    <a:lnTo>
                      <a:pt x="234315" y="4763"/>
                    </a:lnTo>
                    <a:lnTo>
                      <a:pt x="312420" y="4763"/>
                    </a:lnTo>
                    <a:lnTo>
                      <a:pt x="311467" y="14288"/>
                    </a:lnTo>
                    <a:lnTo>
                      <a:pt x="310515" y="22860"/>
                    </a:lnTo>
                    <a:lnTo>
                      <a:pt x="310515" y="30480"/>
                    </a:lnTo>
                    <a:lnTo>
                      <a:pt x="310515" y="38100"/>
                    </a:lnTo>
                    <a:lnTo>
                      <a:pt x="310515" y="44768"/>
                    </a:lnTo>
                    <a:lnTo>
                      <a:pt x="310515" y="51435"/>
                    </a:lnTo>
                    <a:lnTo>
                      <a:pt x="310515" y="55245"/>
                    </a:lnTo>
                    <a:lnTo>
                      <a:pt x="310515" y="60008"/>
                    </a:lnTo>
                    <a:lnTo>
                      <a:pt x="310515" y="329565"/>
                    </a:lnTo>
                    <a:lnTo>
                      <a:pt x="310515" y="340995"/>
                    </a:lnTo>
                    <a:lnTo>
                      <a:pt x="310515" y="352425"/>
                    </a:lnTo>
                    <a:lnTo>
                      <a:pt x="309563" y="362903"/>
                    </a:lnTo>
                    <a:lnTo>
                      <a:pt x="308610" y="373380"/>
                    </a:lnTo>
                    <a:lnTo>
                      <a:pt x="302895" y="383858"/>
                    </a:lnTo>
                    <a:lnTo>
                      <a:pt x="300990" y="393383"/>
                    </a:lnTo>
                    <a:lnTo>
                      <a:pt x="299085" y="402908"/>
                    </a:lnTo>
                    <a:lnTo>
                      <a:pt x="296227" y="412433"/>
                    </a:lnTo>
                    <a:lnTo>
                      <a:pt x="293370" y="421005"/>
                    </a:lnTo>
                    <a:lnTo>
                      <a:pt x="290513" y="429578"/>
                    </a:lnTo>
                    <a:lnTo>
                      <a:pt x="287655" y="438150"/>
                    </a:lnTo>
                    <a:lnTo>
                      <a:pt x="283845" y="446723"/>
                    </a:lnTo>
                    <a:lnTo>
                      <a:pt x="280035" y="454342"/>
                    </a:lnTo>
                    <a:lnTo>
                      <a:pt x="276225" y="461963"/>
                    </a:lnTo>
                    <a:lnTo>
                      <a:pt x="272415" y="468630"/>
                    </a:lnTo>
                    <a:lnTo>
                      <a:pt x="267652" y="475298"/>
                    </a:lnTo>
                    <a:lnTo>
                      <a:pt x="262890" y="481013"/>
                    </a:lnTo>
                    <a:lnTo>
                      <a:pt x="258127" y="486728"/>
                    </a:lnTo>
                    <a:lnTo>
                      <a:pt x="252413" y="492442"/>
                    </a:lnTo>
                    <a:lnTo>
                      <a:pt x="245745" y="497205"/>
                    </a:lnTo>
                    <a:lnTo>
                      <a:pt x="239077" y="501967"/>
                    </a:lnTo>
                    <a:lnTo>
                      <a:pt x="232410" y="505778"/>
                    </a:lnTo>
                    <a:lnTo>
                      <a:pt x="224790" y="509588"/>
                    </a:lnTo>
                    <a:lnTo>
                      <a:pt x="217170" y="513398"/>
                    </a:lnTo>
                    <a:lnTo>
                      <a:pt x="208597" y="516255"/>
                    </a:lnTo>
                    <a:lnTo>
                      <a:pt x="200025" y="519113"/>
                    </a:lnTo>
                    <a:lnTo>
                      <a:pt x="191452" y="521017"/>
                    </a:lnTo>
                    <a:lnTo>
                      <a:pt x="181927" y="522923"/>
                    </a:lnTo>
                    <a:lnTo>
                      <a:pt x="171450" y="523875"/>
                    </a:lnTo>
                    <a:lnTo>
                      <a:pt x="160972" y="524828"/>
                    </a:lnTo>
                    <a:lnTo>
                      <a:pt x="150495" y="525780"/>
                    </a:lnTo>
                    <a:lnTo>
                      <a:pt x="140970" y="525780"/>
                    </a:lnTo>
                    <a:lnTo>
                      <a:pt x="131445" y="525780"/>
                    </a:lnTo>
                    <a:lnTo>
                      <a:pt x="122872" y="525780"/>
                    </a:lnTo>
                    <a:lnTo>
                      <a:pt x="114300" y="525780"/>
                    </a:lnTo>
                    <a:lnTo>
                      <a:pt x="105727" y="524828"/>
                    </a:lnTo>
                    <a:lnTo>
                      <a:pt x="97155" y="523875"/>
                    </a:lnTo>
                    <a:lnTo>
                      <a:pt x="89535" y="521970"/>
                    </a:lnTo>
                    <a:lnTo>
                      <a:pt x="81915" y="521017"/>
                    </a:lnTo>
                    <a:lnTo>
                      <a:pt x="74295" y="519113"/>
                    </a:lnTo>
                    <a:lnTo>
                      <a:pt x="66675" y="517208"/>
                    </a:lnTo>
                    <a:lnTo>
                      <a:pt x="59055" y="515303"/>
                    </a:lnTo>
                    <a:lnTo>
                      <a:pt x="51435" y="513398"/>
                    </a:lnTo>
                    <a:lnTo>
                      <a:pt x="44767" y="511492"/>
                    </a:lnTo>
                    <a:lnTo>
                      <a:pt x="38100" y="509588"/>
                    </a:lnTo>
                    <a:lnTo>
                      <a:pt x="31432" y="507683"/>
                    </a:lnTo>
                    <a:lnTo>
                      <a:pt x="24765" y="505778"/>
                    </a:lnTo>
                    <a:lnTo>
                      <a:pt x="17145" y="502920"/>
                    </a:lnTo>
                    <a:lnTo>
                      <a:pt x="17145" y="50292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6F7235FB-522A-F885-4BB5-9FE5D934E2DB}"/>
                  </a:ext>
                </a:extLst>
              </p:cNvPr>
              <p:cNvSpPr/>
              <p:nvPr/>
            </p:nvSpPr>
            <p:spPr>
              <a:xfrm>
                <a:off x="9119869" y="4809262"/>
                <a:ext cx="294322" cy="370522"/>
              </a:xfrm>
              <a:custGeom>
                <a:avLst/>
                <a:gdLst>
                  <a:gd name="connsiteX0" fmla="*/ 40958 w 294322"/>
                  <a:gd name="connsiteY0" fmla="*/ 96202 h 370522"/>
                  <a:gd name="connsiteX1" fmla="*/ 36195 w 294322"/>
                  <a:gd name="connsiteY1" fmla="*/ 25717 h 370522"/>
                  <a:gd name="connsiteX2" fmla="*/ 48578 w 294322"/>
                  <a:gd name="connsiteY2" fmla="*/ 20002 h 370522"/>
                  <a:gd name="connsiteX3" fmla="*/ 60960 w 294322"/>
                  <a:gd name="connsiteY3" fmla="*/ 14288 h 370522"/>
                  <a:gd name="connsiteX4" fmla="*/ 74295 w 294322"/>
                  <a:gd name="connsiteY4" fmla="*/ 9525 h 370522"/>
                  <a:gd name="connsiteX5" fmla="*/ 87630 w 294322"/>
                  <a:gd name="connsiteY5" fmla="*/ 5715 h 370522"/>
                  <a:gd name="connsiteX6" fmla="*/ 94298 w 294322"/>
                  <a:gd name="connsiteY6" fmla="*/ 3810 h 370522"/>
                  <a:gd name="connsiteX7" fmla="*/ 100965 w 294322"/>
                  <a:gd name="connsiteY7" fmla="*/ 2857 h 370522"/>
                  <a:gd name="connsiteX8" fmla="*/ 108585 w 294322"/>
                  <a:gd name="connsiteY8" fmla="*/ 1905 h 370522"/>
                  <a:gd name="connsiteX9" fmla="*/ 116205 w 294322"/>
                  <a:gd name="connsiteY9" fmla="*/ 952 h 370522"/>
                  <a:gd name="connsiteX10" fmla="*/ 123825 w 294322"/>
                  <a:gd name="connsiteY10" fmla="*/ 0 h 370522"/>
                  <a:gd name="connsiteX11" fmla="*/ 132398 w 294322"/>
                  <a:gd name="connsiteY11" fmla="*/ 0 h 370522"/>
                  <a:gd name="connsiteX12" fmla="*/ 140970 w 294322"/>
                  <a:gd name="connsiteY12" fmla="*/ 0 h 370522"/>
                  <a:gd name="connsiteX13" fmla="*/ 150495 w 294322"/>
                  <a:gd name="connsiteY13" fmla="*/ 0 h 370522"/>
                  <a:gd name="connsiteX14" fmla="*/ 163830 w 294322"/>
                  <a:gd name="connsiteY14" fmla="*/ 0 h 370522"/>
                  <a:gd name="connsiteX15" fmla="*/ 176213 w 294322"/>
                  <a:gd name="connsiteY15" fmla="*/ 952 h 370522"/>
                  <a:gd name="connsiteX16" fmla="*/ 187643 w 294322"/>
                  <a:gd name="connsiteY16" fmla="*/ 1905 h 370522"/>
                  <a:gd name="connsiteX17" fmla="*/ 199073 w 294322"/>
                  <a:gd name="connsiteY17" fmla="*/ 3810 h 370522"/>
                  <a:gd name="connsiteX18" fmla="*/ 209550 w 294322"/>
                  <a:gd name="connsiteY18" fmla="*/ 5715 h 370522"/>
                  <a:gd name="connsiteX19" fmla="*/ 219075 w 294322"/>
                  <a:gd name="connsiteY19" fmla="*/ 8572 h 370522"/>
                  <a:gd name="connsiteX20" fmla="*/ 223838 w 294322"/>
                  <a:gd name="connsiteY20" fmla="*/ 10477 h 370522"/>
                  <a:gd name="connsiteX21" fmla="*/ 227648 w 294322"/>
                  <a:gd name="connsiteY21" fmla="*/ 12382 h 370522"/>
                  <a:gd name="connsiteX22" fmla="*/ 231458 w 294322"/>
                  <a:gd name="connsiteY22" fmla="*/ 14288 h 370522"/>
                  <a:gd name="connsiteX23" fmla="*/ 235268 w 294322"/>
                  <a:gd name="connsiteY23" fmla="*/ 16192 h 370522"/>
                  <a:gd name="connsiteX24" fmla="*/ 242888 w 294322"/>
                  <a:gd name="connsiteY24" fmla="*/ 20955 h 370522"/>
                  <a:gd name="connsiteX25" fmla="*/ 249555 w 294322"/>
                  <a:gd name="connsiteY25" fmla="*/ 25717 h 370522"/>
                  <a:gd name="connsiteX26" fmla="*/ 252413 w 294322"/>
                  <a:gd name="connsiteY26" fmla="*/ 28575 h 370522"/>
                  <a:gd name="connsiteX27" fmla="*/ 255270 w 294322"/>
                  <a:gd name="connsiteY27" fmla="*/ 31432 h 370522"/>
                  <a:gd name="connsiteX28" fmla="*/ 258128 w 294322"/>
                  <a:gd name="connsiteY28" fmla="*/ 34290 h 370522"/>
                  <a:gd name="connsiteX29" fmla="*/ 260985 w 294322"/>
                  <a:gd name="connsiteY29" fmla="*/ 37147 h 370522"/>
                  <a:gd name="connsiteX30" fmla="*/ 263843 w 294322"/>
                  <a:gd name="connsiteY30" fmla="*/ 40005 h 370522"/>
                  <a:gd name="connsiteX31" fmla="*/ 266700 w 294322"/>
                  <a:gd name="connsiteY31" fmla="*/ 42863 h 370522"/>
                  <a:gd name="connsiteX32" fmla="*/ 269558 w 294322"/>
                  <a:gd name="connsiteY32" fmla="*/ 45720 h 370522"/>
                  <a:gd name="connsiteX33" fmla="*/ 271463 w 294322"/>
                  <a:gd name="connsiteY33" fmla="*/ 49530 h 370522"/>
                  <a:gd name="connsiteX34" fmla="*/ 273368 w 294322"/>
                  <a:gd name="connsiteY34" fmla="*/ 53340 h 370522"/>
                  <a:gd name="connsiteX35" fmla="*/ 275273 w 294322"/>
                  <a:gd name="connsiteY35" fmla="*/ 57150 h 370522"/>
                  <a:gd name="connsiteX36" fmla="*/ 277178 w 294322"/>
                  <a:gd name="connsiteY36" fmla="*/ 60960 h 370522"/>
                  <a:gd name="connsiteX37" fmla="*/ 278130 w 294322"/>
                  <a:gd name="connsiteY37" fmla="*/ 64770 h 370522"/>
                  <a:gd name="connsiteX38" fmla="*/ 280988 w 294322"/>
                  <a:gd name="connsiteY38" fmla="*/ 72390 h 370522"/>
                  <a:gd name="connsiteX39" fmla="*/ 283845 w 294322"/>
                  <a:gd name="connsiteY39" fmla="*/ 80963 h 370522"/>
                  <a:gd name="connsiteX40" fmla="*/ 285750 w 294322"/>
                  <a:gd name="connsiteY40" fmla="*/ 90488 h 370522"/>
                  <a:gd name="connsiteX41" fmla="*/ 287655 w 294322"/>
                  <a:gd name="connsiteY41" fmla="*/ 100013 h 370522"/>
                  <a:gd name="connsiteX42" fmla="*/ 288608 w 294322"/>
                  <a:gd name="connsiteY42" fmla="*/ 110490 h 370522"/>
                  <a:gd name="connsiteX43" fmla="*/ 289560 w 294322"/>
                  <a:gd name="connsiteY43" fmla="*/ 120967 h 370522"/>
                  <a:gd name="connsiteX44" fmla="*/ 290513 w 294322"/>
                  <a:gd name="connsiteY44" fmla="*/ 132397 h 370522"/>
                  <a:gd name="connsiteX45" fmla="*/ 290513 w 294322"/>
                  <a:gd name="connsiteY45" fmla="*/ 143827 h 370522"/>
                  <a:gd name="connsiteX46" fmla="*/ 290513 w 294322"/>
                  <a:gd name="connsiteY46" fmla="*/ 302895 h 370522"/>
                  <a:gd name="connsiteX47" fmla="*/ 290513 w 294322"/>
                  <a:gd name="connsiteY47" fmla="*/ 310515 h 370522"/>
                  <a:gd name="connsiteX48" fmla="*/ 290513 w 294322"/>
                  <a:gd name="connsiteY48" fmla="*/ 319088 h 370522"/>
                  <a:gd name="connsiteX49" fmla="*/ 290513 w 294322"/>
                  <a:gd name="connsiteY49" fmla="*/ 326708 h 370522"/>
                  <a:gd name="connsiteX50" fmla="*/ 290513 w 294322"/>
                  <a:gd name="connsiteY50" fmla="*/ 334327 h 370522"/>
                  <a:gd name="connsiteX51" fmla="*/ 291465 w 294322"/>
                  <a:gd name="connsiteY51" fmla="*/ 342900 h 370522"/>
                  <a:gd name="connsiteX52" fmla="*/ 292418 w 294322"/>
                  <a:gd name="connsiteY52" fmla="*/ 350520 h 370522"/>
                  <a:gd name="connsiteX53" fmla="*/ 293370 w 294322"/>
                  <a:gd name="connsiteY53" fmla="*/ 358140 h 370522"/>
                  <a:gd name="connsiteX54" fmla="*/ 294323 w 294322"/>
                  <a:gd name="connsiteY54" fmla="*/ 365760 h 370522"/>
                  <a:gd name="connsiteX55" fmla="*/ 214313 w 294322"/>
                  <a:gd name="connsiteY55" fmla="*/ 365760 h 370522"/>
                  <a:gd name="connsiteX56" fmla="*/ 213360 w 294322"/>
                  <a:gd name="connsiteY56" fmla="*/ 360997 h 370522"/>
                  <a:gd name="connsiteX57" fmla="*/ 212408 w 294322"/>
                  <a:gd name="connsiteY57" fmla="*/ 356235 h 370522"/>
                  <a:gd name="connsiteX58" fmla="*/ 211455 w 294322"/>
                  <a:gd name="connsiteY58" fmla="*/ 350520 h 370522"/>
                  <a:gd name="connsiteX59" fmla="*/ 210503 w 294322"/>
                  <a:gd name="connsiteY59" fmla="*/ 344805 h 370522"/>
                  <a:gd name="connsiteX60" fmla="*/ 210503 w 294322"/>
                  <a:gd name="connsiteY60" fmla="*/ 338138 h 370522"/>
                  <a:gd name="connsiteX61" fmla="*/ 210503 w 294322"/>
                  <a:gd name="connsiteY61" fmla="*/ 331470 h 370522"/>
                  <a:gd name="connsiteX62" fmla="*/ 210503 w 294322"/>
                  <a:gd name="connsiteY62" fmla="*/ 323850 h 370522"/>
                  <a:gd name="connsiteX63" fmla="*/ 210503 w 294322"/>
                  <a:gd name="connsiteY63" fmla="*/ 316230 h 370522"/>
                  <a:gd name="connsiteX64" fmla="*/ 209550 w 294322"/>
                  <a:gd name="connsiteY64" fmla="*/ 316230 h 370522"/>
                  <a:gd name="connsiteX65" fmla="*/ 204788 w 294322"/>
                  <a:gd name="connsiteY65" fmla="*/ 322897 h 370522"/>
                  <a:gd name="connsiteX66" fmla="*/ 200025 w 294322"/>
                  <a:gd name="connsiteY66" fmla="*/ 328613 h 370522"/>
                  <a:gd name="connsiteX67" fmla="*/ 194310 w 294322"/>
                  <a:gd name="connsiteY67" fmla="*/ 334327 h 370522"/>
                  <a:gd name="connsiteX68" fmla="*/ 188595 w 294322"/>
                  <a:gd name="connsiteY68" fmla="*/ 340042 h 370522"/>
                  <a:gd name="connsiteX69" fmla="*/ 182880 w 294322"/>
                  <a:gd name="connsiteY69" fmla="*/ 344805 h 370522"/>
                  <a:gd name="connsiteX70" fmla="*/ 177165 w 294322"/>
                  <a:gd name="connsiteY70" fmla="*/ 348615 h 370522"/>
                  <a:gd name="connsiteX71" fmla="*/ 171450 w 294322"/>
                  <a:gd name="connsiteY71" fmla="*/ 352425 h 370522"/>
                  <a:gd name="connsiteX72" fmla="*/ 165735 w 294322"/>
                  <a:gd name="connsiteY72" fmla="*/ 356235 h 370522"/>
                  <a:gd name="connsiteX73" fmla="*/ 160020 w 294322"/>
                  <a:gd name="connsiteY73" fmla="*/ 359092 h 370522"/>
                  <a:gd name="connsiteX74" fmla="*/ 153353 w 294322"/>
                  <a:gd name="connsiteY74" fmla="*/ 361950 h 370522"/>
                  <a:gd name="connsiteX75" fmla="*/ 146685 w 294322"/>
                  <a:gd name="connsiteY75" fmla="*/ 364808 h 370522"/>
                  <a:gd name="connsiteX76" fmla="*/ 140018 w 294322"/>
                  <a:gd name="connsiteY76" fmla="*/ 366713 h 370522"/>
                  <a:gd name="connsiteX77" fmla="*/ 132398 w 294322"/>
                  <a:gd name="connsiteY77" fmla="*/ 368617 h 370522"/>
                  <a:gd name="connsiteX78" fmla="*/ 124778 w 294322"/>
                  <a:gd name="connsiteY78" fmla="*/ 369570 h 370522"/>
                  <a:gd name="connsiteX79" fmla="*/ 116205 w 294322"/>
                  <a:gd name="connsiteY79" fmla="*/ 370522 h 370522"/>
                  <a:gd name="connsiteX80" fmla="*/ 107633 w 294322"/>
                  <a:gd name="connsiteY80" fmla="*/ 370522 h 370522"/>
                  <a:gd name="connsiteX81" fmla="*/ 100965 w 294322"/>
                  <a:gd name="connsiteY81" fmla="*/ 370522 h 370522"/>
                  <a:gd name="connsiteX82" fmla="*/ 94298 w 294322"/>
                  <a:gd name="connsiteY82" fmla="*/ 369570 h 370522"/>
                  <a:gd name="connsiteX83" fmla="*/ 87630 w 294322"/>
                  <a:gd name="connsiteY83" fmla="*/ 368617 h 370522"/>
                  <a:gd name="connsiteX84" fmla="*/ 80963 w 294322"/>
                  <a:gd name="connsiteY84" fmla="*/ 367665 h 370522"/>
                  <a:gd name="connsiteX85" fmla="*/ 74295 w 294322"/>
                  <a:gd name="connsiteY85" fmla="*/ 365760 h 370522"/>
                  <a:gd name="connsiteX86" fmla="*/ 67628 w 294322"/>
                  <a:gd name="connsiteY86" fmla="*/ 362902 h 370522"/>
                  <a:gd name="connsiteX87" fmla="*/ 60960 w 294322"/>
                  <a:gd name="connsiteY87" fmla="*/ 360045 h 370522"/>
                  <a:gd name="connsiteX88" fmla="*/ 54293 w 294322"/>
                  <a:gd name="connsiteY88" fmla="*/ 357188 h 370522"/>
                  <a:gd name="connsiteX89" fmla="*/ 48578 w 294322"/>
                  <a:gd name="connsiteY89" fmla="*/ 353377 h 370522"/>
                  <a:gd name="connsiteX90" fmla="*/ 42863 w 294322"/>
                  <a:gd name="connsiteY90" fmla="*/ 349567 h 370522"/>
                  <a:gd name="connsiteX91" fmla="*/ 37148 w 294322"/>
                  <a:gd name="connsiteY91" fmla="*/ 345758 h 370522"/>
                  <a:gd name="connsiteX92" fmla="*/ 32385 w 294322"/>
                  <a:gd name="connsiteY92" fmla="*/ 340995 h 370522"/>
                  <a:gd name="connsiteX93" fmla="*/ 27623 w 294322"/>
                  <a:gd name="connsiteY93" fmla="*/ 336233 h 370522"/>
                  <a:gd name="connsiteX94" fmla="*/ 22860 w 294322"/>
                  <a:gd name="connsiteY94" fmla="*/ 330517 h 370522"/>
                  <a:gd name="connsiteX95" fmla="*/ 19050 w 294322"/>
                  <a:gd name="connsiteY95" fmla="*/ 324802 h 370522"/>
                  <a:gd name="connsiteX96" fmla="*/ 15240 w 294322"/>
                  <a:gd name="connsiteY96" fmla="*/ 319088 h 370522"/>
                  <a:gd name="connsiteX97" fmla="*/ 11430 w 294322"/>
                  <a:gd name="connsiteY97" fmla="*/ 313372 h 370522"/>
                  <a:gd name="connsiteX98" fmla="*/ 8573 w 294322"/>
                  <a:gd name="connsiteY98" fmla="*/ 306705 h 370522"/>
                  <a:gd name="connsiteX99" fmla="*/ 5715 w 294322"/>
                  <a:gd name="connsiteY99" fmla="*/ 300038 h 370522"/>
                  <a:gd name="connsiteX100" fmla="*/ 3810 w 294322"/>
                  <a:gd name="connsiteY100" fmla="*/ 293370 h 370522"/>
                  <a:gd name="connsiteX101" fmla="*/ 1905 w 294322"/>
                  <a:gd name="connsiteY101" fmla="*/ 285750 h 370522"/>
                  <a:gd name="connsiteX102" fmla="*/ 953 w 294322"/>
                  <a:gd name="connsiteY102" fmla="*/ 278130 h 370522"/>
                  <a:gd name="connsiteX103" fmla="*/ 0 w 294322"/>
                  <a:gd name="connsiteY103" fmla="*/ 270510 h 370522"/>
                  <a:gd name="connsiteX104" fmla="*/ 0 w 294322"/>
                  <a:gd name="connsiteY104" fmla="*/ 262890 h 370522"/>
                  <a:gd name="connsiteX105" fmla="*/ 0 w 294322"/>
                  <a:gd name="connsiteY105" fmla="*/ 257175 h 370522"/>
                  <a:gd name="connsiteX106" fmla="*/ 0 w 294322"/>
                  <a:gd name="connsiteY106" fmla="*/ 251460 h 370522"/>
                  <a:gd name="connsiteX107" fmla="*/ 953 w 294322"/>
                  <a:gd name="connsiteY107" fmla="*/ 245745 h 370522"/>
                  <a:gd name="connsiteX108" fmla="*/ 1905 w 294322"/>
                  <a:gd name="connsiteY108" fmla="*/ 240030 h 370522"/>
                  <a:gd name="connsiteX109" fmla="*/ 2858 w 294322"/>
                  <a:gd name="connsiteY109" fmla="*/ 234315 h 370522"/>
                  <a:gd name="connsiteX110" fmla="*/ 3810 w 294322"/>
                  <a:gd name="connsiteY110" fmla="*/ 229552 h 370522"/>
                  <a:gd name="connsiteX111" fmla="*/ 4763 w 294322"/>
                  <a:gd name="connsiteY111" fmla="*/ 224790 h 370522"/>
                  <a:gd name="connsiteX112" fmla="*/ 5715 w 294322"/>
                  <a:gd name="connsiteY112" fmla="*/ 220027 h 370522"/>
                  <a:gd name="connsiteX113" fmla="*/ 7620 w 294322"/>
                  <a:gd name="connsiteY113" fmla="*/ 215265 h 370522"/>
                  <a:gd name="connsiteX114" fmla="*/ 9525 w 294322"/>
                  <a:gd name="connsiteY114" fmla="*/ 211455 h 370522"/>
                  <a:gd name="connsiteX115" fmla="*/ 11430 w 294322"/>
                  <a:gd name="connsiteY115" fmla="*/ 207645 h 370522"/>
                  <a:gd name="connsiteX116" fmla="*/ 13335 w 294322"/>
                  <a:gd name="connsiteY116" fmla="*/ 203835 h 370522"/>
                  <a:gd name="connsiteX117" fmla="*/ 16193 w 294322"/>
                  <a:gd name="connsiteY117" fmla="*/ 200025 h 370522"/>
                  <a:gd name="connsiteX118" fmla="*/ 19050 w 294322"/>
                  <a:gd name="connsiteY118" fmla="*/ 196215 h 370522"/>
                  <a:gd name="connsiteX119" fmla="*/ 21908 w 294322"/>
                  <a:gd name="connsiteY119" fmla="*/ 192405 h 370522"/>
                  <a:gd name="connsiteX120" fmla="*/ 24765 w 294322"/>
                  <a:gd name="connsiteY120" fmla="*/ 188595 h 370522"/>
                  <a:gd name="connsiteX121" fmla="*/ 27623 w 294322"/>
                  <a:gd name="connsiteY121" fmla="*/ 185738 h 370522"/>
                  <a:gd name="connsiteX122" fmla="*/ 30480 w 294322"/>
                  <a:gd name="connsiteY122" fmla="*/ 182880 h 370522"/>
                  <a:gd name="connsiteX123" fmla="*/ 33338 w 294322"/>
                  <a:gd name="connsiteY123" fmla="*/ 180022 h 370522"/>
                  <a:gd name="connsiteX124" fmla="*/ 37148 w 294322"/>
                  <a:gd name="connsiteY124" fmla="*/ 177165 h 370522"/>
                  <a:gd name="connsiteX125" fmla="*/ 40958 w 294322"/>
                  <a:gd name="connsiteY125" fmla="*/ 174307 h 370522"/>
                  <a:gd name="connsiteX126" fmla="*/ 44768 w 294322"/>
                  <a:gd name="connsiteY126" fmla="*/ 171450 h 370522"/>
                  <a:gd name="connsiteX127" fmla="*/ 48578 w 294322"/>
                  <a:gd name="connsiteY127" fmla="*/ 168592 h 370522"/>
                  <a:gd name="connsiteX128" fmla="*/ 52388 w 294322"/>
                  <a:gd name="connsiteY128" fmla="*/ 165735 h 370522"/>
                  <a:gd name="connsiteX129" fmla="*/ 56198 w 294322"/>
                  <a:gd name="connsiteY129" fmla="*/ 163830 h 370522"/>
                  <a:gd name="connsiteX130" fmla="*/ 60008 w 294322"/>
                  <a:gd name="connsiteY130" fmla="*/ 160972 h 370522"/>
                  <a:gd name="connsiteX131" fmla="*/ 64770 w 294322"/>
                  <a:gd name="connsiteY131" fmla="*/ 159067 h 370522"/>
                  <a:gd name="connsiteX132" fmla="*/ 69533 w 294322"/>
                  <a:gd name="connsiteY132" fmla="*/ 157163 h 370522"/>
                  <a:gd name="connsiteX133" fmla="*/ 79058 w 294322"/>
                  <a:gd name="connsiteY133" fmla="*/ 153352 h 370522"/>
                  <a:gd name="connsiteX134" fmla="*/ 89535 w 294322"/>
                  <a:gd name="connsiteY134" fmla="*/ 150495 h 370522"/>
                  <a:gd name="connsiteX135" fmla="*/ 100013 w 294322"/>
                  <a:gd name="connsiteY135" fmla="*/ 147638 h 370522"/>
                  <a:gd name="connsiteX136" fmla="*/ 111443 w 294322"/>
                  <a:gd name="connsiteY136" fmla="*/ 145732 h 370522"/>
                  <a:gd name="connsiteX137" fmla="*/ 122873 w 294322"/>
                  <a:gd name="connsiteY137" fmla="*/ 143827 h 370522"/>
                  <a:gd name="connsiteX138" fmla="*/ 135255 w 294322"/>
                  <a:gd name="connsiteY138" fmla="*/ 142875 h 370522"/>
                  <a:gd name="connsiteX139" fmla="*/ 148590 w 294322"/>
                  <a:gd name="connsiteY139" fmla="*/ 141922 h 370522"/>
                  <a:gd name="connsiteX140" fmla="*/ 161925 w 294322"/>
                  <a:gd name="connsiteY140" fmla="*/ 140970 h 370522"/>
                  <a:gd name="connsiteX141" fmla="*/ 176213 w 294322"/>
                  <a:gd name="connsiteY141" fmla="*/ 140970 h 370522"/>
                  <a:gd name="connsiteX142" fmla="*/ 191453 w 294322"/>
                  <a:gd name="connsiteY142" fmla="*/ 140970 h 370522"/>
                  <a:gd name="connsiteX143" fmla="*/ 209550 w 294322"/>
                  <a:gd name="connsiteY143" fmla="*/ 140970 h 370522"/>
                  <a:gd name="connsiteX144" fmla="*/ 209550 w 294322"/>
                  <a:gd name="connsiteY144" fmla="*/ 127635 h 370522"/>
                  <a:gd name="connsiteX145" fmla="*/ 209550 w 294322"/>
                  <a:gd name="connsiteY145" fmla="*/ 120015 h 370522"/>
                  <a:gd name="connsiteX146" fmla="*/ 208598 w 294322"/>
                  <a:gd name="connsiteY146" fmla="*/ 113347 h 370522"/>
                  <a:gd name="connsiteX147" fmla="*/ 206693 w 294322"/>
                  <a:gd name="connsiteY147" fmla="*/ 106680 h 370522"/>
                  <a:gd name="connsiteX148" fmla="*/ 204788 w 294322"/>
                  <a:gd name="connsiteY148" fmla="*/ 100013 h 370522"/>
                  <a:gd name="connsiteX149" fmla="*/ 202883 w 294322"/>
                  <a:gd name="connsiteY149" fmla="*/ 94297 h 370522"/>
                  <a:gd name="connsiteX150" fmla="*/ 200025 w 294322"/>
                  <a:gd name="connsiteY150" fmla="*/ 88582 h 370522"/>
                  <a:gd name="connsiteX151" fmla="*/ 196215 w 294322"/>
                  <a:gd name="connsiteY151" fmla="*/ 82867 h 370522"/>
                  <a:gd name="connsiteX152" fmla="*/ 192405 w 294322"/>
                  <a:gd name="connsiteY152" fmla="*/ 78105 h 370522"/>
                  <a:gd name="connsiteX153" fmla="*/ 190500 w 294322"/>
                  <a:gd name="connsiteY153" fmla="*/ 75247 h 370522"/>
                  <a:gd name="connsiteX154" fmla="*/ 188595 w 294322"/>
                  <a:gd name="connsiteY154" fmla="*/ 73342 h 370522"/>
                  <a:gd name="connsiteX155" fmla="*/ 185738 w 294322"/>
                  <a:gd name="connsiteY155" fmla="*/ 71438 h 370522"/>
                  <a:gd name="connsiteX156" fmla="*/ 182880 w 294322"/>
                  <a:gd name="connsiteY156" fmla="*/ 69532 h 370522"/>
                  <a:gd name="connsiteX157" fmla="*/ 180023 w 294322"/>
                  <a:gd name="connsiteY157" fmla="*/ 67627 h 370522"/>
                  <a:gd name="connsiteX158" fmla="*/ 177165 w 294322"/>
                  <a:gd name="connsiteY158" fmla="*/ 66675 h 370522"/>
                  <a:gd name="connsiteX159" fmla="*/ 174308 w 294322"/>
                  <a:gd name="connsiteY159" fmla="*/ 65722 h 370522"/>
                  <a:gd name="connsiteX160" fmla="*/ 171450 w 294322"/>
                  <a:gd name="connsiteY160" fmla="*/ 64770 h 370522"/>
                  <a:gd name="connsiteX161" fmla="*/ 168593 w 294322"/>
                  <a:gd name="connsiteY161" fmla="*/ 63817 h 370522"/>
                  <a:gd name="connsiteX162" fmla="*/ 164783 w 294322"/>
                  <a:gd name="connsiteY162" fmla="*/ 62865 h 370522"/>
                  <a:gd name="connsiteX163" fmla="*/ 160973 w 294322"/>
                  <a:gd name="connsiteY163" fmla="*/ 61913 h 370522"/>
                  <a:gd name="connsiteX164" fmla="*/ 157163 w 294322"/>
                  <a:gd name="connsiteY164" fmla="*/ 60960 h 370522"/>
                  <a:gd name="connsiteX165" fmla="*/ 149543 w 294322"/>
                  <a:gd name="connsiteY165" fmla="*/ 60007 h 370522"/>
                  <a:gd name="connsiteX166" fmla="*/ 140970 w 294322"/>
                  <a:gd name="connsiteY166" fmla="*/ 60007 h 370522"/>
                  <a:gd name="connsiteX167" fmla="*/ 133350 w 294322"/>
                  <a:gd name="connsiteY167" fmla="*/ 60007 h 370522"/>
                  <a:gd name="connsiteX168" fmla="*/ 125730 w 294322"/>
                  <a:gd name="connsiteY168" fmla="*/ 60960 h 370522"/>
                  <a:gd name="connsiteX169" fmla="*/ 118110 w 294322"/>
                  <a:gd name="connsiteY169" fmla="*/ 61913 h 370522"/>
                  <a:gd name="connsiteX170" fmla="*/ 111443 w 294322"/>
                  <a:gd name="connsiteY170" fmla="*/ 62865 h 370522"/>
                  <a:gd name="connsiteX171" fmla="*/ 103823 w 294322"/>
                  <a:gd name="connsiteY171" fmla="*/ 64770 h 370522"/>
                  <a:gd name="connsiteX172" fmla="*/ 97155 w 294322"/>
                  <a:gd name="connsiteY172" fmla="*/ 66675 h 370522"/>
                  <a:gd name="connsiteX173" fmla="*/ 90488 w 294322"/>
                  <a:gd name="connsiteY173" fmla="*/ 69532 h 370522"/>
                  <a:gd name="connsiteX174" fmla="*/ 83820 w 294322"/>
                  <a:gd name="connsiteY174" fmla="*/ 72390 h 370522"/>
                  <a:gd name="connsiteX175" fmla="*/ 77153 w 294322"/>
                  <a:gd name="connsiteY175" fmla="*/ 75247 h 370522"/>
                  <a:gd name="connsiteX176" fmla="*/ 70485 w 294322"/>
                  <a:gd name="connsiteY176" fmla="*/ 78105 h 370522"/>
                  <a:gd name="connsiteX177" fmla="*/ 64770 w 294322"/>
                  <a:gd name="connsiteY177" fmla="*/ 80963 h 370522"/>
                  <a:gd name="connsiteX178" fmla="*/ 59055 w 294322"/>
                  <a:gd name="connsiteY178" fmla="*/ 83820 h 370522"/>
                  <a:gd name="connsiteX179" fmla="*/ 53340 w 294322"/>
                  <a:gd name="connsiteY179" fmla="*/ 86677 h 370522"/>
                  <a:gd name="connsiteX180" fmla="*/ 48578 w 294322"/>
                  <a:gd name="connsiteY180" fmla="*/ 89535 h 370522"/>
                  <a:gd name="connsiteX181" fmla="*/ 44768 w 294322"/>
                  <a:gd name="connsiteY181" fmla="*/ 92392 h 370522"/>
                  <a:gd name="connsiteX182" fmla="*/ 40958 w 294322"/>
                  <a:gd name="connsiteY182" fmla="*/ 96202 h 370522"/>
                  <a:gd name="connsiteX183" fmla="*/ 40958 w 294322"/>
                  <a:gd name="connsiteY183" fmla="*/ 96202 h 370522"/>
                  <a:gd name="connsiteX184" fmla="*/ 210503 w 294322"/>
                  <a:gd name="connsiteY184" fmla="*/ 211455 h 370522"/>
                  <a:gd name="connsiteX185" fmla="*/ 210503 w 294322"/>
                  <a:gd name="connsiteY185" fmla="*/ 191452 h 370522"/>
                  <a:gd name="connsiteX186" fmla="*/ 202883 w 294322"/>
                  <a:gd name="connsiteY186" fmla="*/ 191452 h 370522"/>
                  <a:gd name="connsiteX187" fmla="*/ 187643 w 294322"/>
                  <a:gd name="connsiteY187" fmla="*/ 191452 h 370522"/>
                  <a:gd name="connsiteX188" fmla="*/ 174308 w 294322"/>
                  <a:gd name="connsiteY188" fmla="*/ 192405 h 370522"/>
                  <a:gd name="connsiteX189" fmla="*/ 161925 w 294322"/>
                  <a:gd name="connsiteY189" fmla="*/ 193358 h 370522"/>
                  <a:gd name="connsiteX190" fmla="*/ 149543 w 294322"/>
                  <a:gd name="connsiteY190" fmla="*/ 195263 h 370522"/>
                  <a:gd name="connsiteX191" fmla="*/ 139065 w 294322"/>
                  <a:gd name="connsiteY191" fmla="*/ 197167 h 370522"/>
                  <a:gd name="connsiteX192" fmla="*/ 129540 w 294322"/>
                  <a:gd name="connsiteY192" fmla="*/ 200025 h 370522"/>
                  <a:gd name="connsiteX193" fmla="*/ 124778 w 294322"/>
                  <a:gd name="connsiteY193" fmla="*/ 201930 h 370522"/>
                  <a:gd name="connsiteX194" fmla="*/ 120968 w 294322"/>
                  <a:gd name="connsiteY194" fmla="*/ 202883 h 370522"/>
                  <a:gd name="connsiteX195" fmla="*/ 117158 w 294322"/>
                  <a:gd name="connsiteY195" fmla="*/ 204788 h 370522"/>
                  <a:gd name="connsiteX196" fmla="*/ 113348 w 294322"/>
                  <a:gd name="connsiteY196" fmla="*/ 206692 h 370522"/>
                  <a:gd name="connsiteX197" fmla="*/ 109538 w 294322"/>
                  <a:gd name="connsiteY197" fmla="*/ 208597 h 370522"/>
                  <a:gd name="connsiteX198" fmla="*/ 106680 w 294322"/>
                  <a:gd name="connsiteY198" fmla="*/ 210502 h 370522"/>
                  <a:gd name="connsiteX199" fmla="*/ 103823 w 294322"/>
                  <a:gd name="connsiteY199" fmla="*/ 213360 h 370522"/>
                  <a:gd name="connsiteX200" fmla="*/ 100965 w 294322"/>
                  <a:gd name="connsiteY200" fmla="*/ 216217 h 370522"/>
                  <a:gd name="connsiteX201" fmla="*/ 98108 w 294322"/>
                  <a:gd name="connsiteY201" fmla="*/ 219075 h 370522"/>
                  <a:gd name="connsiteX202" fmla="*/ 95250 w 294322"/>
                  <a:gd name="connsiteY202" fmla="*/ 221933 h 370522"/>
                  <a:gd name="connsiteX203" fmla="*/ 93345 w 294322"/>
                  <a:gd name="connsiteY203" fmla="*/ 224790 h 370522"/>
                  <a:gd name="connsiteX204" fmla="*/ 91440 w 294322"/>
                  <a:gd name="connsiteY204" fmla="*/ 227647 h 370522"/>
                  <a:gd name="connsiteX205" fmla="*/ 89535 w 294322"/>
                  <a:gd name="connsiteY205" fmla="*/ 231458 h 370522"/>
                  <a:gd name="connsiteX206" fmla="*/ 88583 w 294322"/>
                  <a:gd name="connsiteY206" fmla="*/ 235267 h 370522"/>
                  <a:gd name="connsiteX207" fmla="*/ 86678 w 294322"/>
                  <a:gd name="connsiteY207" fmla="*/ 239077 h 370522"/>
                  <a:gd name="connsiteX208" fmla="*/ 85725 w 294322"/>
                  <a:gd name="connsiteY208" fmla="*/ 242888 h 370522"/>
                  <a:gd name="connsiteX209" fmla="*/ 84773 w 294322"/>
                  <a:gd name="connsiteY209" fmla="*/ 246697 h 370522"/>
                  <a:gd name="connsiteX210" fmla="*/ 82868 w 294322"/>
                  <a:gd name="connsiteY210" fmla="*/ 249555 h 370522"/>
                  <a:gd name="connsiteX211" fmla="*/ 82868 w 294322"/>
                  <a:gd name="connsiteY211" fmla="*/ 254317 h 370522"/>
                  <a:gd name="connsiteX212" fmla="*/ 82868 w 294322"/>
                  <a:gd name="connsiteY212" fmla="*/ 259080 h 370522"/>
                  <a:gd name="connsiteX213" fmla="*/ 82868 w 294322"/>
                  <a:gd name="connsiteY213" fmla="*/ 264795 h 370522"/>
                  <a:gd name="connsiteX214" fmla="*/ 83820 w 294322"/>
                  <a:gd name="connsiteY214" fmla="*/ 270510 h 370522"/>
                  <a:gd name="connsiteX215" fmla="*/ 84773 w 294322"/>
                  <a:gd name="connsiteY215" fmla="*/ 276225 h 370522"/>
                  <a:gd name="connsiteX216" fmla="*/ 86678 w 294322"/>
                  <a:gd name="connsiteY216" fmla="*/ 280988 h 370522"/>
                  <a:gd name="connsiteX217" fmla="*/ 88583 w 294322"/>
                  <a:gd name="connsiteY217" fmla="*/ 285750 h 370522"/>
                  <a:gd name="connsiteX218" fmla="*/ 91440 w 294322"/>
                  <a:gd name="connsiteY218" fmla="*/ 290513 h 370522"/>
                  <a:gd name="connsiteX219" fmla="*/ 94298 w 294322"/>
                  <a:gd name="connsiteY219" fmla="*/ 294322 h 370522"/>
                  <a:gd name="connsiteX220" fmla="*/ 98108 w 294322"/>
                  <a:gd name="connsiteY220" fmla="*/ 298133 h 370522"/>
                  <a:gd name="connsiteX221" fmla="*/ 101918 w 294322"/>
                  <a:gd name="connsiteY221" fmla="*/ 301942 h 370522"/>
                  <a:gd name="connsiteX222" fmla="*/ 105728 w 294322"/>
                  <a:gd name="connsiteY222" fmla="*/ 304800 h 370522"/>
                  <a:gd name="connsiteX223" fmla="*/ 110490 w 294322"/>
                  <a:gd name="connsiteY223" fmla="*/ 307658 h 370522"/>
                  <a:gd name="connsiteX224" fmla="*/ 115253 w 294322"/>
                  <a:gd name="connsiteY224" fmla="*/ 309563 h 370522"/>
                  <a:gd name="connsiteX225" fmla="*/ 120968 w 294322"/>
                  <a:gd name="connsiteY225" fmla="*/ 311467 h 370522"/>
                  <a:gd name="connsiteX226" fmla="*/ 126683 w 294322"/>
                  <a:gd name="connsiteY226" fmla="*/ 312420 h 370522"/>
                  <a:gd name="connsiteX227" fmla="*/ 132398 w 294322"/>
                  <a:gd name="connsiteY227" fmla="*/ 313372 h 370522"/>
                  <a:gd name="connsiteX228" fmla="*/ 139065 w 294322"/>
                  <a:gd name="connsiteY228" fmla="*/ 313372 h 370522"/>
                  <a:gd name="connsiteX229" fmla="*/ 143828 w 294322"/>
                  <a:gd name="connsiteY229" fmla="*/ 313372 h 370522"/>
                  <a:gd name="connsiteX230" fmla="*/ 148590 w 294322"/>
                  <a:gd name="connsiteY230" fmla="*/ 313372 h 370522"/>
                  <a:gd name="connsiteX231" fmla="*/ 152400 w 294322"/>
                  <a:gd name="connsiteY231" fmla="*/ 312420 h 370522"/>
                  <a:gd name="connsiteX232" fmla="*/ 156210 w 294322"/>
                  <a:gd name="connsiteY232" fmla="*/ 311467 h 370522"/>
                  <a:gd name="connsiteX233" fmla="*/ 160020 w 294322"/>
                  <a:gd name="connsiteY233" fmla="*/ 310515 h 370522"/>
                  <a:gd name="connsiteX234" fmla="*/ 163830 w 294322"/>
                  <a:gd name="connsiteY234" fmla="*/ 309563 h 370522"/>
                  <a:gd name="connsiteX235" fmla="*/ 167640 w 294322"/>
                  <a:gd name="connsiteY235" fmla="*/ 308610 h 370522"/>
                  <a:gd name="connsiteX236" fmla="*/ 171450 w 294322"/>
                  <a:gd name="connsiteY236" fmla="*/ 306705 h 370522"/>
                  <a:gd name="connsiteX237" fmla="*/ 175260 w 294322"/>
                  <a:gd name="connsiteY237" fmla="*/ 304800 h 370522"/>
                  <a:gd name="connsiteX238" fmla="*/ 178118 w 294322"/>
                  <a:gd name="connsiteY238" fmla="*/ 302895 h 370522"/>
                  <a:gd name="connsiteX239" fmla="*/ 180975 w 294322"/>
                  <a:gd name="connsiteY239" fmla="*/ 300990 h 370522"/>
                  <a:gd name="connsiteX240" fmla="*/ 183833 w 294322"/>
                  <a:gd name="connsiteY240" fmla="*/ 298133 h 370522"/>
                  <a:gd name="connsiteX241" fmla="*/ 186690 w 294322"/>
                  <a:gd name="connsiteY241" fmla="*/ 295275 h 370522"/>
                  <a:gd name="connsiteX242" fmla="*/ 189548 w 294322"/>
                  <a:gd name="connsiteY242" fmla="*/ 292417 h 370522"/>
                  <a:gd name="connsiteX243" fmla="*/ 192405 w 294322"/>
                  <a:gd name="connsiteY243" fmla="*/ 289560 h 370522"/>
                  <a:gd name="connsiteX244" fmla="*/ 194310 w 294322"/>
                  <a:gd name="connsiteY244" fmla="*/ 286702 h 370522"/>
                  <a:gd name="connsiteX245" fmla="*/ 196215 w 294322"/>
                  <a:gd name="connsiteY245" fmla="*/ 282892 h 370522"/>
                  <a:gd name="connsiteX246" fmla="*/ 198120 w 294322"/>
                  <a:gd name="connsiteY246" fmla="*/ 279083 h 370522"/>
                  <a:gd name="connsiteX247" fmla="*/ 200025 w 294322"/>
                  <a:gd name="connsiteY247" fmla="*/ 275272 h 370522"/>
                  <a:gd name="connsiteX248" fmla="*/ 201930 w 294322"/>
                  <a:gd name="connsiteY248" fmla="*/ 271463 h 370522"/>
                  <a:gd name="connsiteX249" fmla="*/ 202883 w 294322"/>
                  <a:gd name="connsiteY249" fmla="*/ 267652 h 370522"/>
                  <a:gd name="connsiteX250" fmla="*/ 203835 w 294322"/>
                  <a:gd name="connsiteY250" fmla="*/ 263842 h 370522"/>
                  <a:gd name="connsiteX251" fmla="*/ 204788 w 294322"/>
                  <a:gd name="connsiteY251" fmla="*/ 259080 h 370522"/>
                  <a:gd name="connsiteX252" fmla="*/ 205740 w 294322"/>
                  <a:gd name="connsiteY252" fmla="*/ 254317 h 370522"/>
                  <a:gd name="connsiteX253" fmla="*/ 207645 w 294322"/>
                  <a:gd name="connsiteY253" fmla="*/ 243840 h 370522"/>
                  <a:gd name="connsiteX254" fmla="*/ 209550 w 294322"/>
                  <a:gd name="connsiteY254" fmla="*/ 233363 h 370522"/>
                  <a:gd name="connsiteX255" fmla="*/ 210503 w 294322"/>
                  <a:gd name="connsiteY255" fmla="*/ 221933 h 370522"/>
                  <a:gd name="connsiteX256" fmla="*/ 210503 w 294322"/>
                  <a:gd name="connsiteY256" fmla="*/ 211455 h 370522"/>
                  <a:gd name="connsiteX257" fmla="*/ 210503 w 294322"/>
                  <a:gd name="connsiteY257" fmla="*/ 211455 h 370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</a:cxnLst>
                <a:rect l="l" t="t" r="r" b="b"/>
                <a:pathLst>
                  <a:path w="294322" h="370522">
                    <a:moveTo>
                      <a:pt x="40958" y="96202"/>
                    </a:moveTo>
                    <a:lnTo>
                      <a:pt x="36195" y="25717"/>
                    </a:lnTo>
                    <a:lnTo>
                      <a:pt x="48578" y="20002"/>
                    </a:lnTo>
                    <a:lnTo>
                      <a:pt x="60960" y="14288"/>
                    </a:lnTo>
                    <a:lnTo>
                      <a:pt x="74295" y="9525"/>
                    </a:lnTo>
                    <a:lnTo>
                      <a:pt x="87630" y="5715"/>
                    </a:lnTo>
                    <a:lnTo>
                      <a:pt x="94298" y="3810"/>
                    </a:lnTo>
                    <a:lnTo>
                      <a:pt x="100965" y="2857"/>
                    </a:lnTo>
                    <a:lnTo>
                      <a:pt x="108585" y="1905"/>
                    </a:lnTo>
                    <a:lnTo>
                      <a:pt x="116205" y="952"/>
                    </a:lnTo>
                    <a:lnTo>
                      <a:pt x="123825" y="0"/>
                    </a:lnTo>
                    <a:lnTo>
                      <a:pt x="132398" y="0"/>
                    </a:lnTo>
                    <a:lnTo>
                      <a:pt x="140970" y="0"/>
                    </a:lnTo>
                    <a:lnTo>
                      <a:pt x="150495" y="0"/>
                    </a:lnTo>
                    <a:lnTo>
                      <a:pt x="163830" y="0"/>
                    </a:lnTo>
                    <a:lnTo>
                      <a:pt x="176213" y="952"/>
                    </a:lnTo>
                    <a:lnTo>
                      <a:pt x="187643" y="1905"/>
                    </a:lnTo>
                    <a:lnTo>
                      <a:pt x="199073" y="3810"/>
                    </a:lnTo>
                    <a:lnTo>
                      <a:pt x="209550" y="5715"/>
                    </a:lnTo>
                    <a:lnTo>
                      <a:pt x="219075" y="8572"/>
                    </a:lnTo>
                    <a:lnTo>
                      <a:pt x="223838" y="10477"/>
                    </a:lnTo>
                    <a:lnTo>
                      <a:pt x="227648" y="12382"/>
                    </a:lnTo>
                    <a:lnTo>
                      <a:pt x="231458" y="14288"/>
                    </a:lnTo>
                    <a:lnTo>
                      <a:pt x="235268" y="16192"/>
                    </a:lnTo>
                    <a:lnTo>
                      <a:pt x="242888" y="20955"/>
                    </a:lnTo>
                    <a:lnTo>
                      <a:pt x="249555" y="25717"/>
                    </a:lnTo>
                    <a:lnTo>
                      <a:pt x="252413" y="28575"/>
                    </a:lnTo>
                    <a:lnTo>
                      <a:pt x="255270" y="31432"/>
                    </a:lnTo>
                    <a:lnTo>
                      <a:pt x="258128" y="34290"/>
                    </a:lnTo>
                    <a:lnTo>
                      <a:pt x="260985" y="37147"/>
                    </a:lnTo>
                    <a:lnTo>
                      <a:pt x="263843" y="40005"/>
                    </a:lnTo>
                    <a:lnTo>
                      <a:pt x="266700" y="42863"/>
                    </a:lnTo>
                    <a:lnTo>
                      <a:pt x="269558" y="45720"/>
                    </a:lnTo>
                    <a:lnTo>
                      <a:pt x="271463" y="49530"/>
                    </a:lnTo>
                    <a:lnTo>
                      <a:pt x="273368" y="53340"/>
                    </a:lnTo>
                    <a:lnTo>
                      <a:pt x="275273" y="57150"/>
                    </a:lnTo>
                    <a:lnTo>
                      <a:pt x="277178" y="60960"/>
                    </a:lnTo>
                    <a:lnTo>
                      <a:pt x="278130" y="64770"/>
                    </a:lnTo>
                    <a:lnTo>
                      <a:pt x="280988" y="72390"/>
                    </a:lnTo>
                    <a:lnTo>
                      <a:pt x="283845" y="80963"/>
                    </a:lnTo>
                    <a:lnTo>
                      <a:pt x="285750" y="90488"/>
                    </a:lnTo>
                    <a:lnTo>
                      <a:pt x="287655" y="100013"/>
                    </a:lnTo>
                    <a:lnTo>
                      <a:pt x="288608" y="110490"/>
                    </a:lnTo>
                    <a:lnTo>
                      <a:pt x="289560" y="120967"/>
                    </a:lnTo>
                    <a:lnTo>
                      <a:pt x="290513" y="132397"/>
                    </a:lnTo>
                    <a:lnTo>
                      <a:pt x="290513" y="143827"/>
                    </a:lnTo>
                    <a:lnTo>
                      <a:pt x="290513" y="302895"/>
                    </a:lnTo>
                    <a:lnTo>
                      <a:pt x="290513" y="310515"/>
                    </a:lnTo>
                    <a:lnTo>
                      <a:pt x="290513" y="319088"/>
                    </a:lnTo>
                    <a:lnTo>
                      <a:pt x="290513" y="326708"/>
                    </a:lnTo>
                    <a:lnTo>
                      <a:pt x="290513" y="334327"/>
                    </a:lnTo>
                    <a:lnTo>
                      <a:pt x="291465" y="342900"/>
                    </a:lnTo>
                    <a:lnTo>
                      <a:pt x="292418" y="350520"/>
                    </a:lnTo>
                    <a:lnTo>
                      <a:pt x="293370" y="358140"/>
                    </a:lnTo>
                    <a:lnTo>
                      <a:pt x="294323" y="365760"/>
                    </a:lnTo>
                    <a:lnTo>
                      <a:pt x="214313" y="365760"/>
                    </a:lnTo>
                    <a:lnTo>
                      <a:pt x="213360" y="360997"/>
                    </a:lnTo>
                    <a:lnTo>
                      <a:pt x="212408" y="356235"/>
                    </a:lnTo>
                    <a:lnTo>
                      <a:pt x="211455" y="350520"/>
                    </a:lnTo>
                    <a:lnTo>
                      <a:pt x="210503" y="344805"/>
                    </a:lnTo>
                    <a:lnTo>
                      <a:pt x="210503" y="338138"/>
                    </a:lnTo>
                    <a:lnTo>
                      <a:pt x="210503" y="331470"/>
                    </a:lnTo>
                    <a:lnTo>
                      <a:pt x="210503" y="323850"/>
                    </a:lnTo>
                    <a:lnTo>
                      <a:pt x="210503" y="316230"/>
                    </a:lnTo>
                    <a:lnTo>
                      <a:pt x="209550" y="316230"/>
                    </a:lnTo>
                    <a:lnTo>
                      <a:pt x="204788" y="322897"/>
                    </a:lnTo>
                    <a:lnTo>
                      <a:pt x="200025" y="328613"/>
                    </a:lnTo>
                    <a:lnTo>
                      <a:pt x="194310" y="334327"/>
                    </a:lnTo>
                    <a:lnTo>
                      <a:pt x="188595" y="340042"/>
                    </a:lnTo>
                    <a:lnTo>
                      <a:pt x="182880" y="344805"/>
                    </a:lnTo>
                    <a:lnTo>
                      <a:pt x="177165" y="348615"/>
                    </a:lnTo>
                    <a:lnTo>
                      <a:pt x="171450" y="352425"/>
                    </a:lnTo>
                    <a:lnTo>
                      <a:pt x="165735" y="356235"/>
                    </a:lnTo>
                    <a:lnTo>
                      <a:pt x="160020" y="359092"/>
                    </a:lnTo>
                    <a:lnTo>
                      <a:pt x="153353" y="361950"/>
                    </a:lnTo>
                    <a:lnTo>
                      <a:pt x="146685" y="364808"/>
                    </a:lnTo>
                    <a:lnTo>
                      <a:pt x="140018" y="366713"/>
                    </a:lnTo>
                    <a:lnTo>
                      <a:pt x="132398" y="368617"/>
                    </a:lnTo>
                    <a:lnTo>
                      <a:pt x="124778" y="369570"/>
                    </a:lnTo>
                    <a:lnTo>
                      <a:pt x="116205" y="370522"/>
                    </a:lnTo>
                    <a:lnTo>
                      <a:pt x="107633" y="370522"/>
                    </a:lnTo>
                    <a:lnTo>
                      <a:pt x="100965" y="370522"/>
                    </a:lnTo>
                    <a:lnTo>
                      <a:pt x="94298" y="369570"/>
                    </a:lnTo>
                    <a:lnTo>
                      <a:pt x="87630" y="368617"/>
                    </a:lnTo>
                    <a:lnTo>
                      <a:pt x="80963" y="367665"/>
                    </a:lnTo>
                    <a:lnTo>
                      <a:pt x="74295" y="365760"/>
                    </a:lnTo>
                    <a:lnTo>
                      <a:pt x="67628" y="362902"/>
                    </a:lnTo>
                    <a:lnTo>
                      <a:pt x="60960" y="360045"/>
                    </a:lnTo>
                    <a:lnTo>
                      <a:pt x="54293" y="357188"/>
                    </a:lnTo>
                    <a:lnTo>
                      <a:pt x="48578" y="353377"/>
                    </a:lnTo>
                    <a:lnTo>
                      <a:pt x="42863" y="349567"/>
                    </a:lnTo>
                    <a:lnTo>
                      <a:pt x="37148" y="345758"/>
                    </a:lnTo>
                    <a:lnTo>
                      <a:pt x="32385" y="340995"/>
                    </a:lnTo>
                    <a:lnTo>
                      <a:pt x="27623" y="336233"/>
                    </a:lnTo>
                    <a:lnTo>
                      <a:pt x="22860" y="330517"/>
                    </a:lnTo>
                    <a:lnTo>
                      <a:pt x="19050" y="324802"/>
                    </a:lnTo>
                    <a:lnTo>
                      <a:pt x="15240" y="319088"/>
                    </a:lnTo>
                    <a:lnTo>
                      <a:pt x="11430" y="313372"/>
                    </a:lnTo>
                    <a:lnTo>
                      <a:pt x="8573" y="306705"/>
                    </a:lnTo>
                    <a:lnTo>
                      <a:pt x="5715" y="300038"/>
                    </a:lnTo>
                    <a:lnTo>
                      <a:pt x="3810" y="293370"/>
                    </a:lnTo>
                    <a:lnTo>
                      <a:pt x="1905" y="285750"/>
                    </a:lnTo>
                    <a:lnTo>
                      <a:pt x="953" y="278130"/>
                    </a:lnTo>
                    <a:lnTo>
                      <a:pt x="0" y="270510"/>
                    </a:lnTo>
                    <a:lnTo>
                      <a:pt x="0" y="262890"/>
                    </a:lnTo>
                    <a:lnTo>
                      <a:pt x="0" y="257175"/>
                    </a:lnTo>
                    <a:lnTo>
                      <a:pt x="0" y="251460"/>
                    </a:lnTo>
                    <a:lnTo>
                      <a:pt x="953" y="245745"/>
                    </a:lnTo>
                    <a:lnTo>
                      <a:pt x="1905" y="240030"/>
                    </a:lnTo>
                    <a:lnTo>
                      <a:pt x="2858" y="234315"/>
                    </a:lnTo>
                    <a:lnTo>
                      <a:pt x="3810" y="229552"/>
                    </a:lnTo>
                    <a:lnTo>
                      <a:pt x="4763" y="224790"/>
                    </a:lnTo>
                    <a:lnTo>
                      <a:pt x="5715" y="220027"/>
                    </a:lnTo>
                    <a:lnTo>
                      <a:pt x="7620" y="215265"/>
                    </a:lnTo>
                    <a:lnTo>
                      <a:pt x="9525" y="211455"/>
                    </a:lnTo>
                    <a:lnTo>
                      <a:pt x="11430" y="207645"/>
                    </a:lnTo>
                    <a:lnTo>
                      <a:pt x="13335" y="203835"/>
                    </a:lnTo>
                    <a:lnTo>
                      <a:pt x="16193" y="200025"/>
                    </a:lnTo>
                    <a:lnTo>
                      <a:pt x="19050" y="196215"/>
                    </a:lnTo>
                    <a:lnTo>
                      <a:pt x="21908" y="192405"/>
                    </a:lnTo>
                    <a:lnTo>
                      <a:pt x="24765" y="188595"/>
                    </a:lnTo>
                    <a:lnTo>
                      <a:pt x="27623" y="185738"/>
                    </a:lnTo>
                    <a:lnTo>
                      <a:pt x="30480" y="182880"/>
                    </a:lnTo>
                    <a:lnTo>
                      <a:pt x="33338" y="180022"/>
                    </a:lnTo>
                    <a:lnTo>
                      <a:pt x="37148" y="177165"/>
                    </a:lnTo>
                    <a:lnTo>
                      <a:pt x="40958" y="174307"/>
                    </a:lnTo>
                    <a:lnTo>
                      <a:pt x="44768" y="171450"/>
                    </a:lnTo>
                    <a:lnTo>
                      <a:pt x="48578" y="168592"/>
                    </a:lnTo>
                    <a:lnTo>
                      <a:pt x="52388" y="165735"/>
                    </a:lnTo>
                    <a:lnTo>
                      <a:pt x="56198" y="163830"/>
                    </a:lnTo>
                    <a:lnTo>
                      <a:pt x="60008" y="160972"/>
                    </a:lnTo>
                    <a:lnTo>
                      <a:pt x="64770" y="159067"/>
                    </a:lnTo>
                    <a:lnTo>
                      <a:pt x="69533" y="157163"/>
                    </a:lnTo>
                    <a:lnTo>
                      <a:pt x="79058" y="153352"/>
                    </a:lnTo>
                    <a:lnTo>
                      <a:pt x="89535" y="150495"/>
                    </a:lnTo>
                    <a:lnTo>
                      <a:pt x="100013" y="147638"/>
                    </a:lnTo>
                    <a:lnTo>
                      <a:pt x="111443" y="145732"/>
                    </a:lnTo>
                    <a:lnTo>
                      <a:pt x="122873" y="143827"/>
                    </a:lnTo>
                    <a:lnTo>
                      <a:pt x="135255" y="142875"/>
                    </a:lnTo>
                    <a:lnTo>
                      <a:pt x="148590" y="141922"/>
                    </a:lnTo>
                    <a:lnTo>
                      <a:pt x="161925" y="140970"/>
                    </a:lnTo>
                    <a:lnTo>
                      <a:pt x="176213" y="140970"/>
                    </a:lnTo>
                    <a:lnTo>
                      <a:pt x="191453" y="140970"/>
                    </a:lnTo>
                    <a:lnTo>
                      <a:pt x="209550" y="140970"/>
                    </a:lnTo>
                    <a:lnTo>
                      <a:pt x="209550" y="127635"/>
                    </a:lnTo>
                    <a:lnTo>
                      <a:pt x="209550" y="120015"/>
                    </a:lnTo>
                    <a:lnTo>
                      <a:pt x="208598" y="113347"/>
                    </a:lnTo>
                    <a:lnTo>
                      <a:pt x="206693" y="106680"/>
                    </a:lnTo>
                    <a:lnTo>
                      <a:pt x="204788" y="100013"/>
                    </a:lnTo>
                    <a:lnTo>
                      <a:pt x="202883" y="94297"/>
                    </a:lnTo>
                    <a:lnTo>
                      <a:pt x="200025" y="88582"/>
                    </a:lnTo>
                    <a:lnTo>
                      <a:pt x="196215" y="82867"/>
                    </a:lnTo>
                    <a:lnTo>
                      <a:pt x="192405" y="78105"/>
                    </a:lnTo>
                    <a:lnTo>
                      <a:pt x="190500" y="75247"/>
                    </a:lnTo>
                    <a:lnTo>
                      <a:pt x="188595" y="73342"/>
                    </a:lnTo>
                    <a:lnTo>
                      <a:pt x="185738" y="71438"/>
                    </a:lnTo>
                    <a:lnTo>
                      <a:pt x="182880" y="69532"/>
                    </a:lnTo>
                    <a:lnTo>
                      <a:pt x="180023" y="67627"/>
                    </a:lnTo>
                    <a:lnTo>
                      <a:pt x="177165" y="66675"/>
                    </a:lnTo>
                    <a:lnTo>
                      <a:pt x="174308" y="65722"/>
                    </a:lnTo>
                    <a:lnTo>
                      <a:pt x="171450" y="64770"/>
                    </a:lnTo>
                    <a:lnTo>
                      <a:pt x="168593" y="63817"/>
                    </a:lnTo>
                    <a:lnTo>
                      <a:pt x="164783" y="62865"/>
                    </a:lnTo>
                    <a:lnTo>
                      <a:pt x="160973" y="61913"/>
                    </a:lnTo>
                    <a:lnTo>
                      <a:pt x="157163" y="60960"/>
                    </a:lnTo>
                    <a:lnTo>
                      <a:pt x="149543" y="60007"/>
                    </a:lnTo>
                    <a:lnTo>
                      <a:pt x="140970" y="60007"/>
                    </a:lnTo>
                    <a:lnTo>
                      <a:pt x="133350" y="60007"/>
                    </a:lnTo>
                    <a:lnTo>
                      <a:pt x="125730" y="60960"/>
                    </a:lnTo>
                    <a:lnTo>
                      <a:pt x="118110" y="61913"/>
                    </a:lnTo>
                    <a:lnTo>
                      <a:pt x="111443" y="62865"/>
                    </a:lnTo>
                    <a:lnTo>
                      <a:pt x="103823" y="64770"/>
                    </a:lnTo>
                    <a:lnTo>
                      <a:pt x="97155" y="66675"/>
                    </a:lnTo>
                    <a:lnTo>
                      <a:pt x="90488" y="69532"/>
                    </a:lnTo>
                    <a:lnTo>
                      <a:pt x="83820" y="72390"/>
                    </a:lnTo>
                    <a:lnTo>
                      <a:pt x="77153" y="75247"/>
                    </a:lnTo>
                    <a:lnTo>
                      <a:pt x="70485" y="78105"/>
                    </a:lnTo>
                    <a:lnTo>
                      <a:pt x="64770" y="80963"/>
                    </a:lnTo>
                    <a:lnTo>
                      <a:pt x="59055" y="83820"/>
                    </a:lnTo>
                    <a:lnTo>
                      <a:pt x="53340" y="86677"/>
                    </a:lnTo>
                    <a:lnTo>
                      <a:pt x="48578" y="89535"/>
                    </a:lnTo>
                    <a:lnTo>
                      <a:pt x="44768" y="92392"/>
                    </a:lnTo>
                    <a:lnTo>
                      <a:pt x="40958" y="96202"/>
                    </a:lnTo>
                    <a:lnTo>
                      <a:pt x="40958" y="96202"/>
                    </a:lnTo>
                    <a:close/>
                    <a:moveTo>
                      <a:pt x="210503" y="211455"/>
                    </a:moveTo>
                    <a:lnTo>
                      <a:pt x="210503" y="191452"/>
                    </a:lnTo>
                    <a:lnTo>
                      <a:pt x="202883" y="191452"/>
                    </a:lnTo>
                    <a:lnTo>
                      <a:pt x="187643" y="191452"/>
                    </a:lnTo>
                    <a:lnTo>
                      <a:pt x="174308" y="192405"/>
                    </a:lnTo>
                    <a:lnTo>
                      <a:pt x="161925" y="193358"/>
                    </a:lnTo>
                    <a:lnTo>
                      <a:pt x="149543" y="195263"/>
                    </a:lnTo>
                    <a:lnTo>
                      <a:pt x="139065" y="197167"/>
                    </a:lnTo>
                    <a:lnTo>
                      <a:pt x="129540" y="200025"/>
                    </a:lnTo>
                    <a:lnTo>
                      <a:pt x="124778" y="201930"/>
                    </a:lnTo>
                    <a:lnTo>
                      <a:pt x="120968" y="202883"/>
                    </a:lnTo>
                    <a:lnTo>
                      <a:pt x="117158" y="204788"/>
                    </a:lnTo>
                    <a:lnTo>
                      <a:pt x="113348" y="206692"/>
                    </a:lnTo>
                    <a:lnTo>
                      <a:pt x="109538" y="208597"/>
                    </a:lnTo>
                    <a:lnTo>
                      <a:pt x="106680" y="210502"/>
                    </a:lnTo>
                    <a:lnTo>
                      <a:pt x="103823" y="213360"/>
                    </a:lnTo>
                    <a:lnTo>
                      <a:pt x="100965" y="216217"/>
                    </a:lnTo>
                    <a:lnTo>
                      <a:pt x="98108" y="219075"/>
                    </a:lnTo>
                    <a:lnTo>
                      <a:pt x="95250" y="221933"/>
                    </a:lnTo>
                    <a:lnTo>
                      <a:pt x="93345" y="224790"/>
                    </a:lnTo>
                    <a:lnTo>
                      <a:pt x="91440" y="227647"/>
                    </a:lnTo>
                    <a:lnTo>
                      <a:pt x="89535" y="231458"/>
                    </a:lnTo>
                    <a:lnTo>
                      <a:pt x="88583" y="235267"/>
                    </a:lnTo>
                    <a:lnTo>
                      <a:pt x="86678" y="239077"/>
                    </a:lnTo>
                    <a:lnTo>
                      <a:pt x="85725" y="242888"/>
                    </a:lnTo>
                    <a:lnTo>
                      <a:pt x="84773" y="246697"/>
                    </a:lnTo>
                    <a:lnTo>
                      <a:pt x="82868" y="249555"/>
                    </a:lnTo>
                    <a:lnTo>
                      <a:pt x="82868" y="254317"/>
                    </a:lnTo>
                    <a:lnTo>
                      <a:pt x="82868" y="259080"/>
                    </a:lnTo>
                    <a:lnTo>
                      <a:pt x="82868" y="264795"/>
                    </a:lnTo>
                    <a:lnTo>
                      <a:pt x="83820" y="270510"/>
                    </a:lnTo>
                    <a:lnTo>
                      <a:pt x="84773" y="276225"/>
                    </a:lnTo>
                    <a:lnTo>
                      <a:pt x="86678" y="280988"/>
                    </a:lnTo>
                    <a:lnTo>
                      <a:pt x="88583" y="285750"/>
                    </a:lnTo>
                    <a:lnTo>
                      <a:pt x="91440" y="290513"/>
                    </a:lnTo>
                    <a:lnTo>
                      <a:pt x="94298" y="294322"/>
                    </a:lnTo>
                    <a:lnTo>
                      <a:pt x="98108" y="298133"/>
                    </a:lnTo>
                    <a:lnTo>
                      <a:pt x="101918" y="301942"/>
                    </a:lnTo>
                    <a:lnTo>
                      <a:pt x="105728" y="304800"/>
                    </a:lnTo>
                    <a:lnTo>
                      <a:pt x="110490" y="307658"/>
                    </a:lnTo>
                    <a:lnTo>
                      <a:pt x="115253" y="309563"/>
                    </a:lnTo>
                    <a:lnTo>
                      <a:pt x="120968" y="311467"/>
                    </a:lnTo>
                    <a:lnTo>
                      <a:pt x="126683" y="312420"/>
                    </a:lnTo>
                    <a:lnTo>
                      <a:pt x="132398" y="313372"/>
                    </a:lnTo>
                    <a:lnTo>
                      <a:pt x="139065" y="313372"/>
                    </a:lnTo>
                    <a:lnTo>
                      <a:pt x="143828" y="313372"/>
                    </a:lnTo>
                    <a:lnTo>
                      <a:pt x="148590" y="313372"/>
                    </a:lnTo>
                    <a:lnTo>
                      <a:pt x="152400" y="312420"/>
                    </a:lnTo>
                    <a:lnTo>
                      <a:pt x="156210" y="311467"/>
                    </a:lnTo>
                    <a:lnTo>
                      <a:pt x="160020" y="310515"/>
                    </a:lnTo>
                    <a:lnTo>
                      <a:pt x="163830" y="309563"/>
                    </a:lnTo>
                    <a:lnTo>
                      <a:pt x="167640" y="308610"/>
                    </a:lnTo>
                    <a:lnTo>
                      <a:pt x="171450" y="306705"/>
                    </a:lnTo>
                    <a:lnTo>
                      <a:pt x="175260" y="304800"/>
                    </a:lnTo>
                    <a:lnTo>
                      <a:pt x="178118" y="302895"/>
                    </a:lnTo>
                    <a:lnTo>
                      <a:pt x="180975" y="300990"/>
                    </a:lnTo>
                    <a:lnTo>
                      <a:pt x="183833" y="298133"/>
                    </a:lnTo>
                    <a:lnTo>
                      <a:pt x="186690" y="295275"/>
                    </a:lnTo>
                    <a:lnTo>
                      <a:pt x="189548" y="292417"/>
                    </a:lnTo>
                    <a:lnTo>
                      <a:pt x="192405" y="289560"/>
                    </a:lnTo>
                    <a:lnTo>
                      <a:pt x="194310" y="286702"/>
                    </a:lnTo>
                    <a:lnTo>
                      <a:pt x="196215" y="282892"/>
                    </a:lnTo>
                    <a:lnTo>
                      <a:pt x="198120" y="279083"/>
                    </a:lnTo>
                    <a:lnTo>
                      <a:pt x="200025" y="275272"/>
                    </a:lnTo>
                    <a:lnTo>
                      <a:pt x="201930" y="271463"/>
                    </a:lnTo>
                    <a:lnTo>
                      <a:pt x="202883" y="267652"/>
                    </a:lnTo>
                    <a:lnTo>
                      <a:pt x="203835" y="263842"/>
                    </a:lnTo>
                    <a:lnTo>
                      <a:pt x="204788" y="259080"/>
                    </a:lnTo>
                    <a:lnTo>
                      <a:pt x="205740" y="254317"/>
                    </a:lnTo>
                    <a:lnTo>
                      <a:pt x="207645" y="243840"/>
                    </a:lnTo>
                    <a:lnTo>
                      <a:pt x="209550" y="233363"/>
                    </a:lnTo>
                    <a:lnTo>
                      <a:pt x="210503" y="221933"/>
                    </a:lnTo>
                    <a:lnTo>
                      <a:pt x="210503" y="211455"/>
                    </a:lnTo>
                    <a:lnTo>
                      <a:pt x="210503" y="21145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7C55F856-4BA6-86BD-43D3-C46D533309D4}"/>
                  </a:ext>
                </a:extLst>
              </p:cNvPr>
              <p:cNvSpPr/>
              <p:nvPr/>
            </p:nvSpPr>
            <p:spPr>
              <a:xfrm>
                <a:off x="9466579" y="4807356"/>
                <a:ext cx="289559" cy="369569"/>
              </a:xfrm>
              <a:custGeom>
                <a:avLst/>
                <a:gdLst>
                  <a:gd name="connsiteX0" fmla="*/ 2857 w 289559"/>
                  <a:gd name="connsiteY0" fmla="*/ 369570 h 369569"/>
                  <a:gd name="connsiteX1" fmla="*/ 2857 w 289559"/>
                  <a:gd name="connsiteY1" fmla="*/ 65723 h 369569"/>
                  <a:gd name="connsiteX2" fmla="*/ 2857 w 289559"/>
                  <a:gd name="connsiteY2" fmla="*/ 56198 h 369569"/>
                  <a:gd name="connsiteX3" fmla="*/ 3810 w 289559"/>
                  <a:gd name="connsiteY3" fmla="*/ 47625 h 369569"/>
                  <a:gd name="connsiteX4" fmla="*/ 3810 w 289559"/>
                  <a:gd name="connsiteY4" fmla="*/ 39052 h 369569"/>
                  <a:gd name="connsiteX5" fmla="*/ 2857 w 289559"/>
                  <a:gd name="connsiteY5" fmla="*/ 31433 h 369569"/>
                  <a:gd name="connsiteX6" fmla="*/ 1905 w 289559"/>
                  <a:gd name="connsiteY6" fmla="*/ 24765 h 369569"/>
                  <a:gd name="connsiteX7" fmla="*/ 1905 w 289559"/>
                  <a:gd name="connsiteY7" fmla="*/ 17145 h 369569"/>
                  <a:gd name="connsiteX8" fmla="*/ 952 w 289559"/>
                  <a:gd name="connsiteY8" fmla="*/ 11430 h 369569"/>
                  <a:gd name="connsiteX9" fmla="*/ 0 w 289559"/>
                  <a:gd name="connsiteY9" fmla="*/ 5715 h 369569"/>
                  <a:gd name="connsiteX10" fmla="*/ 82867 w 289559"/>
                  <a:gd name="connsiteY10" fmla="*/ 5715 h 369569"/>
                  <a:gd name="connsiteX11" fmla="*/ 82867 w 289559"/>
                  <a:gd name="connsiteY11" fmla="*/ 11430 h 369569"/>
                  <a:gd name="connsiteX12" fmla="*/ 82867 w 289559"/>
                  <a:gd name="connsiteY12" fmla="*/ 17145 h 369569"/>
                  <a:gd name="connsiteX13" fmla="*/ 82867 w 289559"/>
                  <a:gd name="connsiteY13" fmla="*/ 23813 h 369569"/>
                  <a:gd name="connsiteX14" fmla="*/ 83820 w 289559"/>
                  <a:gd name="connsiteY14" fmla="*/ 31433 h 369569"/>
                  <a:gd name="connsiteX15" fmla="*/ 84772 w 289559"/>
                  <a:gd name="connsiteY15" fmla="*/ 39052 h 369569"/>
                  <a:gd name="connsiteX16" fmla="*/ 84772 w 289559"/>
                  <a:gd name="connsiteY16" fmla="*/ 46673 h 369569"/>
                  <a:gd name="connsiteX17" fmla="*/ 84772 w 289559"/>
                  <a:gd name="connsiteY17" fmla="*/ 54293 h 369569"/>
                  <a:gd name="connsiteX18" fmla="*/ 84772 w 289559"/>
                  <a:gd name="connsiteY18" fmla="*/ 60960 h 369569"/>
                  <a:gd name="connsiteX19" fmla="*/ 87630 w 289559"/>
                  <a:gd name="connsiteY19" fmla="*/ 60960 h 369569"/>
                  <a:gd name="connsiteX20" fmla="*/ 86677 w 289559"/>
                  <a:gd name="connsiteY20" fmla="*/ 60960 h 369569"/>
                  <a:gd name="connsiteX21" fmla="*/ 90488 w 289559"/>
                  <a:gd name="connsiteY21" fmla="*/ 55245 h 369569"/>
                  <a:gd name="connsiteX22" fmla="*/ 94297 w 289559"/>
                  <a:gd name="connsiteY22" fmla="*/ 48577 h 369569"/>
                  <a:gd name="connsiteX23" fmla="*/ 99060 w 289559"/>
                  <a:gd name="connsiteY23" fmla="*/ 42863 h 369569"/>
                  <a:gd name="connsiteX24" fmla="*/ 103822 w 289559"/>
                  <a:gd name="connsiteY24" fmla="*/ 37148 h 369569"/>
                  <a:gd name="connsiteX25" fmla="*/ 107632 w 289559"/>
                  <a:gd name="connsiteY25" fmla="*/ 32385 h 369569"/>
                  <a:gd name="connsiteX26" fmla="*/ 112395 w 289559"/>
                  <a:gd name="connsiteY26" fmla="*/ 26670 h 369569"/>
                  <a:gd name="connsiteX27" fmla="*/ 118110 w 289559"/>
                  <a:gd name="connsiteY27" fmla="*/ 21908 h 369569"/>
                  <a:gd name="connsiteX28" fmla="*/ 122872 w 289559"/>
                  <a:gd name="connsiteY28" fmla="*/ 18098 h 369569"/>
                  <a:gd name="connsiteX29" fmla="*/ 125730 w 289559"/>
                  <a:gd name="connsiteY29" fmla="*/ 15240 h 369569"/>
                  <a:gd name="connsiteX30" fmla="*/ 128588 w 289559"/>
                  <a:gd name="connsiteY30" fmla="*/ 13335 h 369569"/>
                  <a:gd name="connsiteX31" fmla="*/ 131445 w 289559"/>
                  <a:gd name="connsiteY31" fmla="*/ 11430 h 369569"/>
                  <a:gd name="connsiteX32" fmla="*/ 135255 w 289559"/>
                  <a:gd name="connsiteY32" fmla="*/ 9525 h 369569"/>
                  <a:gd name="connsiteX33" fmla="*/ 138113 w 289559"/>
                  <a:gd name="connsiteY33" fmla="*/ 8573 h 369569"/>
                  <a:gd name="connsiteX34" fmla="*/ 141922 w 289559"/>
                  <a:gd name="connsiteY34" fmla="*/ 6668 h 369569"/>
                  <a:gd name="connsiteX35" fmla="*/ 145732 w 289559"/>
                  <a:gd name="connsiteY35" fmla="*/ 5715 h 369569"/>
                  <a:gd name="connsiteX36" fmla="*/ 148590 w 289559"/>
                  <a:gd name="connsiteY36" fmla="*/ 4763 h 369569"/>
                  <a:gd name="connsiteX37" fmla="*/ 156210 w 289559"/>
                  <a:gd name="connsiteY37" fmla="*/ 2858 h 369569"/>
                  <a:gd name="connsiteX38" fmla="*/ 164782 w 289559"/>
                  <a:gd name="connsiteY38" fmla="*/ 952 h 369569"/>
                  <a:gd name="connsiteX39" fmla="*/ 173355 w 289559"/>
                  <a:gd name="connsiteY39" fmla="*/ 0 h 369569"/>
                  <a:gd name="connsiteX40" fmla="*/ 182880 w 289559"/>
                  <a:gd name="connsiteY40" fmla="*/ 0 h 369569"/>
                  <a:gd name="connsiteX41" fmla="*/ 192405 w 289559"/>
                  <a:gd name="connsiteY41" fmla="*/ 0 h 369569"/>
                  <a:gd name="connsiteX42" fmla="*/ 201930 w 289559"/>
                  <a:gd name="connsiteY42" fmla="*/ 952 h 369569"/>
                  <a:gd name="connsiteX43" fmla="*/ 210502 w 289559"/>
                  <a:gd name="connsiteY43" fmla="*/ 2858 h 369569"/>
                  <a:gd name="connsiteX44" fmla="*/ 218122 w 289559"/>
                  <a:gd name="connsiteY44" fmla="*/ 4763 h 369569"/>
                  <a:gd name="connsiteX45" fmla="*/ 226695 w 289559"/>
                  <a:gd name="connsiteY45" fmla="*/ 6668 h 369569"/>
                  <a:gd name="connsiteX46" fmla="*/ 233363 w 289559"/>
                  <a:gd name="connsiteY46" fmla="*/ 9525 h 369569"/>
                  <a:gd name="connsiteX47" fmla="*/ 237172 w 289559"/>
                  <a:gd name="connsiteY47" fmla="*/ 11430 h 369569"/>
                  <a:gd name="connsiteX48" fmla="*/ 240030 w 289559"/>
                  <a:gd name="connsiteY48" fmla="*/ 13335 h 369569"/>
                  <a:gd name="connsiteX49" fmla="*/ 242888 w 289559"/>
                  <a:gd name="connsiteY49" fmla="*/ 15240 h 369569"/>
                  <a:gd name="connsiteX50" fmla="*/ 245745 w 289559"/>
                  <a:gd name="connsiteY50" fmla="*/ 18098 h 369569"/>
                  <a:gd name="connsiteX51" fmla="*/ 251460 w 289559"/>
                  <a:gd name="connsiteY51" fmla="*/ 21908 h 369569"/>
                  <a:gd name="connsiteX52" fmla="*/ 257175 w 289559"/>
                  <a:gd name="connsiteY52" fmla="*/ 26670 h 369569"/>
                  <a:gd name="connsiteX53" fmla="*/ 261938 w 289559"/>
                  <a:gd name="connsiteY53" fmla="*/ 32385 h 369569"/>
                  <a:gd name="connsiteX54" fmla="*/ 266700 w 289559"/>
                  <a:gd name="connsiteY54" fmla="*/ 38100 h 369569"/>
                  <a:gd name="connsiteX55" fmla="*/ 270510 w 289559"/>
                  <a:gd name="connsiteY55" fmla="*/ 44768 h 369569"/>
                  <a:gd name="connsiteX56" fmla="*/ 274320 w 289559"/>
                  <a:gd name="connsiteY56" fmla="*/ 51435 h 369569"/>
                  <a:gd name="connsiteX57" fmla="*/ 277177 w 289559"/>
                  <a:gd name="connsiteY57" fmla="*/ 58102 h 369569"/>
                  <a:gd name="connsiteX58" fmla="*/ 280035 w 289559"/>
                  <a:gd name="connsiteY58" fmla="*/ 65723 h 369569"/>
                  <a:gd name="connsiteX59" fmla="*/ 281940 w 289559"/>
                  <a:gd name="connsiteY59" fmla="*/ 73343 h 369569"/>
                  <a:gd name="connsiteX60" fmla="*/ 284797 w 289559"/>
                  <a:gd name="connsiteY60" fmla="*/ 80963 h 369569"/>
                  <a:gd name="connsiteX61" fmla="*/ 285750 w 289559"/>
                  <a:gd name="connsiteY61" fmla="*/ 89535 h 369569"/>
                  <a:gd name="connsiteX62" fmla="*/ 287655 w 289559"/>
                  <a:gd name="connsiteY62" fmla="*/ 98108 h 369569"/>
                  <a:gd name="connsiteX63" fmla="*/ 288607 w 289559"/>
                  <a:gd name="connsiteY63" fmla="*/ 106680 h 369569"/>
                  <a:gd name="connsiteX64" fmla="*/ 289560 w 289559"/>
                  <a:gd name="connsiteY64" fmla="*/ 115252 h 369569"/>
                  <a:gd name="connsiteX65" fmla="*/ 289560 w 289559"/>
                  <a:gd name="connsiteY65" fmla="*/ 124777 h 369569"/>
                  <a:gd name="connsiteX66" fmla="*/ 289560 w 289559"/>
                  <a:gd name="connsiteY66" fmla="*/ 134302 h 369569"/>
                  <a:gd name="connsiteX67" fmla="*/ 289560 w 289559"/>
                  <a:gd name="connsiteY67" fmla="*/ 369570 h 369569"/>
                  <a:gd name="connsiteX68" fmla="*/ 201930 w 289559"/>
                  <a:gd name="connsiteY68" fmla="*/ 369570 h 369569"/>
                  <a:gd name="connsiteX69" fmla="*/ 201930 w 289559"/>
                  <a:gd name="connsiteY69" fmla="*/ 151448 h 369569"/>
                  <a:gd name="connsiteX70" fmla="*/ 201930 w 289559"/>
                  <a:gd name="connsiteY70" fmla="*/ 140970 h 369569"/>
                  <a:gd name="connsiteX71" fmla="*/ 201930 w 289559"/>
                  <a:gd name="connsiteY71" fmla="*/ 131445 h 369569"/>
                  <a:gd name="connsiteX72" fmla="*/ 200977 w 289559"/>
                  <a:gd name="connsiteY72" fmla="*/ 122873 h 369569"/>
                  <a:gd name="connsiteX73" fmla="*/ 199072 w 289559"/>
                  <a:gd name="connsiteY73" fmla="*/ 115252 h 369569"/>
                  <a:gd name="connsiteX74" fmla="*/ 198120 w 289559"/>
                  <a:gd name="connsiteY74" fmla="*/ 107633 h 369569"/>
                  <a:gd name="connsiteX75" fmla="*/ 195263 w 289559"/>
                  <a:gd name="connsiteY75" fmla="*/ 101918 h 369569"/>
                  <a:gd name="connsiteX76" fmla="*/ 193357 w 289559"/>
                  <a:gd name="connsiteY76" fmla="*/ 95250 h 369569"/>
                  <a:gd name="connsiteX77" fmla="*/ 190500 w 289559"/>
                  <a:gd name="connsiteY77" fmla="*/ 90488 h 369569"/>
                  <a:gd name="connsiteX78" fmla="*/ 187642 w 289559"/>
                  <a:gd name="connsiteY78" fmla="*/ 86677 h 369569"/>
                  <a:gd name="connsiteX79" fmla="*/ 183832 w 289559"/>
                  <a:gd name="connsiteY79" fmla="*/ 82868 h 369569"/>
                  <a:gd name="connsiteX80" fmla="*/ 181927 w 289559"/>
                  <a:gd name="connsiteY80" fmla="*/ 80963 h 369569"/>
                  <a:gd name="connsiteX81" fmla="*/ 180022 w 289559"/>
                  <a:gd name="connsiteY81" fmla="*/ 80010 h 369569"/>
                  <a:gd name="connsiteX82" fmla="*/ 177165 w 289559"/>
                  <a:gd name="connsiteY82" fmla="*/ 78105 h 369569"/>
                  <a:gd name="connsiteX83" fmla="*/ 175260 w 289559"/>
                  <a:gd name="connsiteY83" fmla="*/ 77152 h 369569"/>
                  <a:gd name="connsiteX84" fmla="*/ 169545 w 289559"/>
                  <a:gd name="connsiteY84" fmla="*/ 75248 h 369569"/>
                  <a:gd name="connsiteX85" fmla="*/ 164782 w 289559"/>
                  <a:gd name="connsiteY85" fmla="*/ 74295 h 369569"/>
                  <a:gd name="connsiteX86" fmla="*/ 159067 w 289559"/>
                  <a:gd name="connsiteY86" fmla="*/ 72390 h 369569"/>
                  <a:gd name="connsiteX87" fmla="*/ 152400 w 289559"/>
                  <a:gd name="connsiteY87" fmla="*/ 72390 h 369569"/>
                  <a:gd name="connsiteX88" fmla="*/ 148590 w 289559"/>
                  <a:gd name="connsiteY88" fmla="*/ 72390 h 369569"/>
                  <a:gd name="connsiteX89" fmla="*/ 144780 w 289559"/>
                  <a:gd name="connsiteY89" fmla="*/ 72390 h 369569"/>
                  <a:gd name="connsiteX90" fmla="*/ 140970 w 289559"/>
                  <a:gd name="connsiteY90" fmla="*/ 73343 h 369569"/>
                  <a:gd name="connsiteX91" fmla="*/ 137160 w 289559"/>
                  <a:gd name="connsiteY91" fmla="*/ 74295 h 369569"/>
                  <a:gd name="connsiteX92" fmla="*/ 134302 w 289559"/>
                  <a:gd name="connsiteY92" fmla="*/ 75248 h 369569"/>
                  <a:gd name="connsiteX93" fmla="*/ 130492 w 289559"/>
                  <a:gd name="connsiteY93" fmla="*/ 76200 h 369569"/>
                  <a:gd name="connsiteX94" fmla="*/ 127635 w 289559"/>
                  <a:gd name="connsiteY94" fmla="*/ 77152 h 369569"/>
                  <a:gd name="connsiteX95" fmla="*/ 124777 w 289559"/>
                  <a:gd name="connsiteY95" fmla="*/ 78105 h 369569"/>
                  <a:gd name="connsiteX96" fmla="*/ 121920 w 289559"/>
                  <a:gd name="connsiteY96" fmla="*/ 80010 h 369569"/>
                  <a:gd name="connsiteX97" fmla="*/ 119063 w 289559"/>
                  <a:gd name="connsiteY97" fmla="*/ 81915 h 369569"/>
                  <a:gd name="connsiteX98" fmla="*/ 116205 w 289559"/>
                  <a:gd name="connsiteY98" fmla="*/ 83820 h 369569"/>
                  <a:gd name="connsiteX99" fmla="*/ 113347 w 289559"/>
                  <a:gd name="connsiteY99" fmla="*/ 85725 h 369569"/>
                  <a:gd name="connsiteX100" fmla="*/ 111442 w 289559"/>
                  <a:gd name="connsiteY100" fmla="*/ 88583 h 369569"/>
                  <a:gd name="connsiteX101" fmla="*/ 109538 w 289559"/>
                  <a:gd name="connsiteY101" fmla="*/ 90488 h 369569"/>
                  <a:gd name="connsiteX102" fmla="*/ 106680 w 289559"/>
                  <a:gd name="connsiteY102" fmla="*/ 93345 h 369569"/>
                  <a:gd name="connsiteX103" fmla="*/ 105727 w 289559"/>
                  <a:gd name="connsiteY103" fmla="*/ 96202 h 369569"/>
                  <a:gd name="connsiteX104" fmla="*/ 101917 w 289559"/>
                  <a:gd name="connsiteY104" fmla="*/ 101918 h 369569"/>
                  <a:gd name="connsiteX105" fmla="*/ 99060 w 289559"/>
                  <a:gd name="connsiteY105" fmla="*/ 108585 h 369569"/>
                  <a:gd name="connsiteX106" fmla="*/ 96202 w 289559"/>
                  <a:gd name="connsiteY106" fmla="*/ 116205 h 369569"/>
                  <a:gd name="connsiteX107" fmla="*/ 94297 w 289559"/>
                  <a:gd name="connsiteY107" fmla="*/ 122873 h 369569"/>
                  <a:gd name="connsiteX108" fmla="*/ 92392 w 289559"/>
                  <a:gd name="connsiteY108" fmla="*/ 131445 h 369569"/>
                  <a:gd name="connsiteX109" fmla="*/ 91440 w 289559"/>
                  <a:gd name="connsiteY109" fmla="*/ 140018 h 369569"/>
                  <a:gd name="connsiteX110" fmla="*/ 90488 w 289559"/>
                  <a:gd name="connsiteY110" fmla="*/ 148590 h 369569"/>
                  <a:gd name="connsiteX111" fmla="*/ 90488 w 289559"/>
                  <a:gd name="connsiteY111" fmla="*/ 158115 h 369569"/>
                  <a:gd name="connsiteX112" fmla="*/ 90488 w 289559"/>
                  <a:gd name="connsiteY112" fmla="*/ 369570 h 369569"/>
                  <a:gd name="connsiteX113" fmla="*/ 2857 w 289559"/>
                  <a:gd name="connsiteY113" fmla="*/ 369570 h 369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</a:cxnLst>
                <a:rect l="l" t="t" r="r" b="b"/>
                <a:pathLst>
                  <a:path w="289559" h="369569">
                    <a:moveTo>
                      <a:pt x="2857" y="369570"/>
                    </a:moveTo>
                    <a:lnTo>
                      <a:pt x="2857" y="65723"/>
                    </a:lnTo>
                    <a:lnTo>
                      <a:pt x="2857" y="56198"/>
                    </a:lnTo>
                    <a:lnTo>
                      <a:pt x="3810" y="47625"/>
                    </a:lnTo>
                    <a:lnTo>
                      <a:pt x="3810" y="39052"/>
                    </a:lnTo>
                    <a:lnTo>
                      <a:pt x="2857" y="31433"/>
                    </a:lnTo>
                    <a:lnTo>
                      <a:pt x="1905" y="24765"/>
                    </a:lnTo>
                    <a:lnTo>
                      <a:pt x="1905" y="17145"/>
                    </a:lnTo>
                    <a:lnTo>
                      <a:pt x="952" y="11430"/>
                    </a:lnTo>
                    <a:lnTo>
                      <a:pt x="0" y="5715"/>
                    </a:lnTo>
                    <a:lnTo>
                      <a:pt x="82867" y="5715"/>
                    </a:lnTo>
                    <a:lnTo>
                      <a:pt x="82867" y="11430"/>
                    </a:lnTo>
                    <a:lnTo>
                      <a:pt x="82867" y="17145"/>
                    </a:lnTo>
                    <a:lnTo>
                      <a:pt x="82867" y="23813"/>
                    </a:lnTo>
                    <a:lnTo>
                      <a:pt x="83820" y="31433"/>
                    </a:lnTo>
                    <a:lnTo>
                      <a:pt x="84772" y="39052"/>
                    </a:lnTo>
                    <a:lnTo>
                      <a:pt x="84772" y="46673"/>
                    </a:lnTo>
                    <a:lnTo>
                      <a:pt x="84772" y="54293"/>
                    </a:lnTo>
                    <a:lnTo>
                      <a:pt x="84772" y="60960"/>
                    </a:lnTo>
                    <a:lnTo>
                      <a:pt x="87630" y="60960"/>
                    </a:lnTo>
                    <a:lnTo>
                      <a:pt x="86677" y="60960"/>
                    </a:lnTo>
                    <a:lnTo>
                      <a:pt x="90488" y="55245"/>
                    </a:lnTo>
                    <a:lnTo>
                      <a:pt x="94297" y="48577"/>
                    </a:lnTo>
                    <a:lnTo>
                      <a:pt x="99060" y="42863"/>
                    </a:lnTo>
                    <a:lnTo>
                      <a:pt x="103822" y="37148"/>
                    </a:lnTo>
                    <a:lnTo>
                      <a:pt x="107632" y="32385"/>
                    </a:lnTo>
                    <a:lnTo>
                      <a:pt x="112395" y="26670"/>
                    </a:lnTo>
                    <a:lnTo>
                      <a:pt x="118110" y="21908"/>
                    </a:lnTo>
                    <a:lnTo>
                      <a:pt x="122872" y="18098"/>
                    </a:lnTo>
                    <a:lnTo>
                      <a:pt x="125730" y="15240"/>
                    </a:lnTo>
                    <a:lnTo>
                      <a:pt x="128588" y="13335"/>
                    </a:lnTo>
                    <a:lnTo>
                      <a:pt x="131445" y="11430"/>
                    </a:lnTo>
                    <a:lnTo>
                      <a:pt x="135255" y="9525"/>
                    </a:lnTo>
                    <a:lnTo>
                      <a:pt x="138113" y="8573"/>
                    </a:lnTo>
                    <a:lnTo>
                      <a:pt x="141922" y="6668"/>
                    </a:lnTo>
                    <a:lnTo>
                      <a:pt x="145732" y="5715"/>
                    </a:lnTo>
                    <a:lnTo>
                      <a:pt x="148590" y="4763"/>
                    </a:lnTo>
                    <a:lnTo>
                      <a:pt x="156210" y="2858"/>
                    </a:lnTo>
                    <a:lnTo>
                      <a:pt x="164782" y="952"/>
                    </a:lnTo>
                    <a:lnTo>
                      <a:pt x="173355" y="0"/>
                    </a:lnTo>
                    <a:lnTo>
                      <a:pt x="182880" y="0"/>
                    </a:lnTo>
                    <a:lnTo>
                      <a:pt x="192405" y="0"/>
                    </a:lnTo>
                    <a:lnTo>
                      <a:pt x="201930" y="952"/>
                    </a:lnTo>
                    <a:lnTo>
                      <a:pt x="210502" y="2858"/>
                    </a:lnTo>
                    <a:lnTo>
                      <a:pt x="218122" y="4763"/>
                    </a:lnTo>
                    <a:lnTo>
                      <a:pt x="226695" y="6668"/>
                    </a:lnTo>
                    <a:lnTo>
                      <a:pt x="233363" y="9525"/>
                    </a:lnTo>
                    <a:lnTo>
                      <a:pt x="237172" y="11430"/>
                    </a:lnTo>
                    <a:lnTo>
                      <a:pt x="240030" y="13335"/>
                    </a:lnTo>
                    <a:lnTo>
                      <a:pt x="242888" y="15240"/>
                    </a:lnTo>
                    <a:lnTo>
                      <a:pt x="245745" y="18098"/>
                    </a:lnTo>
                    <a:lnTo>
                      <a:pt x="251460" y="21908"/>
                    </a:lnTo>
                    <a:lnTo>
                      <a:pt x="257175" y="26670"/>
                    </a:lnTo>
                    <a:lnTo>
                      <a:pt x="261938" y="32385"/>
                    </a:lnTo>
                    <a:lnTo>
                      <a:pt x="266700" y="38100"/>
                    </a:lnTo>
                    <a:lnTo>
                      <a:pt x="270510" y="44768"/>
                    </a:lnTo>
                    <a:lnTo>
                      <a:pt x="274320" y="51435"/>
                    </a:lnTo>
                    <a:lnTo>
                      <a:pt x="277177" y="58102"/>
                    </a:lnTo>
                    <a:lnTo>
                      <a:pt x="280035" y="65723"/>
                    </a:lnTo>
                    <a:lnTo>
                      <a:pt x="281940" y="73343"/>
                    </a:lnTo>
                    <a:lnTo>
                      <a:pt x="284797" y="80963"/>
                    </a:lnTo>
                    <a:lnTo>
                      <a:pt x="285750" y="89535"/>
                    </a:lnTo>
                    <a:lnTo>
                      <a:pt x="287655" y="98108"/>
                    </a:lnTo>
                    <a:lnTo>
                      <a:pt x="288607" y="106680"/>
                    </a:lnTo>
                    <a:lnTo>
                      <a:pt x="289560" y="115252"/>
                    </a:lnTo>
                    <a:lnTo>
                      <a:pt x="289560" y="124777"/>
                    </a:lnTo>
                    <a:lnTo>
                      <a:pt x="289560" y="134302"/>
                    </a:lnTo>
                    <a:lnTo>
                      <a:pt x="289560" y="369570"/>
                    </a:lnTo>
                    <a:lnTo>
                      <a:pt x="201930" y="369570"/>
                    </a:lnTo>
                    <a:lnTo>
                      <a:pt x="201930" y="151448"/>
                    </a:lnTo>
                    <a:lnTo>
                      <a:pt x="201930" y="140970"/>
                    </a:lnTo>
                    <a:lnTo>
                      <a:pt x="201930" y="131445"/>
                    </a:lnTo>
                    <a:lnTo>
                      <a:pt x="200977" y="122873"/>
                    </a:lnTo>
                    <a:lnTo>
                      <a:pt x="199072" y="115252"/>
                    </a:lnTo>
                    <a:lnTo>
                      <a:pt x="198120" y="107633"/>
                    </a:lnTo>
                    <a:lnTo>
                      <a:pt x="195263" y="101918"/>
                    </a:lnTo>
                    <a:lnTo>
                      <a:pt x="193357" y="95250"/>
                    </a:lnTo>
                    <a:lnTo>
                      <a:pt x="190500" y="90488"/>
                    </a:lnTo>
                    <a:lnTo>
                      <a:pt x="187642" y="86677"/>
                    </a:lnTo>
                    <a:lnTo>
                      <a:pt x="183832" y="82868"/>
                    </a:lnTo>
                    <a:lnTo>
                      <a:pt x="181927" y="80963"/>
                    </a:lnTo>
                    <a:lnTo>
                      <a:pt x="180022" y="80010"/>
                    </a:lnTo>
                    <a:lnTo>
                      <a:pt x="177165" y="78105"/>
                    </a:lnTo>
                    <a:lnTo>
                      <a:pt x="175260" y="77152"/>
                    </a:lnTo>
                    <a:lnTo>
                      <a:pt x="169545" y="75248"/>
                    </a:lnTo>
                    <a:lnTo>
                      <a:pt x="164782" y="74295"/>
                    </a:lnTo>
                    <a:lnTo>
                      <a:pt x="159067" y="72390"/>
                    </a:lnTo>
                    <a:lnTo>
                      <a:pt x="152400" y="72390"/>
                    </a:lnTo>
                    <a:lnTo>
                      <a:pt x="148590" y="72390"/>
                    </a:lnTo>
                    <a:lnTo>
                      <a:pt x="144780" y="72390"/>
                    </a:lnTo>
                    <a:lnTo>
                      <a:pt x="140970" y="73343"/>
                    </a:lnTo>
                    <a:lnTo>
                      <a:pt x="137160" y="74295"/>
                    </a:lnTo>
                    <a:lnTo>
                      <a:pt x="134302" y="75248"/>
                    </a:lnTo>
                    <a:lnTo>
                      <a:pt x="130492" y="76200"/>
                    </a:lnTo>
                    <a:lnTo>
                      <a:pt x="127635" y="77152"/>
                    </a:lnTo>
                    <a:lnTo>
                      <a:pt x="124777" y="78105"/>
                    </a:lnTo>
                    <a:lnTo>
                      <a:pt x="121920" y="80010"/>
                    </a:lnTo>
                    <a:lnTo>
                      <a:pt x="119063" y="81915"/>
                    </a:lnTo>
                    <a:lnTo>
                      <a:pt x="116205" y="83820"/>
                    </a:lnTo>
                    <a:lnTo>
                      <a:pt x="113347" y="85725"/>
                    </a:lnTo>
                    <a:lnTo>
                      <a:pt x="111442" y="88583"/>
                    </a:lnTo>
                    <a:lnTo>
                      <a:pt x="109538" y="90488"/>
                    </a:lnTo>
                    <a:lnTo>
                      <a:pt x="106680" y="93345"/>
                    </a:lnTo>
                    <a:lnTo>
                      <a:pt x="105727" y="96202"/>
                    </a:lnTo>
                    <a:lnTo>
                      <a:pt x="101917" y="101918"/>
                    </a:lnTo>
                    <a:lnTo>
                      <a:pt x="99060" y="108585"/>
                    </a:lnTo>
                    <a:lnTo>
                      <a:pt x="96202" y="116205"/>
                    </a:lnTo>
                    <a:lnTo>
                      <a:pt x="94297" y="122873"/>
                    </a:lnTo>
                    <a:lnTo>
                      <a:pt x="92392" y="131445"/>
                    </a:lnTo>
                    <a:lnTo>
                      <a:pt x="91440" y="140018"/>
                    </a:lnTo>
                    <a:lnTo>
                      <a:pt x="90488" y="148590"/>
                    </a:lnTo>
                    <a:lnTo>
                      <a:pt x="90488" y="158115"/>
                    </a:lnTo>
                    <a:lnTo>
                      <a:pt x="90488" y="369570"/>
                    </a:lnTo>
                    <a:lnTo>
                      <a:pt x="2857" y="36957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8F78064A-C56B-7AA4-2C6C-ABB8B85693C7}"/>
                  </a:ext>
                </a:extLst>
              </p:cNvPr>
              <p:cNvSpPr/>
              <p:nvPr/>
            </p:nvSpPr>
            <p:spPr>
              <a:xfrm>
                <a:off x="9819956" y="4658767"/>
                <a:ext cx="90487" cy="518159"/>
              </a:xfrm>
              <a:custGeom>
                <a:avLst/>
                <a:gdLst>
                  <a:gd name="connsiteX0" fmla="*/ 953 w 90487"/>
                  <a:gd name="connsiteY0" fmla="*/ 518160 h 518159"/>
                  <a:gd name="connsiteX1" fmla="*/ 953 w 90487"/>
                  <a:gd name="connsiteY1" fmla="*/ 155258 h 518159"/>
                  <a:gd name="connsiteX2" fmla="*/ 88583 w 90487"/>
                  <a:gd name="connsiteY2" fmla="*/ 155258 h 518159"/>
                  <a:gd name="connsiteX3" fmla="*/ 88583 w 90487"/>
                  <a:gd name="connsiteY3" fmla="*/ 518160 h 518159"/>
                  <a:gd name="connsiteX4" fmla="*/ 953 w 90487"/>
                  <a:gd name="connsiteY4" fmla="*/ 518160 h 518159"/>
                  <a:gd name="connsiteX5" fmla="*/ 953 w 90487"/>
                  <a:gd name="connsiteY5" fmla="*/ 518160 h 518159"/>
                  <a:gd name="connsiteX6" fmla="*/ 0 w 90487"/>
                  <a:gd name="connsiteY6" fmla="*/ 85725 h 518159"/>
                  <a:gd name="connsiteX7" fmla="*/ 0 w 90487"/>
                  <a:gd name="connsiteY7" fmla="*/ 0 h 518159"/>
                  <a:gd name="connsiteX8" fmla="*/ 90488 w 90487"/>
                  <a:gd name="connsiteY8" fmla="*/ 0 h 518159"/>
                  <a:gd name="connsiteX9" fmla="*/ 90488 w 90487"/>
                  <a:gd name="connsiteY9" fmla="*/ 86677 h 518159"/>
                  <a:gd name="connsiteX10" fmla="*/ 0 w 90487"/>
                  <a:gd name="connsiteY10" fmla="*/ 86677 h 518159"/>
                  <a:gd name="connsiteX11" fmla="*/ 0 w 90487"/>
                  <a:gd name="connsiteY11" fmla="*/ 85725 h 518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0487" h="518159">
                    <a:moveTo>
                      <a:pt x="953" y="518160"/>
                    </a:moveTo>
                    <a:lnTo>
                      <a:pt x="953" y="155258"/>
                    </a:lnTo>
                    <a:lnTo>
                      <a:pt x="88583" y="155258"/>
                    </a:lnTo>
                    <a:lnTo>
                      <a:pt x="88583" y="518160"/>
                    </a:lnTo>
                    <a:lnTo>
                      <a:pt x="953" y="518160"/>
                    </a:lnTo>
                    <a:lnTo>
                      <a:pt x="953" y="518160"/>
                    </a:lnTo>
                    <a:close/>
                    <a:moveTo>
                      <a:pt x="0" y="85725"/>
                    </a:moveTo>
                    <a:lnTo>
                      <a:pt x="0" y="0"/>
                    </a:lnTo>
                    <a:lnTo>
                      <a:pt x="90488" y="0"/>
                    </a:lnTo>
                    <a:lnTo>
                      <a:pt x="90488" y="86677"/>
                    </a:lnTo>
                    <a:lnTo>
                      <a:pt x="0" y="86677"/>
                    </a:lnTo>
                    <a:lnTo>
                      <a:pt x="0" y="8572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BADCFE62-E59C-231F-DCD0-13EF850F558B}"/>
                  </a:ext>
                </a:extLst>
              </p:cNvPr>
              <p:cNvSpPr/>
              <p:nvPr/>
            </p:nvSpPr>
            <p:spPr>
              <a:xfrm>
                <a:off x="9953306" y="4813071"/>
                <a:ext cx="247650" cy="364807"/>
              </a:xfrm>
              <a:custGeom>
                <a:avLst/>
                <a:gdLst>
                  <a:gd name="connsiteX0" fmla="*/ 0 w 247650"/>
                  <a:gd name="connsiteY0" fmla="*/ 364808 h 364807"/>
                  <a:gd name="connsiteX1" fmla="*/ 0 w 247650"/>
                  <a:gd name="connsiteY1" fmla="*/ 288608 h 364807"/>
                  <a:gd name="connsiteX2" fmla="*/ 155258 w 247650"/>
                  <a:gd name="connsiteY2" fmla="*/ 66675 h 364807"/>
                  <a:gd name="connsiteX3" fmla="*/ 5715 w 247650"/>
                  <a:gd name="connsiteY3" fmla="*/ 66675 h 364807"/>
                  <a:gd name="connsiteX4" fmla="*/ 5715 w 247650"/>
                  <a:gd name="connsiteY4" fmla="*/ 0 h 364807"/>
                  <a:gd name="connsiteX5" fmla="*/ 242888 w 247650"/>
                  <a:gd name="connsiteY5" fmla="*/ 0 h 364807"/>
                  <a:gd name="connsiteX6" fmla="*/ 242888 w 247650"/>
                  <a:gd name="connsiteY6" fmla="*/ 75248 h 364807"/>
                  <a:gd name="connsiteX7" fmla="*/ 90488 w 247650"/>
                  <a:gd name="connsiteY7" fmla="*/ 298133 h 364807"/>
                  <a:gd name="connsiteX8" fmla="*/ 247650 w 247650"/>
                  <a:gd name="connsiteY8" fmla="*/ 298133 h 364807"/>
                  <a:gd name="connsiteX9" fmla="*/ 247650 w 247650"/>
                  <a:gd name="connsiteY9" fmla="*/ 364808 h 364807"/>
                  <a:gd name="connsiteX10" fmla="*/ 0 w 247650"/>
                  <a:gd name="connsiteY10" fmla="*/ 364808 h 364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7650" h="364807">
                    <a:moveTo>
                      <a:pt x="0" y="364808"/>
                    </a:moveTo>
                    <a:lnTo>
                      <a:pt x="0" y="288608"/>
                    </a:lnTo>
                    <a:lnTo>
                      <a:pt x="155258" y="66675"/>
                    </a:lnTo>
                    <a:lnTo>
                      <a:pt x="5715" y="66675"/>
                    </a:lnTo>
                    <a:lnTo>
                      <a:pt x="5715" y="0"/>
                    </a:lnTo>
                    <a:lnTo>
                      <a:pt x="242888" y="0"/>
                    </a:lnTo>
                    <a:lnTo>
                      <a:pt x="242888" y="75248"/>
                    </a:lnTo>
                    <a:lnTo>
                      <a:pt x="90488" y="298133"/>
                    </a:lnTo>
                    <a:lnTo>
                      <a:pt x="247650" y="298133"/>
                    </a:lnTo>
                    <a:lnTo>
                      <a:pt x="247650" y="364808"/>
                    </a:lnTo>
                    <a:lnTo>
                      <a:pt x="0" y="364808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1AC8F240-8BF6-E4D7-3AB6-7C859E6EDD7A}"/>
                  </a:ext>
                </a:extLst>
              </p:cNvPr>
              <p:cNvSpPr/>
              <p:nvPr/>
            </p:nvSpPr>
            <p:spPr>
              <a:xfrm>
                <a:off x="10218102" y="4809262"/>
                <a:ext cx="297179" cy="372427"/>
              </a:xfrm>
              <a:custGeom>
                <a:avLst/>
                <a:gdLst>
                  <a:gd name="connsiteX0" fmla="*/ 40005 w 297179"/>
                  <a:gd name="connsiteY0" fmla="*/ 96202 h 372427"/>
                  <a:gd name="connsiteX1" fmla="*/ 35242 w 297179"/>
                  <a:gd name="connsiteY1" fmla="*/ 25717 h 372427"/>
                  <a:gd name="connsiteX2" fmla="*/ 47625 w 297179"/>
                  <a:gd name="connsiteY2" fmla="*/ 20002 h 372427"/>
                  <a:gd name="connsiteX3" fmla="*/ 60007 w 297179"/>
                  <a:gd name="connsiteY3" fmla="*/ 14288 h 372427"/>
                  <a:gd name="connsiteX4" fmla="*/ 73342 w 297179"/>
                  <a:gd name="connsiteY4" fmla="*/ 9525 h 372427"/>
                  <a:gd name="connsiteX5" fmla="*/ 86678 w 297179"/>
                  <a:gd name="connsiteY5" fmla="*/ 5715 h 372427"/>
                  <a:gd name="connsiteX6" fmla="*/ 93345 w 297179"/>
                  <a:gd name="connsiteY6" fmla="*/ 3810 h 372427"/>
                  <a:gd name="connsiteX7" fmla="*/ 100013 w 297179"/>
                  <a:gd name="connsiteY7" fmla="*/ 2857 h 372427"/>
                  <a:gd name="connsiteX8" fmla="*/ 107632 w 297179"/>
                  <a:gd name="connsiteY8" fmla="*/ 1905 h 372427"/>
                  <a:gd name="connsiteX9" fmla="*/ 115253 w 297179"/>
                  <a:gd name="connsiteY9" fmla="*/ 952 h 372427"/>
                  <a:gd name="connsiteX10" fmla="*/ 123825 w 297179"/>
                  <a:gd name="connsiteY10" fmla="*/ 0 h 372427"/>
                  <a:gd name="connsiteX11" fmla="*/ 132397 w 297179"/>
                  <a:gd name="connsiteY11" fmla="*/ 0 h 372427"/>
                  <a:gd name="connsiteX12" fmla="*/ 140970 w 297179"/>
                  <a:gd name="connsiteY12" fmla="*/ 0 h 372427"/>
                  <a:gd name="connsiteX13" fmla="*/ 150495 w 297179"/>
                  <a:gd name="connsiteY13" fmla="*/ 0 h 372427"/>
                  <a:gd name="connsiteX14" fmla="*/ 163830 w 297179"/>
                  <a:gd name="connsiteY14" fmla="*/ 0 h 372427"/>
                  <a:gd name="connsiteX15" fmla="*/ 176213 w 297179"/>
                  <a:gd name="connsiteY15" fmla="*/ 952 h 372427"/>
                  <a:gd name="connsiteX16" fmla="*/ 188595 w 297179"/>
                  <a:gd name="connsiteY16" fmla="*/ 1905 h 372427"/>
                  <a:gd name="connsiteX17" fmla="*/ 200025 w 297179"/>
                  <a:gd name="connsiteY17" fmla="*/ 3810 h 372427"/>
                  <a:gd name="connsiteX18" fmla="*/ 210503 w 297179"/>
                  <a:gd name="connsiteY18" fmla="*/ 5715 h 372427"/>
                  <a:gd name="connsiteX19" fmla="*/ 220028 w 297179"/>
                  <a:gd name="connsiteY19" fmla="*/ 8572 h 372427"/>
                  <a:gd name="connsiteX20" fmla="*/ 224790 w 297179"/>
                  <a:gd name="connsiteY20" fmla="*/ 10477 h 372427"/>
                  <a:gd name="connsiteX21" fmla="*/ 228600 w 297179"/>
                  <a:gd name="connsiteY21" fmla="*/ 12382 h 372427"/>
                  <a:gd name="connsiteX22" fmla="*/ 232410 w 297179"/>
                  <a:gd name="connsiteY22" fmla="*/ 14288 h 372427"/>
                  <a:gd name="connsiteX23" fmla="*/ 236220 w 297179"/>
                  <a:gd name="connsiteY23" fmla="*/ 16192 h 372427"/>
                  <a:gd name="connsiteX24" fmla="*/ 243840 w 297179"/>
                  <a:gd name="connsiteY24" fmla="*/ 20955 h 372427"/>
                  <a:gd name="connsiteX25" fmla="*/ 250507 w 297179"/>
                  <a:gd name="connsiteY25" fmla="*/ 25717 h 372427"/>
                  <a:gd name="connsiteX26" fmla="*/ 253365 w 297179"/>
                  <a:gd name="connsiteY26" fmla="*/ 28575 h 372427"/>
                  <a:gd name="connsiteX27" fmla="*/ 256222 w 297179"/>
                  <a:gd name="connsiteY27" fmla="*/ 31432 h 372427"/>
                  <a:gd name="connsiteX28" fmla="*/ 259080 w 297179"/>
                  <a:gd name="connsiteY28" fmla="*/ 34290 h 372427"/>
                  <a:gd name="connsiteX29" fmla="*/ 261938 w 297179"/>
                  <a:gd name="connsiteY29" fmla="*/ 37147 h 372427"/>
                  <a:gd name="connsiteX30" fmla="*/ 264795 w 297179"/>
                  <a:gd name="connsiteY30" fmla="*/ 40005 h 372427"/>
                  <a:gd name="connsiteX31" fmla="*/ 267653 w 297179"/>
                  <a:gd name="connsiteY31" fmla="*/ 42863 h 372427"/>
                  <a:gd name="connsiteX32" fmla="*/ 270510 w 297179"/>
                  <a:gd name="connsiteY32" fmla="*/ 45720 h 372427"/>
                  <a:gd name="connsiteX33" fmla="*/ 272415 w 297179"/>
                  <a:gd name="connsiteY33" fmla="*/ 49530 h 372427"/>
                  <a:gd name="connsiteX34" fmla="*/ 274320 w 297179"/>
                  <a:gd name="connsiteY34" fmla="*/ 53340 h 372427"/>
                  <a:gd name="connsiteX35" fmla="*/ 276225 w 297179"/>
                  <a:gd name="connsiteY35" fmla="*/ 57150 h 372427"/>
                  <a:gd name="connsiteX36" fmla="*/ 278130 w 297179"/>
                  <a:gd name="connsiteY36" fmla="*/ 60960 h 372427"/>
                  <a:gd name="connsiteX37" fmla="*/ 280035 w 297179"/>
                  <a:gd name="connsiteY37" fmla="*/ 64770 h 372427"/>
                  <a:gd name="connsiteX38" fmla="*/ 282892 w 297179"/>
                  <a:gd name="connsiteY38" fmla="*/ 72390 h 372427"/>
                  <a:gd name="connsiteX39" fmla="*/ 285750 w 297179"/>
                  <a:gd name="connsiteY39" fmla="*/ 80963 h 372427"/>
                  <a:gd name="connsiteX40" fmla="*/ 287655 w 297179"/>
                  <a:gd name="connsiteY40" fmla="*/ 90488 h 372427"/>
                  <a:gd name="connsiteX41" fmla="*/ 289560 w 297179"/>
                  <a:gd name="connsiteY41" fmla="*/ 100013 h 372427"/>
                  <a:gd name="connsiteX42" fmla="*/ 290513 w 297179"/>
                  <a:gd name="connsiteY42" fmla="*/ 110490 h 372427"/>
                  <a:gd name="connsiteX43" fmla="*/ 291465 w 297179"/>
                  <a:gd name="connsiteY43" fmla="*/ 120967 h 372427"/>
                  <a:gd name="connsiteX44" fmla="*/ 292417 w 297179"/>
                  <a:gd name="connsiteY44" fmla="*/ 132397 h 372427"/>
                  <a:gd name="connsiteX45" fmla="*/ 292417 w 297179"/>
                  <a:gd name="connsiteY45" fmla="*/ 143827 h 372427"/>
                  <a:gd name="connsiteX46" fmla="*/ 292417 w 297179"/>
                  <a:gd name="connsiteY46" fmla="*/ 302895 h 372427"/>
                  <a:gd name="connsiteX47" fmla="*/ 292417 w 297179"/>
                  <a:gd name="connsiteY47" fmla="*/ 310515 h 372427"/>
                  <a:gd name="connsiteX48" fmla="*/ 292417 w 297179"/>
                  <a:gd name="connsiteY48" fmla="*/ 319088 h 372427"/>
                  <a:gd name="connsiteX49" fmla="*/ 293370 w 297179"/>
                  <a:gd name="connsiteY49" fmla="*/ 326708 h 372427"/>
                  <a:gd name="connsiteX50" fmla="*/ 293370 w 297179"/>
                  <a:gd name="connsiteY50" fmla="*/ 334327 h 372427"/>
                  <a:gd name="connsiteX51" fmla="*/ 294322 w 297179"/>
                  <a:gd name="connsiteY51" fmla="*/ 342900 h 372427"/>
                  <a:gd name="connsiteX52" fmla="*/ 295275 w 297179"/>
                  <a:gd name="connsiteY52" fmla="*/ 350520 h 372427"/>
                  <a:gd name="connsiteX53" fmla="*/ 296228 w 297179"/>
                  <a:gd name="connsiteY53" fmla="*/ 358140 h 372427"/>
                  <a:gd name="connsiteX54" fmla="*/ 297180 w 297179"/>
                  <a:gd name="connsiteY54" fmla="*/ 365760 h 372427"/>
                  <a:gd name="connsiteX55" fmla="*/ 217170 w 297179"/>
                  <a:gd name="connsiteY55" fmla="*/ 365760 h 372427"/>
                  <a:gd name="connsiteX56" fmla="*/ 216217 w 297179"/>
                  <a:gd name="connsiteY56" fmla="*/ 360997 h 372427"/>
                  <a:gd name="connsiteX57" fmla="*/ 215265 w 297179"/>
                  <a:gd name="connsiteY57" fmla="*/ 356235 h 372427"/>
                  <a:gd name="connsiteX58" fmla="*/ 214313 w 297179"/>
                  <a:gd name="connsiteY58" fmla="*/ 350520 h 372427"/>
                  <a:gd name="connsiteX59" fmla="*/ 213360 w 297179"/>
                  <a:gd name="connsiteY59" fmla="*/ 344805 h 372427"/>
                  <a:gd name="connsiteX60" fmla="*/ 212407 w 297179"/>
                  <a:gd name="connsiteY60" fmla="*/ 338138 h 372427"/>
                  <a:gd name="connsiteX61" fmla="*/ 212407 w 297179"/>
                  <a:gd name="connsiteY61" fmla="*/ 331470 h 372427"/>
                  <a:gd name="connsiteX62" fmla="*/ 212407 w 297179"/>
                  <a:gd name="connsiteY62" fmla="*/ 325755 h 372427"/>
                  <a:gd name="connsiteX63" fmla="*/ 212407 w 297179"/>
                  <a:gd name="connsiteY63" fmla="*/ 318135 h 372427"/>
                  <a:gd name="connsiteX64" fmla="*/ 211455 w 297179"/>
                  <a:gd name="connsiteY64" fmla="*/ 318135 h 372427"/>
                  <a:gd name="connsiteX65" fmla="*/ 206692 w 297179"/>
                  <a:gd name="connsiteY65" fmla="*/ 324802 h 372427"/>
                  <a:gd name="connsiteX66" fmla="*/ 201930 w 297179"/>
                  <a:gd name="connsiteY66" fmla="*/ 330517 h 372427"/>
                  <a:gd name="connsiteX67" fmla="*/ 196215 w 297179"/>
                  <a:gd name="connsiteY67" fmla="*/ 336233 h 372427"/>
                  <a:gd name="connsiteX68" fmla="*/ 190500 w 297179"/>
                  <a:gd name="connsiteY68" fmla="*/ 341947 h 372427"/>
                  <a:gd name="connsiteX69" fmla="*/ 185738 w 297179"/>
                  <a:gd name="connsiteY69" fmla="*/ 346710 h 372427"/>
                  <a:gd name="connsiteX70" fmla="*/ 180022 w 297179"/>
                  <a:gd name="connsiteY70" fmla="*/ 350520 h 372427"/>
                  <a:gd name="connsiteX71" fmla="*/ 174307 w 297179"/>
                  <a:gd name="connsiteY71" fmla="*/ 354330 h 372427"/>
                  <a:gd name="connsiteX72" fmla="*/ 168592 w 297179"/>
                  <a:gd name="connsiteY72" fmla="*/ 358140 h 372427"/>
                  <a:gd name="connsiteX73" fmla="*/ 162878 w 297179"/>
                  <a:gd name="connsiteY73" fmla="*/ 360997 h 372427"/>
                  <a:gd name="connsiteX74" fmla="*/ 156210 w 297179"/>
                  <a:gd name="connsiteY74" fmla="*/ 363855 h 372427"/>
                  <a:gd name="connsiteX75" fmla="*/ 149542 w 297179"/>
                  <a:gd name="connsiteY75" fmla="*/ 366713 h 372427"/>
                  <a:gd name="connsiteX76" fmla="*/ 141922 w 297179"/>
                  <a:gd name="connsiteY76" fmla="*/ 368617 h 372427"/>
                  <a:gd name="connsiteX77" fmla="*/ 134303 w 297179"/>
                  <a:gd name="connsiteY77" fmla="*/ 370522 h 372427"/>
                  <a:gd name="connsiteX78" fmla="*/ 126682 w 297179"/>
                  <a:gd name="connsiteY78" fmla="*/ 371475 h 372427"/>
                  <a:gd name="connsiteX79" fmla="*/ 118110 w 297179"/>
                  <a:gd name="connsiteY79" fmla="*/ 372427 h 372427"/>
                  <a:gd name="connsiteX80" fmla="*/ 109538 w 297179"/>
                  <a:gd name="connsiteY80" fmla="*/ 372427 h 372427"/>
                  <a:gd name="connsiteX81" fmla="*/ 102870 w 297179"/>
                  <a:gd name="connsiteY81" fmla="*/ 372427 h 372427"/>
                  <a:gd name="connsiteX82" fmla="*/ 95250 w 297179"/>
                  <a:gd name="connsiteY82" fmla="*/ 371475 h 372427"/>
                  <a:gd name="connsiteX83" fmla="*/ 88582 w 297179"/>
                  <a:gd name="connsiteY83" fmla="*/ 370522 h 372427"/>
                  <a:gd name="connsiteX84" fmla="*/ 81915 w 297179"/>
                  <a:gd name="connsiteY84" fmla="*/ 369570 h 372427"/>
                  <a:gd name="connsiteX85" fmla="*/ 75247 w 297179"/>
                  <a:gd name="connsiteY85" fmla="*/ 367665 h 372427"/>
                  <a:gd name="connsiteX86" fmla="*/ 68580 w 297179"/>
                  <a:gd name="connsiteY86" fmla="*/ 364808 h 372427"/>
                  <a:gd name="connsiteX87" fmla="*/ 61913 w 297179"/>
                  <a:gd name="connsiteY87" fmla="*/ 361950 h 372427"/>
                  <a:gd name="connsiteX88" fmla="*/ 55245 w 297179"/>
                  <a:gd name="connsiteY88" fmla="*/ 359092 h 372427"/>
                  <a:gd name="connsiteX89" fmla="*/ 49530 w 297179"/>
                  <a:gd name="connsiteY89" fmla="*/ 355283 h 372427"/>
                  <a:gd name="connsiteX90" fmla="*/ 43815 w 297179"/>
                  <a:gd name="connsiteY90" fmla="*/ 351472 h 372427"/>
                  <a:gd name="connsiteX91" fmla="*/ 38100 w 297179"/>
                  <a:gd name="connsiteY91" fmla="*/ 347663 h 372427"/>
                  <a:gd name="connsiteX92" fmla="*/ 32385 w 297179"/>
                  <a:gd name="connsiteY92" fmla="*/ 344805 h 372427"/>
                  <a:gd name="connsiteX93" fmla="*/ 27622 w 297179"/>
                  <a:gd name="connsiteY93" fmla="*/ 340042 h 372427"/>
                  <a:gd name="connsiteX94" fmla="*/ 22860 w 297179"/>
                  <a:gd name="connsiteY94" fmla="*/ 334327 h 372427"/>
                  <a:gd name="connsiteX95" fmla="*/ 19050 w 297179"/>
                  <a:gd name="connsiteY95" fmla="*/ 328613 h 372427"/>
                  <a:gd name="connsiteX96" fmla="*/ 15240 w 297179"/>
                  <a:gd name="connsiteY96" fmla="*/ 322897 h 372427"/>
                  <a:gd name="connsiteX97" fmla="*/ 11430 w 297179"/>
                  <a:gd name="connsiteY97" fmla="*/ 317183 h 372427"/>
                  <a:gd name="connsiteX98" fmla="*/ 8572 w 297179"/>
                  <a:gd name="connsiteY98" fmla="*/ 310515 h 372427"/>
                  <a:gd name="connsiteX99" fmla="*/ 5715 w 297179"/>
                  <a:gd name="connsiteY99" fmla="*/ 303847 h 372427"/>
                  <a:gd name="connsiteX100" fmla="*/ 3810 w 297179"/>
                  <a:gd name="connsiteY100" fmla="*/ 297180 h 372427"/>
                  <a:gd name="connsiteX101" fmla="*/ 1905 w 297179"/>
                  <a:gd name="connsiteY101" fmla="*/ 289560 h 372427"/>
                  <a:gd name="connsiteX102" fmla="*/ 953 w 297179"/>
                  <a:gd name="connsiteY102" fmla="*/ 281940 h 372427"/>
                  <a:gd name="connsiteX103" fmla="*/ 0 w 297179"/>
                  <a:gd name="connsiteY103" fmla="*/ 274320 h 372427"/>
                  <a:gd name="connsiteX104" fmla="*/ 0 w 297179"/>
                  <a:gd name="connsiteY104" fmla="*/ 266700 h 372427"/>
                  <a:gd name="connsiteX105" fmla="*/ 0 w 297179"/>
                  <a:gd name="connsiteY105" fmla="*/ 260985 h 372427"/>
                  <a:gd name="connsiteX106" fmla="*/ 0 w 297179"/>
                  <a:gd name="connsiteY106" fmla="*/ 255270 h 372427"/>
                  <a:gd name="connsiteX107" fmla="*/ 953 w 297179"/>
                  <a:gd name="connsiteY107" fmla="*/ 249555 h 372427"/>
                  <a:gd name="connsiteX108" fmla="*/ 1905 w 297179"/>
                  <a:gd name="connsiteY108" fmla="*/ 243840 h 372427"/>
                  <a:gd name="connsiteX109" fmla="*/ 2857 w 297179"/>
                  <a:gd name="connsiteY109" fmla="*/ 238125 h 372427"/>
                  <a:gd name="connsiteX110" fmla="*/ 3810 w 297179"/>
                  <a:gd name="connsiteY110" fmla="*/ 233363 h 372427"/>
                  <a:gd name="connsiteX111" fmla="*/ 4763 w 297179"/>
                  <a:gd name="connsiteY111" fmla="*/ 228600 h 372427"/>
                  <a:gd name="connsiteX112" fmla="*/ 6667 w 297179"/>
                  <a:gd name="connsiteY112" fmla="*/ 223838 h 372427"/>
                  <a:gd name="connsiteX113" fmla="*/ 8572 w 297179"/>
                  <a:gd name="connsiteY113" fmla="*/ 219075 h 372427"/>
                  <a:gd name="connsiteX114" fmla="*/ 10478 w 297179"/>
                  <a:gd name="connsiteY114" fmla="*/ 215265 h 372427"/>
                  <a:gd name="connsiteX115" fmla="*/ 12382 w 297179"/>
                  <a:gd name="connsiteY115" fmla="*/ 211455 h 372427"/>
                  <a:gd name="connsiteX116" fmla="*/ 14288 w 297179"/>
                  <a:gd name="connsiteY116" fmla="*/ 207645 h 372427"/>
                  <a:gd name="connsiteX117" fmla="*/ 17145 w 297179"/>
                  <a:gd name="connsiteY117" fmla="*/ 203835 h 372427"/>
                  <a:gd name="connsiteX118" fmla="*/ 20003 w 297179"/>
                  <a:gd name="connsiteY118" fmla="*/ 200025 h 372427"/>
                  <a:gd name="connsiteX119" fmla="*/ 22860 w 297179"/>
                  <a:gd name="connsiteY119" fmla="*/ 196215 h 372427"/>
                  <a:gd name="connsiteX120" fmla="*/ 25717 w 297179"/>
                  <a:gd name="connsiteY120" fmla="*/ 192405 h 372427"/>
                  <a:gd name="connsiteX121" fmla="*/ 28575 w 297179"/>
                  <a:gd name="connsiteY121" fmla="*/ 189547 h 372427"/>
                  <a:gd name="connsiteX122" fmla="*/ 31432 w 297179"/>
                  <a:gd name="connsiteY122" fmla="*/ 186690 h 372427"/>
                  <a:gd name="connsiteX123" fmla="*/ 34290 w 297179"/>
                  <a:gd name="connsiteY123" fmla="*/ 183832 h 372427"/>
                  <a:gd name="connsiteX124" fmla="*/ 38100 w 297179"/>
                  <a:gd name="connsiteY124" fmla="*/ 180975 h 372427"/>
                  <a:gd name="connsiteX125" fmla="*/ 41910 w 297179"/>
                  <a:gd name="connsiteY125" fmla="*/ 178117 h 372427"/>
                  <a:gd name="connsiteX126" fmla="*/ 45720 w 297179"/>
                  <a:gd name="connsiteY126" fmla="*/ 175260 h 372427"/>
                  <a:gd name="connsiteX127" fmla="*/ 49530 w 297179"/>
                  <a:gd name="connsiteY127" fmla="*/ 172402 h 372427"/>
                  <a:gd name="connsiteX128" fmla="*/ 53340 w 297179"/>
                  <a:gd name="connsiteY128" fmla="*/ 169545 h 372427"/>
                  <a:gd name="connsiteX129" fmla="*/ 57150 w 297179"/>
                  <a:gd name="connsiteY129" fmla="*/ 167640 h 372427"/>
                  <a:gd name="connsiteX130" fmla="*/ 60960 w 297179"/>
                  <a:gd name="connsiteY130" fmla="*/ 164782 h 372427"/>
                  <a:gd name="connsiteX131" fmla="*/ 65722 w 297179"/>
                  <a:gd name="connsiteY131" fmla="*/ 162877 h 372427"/>
                  <a:gd name="connsiteX132" fmla="*/ 70485 w 297179"/>
                  <a:gd name="connsiteY132" fmla="*/ 160972 h 372427"/>
                  <a:gd name="connsiteX133" fmla="*/ 80010 w 297179"/>
                  <a:gd name="connsiteY133" fmla="*/ 157163 h 372427"/>
                  <a:gd name="connsiteX134" fmla="*/ 90488 w 297179"/>
                  <a:gd name="connsiteY134" fmla="*/ 154305 h 372427"/>
                  <a:gd name="connsiteX135" fmla="*/ 100965 w 297179"/>
                  <a:gd name="connsiteY135" fmla="*/ 151447 h 372427"/>
                  <a:gd name="connsiteX136" fmla="*/ 112395 w 297179"/>
                  <a:gd name="connsiteY136" fmla="*/ 149542 h 372427"/>
                  <a:gd name="connsiteX137" fmla="*/ 123825 w 297179"/>
                  <a:gd name="connsiteY137" fmla="*/ 147638 h 372427"/>
                  <a:gd name="connsiteX138" fmla="*/ 136207 w 297179"/>
                  <a:gd name="connsiteY138" fmla="*/ 146685 h 372427"/>
                  <a:gd name="connsiteX139" fmla="*/ 149542 w 297179"/>
                  <a:gd name="connsiteY139" fmla="*/ 145732 h 372427"/>
                  <a:gd name="connsiteX140" fmla="*/ 162878 w 297179"/>
                  <a:gd name="connsiteY140" fmla="*/ 144780 h 372427"/>
                  <a:gd name="connsiteX141" fmla="*/ 177165 w 297179"/>
                  <a:gd name="connsiteY141" fmla="*/ 144780 h 372427"/>
                  <a:gd name="connsiteX142" fmla="*/ 192405 w 297179"/>
                  <a:gd name="connsiteY142" fmla="*/ 144780 h 372427"/>
                  <a:gd name="connsiteX143" fmla="*/ 210503 w 297179"/>
                  <a:gd name="connsiteY143" fmla="*/ 144780 h 372427"/>
                  <a:gd name="connsiteX144" fmla="*/ 210503 w 297179"/>
                  <a:gd name="connsiteY144" fmla="*/ 131445 h 372427"/>
                  <a:gd name="connsiteX145" fmla="*/ 210503 w 297179"/>
                  <a:gd name="connsiteY145" fmla="*/ 123825 h 372427"/>
                  <a:gd name="connsiteX146" fmla="*/ 209550 w 297179"/>
                  <a:gd name="connsiteY146" fmla="*/ 117157 h 372427"/>
                  <a:gd name="connsiteX147" fmla="*/ 208597 w 297179"/>
                  <a:gd name="connsiteY147" fmla="*/ 110490 h 372427"/>
                  <a:gd name="connsiteX148" fmla="*/ 206692 w 297179"/>
                  <a:gd name="connsiteY148" fmla="*/ 103822 h 372427"/>
                  <a:gd name="connsiteX149" fmla="*/ 204788 w 297179"/>
                  <a:gd name="connsiteY149" fmla="*/ 98107 h 372427"/>
                  <a:gd name="connsiteX150" fmla="*/ 201930 w 297179"/>
                  <a:gd name="connsiteY150" fmla="*/ 92392 h 372427"/>
                  <a:gd name="connsiteX151" fmla="*/ 198120 w 297179"/>
                  <a:gd name="connsiteY151" fmla="*/ 86677 h 372427"/>
                  <a:gd name="connsiteX152" fmla="*/ 194310 w 297179"/>
                  <a:gd name="connsiteY152" fmla="*/ 81915 h 372427"/>
                  <a:gd name="connsiteX153" fmla="*/ 192405 w 297179"/>
                  <a:gd name="connsiteY153" fmla="*/ 79057 h 372427"/>
                  <a:gd name="connsiteX154" fmla="*/ 190500 w 297179"/>
                  <a:gd name="connsiteY154" fmla="*/ 77152 h 372427"/>
                  <a:gd name="connsiteX155" fmla="*/ 187642 w 297179"/>
                  <a:gd name="connsiteY155" fmla="*/ 75247 h 372427"/>
                  <a:gd name="connsiteX156" fmla="*/ 184785 w 297179"/>
                  <a:gd name="connsiteY156" fmla="*/ 73342 h 372427"/>
                  <a:gd name="connsiteX157" fmla="*/ 181928 w 297179"/>
                  <a:gd name="connsiteY157" fmla="*/ 71438 h 372427"/>
                  <a:gd name="connsiteX158" fmla="*/ 179070 w 297179"/>
                  <a:gd name="connsiteY158" fmla="*/ 70485 h 372427"/>
                  <a:gd name="connsiteX159" fmla="*/ 176213 w 297179"/>
                  <a:gd name="connsiteY159" fmla="*/ 69532 h 372427"/>
                  <a:gd name="connsiteX160" fmla="*/ 173355 w 297179"/>
                  <a:gd name="connsiteY160" fmla="*/ 68580 h 372427"/>
                  <a:gd name="connsiteX161" fmla="*/ 170497 w 297179"/>
                  <a:gd name="connsiteY161" fmla="*/ 67627 h 372427"/>
                  <a:gd name="connsiteX162" fmla="*/ 166688 w 297179"/>
                  <a:gd name="connsiteY162" fmla="*/ 66675 h 372427"/>
                  <a:gd name="connsiteX163" fmla="*/ 162878 w 297179"/>
                  <a:gd name="connsiteY163" fmla="*/ 65722 h 372427"/>
                  <a:gd name="connsiteX164" fmla="*/ 159067 w 297179"/>
                  <a:gd name="connsiteY164" fmla="*/ 64770 h 372427"/>
                  <a:gd name="connsiteX165" fmla="*/ 151447 w 297179"/>
                  <a:gd name="connsiteY165" fmla="*/ 63817 h 372427"/>
                  <a:gd name="connsiteX166" fmla="*/ 142875 w 297179"/>
                  <a:gd name="connsiteY166" fmla="*/ 63817 h 372427"/>
                  <a:gd name="connsiteX167" fmla="*/ 135255 w 297179"/>
                  <a:gd name="connsiteY167" fmla="*/ 63817 h 372427"/>
                  <a:gd name="connsiteX168" fmla="*/ 128588 w 297179"/>
                  <a:gd name="connsiteY168" fmla="*/ 64770 h 372427"/>
                  <a:gd name="connsiteX169" fmla="*/ 120967 w 297179"/>
                  <a:gd name="connsiteY169" fmla="*/ 65722 h 372427"/>
                  <a:gd name="connsiteX170" fmla="*/ 113347 w 297179"/>
                  <a:gd name="connsiteY170" fmla="*/ 66675 h 372427"/>
                  <a:gd name="connsiteX171" fmla="*/ 106680 w 297179"/>
                  <a:gd name="connsiteY171" fmla="*/ 68580 h 372427"/>
                  <a:gd name="connsiteX172" fmla="*/ 100013 w 297179"/>
                  <a:gd name="connsiteY172" fmla="*/ 70485 h 372427"/>
                  <a:gd name="connsiteX173" fmla="*/ 93345 w 297179"/>
                  <a:gd name="connsiteY173" fmla="*/ 73342 h 372427"/>
                  <a:gd name="connsiteX174" fmla="*/ 86678 w 297179"/>
                  <a:gd name="connsiteY174" fmla="*/ 76200 h 372427"/>
                  <a:gd name="connsiteX175" fmla="*/ 80010 w 297179"/>
                  <a:gd name="connsiteY175" fmla="*/ 79057 h 372427"/>
                  <a:gd name="connsiteX176" fmla="*/ 73342 w 297179"/>
                  <a:gd name="connsiteY176" fmla="*/ 81915 h 372427"/>
                  <a:gd name="connsiteX177" fmla="*/ 67628 w 297179"/>
                  <a:gd name="connsiteY177" fmla="*/ 84772 h 372427"/>
                  <a:gd name="connsiteX178" fmla="*/ 61913 w 297179"/>
                  <a:gd name="connsiteY178" fmla="*/ 87630 h 372427"/>
                  <a:gd name="connsiteX179" fmla="*/ 57150 w 297179"/>
                  <a:gd name="connsiteY179" fmla="*/ 90488 h 372427"/>
                  <a:gd name="connsiteX180" fmla="*/ 52388 w 297179"/>
                  <a:gd name="connsiteY180" fmla="*/ 93345 h 372427"/>
                  <a:gd name="connsiteX181" fmla="*/ 48578 w 297179"/>
                  <a:gd name="connsiteY181" fmla="*/ 96202 h 372427"/>
                  <a:gd name="connsiteX182" fmla="*/ 40005 w 297179"/>
                  <a:gd name="connsiteY182" fmla="*/ 96202 h 372427"/>
                  <a:gd name="connsiteX183" fmla="*/ 40005 w 297179"/>
                  <a:gd name="connsiteY183" fmla="*/ 96202 h 372427"/>
                  <a:gd name="connsiteX184" fmla="*/ 209550 w 297179"/>
                  <a:gd name="connsiteY184" fmla="*/ 211455 h 372427"/>
                  <a:gd name="connsiteX185" fmla="*/ 209550 w 297179"/>
                  <a:gd name="connsiteY185" fmla="*/ 191452 h 372427"/>
                  <a:gd name="connsiteX186" fmla="*/ 200978 w 297179"/>
                  <a:gd name="connsiteY186" fmla="*/ 191452 h 372427"/>
                  <a:gd name="connsiteX187" fmla="*/ 186690 w 297179"/>
                  <a:gd name="connsiteY187" fmla="*/ 191452 h 372427"/>
                  <a:gd name="connsiteX188" fmla="*/ 173355 w 297179"/>
                  <a:gd name="connsiteY188" fmla="*/ 192405 h 372427"/>
                  <a:gd name="connsiteX189" fmla="*/ 160972 w 297179"/>
                  <a:gd name="connsiteY189" fmla="*/ 193358 h 372427"/>
                  <a:gd name="connsiteX190" fmla="*/ 148590 w 297179"/>
                  <a:gd name="connsiteY190" fmla="*/ 195263 h 372427"/>
                  <a:gd name="connsiteX191" fmla="*/ 138113 w 297179"/>
                  <a:gd name="connsiteY191" fmla="*/ 197167 h 372427"/>
                  <a:gd name="connsiteX192" fmla="*/ 128588 w 297179"/>
                  <a:gd name="connsiteY192" fmla="*/ 200025 h 372427"/>
                  <a:gd name="connsiteX193" fmla="*/ 123825 w 297179"/>
                  <a:gd name="connsiteY193" fmla="*/ 201930 h 372427"/>
                  <a:gd name="connsiteX194" fmla="*/ 120015 w 297179"/>
                  <a:gd name="connsiteY194" fmla="*/ 202883 h 372427"/>
                  <a:gd name="connsiteX195" fmla="*/ 116205 w 297179"/>
                  <a:gd name="connsiteY195" fmla="*/ 204788 h 372427"/>
                  <a:gd name="connsiteX196" fmla="*/ 112395 w 297179"/>
                  <a:gd name="connsiteY196" fmla="*/ 206692 h 372427"/>
                  <a:gd name="connsiteX197" fmla="*/ 108585 w 297179"/>
                  <a:gd name="connsiteY197" fmla="*/ 208597 h 372427"/>
                  <a:gd name="connsiteX198" fmla="*/ 105728 w 297179"/>
                  <a:gd name="connsiteY198" fmla="*/ 210502 h 372427"/>
                  <a:gd name="connsiteX199" fmla="*/ 102870 w 297179"/>
                  <a:gd name="connsiteY199" fmla="*/ 213360 h 372427"/>
                  <a:gd name="connsiteX200" fmla="*/ 100013 w 297179"/>
                  <a:gd name="connsiteY200" fmla="*/ 216217 h 372427"/>
                  <a:gd name="connsiteX201" fmla="*/ 97155 w 297179"/>
                  <a:gd name="connsiteY201" fmla="*/ 219075 h 372427"/>
                  <a:gd name="connsiteX202" fmla="*/ 94297 w 297179"/>
                  <a:gd name="connsiteY202" fmla="*/ 221933 h 372427"/>
                  <a:gd name="connsiteX203" fmla="*/ 92392 w 297179"/>
                  <a:gd name="connsiteY203" fmla="*/ 224790 h 372427"/>
                  <a:gd name="connsiteX204" fmla="*/ 90488 w 297179"/>
                  <a:gd name="connsiteY204" fmla="*/ 227647 h 372427"/>
                  <a:gd name="connsiteX205" fmla="*/ 88582 w 297179"/>
                  <a:gd name="connsiteY205" fmla="*/ 231458 h 372427"/>
                  <a:gd name="connsiteX206" fmla="*/ 87630 w 297179"/>
                  <a:gd name="connsiteY206" fmla="*/ 235267 h 372427"/>
                  <a:gd name="connsiteX207" fmla="*/ 86678 w 297179"/>
                  <a:gd name="connsiteY207" fmla="*/ 239077 h 372427"/>
                  <a:gd name="connsiteX208" fmla="*/ 85725 w 297179"/>
                  <a:gd name="connsiteY208" fmla="*/ 242888 h 372427"/>
                  <a:gd name="connsiteX209" fmla="*/ 84772 w 297179"/>
                  <a:gd name="connsiteY209" fmla="*/ 246697 h 372427"/>
                  <a:gd name="connsiteX210" fmla="*/ 83820 w 297179"/>
                  <a:gd name="connsiteY210" fmla="*/ 250508 h 372427"/>
                  <a:gd name="connsiteX211" fmla="*/ 83820 w 297179"/>
                  <a:gd name="connsiteY211" fmla="*/ 255270 h 372427"/>
                  <a:gd name="connsiteX212" fmla="*/ 83820 w 297179"/>
                  <a:gd name="connsiteY212" fmla="*/ 260033 h 372427"/>
                  <a:gd name="connsiteX213" fmla="*/ 83820 w 297179"/>
                  <a:gd name="connsiteY213" fmla="*/ 265747 h 372427"/>
                  <a:gd name="connsiteX214" fmla="*/ 84772 w 297179"/>
                  <a:gd name="connsiteY214" fmla="*/ 271463 h 372427"/>
                  <a:gd name="connsiteX215" fmla="*/ 85725 w 297179"/>
                  <a:gd name="connsiteY215" fmla="*/ 277177 h 372427"/>
                  <a:gd name="connsiteX216" fmla="*/ 87630 w 297179"/>
                  <a:gd name="connsiteY216" fmla="*/ 281940 h 372427"/>
                  <a:gd name="connsiteX217" fmla="*/ 89535 w 297179"/>
                  <a:gd name="connsiteY217" fmla="*/ 286702 h 372427"/>
                  <a:gd name="connsiteX218" fmla="*/ 92392 w 297179"/>
                  <a:gd name="connsiteY218" fmla="*/ 291465 h 372427"/>
                  <a:gd name="connsiteX219" fmla="*/ 95250 w 297179"/>
                  <a:gd name="connsiteY219" fmla="*/ 295275 h 372427"/>
                  <a:gd name="connsiteX220" fmla="*/ 99060 w 297179"/>
                  <a:gd name="connsiteY220" fmla="*/ 299085 h 372427"/>
                  <a:gd name="connsiteX221" fmla="*/ 102870 w 297179"/>
                  <a:gd name="connsiteY221" fmla="*/ 302895 h 372427"/>
                  <a:gd name="connsiteX222" fmla="*/ 107632 w 297179"/>
                  <a:gd name="connsiteY222" fmla="*/ 305752 h 372427"/>
                  <a:gd name="connsiteX223" fmla="*/ 112395 w 297179"/>
                  <a:gd name="connsiteY223" fmla="*/ 308610 h 372427"/>
                  <a:gd name="connsiteX224" fmla="*/ 117157 w 297179"/>
                  <a:gd name="connsiteY224" fmla="*/ 310515 h 372427"/>
                  <a:gd name="connsiteX225" fmla="*/ 122872 w 297179"/>
                  <a:gd name="connsiteY225" fmla="*/ 312420 h 372427"/>
                  <a:gd name="connsiteX226" fmla="*/ 127635 w 297179"/>
                  <a:gd name="connsiteY226" fmla="*/ 313372 h 372427"/>
                  <a:gd name="connsiteX227" fmla="*/ 133350 w 297179"/>
                  <a:gd name="connsiteY227" fmla="*/ 314325 h 372427"/>
                  <a:gd name="connsiteX228" fmla="*/ 140017 w 297179"/>
                  <a:gd name="connsiteY228" fmla="*/ 314325 h 372427"/>
                  <a:gd name="connsiteX229" fmla="*/ 144780 w 297179"/>
                  <a:gd name="connsiteY229" fmla="*/ 314325 h 372427"/>
                  <a:gd name="connsiteX230" fmla="*/ 149542 w 297179"/>
                  <a:gd name="connsiteY230" fmla="*/ 314325 h 372427"/>
                  <a:gd name="connsiteX231" fmla="*/ 153353 w 297179"/>
                  <a:gd name="connsiteY231" fmla="*/ 313372 h 372427"/>
                  <a:gd name="connsiteX232" fmla="*/ 157163 w 297179"/>
                  <a:gd name="connsiteY232" fmla="*/ 312420 h 372427"/>
                  <a:gd name="connsiteX233" fmla="*/ 160972 w 297179"/>
                  <a:gd name="connsiteY233" fmla="*/ 311467 h 372427"/>
                  <a:gd name="connsiteX234" fmla="*/ 164782 w 297179"/>
                  <a:gd name="connsiteY234" fmla="*/ 310515 h 372427"/>
                  <a:gd name="connsiteX235" fmla="*/ 168592 w 297179"/>
                  <a:gd name="connsiteY235" fmla="*/ 309563 h 372427"/>
                  <a:gd name="connsiteX236" fmla="*/ 172403 w 297179"/>
                  <a:gd name="connsiteY236" fmla="*/ 307658 h 372427"/>
                  <a:gd name="connsiteX237" fmla="*/ 176213 w 297179"/>
                  <a:gd name="connsiteY237" fmla="*/ 305752 h 372427"/>
                  <a:gd name="connsiteX238" fmla="*/ 179070 w 297179"/>
                  <a:gd name="connsiteY238" fmla="*/ 303847 h 372427"/>
                  <a:gd name="connsiteX239" fmla="*/ 181928 w 297179"/>
                  <a:gd name="connsiteY239" fmla="*/ 301942 h 372427"/>
                  <a:gd name="connsiteX240" fmla="*/ 184785 w 297179"/>
                  <a:gd name="connsiteY240" fmla="*/ 299085 h 372427"/>
                  <a:gd name="connsiteX241" fmla="*/ 187642 w 297179"/>
                  <a:gd name="connsiteY241" fmla="*/ 296227 h 372427"/>
                  <a:gd name="connsiteX242" fmla="*/ 190500 w 297179"/>
                  <a:gd name="connsiteY242" fmla="*/ 293370 h 372427"/>
                  <a:gd name="connsiteX243" fmla="*/ 193357 w 297179"/>
                  <a:gd name="connsiteY243" fmla="*/ 290513 h 372427"/>
                  <a:gd name="connsiteX244" fmla="*/ 195263 w 297179"/>
                  <a:gd name="connsiteY244" fmla="*/ 287655 h 372427"/>
                  <a:gd name="connsiteX245" fmla="*/ 197167 w 297179"/>
                  <a:gd name="connsiteY245" fmla="*/ 283845 h 372427"/>
                  <a:gd name="connsiteX246" fmla="*/ 199072 w 297179"/>
                  <a:gd name="connsiteY246" fmla="*/ 280035 h 372427"/>
                  <a:gd name="connsiteX247" fmla="*/ 200978 w 297179"/>
                  <a:gd name="connsiteY247" fmla="*/ 276225 h 372427"/>
                  <a:gd name="connsiteX248" fmla="*/ 202882 w 297179"/>
                  <a:gd name="connsiteY248" fmla="*/ 272415 h 372427"/>
                  <a:gd name="connsiteX249" fmla="*/ 203835 w 297179"/>
                  <a:gd name="connsiteY249" fmla="*/ 268605 h 372427"/>
                  <a:gd name="connsiteX250" fmla="*/ 204788 w 297179"/>
                  <a:gd name="connsiteY250" fmla="*/ 264795 h 372427"/>
                  <a:gd name="connsiteX251" fmla="*/ 206692 w 297179"/>
                  <a:gd name="connsiteY251" fmla="*/ 260033 h 372427"/>
                  <a:gd name="connsiteX252" fmla="*/ 207645 w 297179"/>
                  <a:gd name="connsiteY252" fmla="*/ 255270 h 372427"/>
                  <a:gd name="connsiteX253" fmla="*/ 209550 w 297179"/>
                  <a:gd name="connsiteY253" fmla="*/ 244792 h 372427"/>
                  <a:gd name="connsiteX254" fmla="*/ 210503 w 297179"/>
                  <a:gd name="connsiteY254" fmla="*/ 234315 h 372427"/>
                  <a:gd name="connsiteX255" fmla="*/ 211455 w 297179"/>
                  <a:gd name="connsiteY255" fmla="*/ 222885 h 372427"/>
                  <a:gd name="connsiteX256" fmla="*/ 209550 w 297179"/>
                  <a:gd name="connsiteY256" fmla="*/ 211455 h 372427"/>
                  <a:gd name="connsiteX257" fmla="*/ 209550 w 297179"/>
                  <a:gd name="connsiteY257" fmla="*/ 211455 h 372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</a:cxnLst>
                <a:rect l="l" t="t" r="r" b="b"/>
                <a:pathLst>
                  <a:path w="297179" h="372427">
                    <a:moveTo>
                      <a:pt x="40005" y="96202"/>
                    </a:moveTo>
                    <a:lnTo>
                      <a:pt x="35242" y="25717"/>
                    </a:lnTo>
                    <a:lnTo>
                      <a:pt x="47625" y="20002"/>
                    </a:lnTo>
                    <a:lnTo>
                      <a:pt x="60007" y="14288"/>
                    </a:lnTo>
                    <a:lnTo>
                      <a:pt x="73342" y="9525"/>
                    </a:lnTo>
                    <a:lnTo>
                      <a:pt x="86678" y="5715"/>
                    </a:lnTo>
                    <a:lnTo>
                      <a:pt x="93345" y="3810"/>
                    </a:lnTo>
                    <a:lnTo>
                      <a:pt x="100013" y="2857"/>
                    </a:lnTo>
                    <a:lnTo>
                      <a:pt x="107632" y="1905"/>
                    </a:lnTo>
                    <a:lnTo>
                      <a:pt x="115253" y="952"/>
                    </a:lnTo>
                    <a:lnTo>
                      <a:pt x="123825" y="0"/>
                    </a:lnTo>
                    <a:lnTo>
                      <a:pt x="132397" y="0"/>
                    </a:lnTo>
                    <a:lnTo>
                      <a:pt x="140970" y="0"/>
                    </a:lnTo>
                    <a:lnTo>
                      <a:pt x="150495" y="0"/>
                    </a:lnTo>
                    <a:lnTo>
                      <a:pt x="163830" y="0"/>
                    </a:lnTo>
                    <a:lnTo>
                      <a:pt x="176213" y="952"/>
                    </a:lnTo>
                    <a:lnTo>
                      <a:pt x="188595" y="1905"/>
                    </a:lnTo>
                    <a:lnTo>
                      <a:pt x="200025" y="3810"/>
                    </a:lnTo>
                    <a:lnTo>
                      <a:pt x="210503" y="5715"/>
                    </a:lnTo>
                    <a:lnTo>
                      <a:pt x="220028" y="8572"/>
                    </a:lnTo>
                    <a:lnTo>
                      <a:pt x="224790" y="10477"/>
                    </a:lnTo>
                    <a:lnTo>
                      <a:pt x="228600" y="12382"/>
                    </a:lnTo>
                    <a:lnTo>
                      <a:pt x="232410" y="14288"/>
                    </a:lnTo>
                    <a:lnTo>
                      <a:pt x="236220" y="16192"/>
                    </a:lnTo>
                    <a:lnTo>
                      <a:pt x="243840" y="20955"/>
                    </a:lnTo>
                    <a:lnTo>
                      <a:pt x="250507" y="25717"/>
                    </a:lnTo>
                    <a:lnTo>
                      <a:pt x="253365" y="28575"/>
                    </a:lnTo>
                    <a:lnTo>
                      <a:pt x="256222" y="31432"/>
                    </a:lnTo>
                    <a:lnTo>
                      <a:pt x="259080" y="34290"/>
                    </a:lnTo>
                    <a:lnTo>
                      <a:pt x="261938" y="37147"/>
                    </a:lnTo>
                    <a:lnTo>
                      <a:pt x="264795" y="40005"/>
                    </a:lnTo>
                    <a:lnTo>
                      <a:pt x="267653" y="42863"/>
                    </a:lnTo>
                    <a:lnTo>
                      <a:pt x="270510" y="45720"/>
                    </a:lnTo>
                    <a:lnTo>
                      <a:pt x="272415" y="49530"/>
                    </a:lnTo>
                    <a:lnTo>
                      <a:pt x="274320" y="53340"/>
                    </a:lnTo>
                    <a:lnTo>
                      <a:pt x="276225" y="57150"/>
                    </a:lnTo>
                    <a:lnTo>
                      <a:pt x="278130" y="60960"/>
                    </a:lnTo>
                    <a:lnTo>
                      <a:pt x="280035" y="64770"/>
                    </a:lnTo>
                    <a:lnTo>
                      <a:pt x="282892" y="72390"/>
                    </a:lnTo>
                    <a:lnTo>
                      <a:pt x="285750" y="80963"/>
                    </a:lnTo>
                    <a:lnTo>
                      <a:pt x="287655" y="90488"/>
                    </a:lnTo>
                    <a:lnTo>
                      <a:pt x="289560" y="100013"/>
                    </a:lnTo>
                    <a:lnTo>
                      <a:pt x="290513" y="110490"/>
                    </a:lnTo>
                    <a:lnTo>
                      <a:pt x="291465" y="120967"/>
                    </a:lnTo>
                    <a:lnTo>
                      <a:pt x="292417" y="132397"/>
                    </a:lnTo>
                    <a:lnTo>
                      <a:pt x="292417" y="143827"/>
                    </a:lnTo>
                    <a:lnTo>
                      <a:pt x="292417" y="302895"/>
                    </a:lnTo>
                    <a:lnTo>
                      <a:pt x="292417" y="310515"/>
                    </a:lnTo>
                    <a:lnTo>
                      <a:pt x="292417" y="319088"/>
                    </a:lnTo>
                    <a:lnTo>
                      <a:pt x="293370" y="326708"/>
                    </a:lnTo>
                    <a:lnTo>
                      <a:pt x="293370" y="334327"/>
                    </a:lnTo>
                    <a:lnTo>
                      <a:pt x="294322" y="342900"/>
                    </a:lnTo>
                    <a:lnTo>
                      <a:pt x="295275" y="350520"/>
                    </a:lnTo>
                    <a:lnTo>
                      <a:pt x="296228" y="358140"/>
                    </a:lnTo>
                    <a:lnTo>
                      <a:pt x="297180" y="365760"/>
                    </a:lnTo>
                    <a:lnTo>
                      <a:pt x="217170" y="365760"/>
                    </a:lnTo>
                    <a:lnTo>
                      <a:pt x="216217" y="360997"/>
                    </a:lnTo>
                    <a:lnTo>
                      <a:pt x="215265" y="356235"/>
                    </a:lnTo>
                    <a:lnTo>
                      <a:pt x="214313" y="350520"/>
                    </a:lnTo>
                    <a:lnTo>
                      <a:pt x="213360" y="344805"/>
                    </a:lnTo>
                    <a:lnTo>
                      <a:pt x="212407" y="338138"/>
                    </a:lnTo>
                    <a:lnTo>
                      <a:pt x="212407" y="331470"/>
                    </a:lnTo>
                    <a:lnTo>
                      <a:pt x="212407" y="325755"/>
                    </a:lnTo>
                    <a:lnTo>
                      <a:pt x="212407" y="318135"/>
                    </a:lnTo>
                    <a:lnTo>
                      <a:pt x="211455" y="318135"/>
                    </a:lnTo>
                    <a:lnTo>
                      <a:pt x="206692" y="324802"/>
                    </a:lnTo>
                    <a:lnTo>
                      <a:pt x="201930" y="330517"/>
                    </a:lnTo>
                    <a:lnTo>
                      <a:pt x="196215" y="336233"/>
                    </a:lnTo>
                    <a:lnTo>
                      <a:pt x="190500" y="341947"/>
                    </a:lnTo>
                    <a:lnTo>
                      <a:pt x="185738" y="346710"/>
                    </a:lnTo>
                    <a:lnTo>
                      <a:pt x="180022" y="350520"/>
                    </a:lnTo>
                    <a:lnTo>
                      <a:pt x="174307" y="354330"/>
                    </a:lnTo>
                    <a:lnTo>
                      <a:pt x="168592" y="358140"/>
                    </a:lnTo>
                    <a:lnTo>
                      <a:pt x="162878" y="360997"/>
                    </a:lnTo>
                    <a:lnTo>
                      <a:pt x="156210" y="363855"/>
                    </a:lnTo>
                    <a:lnTo>
                      <a:pt x="149542" y="366713"/>
                    </a:lnTo>
                    <a:lnTo>
                      <a:pt x="141922" y="368617"/>
                    </a:lnTo>
                    <a:lnTo>
                      <a:pt x="134303" y="370522"/>
                    </a:lnTo>
                    <a:lnTo>
                      <a:pt x="126682" y="371475"/>
                    </a:lnTo>
                    <a:lnTo>
                      <a:pt x="118110" y="372427"/>
                    </a:lnTo>
                    <a:lnTo>
                      <a:pt x="109538" y="372427"/>
                    </a:lnTo>
                    <a:lnTo>
                      <a:pt x="102870" y="372427"/>
                    </a:lnTo>
                    <a:lnTo>
                      <a:pt x="95250" y="371475"/>
                    </a:lnTo>
                    <a:lnTo>
                      <a:pt x="88582" y="370522"/>
                    </a:lnTo>
                    <a:lnTo>
                      <a:pt x="81915" y="369570"/>
                    </a:lnTo>
                    <a:lnTo>
                      <a:pt x="75247" y="367665"/>
                    </a:lnTo>
                    <a:lnTo>
                      <a:pt x="68580" y="364808"/>
                    </a:lnTo>
                    <a:lnTo>
                      <a:pt x="61913" y="361950"/>
                    </a:lnTo>
                    <a:lnTo>
                      <a:pt x="55245" y="359092"/>
                    </a:lnTo>
                    <a:lnTo>
                      <a:pt x="49530" y="355283"/>
                    </a:lnTo>
                    <a:lnTo>
                      <a:pt x="43815" y="351472"/>
                    </a:lnTo>
                    <a:lnTo>
                      <a:pt x="38100" y="347663"/>
                    </a:lnTo>
                    <a:lnTo>
                      <a:pt x="32385" y="344805"/>
                    </a:lnTo>
                    <a:lnTo>
                      <a:pt x="27622" y="340042"/>
                    </a:lnTo>
                    <a:lnTo>
                      <a:pt x="22860" y="334327"/>
                    </a:lnTo>
                    <a:lnTo>
                      <a:pt x="19050" y="328613"/>
                    </a:lnTo>
                    <a:lnTo>
                      <a:pt x="15240" y="322897"/>
                    </a:lnTo>
                    <a:lnTo>
                      <a:pt x="11430" y="317183"/>
                    </a:lnTo>
                    <a:lnTo>
                      <a:pt x="8572" y="310515"/>
                    </a:lnTo>
                    <a:lnTo>
                      <a:pt x="5715" y="303847"/>
                    </a:lnTo>
                    <a:lnTo>
                      <a:pt x="3810" y="297180"/>
                    </a:lnTo>
                    <a:lnTo>
                      <a:pt x="1905" y="289560"/>
                    </a:lnTo>
                    <a:lnTo>
                      <a:pt x="953" y="281940"/>
                    </a:lnTo>
                    <a:lnTo>
                      <a:pt x="0" y="274320"/>
                    </a:lnTo>
                    <a:lnTo>
                      <a:pt x="0" y="266700"/>
                    </a:lnTo>
                    <a:lnTo>
                      <a:pt x="0" y="260985"/>
                    </a:lnTo>
                    <a:lnTo>
                      <a:pt x="0" y="255270"/>
                    </a:lnTo>
                    <a:lnTo>
                      <a:pt x="953" y="249555"/>
                    </a:lnTo>
                    <a:lnTo>
                      <a:pt x="1905" y="243840"/>
                    </a:lnTo>
                    <a:lnTo>
                      <a:pt x="2857" y="238125"/>
                    </a:lnTo>
                    <a:lnTo>
                      <a:pt x="3810" y="233363"/>
                    </a:lnTo>
                    <a:lnTo>
                      <a:pt x="4763" y="228600"/>
                    </a:lnTo>
                    <a:lnTo>
                      <a:pt x="6667" y="223838"/>
                    </a:lnTo>
                    <a:lnTo>
                      <a:pt x="8572" y="219075"/>
                    </a:lnTo>
                    <a:lnTo>
                      <a:pt x="10478" y="215265"/>
                    </a:lnTo>
                    <a:lnTo>
                      <a:pt x="12382" y="211455"/>
                    </a:lnTo>
                    <a:lnTo>
                      <a:pt x="14288" y="207645"/>
                    </a:lnTo>
                    <a:lnTo>
                      <a:pt x="17145" y="203835"/>
                    </a:lnTo>
                    <a:lnTo>
                      <a:pt x="20003" y="200025"/>
                    </a:lnTo>
                    <a:lnTo>
                      <a:pt x="22860" y="196215"/>
                    </a:lnTo>
                    <a:lnTo>
                      <a:pt x="25717" y="192405"/>
                    </a:lnTo>
                    <a:lnTo>
                      <a:pt x="28575" y="189547"/>
                    </a:lnTo>
                    <a:lnTo>
                      <a:pt x="31432" y="186690"/>
                    </a:lnTo>
                    <a:lnTo>
                      <a:pt x="34290" y="183832"/>
                    </a:lnTo>
                    <a:lnTo>
                      <a:pt x="38100" y="180975"/>
                    </a:lnTo>
                    <a:lnTo>
                      <a:pt x="41910" y="178117"/>
                    </a:lnTo>
                    <a:lnTo>
                      <a:pt x="45720" y="175260"/>
                    </a:lnTo>
                    <a:lnTo>
                      <a:pt x="49530" y="172402"/>
                    </a:lnTo>
                    <a:lnTo>
                      <a:pt x="53340" y="169545"/>
                    </a:lnTo>
                    <a:lnTo>
                      <a:pt x="57150" y="167640"/>
                    </a:lnTo>
                    <a:lnTo>
                      <a:pt x="60960" y="164782"/>
                    </a:lnTo>
                    <a:lnTo>
                      <a:pt x="65722" y="162877"/>
                    </a:lnTo>
                    <a:lnTo>
                      <a:pt x="70485" y="160972"/>
                    </a:lnTo>
                    <a:lnTo>
                      <a:pt x="80010" y="157163"/>
                    </a:lnTo>
                    <a:lnTo>
                      <a:pt x="90488" y="154305"/>
                    </a:lnTo>
                    <a:lnTo>
                      <a:pt x="100965" y="151447"/>
                    </a:lnTo>
                    <a:lnTo>
                      <a:pt x="112395" y="149542"/>
                    </a:lnTo>
                    <a:lnTo>
                      <a:pt x="123825" y="147638"/>
                    </a:lnTo>
                    <a:lnTo>
                      <a:pt x="136207" y="146685"/>
                    </a:lnTo>
                    <a:lnTo>
                      <a:pt x="149542" y="145732"/>
                    </a:lnTo>
                    <a:lnTo>
                      <a:pt x="162878" y="144780"/>
                    </a:lnTo>
                    <a:lnTo>
                      <a:pt x="177165" y="144780"/>
                    </a:lnTo>
                    <a:lnTo>
                      <a:pt x="192405" y="144780"/>
                    </a:lnTo>
                    <a:lnTo>
                      <a:pt x="210503" y="144780"/>
                    </a:lnTo>
                    <a:lnTo>
                      <a:pt x="210503" y="131445"/>
                    </a:lnTo>
                    <a:lnTo>
                      <a:pt x="210503" y="123825"/>
                    </a:lnTo>
                    <a:lnTo>
                      <a:pt x="209550" y="117157"/>
                    </a:lnTo>
                    <a:lnTo>
                      <a:pt x="208597" y="110490"/>
                    </a:lnTo>
                    <a:lnTo>
                      <a:pt x="206692" y="103822"/>
                    </a:lnTo>
                    <a:lnTo>
                      <a:pt x="204788" y="98107"/>
                    </a:lnTo>
                    <a:lnTo>
                      <a:pt x="201930" y="92392"/>
                    </a:lnTo>
                    <a:lnTo>
                      <a:pt x="198120" y="86677"/>
                    </a:lnTo>
                    <a:lnTo>
                      <a:pt x="194310" y="81915"/>
                    </a:lnTo>
                    <a:lnTo>
                      <a:pt x="192405" y="79057"/>
                    </a:lnTo>
                    <a:lnTo>
                      <a:pt x="190500" y="77152"/>
                    </a:lnTo>
                    <a:lnTo>
                      <a:pt x="187642" y="75247"/>
                    </a:lnTo>
                    <a:lnTo>
                      <a:pt x="184785" y="73342"/>
                    </a:lnTo>
                    <a:lnTo>
                      <a:pt x="181928" y="71438"/>
                    </a:lnTo>
                    <a:lnTo>
                      <a:pt x="179070" y="70485"/>
                    </a:lnTo>
                    <a:lnTo>
                      <a:pt x="176213" y="69532"/>
                    </a:lnTo>
                    <a:lnTo>
                      <a:pt x="173355" y="68580"/>
                    </a:lnTo>
                    <a:lnTo>
                      <a:pt x="170497" y="67627"/>
                    </a:lnTo>
                    <a:lnTo>
                      <a:pt x="166688" y="66675"/>
                    </a:lnTo>
                    <a:lnTo>
                      <a:pt x="162878" y="65722"/>
                    </a:lnTo>
                    <a:lnTo>
                      <a:pt x="159067" y="64770"/>
                    </a:lnTo>
                    <a:lnTo>
                      <a:pt x="151447" y="63817"/>
                    </a:lnTo>
                    <a:lnTo>
                      <a:pt x="142875" y="63817"/>
                    </a:lnTo>
                    <a:lnTo>
                      <a:pt x="135255" y="63817"/>
                    </a:lnTo>
                    <a:lnTo>
                      <a:pt x="128588" y="64770"/>
                    </a:lnTo>
                    <a:lnTo>
                      <a:pt x="120967" y="65722"/>
                    </a:lnTo>
                    <a:lnTo>
                      <a:pt x="113347" y="66675"/>
                    </a:lnTo>
                    <a:lnTo>
                      <a:pt x="106680" y="68580"/>
                    </a:lnTo>
                    <a:lnTo>
                      <a:pt x="100013" y="70485"/>
                    </a:lnTo>
                    <a:lnTo>
                      <a:pt x="93345" y="73342"/>
                    </a:lnTo>
                    <a:lnTo>
                      <a:pt x="86678" y="76200"/>
                    </a:lnTo>
                    <a:lnTo>
                      <a:pt x="80010" y="79057"/>
                    </a:lnTo>
                    <a:lnTo>
                      <a:pt x="73342" y="81915"/>
                    </a:lnTo>
                    <a:lnTo>
                      <a:pt x="67628" y="84772"/>
                    </a:lnTo>
                    <a:lnTo>
                      <a:pt x="61913" y="87630"/>
                    </a:lnTo>
                    <a:lnTo>
                      <a:pt x="57150" y="90488"/>
                    </a:lnTo>
                    <a:lnTo>
                      <a:pt x="52388" y="93345"/>
                    </a:lnTo>
                    <a:lnTo>
                      <a:pt x="48578" y="96202"/>
                    </a:lnTo>
                    <a:lnTo>
                      <a:pt x="40005" y="96202"/>
                    </a:lnTo>
                    <a:lnTo>
                      <a:pt x="40005" y="96202"/>
                    </a:lnTo>
                    <a:close/>
                    <a:moveTo>
                      <a:pt x="209550" y="211455"/>
                    </a:moveTo>
                    <a:lnTo>
                      <a:pt x="209550" y="191452"/>
                    </a:lnTo>
                    <a:lnTo>
                      <a:pt x="200978" y="191452"/>
                    </a:lnTo>
                    <a:lnTo>
                      <a:pt x="186690" y="191452"/>
                    </a:lnTo>
                    <a:lnTo>
                      <a:pt x="173355" y="192405"/>
                    </a:lnTo>
                    <a:lnTo>
                      <a:pt x="160972" y="193358"/>
                    </a:lnTo>
                    <a:lnTo>
                      <a:pt x="148590" y="195263"/>
                    </a:lnTo>
                    <a:lnTo>
                      <a:pt x="138113" y="197167"/>
                    </a:lnTo>
                    <a:lnTo>
                      <a:pt x="128588" y="200025"/>
                    </a:lnTo>
                    <a:lnTo>
                      <a:pt x="123825" y="201930"/>
                    </a:lnTo>
                    <a:lnTo>
                      <a:pt x="120015" y="202883"/>
                    </a:lnTo>
                    <a:lnTo>
                      <a:pt x="116205" y="204788"/>
                    </a:lnTo>
                    <a:lnTo>
                      <a:pt x="112395" y="206692"/>
                    </a:lnTo>
                    <a:lnTo>
                      <a:pt x="108585" y="208597"/>
                    </a:lnTo>
                    <a:lnTo>
                      <a:pt x="105728" y="210502"/>
                    </a:lnTo>
                    <a:lnTo>
                      <a:pt x="102870" y="213360"/>
                    </a:lnTo>
                    <a:lnTo>
                      <a:pt x="100013" y="216217"/>
                    </a:lnTo>
                    <a:lnTo>
                      <a:pt x="97155" y="219075"/>
                    </a:lnTo>
                    <a:lnTo>
                      <a:pt x="94297" y="221933"/>
                    </a:lnTo>
                    <a:lnTo>
                      <a:pt x="92392" y="224790"/>
                    </a:lnTo>
                    <a:lnTo>
                      <a:pt x="90488" y="227647"/>
                    </a:lnTo>
                    <a:lnTo>
                      <a:pt x="88582" y="231458"/>
                    </a:lnTo>
                    <a:lnTo>
                      <a:pt x="87630" y="235267"/>
                    </a:lnTo>
                    <a:lnTo>
                      <a:pt x="86678" y="239077"/>
                    </a:lnTo>
                    <a:lnTo>
                      <a:pt x="85725" y="242888"/>
                    </a:lnTo>
                    <a:lnTo>
                      <a:pt x="84772" y="246697"/>
                    </a:lnTo>
                    <a:lnTo>
                      <a:pt x="83820" y="250508"/>
                    </a:lnTo>
                    <a:lnTo>
                      <a:pt x="83820" y="255270"/>
                    </a:lnTo>
                    <a:lnTo>
                      <a:pt x="83820" y="260033"/>
                    </a:lnTo>
                    <a:lnTo>
                      <a:pt x="83820" y="265747"/>
                    </a:lnTo>
                    <a:lnTo>
                      <a:pt x="84772" y="271463"/>
                    </a:lnTo>
                    <a:lnTo>
                      <a:pt x="85725" y="277177"/>
                    </a:lnTo>
                    <a:lnTo>
                      <a:pt x="87630" y="281940"/>
                    </a:lnTo>
                    <a:lnTo>
                      <a:pt x="89535" y="286702"/>
                    </a:lnTo>
                    <a:lnTo>
                      <a:pt x="92392" y="291465"/>
                    </a:lnTo>
                    <a:lnTo>
                      <a:pt x="95250" y="295275"/>
                    </a:lnTo>
                    <a:lnTo>
                      <a:pt x="99060" y="299085"/>
                    </a:lnTo>
                    <a:lnTo>
                      <a:pt x="102870" y="302895"/>
                    </a:lnTo>
                    <a:lnTo>
                      <a:pt x="107632" y="305752"/>
                    </a:lnTo>
                    <a:lnTo>
                      <a:pt x="112395" y="308610"/>
                    </a:lnTo>
                    <a:lnTo>
                      <a:pt x="117157" y="310515"/>
                    </a:lnTo>
                    <a:lnTo>
                      <a:pt x="122872" y="312420"/>
                    </a:lnTo>
                    <a:lnTo>
                      <a:pt x="127635" y="313372"/>
                    </a:lnTo>
                    <a:lnTo>
                      <a:pt x="133350" y="314325"/>
                    </a:lnTo>
                    <a:lnTo>
                      <a:pt x="140017" y="314325"/>
                    </a:lnTo>
                    <a:lnTo>
                      <a:pt x="144780" y="314325"/>
                    </a:lnTo>
                    <a:lnTo>
                      <a:pt x="149542" y="314325"/>
                    </a:lnTo>
                    <a:lnTo>
                      <a:pt x="153353" y="313372"/>
                    </a:lnTo>
                    <a:lnTo>
                      <a:pt x="157163" y="312420"/>
                    </a:lnTo>
                    <a:lnTo>
                      <a:pt x="160972" y="311467"/>
                    </a:lnTo>
                    <a:lnTo>
                      <a:pt x="164782" y="310515"/>
                    </a:lnTo>
                    <a:lnTo>
                      <a:pt x="168592" y="309563"/>
                    </a:lnTo>
                    <a:lnTo>
                      <a:pt x="172403" y="307658"/>
                    </a:lnTo>
                    <a:lnTo>
                      <a:pt x="176213" y="305752"/>
                    </a:lnTo>
                    <a:lnTo>
                      <a:pt x="179070" y="303847"/>
                    </a:lnTo>
                    <a:lnTo>
                      <a:pt x="181928" y="301942"/>
                    </a:lnTo>
                    <a:lnTo>
                      <a:pt x="184785" y="299085"/>
                    </a:lnTo>
                    <a:lnTo>
                      <a:pt x="187642" y="296227"/>
                    </a:lnTo>
                    <a:lnTo>
                      <a:pt x="190500" y="293370"/>
                    </a:lnTo>
                    <a:lnTo>
                      <a:pt x="193357" y="290513"/>
                    </a:lnTo>
                    <a:lnTo>
                      <a:pt x="195263" y="287655"/>
                    </a:lnTo>
                    <a:lnTo>
                      <a:pt x="197167" y="283845"/>
                    </a:lnTo>
                    <a:lnTo>
                      <a:pt x="199072" y="280035"/>
                    </a:lnTo>
                    <a:lnTo>
                      <a:pt x="200978" y="276225"/>
                    </a:lnTo>
                    <a:lnTo>
                      <a:pt x="202882" y="272415"/>
                    </a:lnTo>
                    <a:lnTo>
                      <a:pt x="203835" y="268605"/>
                    </a:lnTo>
                    <a:lnTo>
                      <a:pt x="204788" y="264795"/>
                    </a:lnTo>
                    <a:lnTo>
                      <a:pt x="206692" y="260033"/>
                    </a:lnTo>
                    <a:lnTo>
                      <a:pt x="207645" y="255270"/>
                    </a:lnTo>
                    <a:lnTo>
                      <a:pt x="209550" y="244792"/>
                    </a:lnTo>
                    <a:lnTo>
                      <a:pt x="210503" y="234315"/>
                    </a:lnTo>
                    <a:lnTo>
                      <a:pt x="211455" y="222885"/>
                    </a:lnTo>
                    <a:lnTo>
                      <a:pt x="209550" y="211455"/>
                    </a:lnTo>
                    <a:lnTo>
                      <a:pt x="209550" y="21145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E8FA7D75-E2C7-245E-6F14-4C659E7D1318}"/>
                  </a:ext>
                </a:extLst>
              </p:cNvPr>
              <p:cNvSpPr/>
              <p:nvPr/>
            </p:nvSpPr>
            <p:spPr>
              <a:xfrm>
                <a:off x="10540999" y="4712106"/>
                <a:ext cx="218122" cy="471487"/>
              </a:xfrm>
              <a:custGeom>
                <a:avLst/>
                <a:gdLst>
                  <a:gd name="connsiteX0" fmla="*/ 58103 w 218122"/>
                  <a:gd name="connsiteY0" fmla="*/ 100965 h 471487"/>
                  <a:gd name="connsiteX1" fmla="*/ 58103 w 218122"/>
                  <a:gd name="connsiteY1" fmla="*/ 26670 h 471487"/>
                  <a:gd name="connsiteX2" fmla="*/ 145732 w 218122"/>
                  <a:gd name="connsiteY2" fmla="*/ 0 h 471487"/>
                  <a:gd name="connsiteX3" fmla="*/ 145732 w 218122"/>
                  <a:gd name="connsiteY3" fmla="*/ 100965 h 471487"/>
                  <a:gd name="connsiteX4" fmla="*/ 218122 w 218122"/>
                  <a:gd name="connsiteY4" fmla="*/ 100965 h 471487"/>
                  <a:gd name="connsiteX5" fmla="*/ 218122 w 218122"/>
                  <a:gd name="connsiteY5" fmla="*/ 165735 h 471487"/>
                  <a:gd name="connsiteX6" fmla="*/ 145732 w 218122"/>
                  <a:gd name="connsiteY6" fmla="*/ 165735 h 471487"/>
                  <a:gd name="connsiteX7" fmla="*/ 145732 w 218122"/>
                  <a:gd name="connsiteY7" fmla="*/ 354330 h 471487"/>
                  <a:gd name="connsiteX8" fmla="*/ 145732 w 218122"/>
                  <a:gd name="connsiteY8" fmla="*/ 360998 h 471487"/>
                  <a:gd name="connsiteX9" fmla="*/ 146685 w 218122"/>
                  <a:gd name="connsiteY9" fmla="*/ 366713 h 471487"/>
                  <a:gd name="connsiteX10" fmla="*/ 147638 w 218122"/>
                  <a:gd name="connsiteY10" fmla="*/ 373380 h 471487"/>
                  <a:gd name="connsiteX11" fmla="*/ 148590 w 218122"/>
                  <a:gd name="connsiteY11" fmla="*/ 378143 h 471487"/>
                  <a:gd name="connsiteX12" fmla="*/ 149543 w 218122"/>
                  <a:gd name="connsiteY12" fmla="*/ 382905 h 471487"/>
                  <a:gd name="connsiteX13" fmla="*/ 151447 w 218122"/>
                  <a:gd name="connsiteY13" fmla="*/ 386715 h 471487"/>
                  <a:gd name="connsiteX14" fmla="*/ 153353 w 218122"/>
                  <a:gd name="connsiteY14" fmla="*/ 390525 h 471487"/>
                  <a:gd name="connsiteX15" fmla="*/ 155257 w 218122"/>
                  <a:gd name="connsiteY15" fmla="*/ 393382 h 471487"/>
                  <a:gd name="connsiteX16" fmla="*/ 158115 w 218122"/>
                  <a:gd name="connsiteY16" fmla="*/ 396240 h 471487"/>
                  <a:gd name="connsiteX17" fmla="*/ 160972 w 218122"/>
                  <a:gd name="connsiteY17" fmla="*/ 398145 h 471487"/>
                  <a:gd name="connsiteX18" fmla="*/ 163830 w 218122"/>
                  <a:gd name="connsiteY18" fmla="*/ 400050 h 471487"/>
                  <a:gd name="connsiteX19" fmla="*/ 167640 w 218122"/>
                  <a:gd name="connsiteY19" fmla="*/ 401955 h 471487"/>
                  <a:gd name="connsiteX20" fmla="*/ 171450 w 218122"/>
                  <a:gd name="connsiteY20" fmla="*/ 402907 h 471487"/>
                  <a:gd name="connsiteX21" fmla="*/ 176213 w 218122"/>
                  <a:gd name="connsiteY21" fmla="*/ 403860 h 471487"/>
                  <a:gd name="connsiteX22" fmla="*/ 180022 w 218122"/>
                  <a:gd name="connsiteY22" fmla="*/ 403860 h 471487"/>
                  <a:gd name="connsiteX23" fmla="*/ 184785 w 218122"/>
                  <a:gd name="connsiteY23" fmla="*/ 404813 h 471487"/>
                  <a:gd name="connsiteX24" fmla="*/ 189547 w 218122"/>
                  <a:gd name="connsiteY24" fmla="*/ 403860 h 471487"/>
                  <a:gd name="connsiteX25" fmla="*/ 194310 w 218122"/>
                  <a:gd name="connsiteY25" fmla="*/ 403860 h 471487"/>
                  <a:gd name="connsiteX26" fmla="*/ 199072 w 218122"/>
                  <a:gd name="connsiteY26" fmla="*/ 402907 h 471487"/>
                  <a:gd name="connsiteX27" fmla="*/ 202882 w 218122"/>
                  <a:gd name="connsiteY27" fmla="*/ 402907 h 471487"/>
                  <a:gd name="connsiteX28" fmla="*/ 206693 w 218122"/>
                  <a:gd name="connsiteY28" fmla="*/ 401003 h 471487"/>
                  <a:gd name="connsiteX29" fmla="*/ 210503 w 218122"/>
                  <a:gd name="connsiteY29" fmla="*/ 400050 h 471487"/>
                  <a:gd name="connsiteX30" fmla="*/ 214313 w 218122"/>
                  <a:gd name="connsiteY30" fmla="*/ 398145 h 471487"/>
                  <a:gd name="connsiteX31" fmla="*/ 218122 w 218122"/>
                  <a:gd name="connsiteY31" fmla="*/ 396240 h 471487"/>
                  <a:gd name="connsiteX32" fmla="*/ 218122 w 218122"/>
                  <a:gd name="connsiteY32" fmla="*/ 459105 h 471487"/>
                  <a:gd name="connsiteX33" fmla="*/ 211455 w 218122"/>
                  <a:gd name="connsiteY33" fmla="*/ 461963 h 471487"/>
                  <a:gd name="connsiteX34" fmla="*/ 204788 w 218122"/>
                  <a:gd name="connsiteY34" fmla="*/ 464820 h 471487"/>
                  <a:gd name="connsiteX35" fmla="*/ 198120 w 218122"/>
                  <a:gd name="connsiteY35" fmla="*/ 466725 h 471487"/>
                  <a:gd name="connsiteX36" fmla="*/ 190500 w 218122"/>
                  <a:gd name="connsiteY36" fmla="*/ 467678 h 471487"/>
                  <a:gd name="connsiteX37" fmla="*/ 182880 w 218122"/>
                  <a:gd name="connsiteY37" fmla="*/ 469582 h 471487"/>
                  <a:gd name="connsiteX38" fmla="*/ 175260 w 218122"/>
                  <a:gd name="connsiteY38" fmla="*/ 470535 h 471487"/>
                  <a:gd name="connsiteX39" fmla="*/ 167640 w 218122"/>
                  <a:gd name="connsiteY39" fmla="*/ 470535 h 471487"/>
                  <a:gd name="connsiteX40" fmla="*/ 159068 w 218122"/>
                  <a:gd name="connsiteY40" fmla="*/ 471488 h 471487"/>
                  <a:gd name="connsiteX41" fmla="*/ 153353 w 218122"/>
                  <a:gd name="connsiteY41" fmla="*/ 470535 h 471487"/>
                  <a:gd name="connsiteX42" fmla="*/ 147638 w 218122"/>
                  <a:gd name="connsiteY42" fmla="*/ 470535 h 471487"/>
                  <a:gd name="connsiteX43" fmla="*/ 141922 w 218122"/>
                  <a:gd name="connsiteY43" fmla="*/ 470535 h 471487"/>
                  <a:gd name="connsiteX44" fmla="*/ 136207 w 218122"/>
                  <a:gd name="connsiteY44" fmla="*/ 469582 h 471487"/>
                  <a:gd name="connsiteX45" fmla="*/ 130493 w 218122"/>
                  <a:gd name="connsiteY45" fmla="*/ 468630 h 471487"/>
                  <a:gd name="connsiteX46" fmla="*/ 125730 w 218122"/>
                  <a:gd name="connsiteY46" fmla="*/ 467678 h 471487"/>
                  <a:gd name="connsiteX47" fmla="*/ 120015 w 218122"/>
                  <a:gd name="connsiteY47" fmla="*/ 466725 h 471487"/>
                  <a:gd name="connsiteX48" fmla="*/ 115253 w 218122"/>
                  <a:gd name="connsiteY48" fmla="*/ 464820 h 471487"/>
                  <a:gd name="connsiteX49" fmla="*/ 110490 w 218122"/>
                  <a:gd name="connsiteY49" fmla="*/ 462915 h 471487"/>
                  <a:gd name="connsiteX50" fmla="*/ 106680 w 218122"/>
                  <a:gd name="connsiteY50" fmla="*/ 461010 h 471487"/>
                  <a:gd name="connsiteX51" fmla="*/ 101918 w 218122"/>
                  <a:gd name="connsiteY51" fmla="*/ 459105 h 471487"/>
                  <a:gd name="connsiteX52" fmla="*/ 98107 w 218122"/>
                  <a:gd name="connsiteY52" fmla="*/ 457200 h 471487"/>
                  <a:gd name="connsiteX53" fmla="*/ 94297 w 218122"/>
                  <a:gd name="connsiteY53" fmla="*/ 454343 h 471487"/>
                  <a:gd name="connsiteX54" fmla="*/ 90488 w 218122"/>
                  <a:gd name="connsiteY54" fmla="*/ 451485 h 471487"/>
                  <a:gd name="connsiteX55" fmla="*/ 86678 w 218122"/>
                  <a:gd name="connsiteY55" fmla="*/ 448628 h 471487"/>
                  <a:gd name="connsiteX56" fmla="*/ 83820 w 218122"/>
                  <a:gd name="connsiteY56" fmla="*/ 445770 h 471487"/>
                  <a:gd name="connsiteX57" fmla="*/ 80963 w 218122"/>
                  <a:gd name="connsiteY57" fmla="*/ 442913 h 471487"/>
                  <a:gd name="connsiteX58" fmla="*/ 78105 w 218122"/>
                  <a:gd name="connsiteY58" fmla="*/ 439103 h 471487"/>
                  <a:gd name="connsiteX59" fmla="*/ 75247 w 218122"/>
                  <a:gd name="connsiteY59" fmla="*/ 435293 h 471487"/>
                  <a:gd name="connsiteX60" fmla="*/ 72390 w 218122"/>
                  <a:gd name="connsiteY60" fmla="*/ 431482 h 471487"/>
                  <a:gd name="connsiteX61" fmla="*/ 70485 w 218122"/>
                  <a:gd name="connsiteY61" fmla="*/ 427673 h 471487"/>
                  <a:gd name="connsiteX62" fmla="*/ 68580 w 218122"/>
                  <a:gd name="connsiteY62" fmla="*/ 422910 h 471487"/>
                  <a:gd name="connsiteX63" fmla="*/ 66675 w 218122"/>
                  <a:gd name="connsiteY63" fmla="*/ 418148 h 471487"/>
                  <a:gd name="connsiteX64" fmla="*/ 64770 w 218122"/>
                  <a:gd name="connsiteY64" fmla="*/ 413385 h 471487"/>
                  <a:gd name="connsiteX65" fmla="*/ 62865 w 218122"/>
                  <a:gd name="connsiteY65" fmla="*/ 407670 h 471487"/>
                  <a:gd name="connsiteX66" fmla="*/ 61913 w 218122"/>
                  <a:gd name="connsiteY66" fmla="*/ 402907 h 471487"/>
                  <a:gd name="connsiteX67" fmla="*/ 60960 w 218122"/>
                  <a:gd name="connsiteY67" fmla="*/ 397193 h 471487"/>
                  <a:gd name="connsiteX68" fmla="*/ 60007 w 218122"/>
                  <a:gd name="connsiteY68" fmla="*/ 391478 h 471487"/>
                  <a:gd name="connsiteX69" fmla="*/ 59055 w 218122"/>
                  <a:gd name="connsiteY69" fmla="*/ 384810 h 471487"/>
                  <a:gd name="connsiteX70" fmla="*/ 58103 w 218122"/>
                  <a:gd name="connsiteY70" fmla="*/ 378143 h 471487"/>
                  <a:gd name="connsiteX71" fmla="*/ 58103 w 218122"/>
                  <a:gd name="connsiteY71" fmla="*/ 372428 h 471487"/>
                  <a:gd name="connsiteX72" fmla="*/ 58103 w 218122"/>
                  <a:gd name="connsiteY72" fmla="*/ 364807 h 471487"/>
                  <a:gd name="connsiteX73" fmla="*/ 58103 w 218122"/>
                  <a:gd name="connsiteY73" fmla="*/ 165735 h 471487"/>
                  <a:gd name="connsiteX74" fmla="*/ 0 w 218122"/>
                  <a:gd name="connsiteY74" fmla="*/ 165735 h 471487"/>
                  <a:gd name="connsiteX75" fmla="*/ 0 w 218122"/>
                  <a:gd name="connsiteY75" fmla="*/ 100965 h 471487"/>
                  <a:gd name="connsiteX76" fmla="*/ 58103 w 218122"/>
                  <a:gd name="connsiteY76" fmla="*/ 100965 h 471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218122" h="471487">
                    <a:moveTo>
                      <a:pt x="58103" y="100965"/>
                    </a:moveTo>
                    <a:lnTo>
                      <a:pt x="58103" y="26670"/>
                    </a:lnTo>
                    <a:lnTo>
                      <a:pt x="145732" y="0"/>
                    </a:lnTo>
                    <a:lnTo>
                      <a:pt x="145732" y="100965"/>
                    </a:lnTo>
                    <a:lnTo>
                      <a:pt x="218122" y="100965"/>
                    </a:lnTo>
                    <a:lnTo>
                      <a:pt x="218122" y="165735"/>
                    </a:lnTo>
                    <a:lnTo>
                      <a:pt x="145732" y="165735"/>
                    </a:lnTo>
                    <a:lnTo>
                      <a:pt x="145732" y="354330"/>
                    </a:lnTo>
                    <a:lnTo>
                      <a:pt x="145732" y="360998"/>
                    </a:lnTo>
                    <a:lnTo>
                      <a:pt x="146685" y="366713"/>
                    </a:lnTo>
                    <a:lnTo>
                      <a:pt x="147638" y="373380"/>
                    </a:lnTo>
                    <a:lnTo>
                      <a:pt x="148590" y="378143"/>
                    </a:lnTo>
                    <a:lnTo>
                      <a:pt x="149543" y="382905"/>
                    </a:lnTo>
                    <a:lnTo>
                      <a:pt x="151447" y="386715"/>
                    </a:lnTo>
                    <a:lnTo>
                      <a:pt x="153353" y="390525"/>
                    </a:lnTo>
                    <a:lnTo>
                      <a:pt x="155257" y="393382"/>
                    </a:lnTo>
                    <a:lnTo>
                      <a:pt x="158115" y="396240"/>
                    </a:lnTo>
                    <a:lnTo>
                      <a:pt x="160972" y="398145"/>
                    </a:lnTo>
                    <a:lnTo>
                      <a:pt x="163830" y="400050"/>
                    </a:lnTo>
                    <a:lnTo>
                      <a:pt x="167640" y="401955"/>
                    </a:lnTo>
                    <a:lnTo>
                      <a:pt x="171450" y="402907"/>
                    </a:lnTo>
                    <a:lnTo>
                      <a:pt x="176213" y="403860"/>
                    </a:lnTo>
                    <a:lnTo>
                      <a:pt x="180022" y="403860"/>
                    </a:lnTo>
                    <a:lnTo>
                      <a:pt x="184785" y="404813"/>
                    </a:lnTo>
                    <a:lnTo>
                      <a:pt x="189547" y="403860"/>
                    </a:lnTo>
                    <a:lnTo>
                      <a:pt x="194310" y="403860"/>
                    </a:lnTo>
                    <a:lnTo>
                      <a:pt x="199072" y="402907"/>
                    </a:lnTo>
                    <a:lnTo>
                      <a:pt x="202882" y="402907"/>
                    </a:lnTo>
                    <a:lnTo>
                      <a:pt x="206693" y="401003"/>
                    </a:lnTo>
                    <a:lnTo>
                      <a:pt x="210503" y="400050"/>
                    </a:lnTo>
                    <a:lnTo>
                      <a:pt x="214313" y="398145"/>
                    </a:lnTo>
                    <a:lnTo>
                      <a:pt x="218122" y="396240"/>
                    </a:lnTo>
                    <a:lnTo>
                      <a:pt x="218122" y="459105"/>
                    </a:lnTo>
                    <a:lnTo>
                      <a:pt x="211455" y="461963"/>
                    </a:lnTo>
                    <a:lnTo>
                      <a:pt x="204788" y="464820"/>
                    </a:lnTo>
                    <a:lnTo>
                      <a:pt x="198120" y="466725"/>
                    </a:lnTo>
                    <a:lnTo>
                      <a:pt x="190500" y="467678"/>
                    </a:lnTo>
                    <a:lnTo>
                      <a:pt x="182880" y="469582"/>
                    </a:lnTo>
                    <a:lnTo>
                      <a:pt x="175260" y="470535"/>
                    </a:lnTo>
                    <a:lnTo>
                      <a:pt x="167640" y="470535"/>
                    </a:lnTo>
                    <a:lnTo>
                      <a:pt x="159068" y="471488"/>
                    </a:lnTo>
                    <a:lnTo>
                      <a:pt x="153353" y="470535"/>
                    </a:lnTo>
                    <a:lnTo>
                      <a:pt x="147638" y="470535"/>
                    </a:lnTo>
                    <a:lnTo>
                      <a:pt x="141922" y="470535"/>
                    </a:lnTo>
                    <a:lnTo>
                      <a:pt x="136207" y="469582"/>
                    </a:lnTo>
                    <a:lnTo>
                      <a:pt x="130493" y="468630"/>
                    </a:lnTo>
                    <a:lnTo>
                      <a:pt x="125730" y="467678"/>
                    </a:lnTo>
                    <a:lnTo>
                      <a:pt x="120015" y="466725"/>
                    </a:lnTo>
                    <a:lnTo>
                      <a:pt x="115253" y="464820"/>
                    </a:lnTo>
                    <a:lnTo>
                      <a:pt x="110490" y="462915"/>
                    </a:lnTo>
                    <a:lnTo>
                      <a:pt x="106680" y="461010"/>
                    </a:lnTo>
                    <a:lnTo>
                      <a:pt x="101918" y="459105"/>
                    </a:lnTo>
                    <a:lnTo>
                      <a:pt x="98107" y="457200"/>
                    </a:lnTo>
                    <a:lnTo>
                      <a:pt x="94297" y="454343"/>
                    </a:lnTo>
                    <a:lnTo>
                      <a:pt x="90488" y="451485"/>
                    </a:lnTo>
                    <a:lnTo>
                      <a:pt x="86678" y="448628"/>
                    </a:lnTo>
                    <a:lnTo>
                      <a:pt x="83820" y="445770"/>
                    </a:lnTo>
                    <a:lnTo>
                      <a:pt x="80963" y="442913"/>
                    </a:lnTo>
                    <a:lnTo>
                      <a:pt x="78105" y="439103"/>
                    </a:lnTo>
                    <a:lnTo>
                      <a:pt x="75247" y="435293"/>
                    </a:lnTo>
                    <a:lnTo>
                      <a:pt x="72390" y="431482"/>
                    </a:lnTo>
                    <a:lnTo>
                      <a:pt x="70485" y="427673"/>
                    </a:lnTo>
                    <a:lnTo>
                      <a:pt x="68580" y="422910"/>
                    </a:lnTo>
                    <a:lnTo>
                      <a:pt x="66675" y="418148"/>
                    </a:lnTo>
                    <a:lnTo>
                      <a:pt x="64770" y="413385"/>
                    </a:lnTo>
                    <a:lnTo>
                      <a:pt x="62865" y="407670"/>
                    </a:lnTo>
                    <a:lnTo>
                      <a:pt x="61913" y="402907"/>
                    </a:lnTo>
                    <a:lnTo>
                      <a:pt x="60960" y="397193"/>
                    </a:lnTo>
                    <a:lnTo>
                      <a:pt x="60007" y="391478"/>
                    </a:lnTo>
                    <a:lnTo>
                      <a:pt x="59055" y="384810"/>
                    </a:lnTo>
                    <a:lnTo>
                      <a:pt x="58103" y="378143"/>
                    </a:lnTo>
                    <a:lnTo>
                      <a:pt x="58103" y="372428"/>
                    </a:lnTo>
                    <a:lnTo>
                      <a:pt x="58103" y="364807"/>
                    </a:lnTo>
                    <a:lnTo>
                      <a:pt x="58103" y="165735"/>
                    </a:lnTo>
                    <a:lnTo>
                      <a:pt x="0" y="165735"/>
                    </a:lnTo>
                    <a:lnTo>
                      <a:pt x="0" y="100965"/>
                    </a:lnTo>
                    <a:lnTo>
                      <a:pt x="58103" y="10096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548F932-5982-83E1-D20E-A98598B4B4BC}"/>
                  </a:ext>
                </a:extLst>
              </p:cNvPr>
              <p:cNvSpPr/>
              <p:nvPr/>
            </p:nvSpPr>
            <p:spPr>
              <a:xfrm>
                <a:off x="10799127" y="4658767"/>
                <a:ext cx="90487" cy="518159"/>
              </a:xfrm>
              <a:custGeom>
                <a:avLst/>
                <a:gdLst>
                  <a:gd name="connsiteX0" fmla="*/ 953 w 90487"/>
                  <a:gd name="connsiteY0" fmla="*/ 518160 h 518159"/>
                  <a:gd name="connsiteX1" fmla="*/ 953 w 90487"/>
                  <a:gd name="connsiteY1" fmla="*/ 155258 h 518159"/>
                  <a:gd name="connsiteX2" fmla="*/ 88583 w 90487"/>
                  <a:gd name="connsiteY2" fmla="*/ 155258 h 518159"/>
                  <a:gd name="connsiteX3" fmla="*/ 88583 w 90487"/>
                  <a:gd name="connsiteY3" fmla="*/ 518160 h 518159"/>
                  <a:gd name="connsiteX4" fmla="*/ 953 w 90487"/>
                  <a:gd name="connsiteY4" fmla="*/ 518160 h 518159"/>
                  <a:gd name="connsiteX5" fmla="*/ 953 w 90487"/>
                  <a:gd name="connsiteY5" fmla="*/ 518160 h 518159"/>
                  <a:gd name="connsiteX6" fmla="*/ 0 w 90487"/>
                  <a:gd name="connsiteY6" fmla="*/ 85725 h 518159"/>
                  <a:gd name="connsiteX7" fmla="*/ 0 w 90487"/>
                  <a:gd name="connsiteY7" fmla="*/ 0 h 518159"/>
                  <a:gd name="connsiteX8" fmla="*/ 90487 w 90487"/>
                  <a:gd name="connsiteY8" fmla="*/ 0 h 518159"/>
                  <a:gd name="connsiteX9" fmla="*/ 90487 w 90487"/>
                  <a:gd name="connsiteY9" fmla="*/ 86677 h 518159"/>
                  <a:gd name="connsiteX10" fmla="*/ 0 w 90487"/>
                  <a:gd name="connsiteY10" fmla="*/ 86677 h 518159"/>
                  <a:gd name="connsiteX11" fmla="*/ 0 w 90487"/>
                  <a:gd name="connsiteY11" fmla="*/ 85725 h 518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0487" h="518159">
                    <a:moveTo>
                      <a:pt x="953" y="518160"/>
                    </a:moveTo>
                    <a:lnTo>
                      <a:pt x="953" y="155258"/>
                    </a:lnTo>
                    <a:lnTo>
                      <a:pt x="88583" y="155258"/>
                    </a:lnTo>
                    <a:lnTo>
                      <a:pt x="88583" y="518160"/>
                    </a:lnTo>
                    <a:lnTo>
                      <a:pt x="953" y="518160"/>
                    </a:lnTo>
                    <a:lnTo>
                      <a:pt x="953" y="518160"/>
                    </a:lnTo>
                    <a:close/>
                    <a:moveTo>
                      <a:pt x="0" y="85725"/>
                    </a:moveTo>
                    <a:lnTo>
                      <a:pt x="0" y="0"/>
                    </a:lnTo>
                    <a:lnTo>
                      <a:pt x="90487" y="0"/>
                    </a:lnTo>
                    <a:lnTo>
                      <a:pt x="90487" y="86677"/>
                    </a:lnTo>
                    <a:lnTo>
                      <a:pt x="0" y="86677"/>
                    </a:lnTo>
                    <a:lnTo>
                      <a:pt x="0" y="8572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3A7938A5-FF28-CB2F-8D53-CEFA32BE8229}"/>
                  </a:ext>
                </a:extLst>
              </p:cNvPr>
              <p:cNvSpPr/>
              <p:nvPr/>
            </p:nvSpPr>
            <p:spPr>
              <a:xfrm>
                <a:off x="10939144" y="4809262"/>
                <a:ext cx="318135" cy="372427"/>
              </a:xfrm>
              <a:custGeom>
                <a:avLst/>
                <a:gdLst>
                  <a:gd name="connsiteX0" fmla="*/ 93345 w 318135"/>
                  <a:gd name="connsiteY0" fmla="*/ 185738 h 372427"/>
                  <a:gd name="connsiteX1" fmla="*/ 93345 w 318135"/>
                  <a:gd name="connsiteY1" fmla="*/ 200977 h 372427"/>
                  <a:gd name="connsiteX2" fmla="*/ 94298 w 318135"/>
                  <a:gd name="connsiteY2" fmla="*/ 215265 h 372427"/>
                  <a:gd name="connsiteX3" fmla="*/ 96203 w 318135"/>
                  <a:gd name="connsiteY3" fmla="*/ 228600 h 372427"/>
                  <a:gd name="connsiteX4" fmla="*/ 98107 w 318135"/>
                  <a:gd name="connsiteY4" fmla="*/ 240983 h 372427"/>
                  <a:gd name="connsiteX5" fmla="*/ 99060 w 318135"/>
                  <a:gd name="connsiteY5" fmla="*/ 246697 h 372427"/>
                  <a:gd name="connsiteX6" fmla="*/ 100013 w 318135"/>
                  <a:gd name="connsiteY6" fmla="*/ 252413 h 372427"/>
                  <a:gd name="connsiteX7" fmla="*/ 100965 w 318135"/>
                  <a:gd name="connsiteY7" fmla="*/ 258127 h 372427"/>
                  <a:gd name="connsiteX8" fmla="*/ 102870 w 318135"/>
                  <a:gd name="connsiteY8" fmla="*/ 263842 h 372427"/>
                  <a:gd name="connsiteX9" fmla="*/ 104775 w 318135"/>
                  <a:gd name="connsiteY9" fmla="*/ 268605 h 372427"/>
                  <a:gd name="connsiteX10" fmla="*/ 106680 w 318135"/>
                  <a:gd name="connsiteY10" fmla="*/ 273367 h 372427"/>
                  <a:gd name="connsiteX11" fmla="*/ 108585 w 318135"/>
                  <a:gd name="connsiteY11" fmla="*/ 277177 h 372427"/>
                  <a:gd name="connsiteX12" fmla="*/ 110490 w 318135"/>
                  <a:gd name="connsiteY12" fmla="*/ 280988 h 372427"/>
                  <a:gd name="connsiteX13" fmla="*/ 113348 w 318135"/>
                  <a:gd name="connsiteY13" fmla="*/ 284797 h 372427"/>
                  <a:gd name="connsiteX14" fmla="*/ 116205 w 318135"/>
                  <a:gd name="connsiteY14" fmla="*/ 288608 h 372427"/>
                  <a:gd name="connsiteX15" fmla="*/ 119063 w 318135"/>
                  <a:gd name="connsiteY15" fmla="*/ 291465 h 372427"/>
                  <a:gd name="connsiteX16" fmla="*/ 121920 w 318135"/>
                  <a:gd name="connsiteY16" fmla="*/ 294322 h 372427"/>
                  <a:gd name="connsiteX17" fmla="*/ 124778 w 318135"/>
                  <a:gd name="connsiteY17" fmla="*/ 297180 h 372427"/>
                  <a:gd name="connsiteX18" fmla="*/ 127635 w 318135"/>
                  <a:gd name="connsiteY18" fmla="*/ 300038 h 372427"/>
                  <a:gd name="connsiteX19" fmla="*/ 130493 w 318135"/>
                  <a:gd name="connsiteY19" fmla="*/ 302895 h 372427"/>
                  <a:gd name="connsiteX20" fmla="*/ 134303 w 318135"/>
                  <a:gd name="connsiteY20" fmla="*/ 304800 h 372427"/>
                  <a:gd name="connsiteX21" fmla="*/ 137160 w 318135"/>
                  <a:gd name="connsiteY21" fmla="*/ 306705 h 372427"/>
                  <a:gd name="connsiteX22" fmla="*/ 140970 w 318135"/>
                  <a:gd name="connsiteY22" fmla="*/ 308610 h 372427"/>
                  <a:gd name="connsiteX23" fmla="*/ 144780 w 318135"/>
                  <a:gd name="connsiteY23" fmla="*/ 309563 h 372427"/>
                  <a:gd name="connsiteX24" fmla="*/ 148590 w 318135"/>
                  <a:gd name="connsiteY24" fmla="*/ 310515 h 372427"/>
                  <a:gd name="connsiteX25" fmla="*/ 152400 w 318135"/>
                  <a:gd name="connsiteY25" fmla="*/ 311467 h 372427"/>
                  <a:gd name="connsiteX26" fmla="*/ 156210 w 318135"/>
                  <a:gd name="connsiteY26" fmla="*/ 312420 h 372427"/>
                  <a:gd name="connsiteX27" fmla="*/ 160020 w 318135"/>
                  <a:gd name="connsiteY27" fmla="*/ 312420 h 372427"/>
                  <a:gd name="connsiteX28" fmla="*/ 164782 w 318135"/>
                  <a:gd name="connsiteY28" fmla="*/ 312420 h 372427"/>
                  <a:gd name="connsiteX29" fmla="*/ 168593 w 318135"/>
                  <a:gd name="connsiteY29" fmla="*/ 312420 h 372427"/>
                  <a:gd name="connsiteX30" fmla="*/ 172403 w 318135"/>
                  <a:gd name="connsiteY30" fmla="*/ 312420 h 372427"/>
                  <a:gd name="connsiteX31" fmla="*/ 176213 w 318135"/>
                  <a:gd name="connsiteY31" fmla="*/ 311467 h 372427"/>
                  <a:gd name="connsiteX32" fmla="*/ 180023 w 318135"/>
                  <a:gd name="connsiteY32" fmla="*/ 310515 h 372427"/>
                  <a:gd name="connsiteX33" fmla="*/ 183832 w 318135"/>
                  <a:gd name="connsiteY33" fmla="*/ 309563 h 372427"/>
                  <a:gd name="connsiteX34" fmla="*/ 187643 w 318135"/>
                  <a:gd name="connsiteY34" fmla="*/ 308610 h 372427"/>
                  <a:gd name="connsiteX35" fmla="*/ 190500 w 318135"/>
                  <a:gd name="connsiteY35" fmla="*/ 306705 h 372427"/>
                  <a:gd name="connsiteX36" fmla="*/ 194310 w 318135"/>
                  <a:gd name="connsiteY36" fmla="*/ 304800 h 372427"/>
                  <a:gd name="connsiteX37" fmla="*/ 197168 w 318135"/>
                  <a:gd name="connsiteY37" fmla="*/ 302895 h 372427"/>
                  <a:gd name="connsiteX38" fmla="*/ 200025 w 318135"/>
                  <a:gd name="connsiteY38" fmla="*/ 300038 h 372427"/>
                  <a:gd name="connsiteX39" fmla="*/ 202882 w 318135"/>
                  <a:gd name="connsiteY39" fmla="*/ 297180 h 372427"/>
                  <a:gd name="connsiteX40" fmla="*/ 205740 w 318135"/>
                  <a:gd name="connsiteY40" fmla="*/ 294322 h 372427"/>
                  <a:gd name="connsiteX41" fmla="*/ 208598 w 318135"/>
                  <a:gd name="connsiteY41" fmla="*/ 291465 h 372427"/>
                  <a:gd name="connsiteX42" fmla="*/ 211455 w 318135"/>
                  <a:gd name="connsiteY42" fmla="*/ 288608 h 372427"/>
                  <a:gd name="connsiteX43" fmla="*/ 214313 w 318135"/>
                  <a:gd name="connsiteY43" fmla="*/ 284797 h 372427"/>
                  <a:gd name="connsiteX44" fmla="*/ 216218 w 318135"/>
                  <a:gd name="connsiteY44" fmla="*/ 280988 h 372427"/>
                  <a:gd name="connsiteX45" fmla="*/ 218123 w 318135"/>
                  <a:gd name="connsiteY45" fmla="*/ 277177 h 372427"/>
                  <a:gd name="connsiteX46" fmla="*/ 220028 w 318135"/>
                  <a:gd name="connsiteY46" fmla="*/ 273367 h 372427"/>
                  <a:gd name="connsiteX47" fmla="*/ 221932 w 318135"/>
                  <a:gd name="connsiteY47" fmla="*/ 268605 h 372427"/>
                  <a:gd name="connsiteX48" fmla="*/ 223838 w 318135"/>
                  <a:gd name="connsiteY48" fmla="*/ 263842 h 372427"/>
                  <a:gd name="connsiteX49" fmla="*/ 225743 w 318135"/>
                  <a:gd name="connsiteY49" fmla="*/ 258127 h 372427"/>
                  <a:gd name="connsiteX50" fmla="*/ 226695 w 318135"/>
                  <a:gd name="connsiteY50" fmla="*/ 252413 h 372427"/>
                  <a:gd name="connsiteX51" fmla="*/ 227648 w 318135"/>
                  <a:gd name="connsiteY51" fmla="*/ 246697 h 372427"/>
                  <a:gd name="connsiteX52" fmla="*/ 228600 w 318135"/>
                  <a:gd name="connsiteY52" fmla="*/ 240983 h 372427"/>
                  <a:gd name="connsiteX53" fmla="*/ 230505 w 318135"/>
                  <a:gd name="connsiteY53" fmla="*/ 228600 h 372427"/>
                  <a:gd name="connsiteX54" fmla="*/ 231457 w 318135"/>
                  <a:gd name="connsiteY54" fmla="*/ 215265 h 372427"/>
                  <a:gd name="connsiteX55" fmla="*/ 232410 w 318135"/>
                  <a:gd name="connsiteY55" fmla="*/ 200977 h 372427"/>
                  <a:gd name="connsiteX56" fmla="*/ 232410 w 318135"/>
                  <a:gd name="connsiteY56" fmla="*/ 185738 h 372427"/>
                  <a:gd name="connsiteX57" fmla="*/ 232410 w 318135"/>
                  <a:gd name="connsiteY57" fmla="*/ 172402 h 372427"/>
                  <a:gd name="connsiteX58" fmla="*/ 231457 w 318135"/>
                  <a:gd name="connsiteY58" fmla="*/ 160020 h 372427"/>
                  <a:gd name="connsiteX59" fmla="*/ 230505 w 318135"/>
                  <a:gd name="connsiteY59" fmla="*/ 147638 h 372427"/>
                  <a:gd name="connsiteX60" fmla="*/ 228600 w 318135"/>
                  <a:gd name="connsiteY60" fmla="*/ 136207 h 372427"/>
                  <a:gd name="connsiteX61" fmla="*/ 226695 w 318135"/>
                  <a:gd name="connsiteY61" fmla="*/ 125730 h 372427"/>
                  <a:gd name="connsiteX62" fmla="*/ 223838 w 318135"/>
                  <a:gd name="connsiteY62" fmla="*/ 115252 h 372427"/>
                  <a:gd name="connsiteX63" fmla="*/ 220980 w 318135"/>
                  <a:gd name="connsiteY63" fmla="*/ 105727 h 372427"/>
                  <a:gd name="connsiteX64" fmla="*/ 217170 w 318135"/>
                  <a:gd name="connsiteY64" fmla="*/ 96202 h 372427"/>
                  <a:gd name="connsiteX65" fmla="*/ 215265 w 318135"/>
                  <a:gd name="connsiteY65" fmla="*/ 92392 h 372427"/>
                  <a:gd name="connsiteX66" fmla="*/ 212407 w 318135"/>
                  <a:gd name="connsiteY66" fmla="*/ 88582 h 372427"/>
                  <a:gd name="connsiteX67" fmla="*/ 209550 w 318135"/>
                  <a:gd name="connsiteY67" fmla="*/ 84772 h 372427"/>
                  <a:gd name="connsiteX68" fmla="*/ 206693 w 318135"/>
                  <a:gd name="connsiteY68" fmla="*/ 80963 h 372427"/>
                  <a:gd name="connsiteX69" fmla="*/ 203835 w 318135"/>
                  <a:gd name="connsiteY69" fmla="*/ 78105 h 372427"/>
                  <a:gd name="connsiteX70" fmla="*/ 200978 w 318135"/>
                  <a:gd name="connsiteY70" fmla="*/ 75247 h 372427"/>
                  <a:gd name="connsiteX71" fmla="*/ 198120 w 318135"/>
                  <a:gd name="connsiteY71" fmla="*/ 72390 h 372427"/>
                  <a:gd name="connsiteX72" fmla="*/ 195263 w 318135"/>
                  <a:gd name="connsiteY72" fmla="*/ 69532 h 372427"/>
                  <a:gd name="connsiteX73" fmla="*/ 191453 w 318135"/>
                  <a:gd name="connsiteY73" fmla="*/ 67627 h 372427"/>
                  <a:gd name="connsiteX74" fmla="*/ 187643 w 318135"/>
                  <a:gd name="connsiteY74" fmla="*/ 65722 h 372427"/>
                  <a:gd name="connsiteX75" fmla="*/ 183832 w 318135"/>
                  <a:gd name="connsiteY75" fmla="*/ 64770 h 372427"/>
                  <a:gd name="connsiteX76" fmla="*/ 180023 w 318135"/>
                  <a:gd name="connsiteY76" fmla="*/ 63817 h 372427"/>
                  <a:gd name="connsiteX77" fmla="*/ 176213 w 318135"/>
                  <a:gd name="connsiteY77" fmla="*/ 62865 h 372427"/>
                  <a:gd name="connsiteX78" fmla="*/ 172403 w 318135"/>
                  <a:gd name="connsiteY78" fmla="*/ 61913 h 372427"/>
                  <a:gd name="connsiteX79" fmla="*/ 167640 w 318135"/>
                  <a:gd name="connsiteY79" fmla="*/ 61913 h 372427"/>
                  <a:gd name="connsiteX80" fmla="*/ 162878 w 318135"/>
                  <a:gd name="connsiteY80" fmla="*/ 61913 h 372427"/>
                  <a:gd name="connsiteX81" fmla="*/ 158115 w 318135"/>
                  <a:gd name="connsiteY81" fmla="*/ 61913 h 372427"/>
                  <a:gd name="connsiteX82" fmla="*/ 153353 w 318135"/>
                  <a:gd name="connsiteY82" fmla="*/ 62865 h 372427"/>
                  <a:gd name="connsiteX83" fmla="*/ 148590 w 318135"/>
                  <a:gd name="connsiteY83" fmla="*/ 62865 h 372427"/>
                  <a:gd name="connsiteX84" fmla="*/ 144780 w 318135"/>
                  <a:gd name="connsiteY84" fmla="*/ 63817 h 372427"/>
                  <a:gd name="connsiteX85" fmla="*/ 140970 w 318135"/>
                  <a:gd name="connsiteY85" fmla="*/ 64770 h 372427"/>
                  <a:gd name="connsiteX86" fmla="*/ 137160 w 318135"/>
                  <a:gd name="connsiteY86" fmla="*/ 65722 h 372427"/>
                  <a:gd name="connsiteX87" fmla="*/ 133350 w 318135"/>
                  <a:gd name="connsiteY87" fmla="*/ 67627 h 372427"/>
                  <a:gd name="connsiteX88" fmla="*/ 129540 w 318135"/>
                  <a:gd name="connsiteY88" fmla="*/ 69532 h 372427"/>
                  <a:gd name="connsiteX89" fmla="*/ 125730 w 318135"/>
                  <a:gd name="connsiteY89" fmla="*/ 72390 h 372427"/>
                  <a:gd name="connsiteX90" fmla="*/ 122873 w 318135"/>
                  <a:gd name="connsiteY90" fmla="*/ 75247 h 372427"/>
                  <a:gd name="connsiteX91" fmla="*/ 120015 w 318135"/>
                  <a:gd name="connsiteY91" fmla="*/ 78105 h 372427"/>
                  <a:gd name="connsiteX92" fmla="*/ 117157 w 318135"/>
                  <a:gd name="connsiteY92" fmla="*/ 80963 h 372427"/>
                  <a:gd name="connsiteX93" fmla="*/ 114300 w 318135"/>
                  <a:gd name="connsiteY93" fmla="*/ 84772 h 372427"/>
                  <a:gd name="connsiteX94" fmla="*/ 111443 w 318135"/>
                  <a:gd name="connsiteY94" fmla="*/ 88582 h 372427"/>
                  <a:gd name="connsiteX95" fmla="*/ 109538 w 318135"/>
                  <a:gd name="connsiteY95" fmla="*/ 92392 h 372427"/>
                  <a:gd name="connsiteX96" fmla="*/ 107632 w 318135"/>
                  <a:gd name="connsiteY96" fmla="*/ 96202 h 372427"/>
                  <a:gd name="connsiteX97" fmla="*/ 103823 w 318135"/>
                  <a:gd name="connsiteY97" fmla="*/ 105727 h 372427"/>
                  <a:gd name="connsiteX98" fmla="*/ 100965 w 318135"/>
                  <a:gd name="connsiteY98" fmla="*/ 115252 h 372427"/>
                  <a:gd name="connsiteX99" fmla="*/ 98107 w 318135"/>
                  <a:gd name="connsiteY99" fmla="*/ 125730 h 372427"/>
                  <a:gd name="connsiteX100" fmla="*/ 96203 w 318135"/>
                  <a:gd name="connsiteY100" fmla="*/ 136207 h 372427"/>
                  <a:gd name="connsiteX101" fmla="*/ 94298 w 318135"/>
                  <a:gd name="connsiteY101" fmla="*/ 147638 h 372427"/>
                  <a:gd name="connsiteX102" fmla="*/ 93345 w 318135"/>
                  <a:gd name="connsiteY102" fmla="*/ 160020 h 372427"/>
                  <a:gd name="connsiteX103" fmla="*/ 92393 w 318135"/>
                  <a:gd name="connsiteY103" fmla="*/ 172402 h 372427"/>
                  <a:gd name="connsiteX104" fmla="*/ 92393 w 318135"/>
                  <a:gd name="connsiteY104" fmla="*/ 185738 h 372427"/>
                  <a:gd name="connsiteX105" fmla="*/ 93345 w 318135"/>
                  <a:gd name="connsiteY105" fmla="*/ 185738 h 372427"/>
                  <a:gd name="connsiteX106" fmla="*/ 2857 w 318135"/>
                  <a:gd name="connsiteY106" fmla="*/ 185738 h 372427"/>
                  <a:gd name="connsiteX107" fmla="*/ 2857 w 318135"/>
                  <a:gd name="connsiteY107" fmla="*/ 172402 h 372427"/>
                  <a:gd name="connsiteX108" fmla="*/ 3810 w 318135"/>
                  <a:gd name="connsiteY108" fmla="*/ 160020 h 372427"/>
                  <a:gd name="connsiteX109" fmla="*/ 4763 w 318135"/>
                  <a:gd name="connsiteY109" fmla="*/ 147638 h 372427"/>
                  <a:gd name="connsiteX110" fmla="*/ 6668 w 318135"/>
                  <a:gd name="connsiteY110" fmla="*/ 136207 h 372427"/>
                  <a:gd name="connsiteX111" fmla="*/ 8573 w 318135"/>
                  <a:gd name="connsiteY111" fmla="*/ 125730 h 372427"/>
                  <a:gd name="connsiteX112" fmla="*/ 11430 w 318135"/>
                  <a:gd name="connsiteY112" fmla="*/ 115252 h 372427"/>
                  <a:gd name="connsiteX113" fmla="*/ 14288 w 318135"/>
                  <a:gd name="connsiteY113" fmla="*/ 105727 h 372427"/>
                  <a:gd name="connsiteX114" fmla="*/ 17145 w 318135"/>
                  <a:gd name="connsiteY114" fmla="*/ 96202 h 372427"/>
                  <a:gd name="connsiteX115" fmla="*/ 20955 w 318135"/>
                  <a:gd name="connsiteY115" fmla="*/ 86677 h 372427"/>
                  <a:gd name="connsiteX116" fmla="*/ 24765 w 318135"/>
                  <a:gd name="connsiteY116" fmla="*/ 78105 h 372427"/>
                  <a:gd name="connsiteX117" fmla="*/ 28575 w 318135"/>
                  <a:gd name="connsiteY117" fmla="*/ 70485 h 372427"/>
                  <a:gd name="connsiteX118" fmla="*/ 33338 w 318135"/>
                  <a:gd name="connsiteY118" fmla="*/ 62865 h 372427"/>
                  <a:gd name="connsiteX119" fmla="*/ 38100 w 318135"/>
                  <a:gd name="connsiteY119" fmla="*/ 56197 h 372427"/>
                  <a:gd name="connsiteX120" fmla="*/ 42863 w 318135"/>
                  <a:gd name="connsiteY120" fmla="*/ 49530 h 372427"/>
                  <a:gd name="connsiteX121" fmla="*/ 48578 w 318135"/>
                  <a:gd name="connsiteY121" fmla="*/ 43815 h 372427"/>
                  <a:gd name="connsiteX122" fmla="*/ 54293 w 318135"/>
                  <a:gd name="connsiteY122" fmla="*/ 38100 h 372427"/>
                  <a:gd name="connsiteX123" fmla="*/ 60007 w 318135"/>
                  <a:gd name="connsiteY123" fmla="*/ 32385 h 372427"/>
                  <a:gd name="connsiteX124" fmla="*/ 65723 w 318135"/>
                  <a:gd name="connsiteY124" fmla="*/ 27622 h 372427"/>
                  <a:gd name="connsiteX125" fmla="*/ 71438 w 318135"/>
                  <a:gd name="connsiteY125" fmla="*/ 23813 h 372427"/>
                  <a:gd name="connsiteX126" fmla="*/ 78105 w 318135"/>
                  <a:gd name="connsiteY126" fmla="*/ 20002 h 372427"/>
                  <a:gd name="connsiteX127" fmla="*/ 84773 w 318135"/>
                  <a:gd name="connsiteY127" fmla="*/ 16192 h 372427"/>
                  <a:gd name="connsiteX128" fmla="*/ 91440 w 318135"/>
                  <a:gd name="connsiteY128" fmla="*/ 13335 h 372427"/>
                  <a:gd name="connsiteX129" fmla="*/ 98107 w 318135"/>
                  <a:gd name="connsiteY129" fmla="*/ 10477 h 372427"/>
                  <a:gd name="connsiteX130" fmla="*/ 104775 w 318135"/>
                  <a:gd name="connsiteY130" fmla="*/ 8572 h 372427"/>
                  <a:gd name="connsiteX131" fmla="*/ 111443 w 318135"/>
                  <a:gd name="connsiteY131" fmla="*/ 6667 h 372427"/>
                  <a:gd name="connsiteX132" fmla="*/ 118110 w 318135"/>
                  <a:gd name="connsiteY132" fmla="*/ 4763 h 372427"/>
                  <a:gd name="connsiteX133" fmla="*/ 125730 w 318135"/>
                  <a:gd name="connsiteY133" fmla="*/ 2857 h 372427"/>
                  <a:gd name="connsiteX134" fmla="*/ 132398 w 318135"/>
                  <a:gd name="connsiteY134" fmla="*/ 1905 h 372427"/>
                  <a:gd name="connsiteX135" fmla="*/ 140018 w 318135"/>
                  <a:gd name="connsiteY135" fmla="*/ 952 h 372427"/>
                  <a:gd name="connsiteX136" fmla="*/ 146685 w 318135"/>
                  <a:gd name="connsiteY136" fmla="*/ 0 h 372427"/>
                  <a:gd name="connsiteX137" fmla="*/ 154305 w 318135"/>
                  <a:gd name="connsiteY137" fmla="*/ 0 h 372427"/>
                  <a:gd name="connsiteX138" fmla="*/ 161925 w 318135"/>
                  <a:gd name="connsiteY138" fmla="*/ 0 h 372427"/>
                  <a:gd name="connsiteX139" fmla="*/ 172403 w 318135"/>
                  <a:gd name="connsiteY139" fmla="*/ 0 h 372427"/>
                  <a:gd name="connsiteX140" fmla="*/ 182880 w 318135"/>
                  <a:gd name="connsiteY140" fmla="*/ 952 h 372427"/>
                  <a:gd name="connsiteX141" fmla="*/ 192405 w 318135"/>
                  <a:gd name="connsiteY141" fmla="*/ 1905 h 372427"/>
                  <a:gd name="connsiteX142" fmla="*/ 201930 w 318135"/>
                  <a:gd name="connsiteY142" fmla="*/ 3810 h 372427"/>
                  <a:gd name="connsiteX143" fmla="*/ 211455 w 318135"/>
                  <a:gd name="connsiteY143" fmla="*/ 5715 h 372427"/>
                  <a:gd name="connsiteX144" fmla="*/ 220980 w 318135"/>
                  <a:gd name="connsiteY144" fmla="*/ 8572 h 372427"/>
                  <a:gd name="connsiteX145" fmla="*/ 230505 w 318135"/>
                  <a:gd name="connsiteY145" fmla="*/ 12382 h 372427"/>
                  <a:gd name="connsiteX146" fmla="*/ 240030 w 318135"/>
                  <a:gd name="connsiteY146" fmla="*/ 16192 h 372427"/>
                  <a:gd name="connsiteX147" fmla="*/ 243840 w 318135"/>
                  <a:gd name="connsiteY147" fmla="*/ 18097 h 372427"/>
                  <a:gd name="connsiteX148" fmla="*/ 247650 w 318135"/>
                  <a:gd name="connsiteY148" fmla="*/ 20955 h 372427"/>
                  <a:gd name="connsiteX149" fmla="*/ 251460 w 318135"/>
                  <a:gd name="connsiteY149" fmla="*/ 23813 h 372427"/>
                  <a:gd name="connsiteX150" fmla="*/ 255270 w 318135"/>
                  <a:gd name="connsiteY150" fmla="*/ 26670 h 372427"/>
                  <a:gd name="connsiteX151" fmla="*/ 259080 w 318135"/>
                  <a:gd name="connsiteY151" fmla="*/ 29527 h 372427"/>
                  <a:gd name="connsiteX152" fmla="*/ 262890 w 318135"/>
                  <a:gd name="connsiteY152" fmla="*/ 32385 h 372427"/>
                  <a:gd name="connsiteX153" fmla="*/ 266700 w 318135"/>
                  <a:gd name="connsiteY153" fmla="*/ 36195 h 372427"/>
                  <a:gd name="connsiteX154" fmla="*/ 270510 w 318135"/>
                  <a:gd name="connsiteY154" fmla="*/ 40005 h 372427"/>
                  <a:gd name="connsiteX155" fmla="*/ 274320 w 318135"/>
                  <a:gd name="connsiteY155" fmla="*/ 43815 h 372427"/>
                  <a:gd name="connsiteX156" fmla="*/ 278130 w 318135"/>
                  <a:gd name="connsiteY156" fmla="*/ 47625 h 372427"/>
                  <a:gd name="connsiteX157" fmla="*/ 281940 w 318135"/>
                  <a:gd name="connsiteY157" fmla="*/ 51435 h 372427"/>
                  <a:gd name="connsiteX158" fmla="*/ 284798 w 318135"/>
                  <a:gd name="connsiteY158" fmla="*/ 55245 h 372427"/>
                  <a:gd name="connsiteX159" fmla="*/ 287655 w 318135"/>
                  <a:gd name="connsiteY159" fmla="*/ 60007 h 372427"/>
                  <a:gd name="connsiteX160" fmla="*/ 290513 w 318135"/>
                  <a:gd name="connsiteY160" fmla="*/ 64770 h 372427"/>
                  <a:gd name="connsiteX161" fmla="*/ 293370 w 318135"/>
                  <a:gd name="connsiteY161" fmla="*/ 69532 h 372427"/>
                  <a:gd name="connsiteX162" fmla="*/ 296228 w 318135"/>
                  <a:gd name="connsiteY162" fmla="*/ 75247 h 372427"/>
                  <a:gd name="connsiteX163" fmla="*/ 299085 w 318135"/>
                  <a:gd name="connsiteY163" fmla="*/ 80010 h 372427"/>
                  <a:gd name="connsiteX164" fmla="*/ 301943 w 318135"/>
                  <a:gd name="connsiteY164" fmla="*/ 85725 h 372427"/>
                  <a:gd name="connsiteX165" fmla="*/ 304800 w 318135"/>
                  <a:gd name="connsiteY165" fmla="*/ 91440 h 372427"/>
                  <a:gd name="connsiteX166" fmla="*/ 306705 w 318135"/>
                  <a:gd name="connsiteY166" fmla="*/ 97155 h 372427"/>
                  <a:gd name="connsiteX167" fmla="*/ 308610 w 318135"/>
                  <a:gd name="connsiteY167" fmla="*/ 103822 h 372427"/>
                  <a:gd name="connsiteX168" fmla="*/ 310515 w 318135"/>
                  <a:gd name="connsiteY168" fmla="*/ 110490 h 372427"/>
                  <a:gd name="connsiteX169" fmla="*/ 312420 w 318135"/>
                  <a:gd name="connsiteY169" fmla="*/ 117157 h 372427"/>
                  <a:gd name="connsiteX170" fmla="*/ 313373 w 318135"/>
                  <a:gd name="connsiteY170" fmla="*/ 123825 h 372427"/>
                  <a:gd name="connsiteX171" fmla="*/ 314325 w 318135"/>
                  <a:gd name="connsiteY171" fmla="*/ 130492 h 372427"/>
                  <a:gd name="connsiteX172" fmla="*/ 315278 w 318135"/>
                  <a:gd name="connsiteY172" fmla="*/ 138113 h 372427"/>
                  <a:gd name="connsiteX173" fmla="*/ 316230 w 318135"/>
                  <a:gd name="connsiteY173" fmla="*/ 145732 h 372427"/>
                  <a:gd name="connsiteX174" fmla="*/ 317182 w 318135"/>
                  <a:gd name="connsiteY174" fmla="*/ 153352 h 372427"/>
                  <a:gd name="connsiteX175" fmla="*/ 318135 w 318135"/>
                  <a:gd name="connsiteY175" fmla="*/ 160972 h 372427"/>
                  <a:gd name="connsiteX176" fmla="*/ 318135 w 318135"/>
                  <a:gd name="connsiteY176" fmla="*/ 169545 h 372427"/>
                  <a:gd name="connsiteX177" fmla="*/ 318135 w 318135"/>
                  <a:gd name="connsiteY177" fmla="*/ 178117 h 372427"/>
                  <a:gd name="connsiteX178" fmla="*/ 318135 w 318135"/>
                  <a:gd name="connsiteY178" fmla="*/ 186690 h 372427"/>
                  <a:gd name="connsiteX179" fmla="*/ 318135 w 318135"/>
                  <a:gd name="connsiteY179" fmla="*/ 195263 h 372427"/>
                  <a:gd name="connsiteX180" fmla="*/ 318135 w 318135"/>
                  <a:gd name="connsiteY180" fmla="*/ 203835 h 372427"/>
                  <a:gd name="connsiteX181" fmla="*/ 318135 w 318135"/>
                  <a:gd name="connsiteY181" fmla="*/ 211455 h 372427"/>
                  <a:gd name="connsiteX182" fmla="*/ 317182 w 318135"/>
                  <a:gd name="connsiteY182" fmla="*/ 219075 h 372427"/>
                  <a:gd name="connsiteX183" fmla="*/ 316230 w 318135"/>
                  <a:gd name="connsiteY183" fmla="*/ 226695 h 372427"/>
                  <a:gd name="connsiteX184" fmla="*/ 315278 w 318135"/>
                  <a:gd name="connsiteY184" fmla="*/ 234315 h 372427"/>
                  <a:gd name="connsiteX185" fmla="*/ 314325 w 318135"/>
                  <a:gd name="connsiteY185" fmla="*/ 241935 h 372427"/>
                  <a:gd name="connsiteX186" fmla="*/ 313373 w 318135"/>
                  <a:gd name="connsiteY186" fmla="*/ 248602 h 372427"/>
                  <a:gd name="connsiteX187" fmla="*/ 312420 w 318135"/>
                  <a:gd name="connsiteY187" fmla="*/ 255270 h 372427"/>
                  <a:gd name="connsiteX188" fmla="*/ 310515 w 318135"/>
                  <a:gd name="connsiteY188" fmla="*/ 261938 h 372427"/>
                  <a:gd name="connsiteX189" fmla="*/ 308610 w 318135"/>
                  <a:gd name="connsiteY189" fmla="*/ 268605 h 372427"/>
                  <a:gd name="connsiteX190" fmla="*/ 306705 w 318135"/>
                  <a:gd name="connsiteY190" fmla="*/ 275272 h 372427"/>
                  <a:gd name="connsiteX191" fmla="*/ 304800 w 318135"/>
                  <a:gd name="connsiteY191" fmla="*/ 280988 h 372427"/>
                  <a:gd name="connsiteX192" fmla="*/ 301943 w 318135"/>
                  <a:gd name="connsiteY192" fmla="*/ 286702 h 372427"/>
                  <a:gd name="connsiteX193" fmla="*/ 299085 w 318135"/>
                  <a:gd name="connsiteY193" fmla="*/ 292417 h 372427"/>
                  <a:gd name="connsiteX194" fmla="*/ 296228 w 318135"/>
                  <a:gd name="connsiteY194" fmla="*/ 297180 h 372427"/>
                  <a:gd name="connsiteX195" fmla="*/ 293370 w 318135"/>
                  <a:gd name="connsiteY195" fmla="*/ 302895 h 372427"/>
                  <a:gd name="connsiteX196" fmla="*/ 290513 w 318135"/>
                  <a:gd name="connsiteY196" fmla="*/ 307658 h 372427"/>
                  <a:gd name="connsiteX197" fmla="*/ 287655 w 318135"/>
                  <a:gd name="connsiteY197" fmla="*/ 312420 h 372427"/>
                  <a:gd name="connsiteX198" fmla="*/ 284798 w 318135"/>
                  <a:gd name="connsiteY198" fmla="*/ 316230 h 372427"/>
                  <a:gd name="connsiteX199" fmla="*/ 281940 w 318135"/>
                  <a:gd name="connsiteY199" fmla="*/ 320992 h 372427"/>
                  <a:gd name="connsiteX200" fmla="*/ 278130 w 318135"/>
                  <a:gd name="connsiteY200" fmla="*/ 324802 h 372427"/>
                  <a:gd name="connsiteX201" fmla="*/ 274320 w 318135"/>
                  <a:gd name="connsiteY201" fmla="*/ 328613 h 372427"/>
                  <a:gd name="connsiteX202" fmla="*/ 270510 w 318135"/>
                  <a:gd name="connsiteY202" fmla="*/ 332422 h 372427"/>
                  <a:gd name="connsiteX203" fmla="*/ 266700 w 318135"/>
                  <a:gd name="connsiteY203" fmla="*/ 336233 h 372427"/>
                  <a:gd name="connsiteX204" fmla="*/ 262890 w 318135"/>
                  <a:gd name="connsiteY204" fmla="*/ 340042 h 372427"/>
                  <a:gd name="connsiteX205" fmla="*/ 259080 w 318135"/>
                  <a:gd name="connsiteY205" fmla="*/ 342900 h 372427"/>
                  <a:gd name="connsiteX206" fmla="*/ 255270 w 318135"/>
                  <a:gd name="connsiteY206" fmla="*/ 345758 h 372427"/>
                  <a:gd name="connsiteX207" fmla="*/ 251460 w 318135"/>
                  <a:gd name="connsiteY207" fmla="*/ 348615 h 372427"/>
                  <a:gd name="connsiteX208" fmla="*/ 247650 w 318135"/>
                  <a:gd name="connsiteY208" fmla="*/ 351472 h 372427"/>
                  <a:gd name="connsiteX209" fmla="*/ 244793 w 318135"/>
                  <a:gd name="connsiteY209" fmla="*/ 354330 h 372427"/>
                  <a:gd name="connsiteX210" fmla="*/ 240982 w 318135"/>
                  <a:gd name="connsiteY210" fmla="*/ 356235 h 372427"/>
                  <a:gd name="connsiteX211" fmla="*/ 231457 w 318135"/>
                  <a:gd name="connsiteY211" fmla="*/ 360045 h 372427"/>
                  <a:gd name="connsiteX212" fmla="*/ 221932 w 318135"/>
                  <a:gd name="connsiteY212" fmla="*/ 363855 h 372427"/>
                  <a:gd name="connsiteX213" fmla="*/ 212407 w 318135"/>
                  <a:gd name="connsiteY213" fmla="*/ 366713 h 372427"/>
                  <a:gd name="connsiteX214" fmla="*/ 202882 w 318135"/>
                  <a:gd name="connsiteY214" fmla="*/ 368617 h 372427"/>
                  <a:gd name="connsiteX215" fmla="*/ 193357 w 318135"/>
                  <a:gd name="connsiteY215" fmla="*/ 370522 h 372427"/>
                  <a:gd name="connsiteX216" fmla="*/ 182880 w 318135"/>
                  <a:gd name="connsiteY216" fmla="*/ 371475 h 372427"/>
                  <a:gd name="connsiteX217" fmla="*/ 172403 w 318135"/>
                  <a:gd name="connsiteY217" fmla="*/ 372427 h 372427"/>
                  <a:gd name="connsiteX218" fmla="*/ 161925 w 318135"/>
                  <a:gd name="connsiteY218" fmla="*/ 372427 h 372427"/>
                  <a:gd name="connsiteX219" fmla="*/ 153353 w 318135"/>
                  <a:gd name="connsiteY219" fmla="*/ 372427 h 372427"/>
                  <a:gd name="connsiteX220" fmla="*/ 144780 w 318135"/>
                  <a:gd name="connsiteY220" fmla="*/ 372427 h 372427"/>
                  <a:gd name="connsiteX221" fmla="*/ 137160 w 318135"/>
                  <a:gd name="connsiteY221" fmla="*/ 371475 h 372427"/>
                  <a:gd name="connsiteX222" fmla="*/ 129540 w 318135"/>
                  <a:gd name="connsiteY222" fmla="*/ 370522 h 372427"/>
                  <a:gd name="connsiteX223" fmla="*/ 121920 w 318135"/>
                  <a:gd name="connsiteY223" fmla="*/ 368617 h 372427"/>
                  <a:gd name="connsiteX224" fmla="*/ 114300 w 318135"/>
                  <a:gd name="connsiteY224" fmla="*/ 366713 h 372427"/>
                  <a:gd name="connsiteX225" fmla="*/ 106680 w 318135"/>
                  <a:gd name="connsiteY225" fmla="*/ 364808 h 372427"/>
                  <a:gd name="connsiteX226" fmla="*/ 99060 w 318135"/>
                  <a:gd name="connsiteY226" fmla="*/ 361950 h 372427"/>
                  <a:gd name="connsiteX227" fmla="*/ 92393 w 318135"/>
                  <a:gd name="connsiteY227" fmla="*/ 359092 h 372427"/>
                  <a:gd name="connsiteX228" fmla="*/ 85725 w 318135"/>
                  <a:gd name="connsiteY228" fmla="*/ 356235 h 372427"/>
                  <a:gd name="connsiteX229" fmla="*/ 79057 w 318135"/>
                  <a:gd name="connsiteY229" fmla="*/ 352425 h 372427"/>
                  <a:gd name="connsiteX230" fmla="*/ 72390 w 318135"/>
                  <a:gd name="connsiteY230" fmla="*/ 348615 h 372427"/>
                  <a:gd name="connsiteX231" fmla="*/ 65723 w 318135"/>
                  <a:gd name="connsiteY231" fmla="*/ 344805 h 372427"/>
                  <a:gd name="connsiteX232" fmla="*/ 59055 w 318135"/>
                  <a:gd name="connsiteY232" fmla="*/ 340042 h 372427"/>
                  <a:gd name="connsiteX233" fmla="*/ 53340 w 318135"/>
                  <a:gd name="connsiteY233" fmla="*/ 335280 h 372427"/>
                  <a:gd name="connsiteX234" fmla="*/ 47625 w 318135"/>
                  <a:gd name="connsiteY234" fmla="*/ 329565 h 372427"/>
                  <a:gd name="connsiteX235" fmla="*/ 41910 w 318135"/>
                  <a:gd name="connsiteY235" fmla="*/ 323850 h 372427"/>
                  <a:gd name="connsiteX236" fmla="*/ 36195 w 318135"/>
                  <a:gd name="connsiteY236" fmla="*/ 317183 h 372427"/>
                  <a:gd name="connsiteX237" fmla="*/ 31432 w 318135"/>
                  <a:gd name="connsiteY237" fmla="*/ 310515 h 372427"/>
                  <a:gd name="connsiteX238" fmla="*/ 26670 w 318135"/>
                  <a:gd name="connsiteY238" fmla="*/ 303847 h 372427"/>
                  <a:gd name="connsiteX239" fmla="*/ 22860 w 318135"/>
                  <a:gd name="connsiteY239" fmla="*/ 296227 h 372427"/>
                  <a:gd name="connsiteX240" fmla="*/ 19050 w 318135"/>
                  <a:gd name="connsiteY240" fmla="*/ 288608 h 372427"/>
                  <a:gd name="connsiteX241" fmla="*/ 16193 w 318135"/>
                  <a:gd name="connsiteY241" fmla="*/ 280035 h 372427"/>
                  <a:gd name="connsiteX242" fmla="*/ 13335 w 318135"/>
                  <a:gd name="connsiteY242" fmla="*/ 271463 h 372427"/>
                  <a:gd name="connsiteX243" fmla="*/ 10478 w 318135"/>
                  <a:gd name="connsiteY243" fmla="*/ 261938 h 372427"/>
                  <a:gd name="connsiteX244" fmla="*/ 7620 w 318135"/>
                  <a:gd name="connsiteY244" fmla="*/ 252413 h 372427"/>
                  <a:gd name="connsiteX245" fmla="*/ 5715 w 318135"/>
                  <a:gd name="connsiteY245" fmla="*/ 241935 h 372427"/>
                  <a:gd name="connsiteX246" fmla="*/ 3810 w 318135"/>
                  <a:gd name="connsiteY246" fmla="*/ 231458 h 372427"/>
                  <a:gd name="connsiteX247" fmla="*/ 1905 w 318135"/>
                  <a:gd name="connsiteY247" fmla="*/ 220027 h 372427"/>
                  <a:gd name="connsiteX248" fmla="*/ 953 w 318135"/>
                  <a:gd name="connsiteY248" fmla="*/ 208597 h 372427"/>
                  <a:gd name="connsiteX249" fmla="*/ 0 w 318135"/>
                  <a:gd name="connsiteY249" fmla="*/ 196215 h 372427"/>
                  <a:gd name="connsiteX250" fmla="*/ 0 w 318135"/>
                  <a:gd name="connsiteY250" fmla="*/ 185738 h 372427"/>
                  <a:gd name="connsiteX251" fmla="*/ 2857 w 318135"/>
                  <a:gd name="connsiteY251" fmla="*/ 185738 h 372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</a:cxnLst>
                <a:rect l="l" t="t" r="r" b="b"/>
                <a:pathLst>
                  <a:path w="318135" h="372427">
                    <a:moveTo>
                      <a:pt x="93345" y="185738"/>
                    </a:moveTo>
                    <a:lnTo>
                      <a:pt x="93345" y="200977"/>
                    </a:lnTo>
                    <a:lnTo>
                      <a:pt x="94298" y="215265"/>
                    </a:lnTo>
                    <a:lnTo>
                      <a:pt x="96203" y="228600"/>
                    </a:lnTo>
                    <a:lnTo>
                      <a:pt x="98107" y="240983"/>
                    </a:lnTo>
                    <a:lnTo>
                      <a:pt x="99060" y="246697"/>
                    </a:lnTo>
                    <a:lnTo>
                      <a:pt x="100013" y="252413"/>
                    </a:lnTo>
                    <a:lnTo>
                      <a:pt x="100965" y="258127"/>
                    </a:lnTo>
                    <a:lnTo>
                      <a:pt x="102870" y="263842"/>
                    </a:lnTo>
                    <a:lnTo>
                      <a:pt x="104775" y="268605"/>
                    </a:lnTo>
                    <a:lnTo>
                      <a:pt x="106680" y="273367"/>
                    </a:lnTo>
                    <a:lnTo>
                      <a:pt x="108585" y="277177"/>
                    </a:lnTo>
                    <a:lnTo>
                      <a:pt x="110490" y="280988"/>
                    </a:lnTo>
                    <a:lnTo>
                      <a:pt x="113348" y="284797"/>
                    </a:lnTo>
                    <a:lnTo>
                      <a:pt x="116205" y="288608"/>
                    </a:lnTo>
                    <a:lnTo>
                      <a:pt x="119063" y="291465"/>
                    </a:lnTo>
                    <a:lnTo>
                      <a:pt x="121920" y="294322"/>
                    </a:lnTo>
                    <a:lnTo>
                      <a:pt x="124778" y="297180"/>
                    </a:lnTo>
                    <a:lnTo>
                      <a:pt x="127635" y="300038"/>
                    </a:lnTo>
                    <a:lnTo>
                      <a:pt x="130493" y="302895"/>
                    </a:lnTo>
                    <a:lnTo>
                      <a:pt x="134303" y="304800"/>
                    </a:lnTo>
                    <a:lnTo>
                      <a:pt x="137160" y="306705"/>
                    </a:lnTo>
                    <a:lnTo>
                      <a:pt x="140970" y="308610"/>
                    </a:lnTo>
                    <a:lnTo>
                      <a:pt x="144780" y="309563"/>
                    </a:lnTo>
                    <a:lnTo>
                      <a:pt x="148590" y="310515"/>
                    </a:lnTo>
                    <a:lnTo>
                      <a:pt x="152400" y="311467"/>
                    </a:lnTo>
                    <a:lnTo>
                      <a:pt x="156210" y="312420"/>
                    </a:lnTo>
                    <a:lnTo>
                      <a:pt x="160020" y="312420"/>
                    </a:lnTo>
                    <a:lnTo>
                      <a:pt x="164782" y="312420"/>
                    </a:lnTo>
                    <a:lnTo>
                      <a:pt x="168593" y="312420"/>
                    </a:lnTo>
                    <a:lnTo>
                      <a:pt x="172403" y="312420"/>
                    </a:lnTo>
                    <a:lnTo>
                      <a:pt x="176213" y="311467"/>
                    </a:lnTo>
                    <a:lnTo>
                      <a:pt x="180023" y="310515"/>
                    </a:lnTo>
                    <a:lnTo>
                      <a:pt x="183832" y="309563"/>
                    </a:lnTo>
                    <a:lnTo>
                      <a:pt x="187643" y="308610"/>
                    </a:lnTo>
                    <a:lnTo>
                      <a:pt x="190500" y="306705"/>
                    </a:lnTo>
                    <a:lnTo>
                      <a:pt x="194310" y="304800"/>
                    </a:lnTo>
                    <a:lnTo>
                      <a:pt x="197168" y="302895"/>
                    </a:lnTo>
                    <a:lnTo>
                      <a:pt x="200025" y="300038"/>
                    </a:lnTo>
                    <a:lnTo>
                      <a:pt x="202882" y="297180"/>
                    </a:lnTo>
                    <a:lnTo>
                      <a:pt x="205740" y="294322"/>
                    </a:lnTo>
                    <a:lnTo>
                      <a:pt x="208598" y="291465"/>
                    </a:lnTo>
                    <a:lnTo>
                      <a:pt x="211455" y="288608"/>
                    </a:lnTo>
                    <a:lnTo>
                      <a:pt x="214313" y="284797"/>
                    </a:lnTo>
                    <a:lnTo>
                      <a:pt x="216218" y="280988"/>
                    </a:lnTo>
                    <a:lnTo>
                      <a:pt x="218123" y="277177"/>
                    </a:lnTo>
                    <a:lnTo>
                      <a:pt x="220028" y="273367"/>
                    </a:lnTo>
                    <a:lnTo>
                      <a:pt x="221932" y="268605"/>
                    </a:lnTo>
                    <a:lnTo>
                      <a:pt x="223838" y="263842"/>
                    </a:lnTo>
                    <a:lnTo>
                      <a:pt x="225743" y="258127"/>
                    </a:lnTo>
                    <a:lnTo>
                      <a:pt x="226695" y="252413"/>
                    </a:lnTo>
                    <a:lnTo>
                      <a:pt x="227648" y="246697"/>
                    </a:lnTo>
                    <a:lnTo>
                      <a:pt x="228600" y="240983"/>
                    </a:lnTo>
                    <a:lnTo>
                      <a:pt x="230505" y="228600"/>
                    </a:lnTo>
                    <a:lnTo>
                      <a:pt x="231457" y="215265"/>
                    </a:lnTo>
                    <a:lnTo>
                      <a:pt x="232410" y="200977"/>
                    </a:lnTo>
                    <a:lnTo>
                      <a:pt x="232410" y="185738"/>
                    </a:lnTo>
                    <a:lnTo>
                      <a:pt x="232410" y="172402"/>
                    </a:lnTo>
                    <a:lnTo>
                      <a:pt x="231457" y="160020"/>
                    </a:lnTo>
                    <a:lnTo>
                      <a:pt x="230505" y="147638"/>
                    </a:lnTo>
                    <a:lnTo>
                      <a:pt x="228600" y="136207"/>
                    </a:lnTo>
                    <a:lnTo>
                      <a:pt x="226695" y="125730"/>
                    </a:lnTo>
                    <a:lnTo>
                      <a:pt x="223838" y="115252"/>
                    </a:lnTo>
                    <a:lnTo>
                      <a:pt x="220980" y="105727"/>
                    </a:lnTo>
                    <a:lnTo>
                      <a:pt x="217170" y="96202"/>
                    </a:lnTo>
                    <a:lnTo>
                      <a:pt x="215265" y="92392"/>
                    </a:lnTo>
                    <a:lnTo>
                      <a:pt x="212407" y="88582"/>
                    </a:lnTo>
                    <a:lnTo>
                      <a:pt x="209550" y="84772"/>
                    </a:lnTo>
                    <a:lnTo>
                      <a:pt x="206693" y="80963"/>
                    </a:lnTo>
                    <a:lnTo>
                      <a:pt x="203835" y="78105"/>
                    </a:lnTo>
                    <a:lnTo>
                      <a:pt x="200978" y="75247"/>
                    </a:lnTo>
                    <a:lnTo>
                      <a:pt x="198120" y="72390"/>
                    </a:lnTo>
                    <a:lnTo>
                      <a:pt x="195263" y="69532"/>
                    </a:lnTo>
                    <a:lnTo>
                      <a:pt x="191453" y="67627"/>
                    </a:lnTo>
                    <a:lnTo>
                      <a:pt x="187643" y="65722"/>
                    </a:lnTo>
                    <a:lnTo>
                      <a:pt x="183832" y="64770"/>
                    </a:lnTo>
                    <a:lnTo>
                      <a:pt x="180023" y="63817"/>
                    </a:lnTo>
                    <a:lnTo>
                      <a:pt x="176213" y="62865"/>
                    </a:lnTo>
                    <a:lnTo>
                      <a:pt x="172403" y="61913"/>
                    </a:lnTo>
                    <a:lnTo>
                      <a:pt x="167640" y="61913"/>
                    </a:lnTo>
                    <a:lnTo>
                      <a:pt x="162878" y="61913"/>
                    </a:lnTo>
                    <a:lnTo>
                      <a:pt x="158115" y="61913"/>
                    </a:lnTo>
                    <a:lnTo>
                      <a:pt x="153353" y="62865"/>
                    </a:lnTo>
                    <a:lnTo>
                      <a:pt x="148590" y="62865"/>
                    </a:lnTo>
                    <a:lnTo>
                      <a:pt x="144780" y="63817"/>
                    </a:lnTo>
                    <a:lnTo>
                      <a:pt x="140970" y="64770"/>
                    </a:lnTo>
                    <a:lnTo>
                      <a:pt x="137160" y="65722"/>
                    </a:lnTo>
                    <a:lnTo>
                      <a:pt x="133350" y="67627"/>
                    </a:lnTo>
                    <a:lnTo>
                      <a:pt x="129540" y="69532"/>
                    </a:lnTo>
                    <a:lnTo>
                      <a:pt x="125730" y="72390"/>
                    </a:lnTo>
                    <a:lnTo>
                      <a:pt x="122873" y="75247"/>
                    </a:lnTo>
                    <a:lnTo>
                      <a:pt x="120015" y="78105"/>
                    </a:lnTo>
                    <a:lnTo>
                      <a:pt x="117157" y="80963"/>
                    </a:lnTo>
                    <a:lnTo>
                      <a:pt x="114300" y="84772"/>
                    </a:lnTo>
                    <a:lnTo>
                      <a:pt x="111443" y="88582"/>
                    </a:lnTo>
                    <a:lnTo>
                      <a:pt x="109538" y="92392"/>
                    </a:lnTo>
                    <a:lnTo>
                      <a:pt x="107632" y="96202"/>
                    </a:lnTo>
                    <a:lnTo>
                      <a:pt x="103823" y="105727"/>
                    </a:lnTo>
                    <a:lnTo>
                      <a:pt x="100965" y="115252"/>
                    </a:lnTo>
                    <a:lnTo>
                      <a:pt x="98107" y="125730"/>
                    </a:lnTo>
                    <a:lnTo>
                      <a:pt x="96203" y="136207"/>
                    </a:lnTo>
                    <a:lnTo>
                      <a:pt x="94298" y="147638"/>
                    </a:lnTo>
                    <a:lnTo>
                      <a:pt x="93345" y="160020"/>
                    </a:lnTo>
                    <a:lnTo>
                      <a:pt x="92393" y="172402"/>
                    </a:lnTo>
                    <a:lnTo>
                      <a:pt x="92393" y="185738"/>
                    </a:lnTo>
                    <a:lnTo>
                      <a:pt x="93345" y="185738"/>
                    </a:lnTo>
                    <a:close/>
                    <a:moveTo>
                      <a:pt x="2857" y="185738"/>
                    </a:moveTo>
                    <a:lnTo>
                      <a:pt x="2857" y="172402"/>
                    </a:lnTo>
                    <a:lnTo>
                      <a:pt x="3810" y="160020"/>
                    </a:lnTo>
                    <a:lnTo>
                      <a:pt x="4763" y="147638"/>
                    </a:lnTo>
                    <a:lnTo>
                      <a:pt x="6668" y="136207"/>
                    </a:lnTo>
                    <a:lnTo>
                      <a:pt x="8573" y="125730"/>
                    </a:lnTo>
                    <a:lnTo>
                      <a:pt x="11430" y="115252"/>
                    </a:lnTo>
                    <a:lnTo>
                      <a:pt x="14288" y="105727"/>
                    </a:lnTo>
                    <a:lnTo>
                      <a:pt x="17145" y="96202"/>
                    </a:lnTo>
                    <a:lnTo>
                      <a:pt x="20955" y="86677"/>
                    </a:lnTo>
                    <a:lnTo>
                      <a:pt x="24765" y="78105"/>
                    </a:lnTo>
                    <a:lnTo>
                      <a:pt x="28575" y="70485"/>
                    </a:lnTo>
                    <a:lnTo>
                      <a:pt x="33338" y="62865"/>
                    </a:lnTo>
                    <a:lnTo>
                      <a:pt x="38100" y="56197"/>
                    </a:lnTo>
                    <a:lnTo>
                      <a:pt x="42863" y="49530"/>
                    </a:lnTo>
                    <a:lnTo>
                      <a:pt x="48578" y="43815"/>
                    </a:lnTo>
                    <a:lnTo>
                      <a:pt x="54293" y="38100"/>
                    </a:lnTo>
                    <a:lnTo>
                      <a:pt x="60007" y="32385"/>
                    </a:lnTo>
                    <a:lnTo>
                      <a:pt x="65723" y="27622"/>
                    </a:lnTo>
                    <a:lnTo>
                      <a:pt x="71438" y="23813"/>
                    </a:lnTo>
                    <a:lnTo>
                      <a:pt x="78105" y="20002"/>
                    </a:lnTo>
                    <a:lnTo>
                      <a:pt x="84773" y="16192"/>
                    </a:lnTo>
                    <a:lnTo>
                      <a:pt x="91440" y="13335"/>
                    </a:lnTo>
                    <a:lnTo>
                      <a:pt x="98107" y="10477"/>
                    </a:lnTo>
                    <a:lnTo>
                      <a:pt x="104775" y="8572"/>
                    </a:lnTo>
                    <a:lnTo>
                      <a:pt x="111443" y="6667"/>
                    </a:lnTo>
                    <a:lnTo>
                      <a:pt x="118110" y="4763"/>
                    </a:lnTo>
                    <a:lnTo>
                      <a:pt x="125730" y="2857"/>
                    </a:lnTo>
                    <a:lnTo>
                      <a:pt x="132398" y="1905"/>
                    </a:lnTo>
                    <a:lnTo>
                      <a:pt x="140018" y="952"/>
                    </a:lnTo>
                    <a:lnTo>
                      <a:pt x="146685" y="0"/>
                    </a:lnTo>
                    <a:lnTo>
                      <a:pt x="154305" y="0"/>
                    </a:lnTo>
                    <a:lnTo>
                      <a:pt x="161925" y="0"/>
                    </a:lnTo>
                    <a:lnTo>
                      <a:pt x="172403" y="0"/>
                    </a:lnTo>
                    <a:lnTo>
                      <a:pt x="182880" y="952"/>
                    </a:lnTo>
                    <a:lnTo>
                      <a:pt x="192405" y="1905"/>
                    </a:lnTo>
                    <a:lnTo>
                      <a:pt x="201930" y="3810"/>
                    </a:lnTo>
                    <a:lnTo>
                      <a:pt x="211455" y="5715"/>
                    </a:lnTo>
                    <a:lnTo>
                      <a:pt x="220980" y="8572"/>
                    </a:lnTo>
                    <a:lnTo>
                      <a:pt x="230505" y="12382"/>
                    </a:lnTo>
                    <a:lnTo>
                      <a:pt x="240030" y="16192"/>
                    </a:lnTo>
                    <a:lnTo>
                      <a:pt x="243840" y="18097"/>
                    </a:lnTo>
                    <a:lnTo>
                      <a:pt x="247650" y="20955"/>
                    </a:lnTo>
                    <a:lnTo>
                      <a:pt x="251460" y="23813"/>
                    </a:lnTo>
                    <a:lnTo>
                      <a:pt x="255270" y="26670"/>
                    </a:lnTo>
                    <a:lnTo>
                      <a:pt x="259080" y="29527"/>
                    </a:lnTo>
                    <a:lnTo>
                      <a:pt x="262890" y="32385"/>
                    </a:lnTo>
                    <a:lnTo>
                      <a:pt x="266700" y="36195"/>
                    </a:lnTo>
                    <a:lnTo>
                      <a:pt x="270510" y="40005"/>
                    </a:lnTo>
                    <a:lnTo>
                      <a:pt x="274320" y="43815"/>
                    </a:lnTo>
                    <a:lnTo>
                      <a:pt x="278130" y="47625"/>
                    </a:lnTo>
                    <a:lnTo>
                      <a:pt x="281940" y="51435"/>
                    </a:lnTo>
                    <a:lnTo>
                      <a:pt x="284798" y="55245"/>
                    </a:lnTo>
                    <a:lnTo>
                      <a:pt x="287655" y="60007"/>
                    </a:lnTo>
                    <a:lnTo>
                      <a:pt x="290513" y="64770"/>
                    </a:lnTo>
                    <a:lnTo>
                      <a:pt x="293370" y="69532"/>
                    </a:lnTo>
                    <a:lnTo>
                      <a:pt x="296228" y="75247"/>
                    </a:lnTo>
                    <a:lnTo>
                      <a:pt x="299085" y="80010"/>
                    </a:lnTo>
                    <a:lnTo>
                      <a:pt x="301943" y="85725"/>
                    </a:lnTo>
                    <a:lnTo>
                      <a:pt x="304800" y="91440"/>
                    </a:lnTo>
                    <a:lnTo>
                      <a:pt x="306705" y="97155"/>
                    </a:lnTo>
                    <a:lnTo>
                      <a:pt x="308610" y="103822"/>
                    </a:lnTo>
                    <a:lnTo>
                      <a:pt x="310515" y="110490"/>
                    </a:lnTo>
                    <a:lnTo>
                      <a:pt x="312420" y="117157"/>
                    </a:lnTo>
                    <a:lnTo>
                      <a:pt x="313373" y="123825"/>
                    </a:lnTo>
                    <a:lnTo>
                      <a:pt x="314325" y="130492"/>
                    </a:lnTo>
                    <a:lnTo>
                      <a:pt x="315278" y="138113"/>
                    </a:lnTo>
                    <a:lnTo>
                      <a:pt x="316230" y="145732"/>
                    </a:lnTo>
                    <a:lnTo>
                      <a:pt x="317182" y="153352"/>
                    </a:lnTo>
                    <a:lnTo>
                      <a:pt x="318135" y="160972"/>
                    </a:lnTo>
                    <a:lnTo>
                      <a:pt x="318135" y="169545"/>
                    </a:lnTo>
                    <a:lnTo>
                      <a:pt x="318135" y="178117"/>
                    </a:lnTo>
                    <a:lnTo>
                      <a:pt x="318135" y="186690"/>
                    </a:lnTo>
                    <a:lnTo>
                      <a:pt x="318135" y="195263"/>
                    </a:lnTo>
                    <a:lnTo>
                      <a:pt x="318135" y="203835"/>
                    </a:lnTo>
                    <a:lnTo>
                      <a:pt x="318135" y="211455"/>
                    </a:lnTo>
                    <a:lnTo>
                      <a:pt x="317182" y="219075"/>
                    </a:lnTo>
                    <a:lnTo>
                      <a:pt x="316230" y="226695"/>
                    </a:lnTo>
                    <a:lnTo>
                      <a:pt x="315278" y="234315"/>
                    </a:lnTo>
                    <a:lnTo>
                      <a:pt x="314325" y="241935"/>
                    </a:lnTo>
                    <a:lnTo>
                      <a:pt x="313373" y="248602"/>
                    </a:lnTo>
                    <a:lnTo>
                      <a:pt x="312420" y="255270"/>
                    </a:lnTo>
                    <a:lnTo>
                      <a:pt x="310515" y="261938"/>
                    </a:lnTo>
                    <a:lnTo>
                      <a:pt x="308610" y="268605"/>
                    </a:lnTo>
                    <a:lnTo>
                      <a:pt x="306705" y="275272"/>
                    </a:lnTo>
                    <a:lnTo>
                      <a:pt x="304800" y="280988"/>
                    </a:lnTo>
                    <a:lnTo>
                      <a:pt x="301943" y="286702"/>
                    </a:lnTo>
                    <a:lnTo>
                      <a:pt x="299085" y="292417"/>
                    </a:lnTo>
                    <a:lnTo>
                      <a:pt x="296228" y="297180"/>
                    </a:lnTo>
                    <a:lnTo>
                      <a:pt x="293370" y="302895"/>
                    </a:lnTo>
                    <a:lnTo>
                      <a:pt x="290513" y="307658"/>
                    </a:lnTo>
                    <a:lnTo>
                      <a:pt x="287655" y="312420"/>
                    </a:lnTo>
                    <a:lnTo>
                      <a:pt x="284798" y="316230"/>
                    </a:lnTo>
                    <a:lnTo>
                      <a:pt x="281940" y="320992"/>
                    </a:lnTo>
                    <a:lnTo>
                      <a:pt x="278130" y="324802"/>
                    </a:lnTo>
                    <a:lnTo>
                      <a:pt x="274320" y="328613"/>
                    </a:lnTo>
                    <a:lnTo>
                      <a:pt x="270510" y="332422"/>
                    </a:lnTo>
                    <a:lnTo>
                      <a:pt x="266700" y="336233"/>
                    </a:lnTo>
                    <a:lnTo>
                      <a:pt x="262890" y="340042"/>
                    </a:lnTo>
                    <a:lnTo>
                      <a:pt x="259080" y="342900"/>
                    </a:lnTo>
                    <a:lnTo>
                      <a:pt x="255270" y="345758"/>
                    </a:lnTo>
                    <a:lnTo>
                      <a:pt x="251460" y="348615"/>
                    </a:lnTo>
                    <a:lnTo>
                      <a:pt x="247650" y="351472"/>
                    </a:lnTo>
                    <a:lnTo>
                      <a:pt x="244793" y="354330"/>
                    </a:lnTo>
                    <a:lnTo>
                      <a:pt x="240982" y="356235"/>
                    </a:lnTo>
                    <a:lnTo>
                      <a:pt x="231457" y="360045"/>
                    </a:lnTo>
                    <a:lnTo>
                      <a:pt x="221932" y="363855"/>
                    </a:lnTo>
                    <a:lnTo>
                      <a:pt x="212407" y="366713"/>
                    </a:lnTo>
                    <a:lnTo>
                      <a:pt x="202882" y="368617"/>
                    </a:lnTo>
                    <a:lnTo>
                      <a:pt x="193357" y="370522"/>
                    </a:lnTo>
                    <a:lnTo>
                      <a:pt x="182880" y="371475"/>
                    </a:lnTo>
                    <a:lnTo>
                      <a:pt x="172403" y="372427"/>
                    </a:lnTo>
                    <a:lnTo>
                      <a:pt x="161925" y="372427"/>
                    </a:lnTo>
                    <a:lnTo>
                      <a:pt x="153353" y="372427"/>
                    </a:lnTo>
                    <a:lnTo>
                      <a:pt x="144780" y="372427"/>
                    </a:lnTo>
                    <a:lnTo>
                      <a:pt x="137160" y="371475"/>
                    </a:lnTo>
                    <a:lnTo>
                      <a:pt x="129540" y="370522"/>
                    </a:lnTo>
                    <a:lnTo>
                      <a:pt x="121920" y="368617"/>
                    </a:lnTo>
                    <a:lnTo>
                      <a:pt x="114300" y="366713"/>
                    </a:lnTo>
                    <a:lnTo>
                      <a:pt x="106680" y="364808"/>
                    </a:lnTo>
                    <a:lnTo>
                      <a:pt x="99060" y="361950"/>
                    </a:lnTo>
                    <a:lnTo>
                      <a:pt x="92393" y="359092"/>
                    </a:lnTo>
                    <a:lnTo>
                      <a:pt x="85725" y="356235"/>
                    </a:lnTo>
                    <a:lnTo>
                      <a:pt x="79057" y="352425"/>
                    </a:lnTo>
                    <a:lnTo>
                      <a:pt x="72390" y="348615"/>
                    </a:lnTo>
                    <a:lnTo>
                      <a:pt x="65723" y="344805"/>
                    </a:lnTo>
                    <a:lnTo>
                      <a:pt x="59055" y="340042"/>
                    </a:lnTo>
                    <a:lnTo>
                      <a:pt x="53340" y="335280"/>
                    </a:lnTo>
                    <a:lnTo>
                      <a:pt x="47625" y="329565"/>
                    </a:lnTo>
                    <a:lnTo>
                      <a:pt x="41910" y="323850"/>
                    </a:lnTo>
                    <a:lnTo>
                      <a:pt x="36195" y="317183"/>
                    </a:lnTo>
                    <a:lnTo>
                      <a:pt x="31432" y="310515"/>
                    </a:lnTo>
                    <a:lnTo>
                      <a:pt x="26670" y="303847"/>
                    </a:lnTo>
                    <a:lnTo>
                      <a:pt x="22860" y="296227"/>
                    </a:lnTo>
                    <a:lnTo>
                      <a:pt x="19050" y="288608"/>
                    </a:lnTo>
                    <a:lnTo>
                      <a:pt x="16193" y="280035"/>
                    </a:lnTo>
                    <a:lnTo>
                      <a:pt x="13335" y="271463"/>
                    </a:lnTo>
                    <a:lnTo>
                      <a:pt x="10478" y="261938"/>
                    </a:lnTo>
                    <a:lnTo>
                      <a:pt x="7620" y="252413"/>
                    </a:lnTo>
                    <a:lnTo>
                      <a:pt x="5715" y="241935"/>
                    </a:lnTo>
                    <a:lnTo>
                      <a:pt x="3810" y="231458"/>
                    </a:lnTo>
                    <a:lnTo>
                      <a:pt x="1905" y="220027"/>
                    </a:lnTo>
                    <a:lnTo>
                      <a:pt x="953" y="208597"/>
                    </a:lnTo>
                    <a:lnTo>
                      <a:pt x="0" y="196215"/>
                    </a:lnTo>
                    <a:lnTo>
                      <a:pt x="0" y="185738"/>
                    </a:lnTo>
                    <a:lnTo>
                      <a:pt x="2857" y="185738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4251F6DC-724D-0C61-F438-244AECDB25A5}"/>
                  </a:ext>
                </a:extLst>
              </p:cNvPr>
              <p:cNvSpPr/>
              <p:nvPr/>
            </p:nvSpPr>
            <p:spPr>
              <a:xfrm>
                <a:off x="11304904" y="4807356"/>
                <a:ext cx="290512" cy="369569"/>
              </a:xfrm>
              <a:custGeom>
                <a:avLst/>
                <a:gdLst>
                  <a:gd name="connsiteX0" fmla="*/ 2857 w 290512"/>
                  <a:gd name="connsiteY0" fmla="*/ 369570 h 369569"/>
                  <a:gd name="connsiteX1" fmla="*/ 2857 w 290512"/>
                  <a:gd name="connsiteY1" fmla="*/ 65723 h 369569"/>
                  <a:gd name="connsiteX2" fmla="*/ 2857 w 290512"/>
                  <a:gd name="connsiteY2" fmla="*/ 56198 h 369569"/>
                  <a:gd name="connsiteX3" fmla="*/ 2857 w 290512"/>
                  <a:gd name="connsiteY3" fmla="*/ 47625 h 369569"/>
                  <a:gd name="connsiteX4" fmla="*/ 2857 w 290512"/>
                  <a:gd name="connsiteY4" fmla="*/ 39052 h 369569"/>
                  <a:gd name="connsiteX5" fmla="*/ 1905 w 290512"/>
                  <a:gd name="connsiteY5" fmla="*/ 31433 h 369569"/>
                  <a:gd name="connsiteX6" fmla="*/ 1905 w 290512"/>
                  <a:gd name="connsiteY6" fmla="*/ 23813 h 369569"/>
                  <a:gd name="connsiteX7" fmla="*/ 952 w 290512"/>
                  <a:gd name="connsiteY7" fmla="*/ 17145 h 369569"/>
                  <a:gd name="connsiteX8" fmla="*/ 0 w 290512"/>
                  <a:gd name="connsiteY8" fmla="*/ 11430 h 369569"/>
                  <a:gd name="connsiteX9" fmla="*/ 0 w 290512"/>
                  <a:gd name="connsiteY9" fmla="*/ 5715 h 369569"/>
                  <a:gd name="connsiteX10" fmla="*/ 81915 w 290512"/>
                  <a:gd name="connsiteY10" fmla="*/ 5715 h 369569"/>
                  <a:gd name="connsiteX11" fmla="*/ 81915 w 290512"/>
                  <a:gd name="connsiteY11" fmla="*/ 11430 h 369569"/>
                  <a:gd name="connsiteX12" fmla="*/ 81915 w 290512"/>
                  <a:gd name="connsiteY12" fmla="*/ 17145 h 369569"/>
                  <a:gd name="connsiteX13" fmla="*/ 82868 w 290512"/>
                  <a:gd name="connsiteY13" fmla="*/ 23813 h 369569"/>
                  <a:gd name="connsiteX14" fmla="*/ 82868 w 290512"/>
                  <a:gd name="connsiteY14" fmla="*/ 31433 h 369569"/>
                  <a:gd name="connsiteX15" fmla="*/ 83820 w 290512"/>
                  <a:gd name="connsiteY15" fmla="*/ 39052 h 369569"/>
                  <a:gd name="connsiteX16" fmla="*/ 83820 w 290512"/>
                  <a:gd name="connsiteY16" fmla="*/ 46673 h 369569"/>
                  <a:gd name="connsiteX17" fmla="*/ 83820 w 290512"/>
                  <a:gd name="connsiteY17" fmla="*/ 54293 h 369569"/>
                  <a:gd name="connsiteX18" fmla="*/ 83820 w 290512"/>
                  <a:gd name="connsiteY18" fmla="*/ 60960 h 369569"/>
                  <a:gd name="connsiteX19" fmla="*/ 86677 w 290512"/>
                  <a:gd name="connsiteY19" fmla="*/ 60960 h 369569"/>
                  <a:gd name="connsiteX20" fmla="*/ 85725 w 290512"/>
                  <a:gd name="connsiteY20" fmla="*/ 60960 h 369569"/>
                  <a:gd name="connsiteX21" fmla="*/ 89535 w 290512"/>
                  <a:gd name="connsiteY21" fmla="*/ 55245 h 369569"/>
                  <a:gd name="connsiteX22" fmla="*/ 93345 w 290512"/>
                  <a:gd name="connsiteY22" fmla="*/ 48577 h 369569"/>
                  <a:gd name="connsiteX23" fmla="*/ 98107 w 290512"/>
                  <a:gd name="connsiteY23" fmla="*/ 42863 h 369569"/>
                  <a:gd name="connsiteX24" fmla="*/ 102870 w 290512"/>
                  <a:gd name="connsiteY24" fmla="*/ 37148 h 369569"/>
                  <a:gd name="connsiteX25" fmla="*/ 107632 w 290512"/>
                  <a:gd name="connsiteY25" fmla="*/ 32385 h 369569"/>
                  <a:gd name="connsiteX26" fmla="*/ 111443 w 290512"/>
                  <a:gd name="connsiteY26" fmla="*/ 26670 h 369569"/>
                  <a:gd name="connsiteX27" fmla="*/ 117157 w 290512"/>
                  <a:gd name="connsiteY27" fmla="*/ 21908 h 369569"/>
                  <a:gd name="connsiteX28" fmla="*/ 122872 w 290512"/>
                  <a:gd name="connsiteY28" fmla="*/ 18098 h 369569"/>
                  <a:gd name="connsiteX29" fmla="*/ 125730 w 290512"/>
                  <a:gd name="connsiteY29" fmla="*/ 15240 h 369569"/>
                  <a:gd name="connsiteX30" fmla="*/ 128588 w 290512"/>
                  <a:gd name="connsiteY30" fmla="*/ 13335 h 369569"/>
                  <a:gd name="connsiteX31" fmla="*/ 131445 w 290512"/>
                  <a:gd name="connsiteY31" fmla="*/ 11430 h 369569"/>
                  <a:gd name="connsiteX32" fmla="*/ 134302 w 290512"/>
                  <a:gd name="connsiteY32" fmla="*/ 9525 h 369569"/>
                  <a:gd name="connsiteX33" fmla="*/ 137160 w 290512"/>
                  <a:gd name="connsiteY33" fmla="*/ 8573 h 369569"/>
                  <a:gd name="connsiteX34" fmla="*/ 140970 w 290512"/>
                  <a:gd name="connsiteY34" fmla="*/ 6668 h 369569"/>
                  <a:gd name="connsiteX35" fmla="*/ 144780 w 290512"/>
                  <a:gd name="connsiteY35" fmla="*/ 5715 h 369569"/>
                  <a:gd name="connsiteX36" fmla="*/ 148590 w 290512"/>
                  <a:gd name="connsiteY36" fmla="*/ 4763 h 369569"/>
                  <a:gd name="connsiteX37" fmla="*/ 156210 w 290512"/>
                  <a:gd name="connsiteY37" fmla="*/ 2858 h 369569"/>
                  <a:gd name="connsiteX38" fmla="*/ 164782 w 290512"/>
                  <a:gd name="connsiteY38" fmla="*/ 952 h 369569"/>
                  <a:gd name="connsiteX39" fmla="*/ 173355 w 290512"/>
                  <a:gd name="connsiteY39" fmla="*/ 0 h 369569"/>
                  <a:gd name="connsiteX40" fmla="*/ 182880 w 290512"/>
                  <a:gd name="connsiteY40" fmla="*/ 0 h 369569"/>
                  <a:gd name="connsiteX41" fmla="*/ 192405 w 290512"/>
                  <a:gd name="connsiteY41" fmla="*/ 0 h 369569"/>
                  <a:gd name="connsiteX42" fmla="*/ 200977 w 290512"/>
                  <a:gd name="connsiteY42" fmla="*/ 952 h 369569"/>
                  <a:gd name="connsiteX43" fmla="*/ 210502 w 290512"/>
                  <a:gd name="connsiteY43" fmla="*/ 2858 h 369569"/>
                  <a:gd name="connsiteX44" fmla="*/ 218122 w 290512"/>
                  <a:gd name="connsiteY44" fmla="*/ 4763 h 369569"/>
                  <a:gd name="connsiteX45" fmla="*/ 225743 w 290512"/>
                  <a:gd name="connsiteY45" fmla="*/ 6668 h 369569"/>
                  <a:gd name="connsiteX46" fmla="*/ 233363 w 290512"/>
                  <a:gd name="connsiteY46" fmla="*/ 9525 h 369569"/>
                  <a:gd name="connsiteX47" fmla="*/ 236220 w 290512"/>
                  <a:gd name="connsiteY47" fmla="*/ 11430 h 369569"/>
                  <a:gd name="connsiteX48" fmla="*/ 240030 w 290512"/>
                  <a:gd name="connsiteY48" fmla="*/ 13335 h 369569"/>
                  <a:gd name="connsiteX49" fmla="*/ 242888 w 290512"/>
                  <a:gd name="connsiteY49" fmla="*/ 15240 h 369569"/>
                  <a:gd name="connsiteX50" fmla="*/ 245745 w 290512"/>
                  <a:gd name="connsiteY50" fmla="*/ 18098 h 369569"/>
                  <a:gd name="connsiteX51" fmla="*/ 251460 w 290512"/>
                  <a:gd name="connsiteY51" fmla="*/ 21908 h 369569"/>
                  <a:gd name="connsiteX52" fmla="*/ 257175 w 290512"/>
                  <a:gd name="connsiteY52" fmla="*/ 26670 h 369569"/>
                  <a:gd name="connsiteX53" fmla="*/ 261938 w 290512"/>
                  <a:gd name="connsiteY53" fmla="*/ 32385 h 369569"/>
                  <a:gd name="connsiteX54" fmla="*/ 266700 w 290512"/>
                  <a:gd name="connsiteY54" fmla="*/ 38100 h 369569"/>
                  <a:gd name="connsiteX55" fmla="*/ 270510 w 290512"/>
                  <a:gd name="connsiteY55" fmla="*/ 44768 h 369569"/>
                  <a:gd name="connsiteX56" fmla="*/ 274320 w 290512"/>
                  <a:gd name="connsiteY56" fmla="*/ 51435 h 369569"/>
                  <a:gd name="connsiteX57" fmla="*/ 277177 w 290512"/>
                  <a:gd name="connsiteY57" fmla="*/ 58102 h 369569"/>
                  <a:gd name="connsiteX58" fmla="*/ 280035 w 290512"/>
                  <a:gd name="connsiteY58" fmla="*/ 65723 h 369569"/>
                  <a:gd name="connsiteX59" fmla="*/ 282893 w 290512"/>
                  <a:gd name="connsiteY59" fmla="*/ 73343 h 369569"/>
                  <a:gd name="connsiteX60" fmla="*/ 284797 w 290512"/>
                  <a:gd name="connsiteY60" fmla="*/ 80963 h 369569"/>
                  <a:gd name="connsiteX61" fmla="*/ 286702 w 290512"/>
                  <a:gd name="connsiteY61" fmla="*/ 89535 h 369569"/>
                  <a:gd name="connsiteX62" fmla="*/ 287655 w 290512"/>
                  <a:gd name="connsiteY62" fmla="*/ 98108 h 369569"/>
                  <a:gd name="connsiteX63" fmla="*/ 288607 w 290512"/>
                  <a:gd name="connsiteY63" fmla="*/ 106680 h 369569"/>
                  <a:gd name="connsiteX64" fmla="*/ 289560 w 290512"/>
                  <a:gd name="connsiteY64" fmla="*/ 115252 h 369569"/>
                  <a:gd name="connsiteX65" fmla="*/ 290513 w 290512"/>
                  <a:gd name="connsiteY65" fmla="*/ 124777 h 369569"/>
                  <a:gd name="connsiteX66" fmla="*/ 290513 w 290512"/>
                  <a:gd name="connsiteY66" fmla="*/ 134302 h 369569"/>
                  <a:gd name="connsiteX67" fmla="*/ 290513 w 290512"/>
                  <a:gd name="connsiteY67" fmla="*/ 369570 h 369569"/>
                  <a:gd name="connsiteX68" fmla="*/ 202882 w 290512"/>
                  <a:gd name="connsiteY68" fmla="*/ 369570 h 369569"/>
                  <a:gd name="connsiteX69" fmla="*/ 202882 w 290512"/>
                  <a:gd name="connsiteY69" fmla="*/ 151448 h 369569"/>
                  <a:gd name="connsiteX70" fmla="*/ 201930 w 290512"/>
                  <a:gd name="connsiteY70" fmla="*/ 140970 h 369569"/>
                  <a:gd name="connsiteX71" fmla="*/ 201930 w 290512"/>
                  <a:gd name="connsiteY71" fmla="*/ 131445 h 369569"/>
                  <a:gd name="connsiteX72" fmla="*/ 200977 w 290512"/>
                  <a:gd name="connsiteY72" fmla="*/ 122873 h 369569"/>
                  <a:gd name="connsiteX73" fmla="*/ 200025 w 290512"/>
                  <a:gd name="connsiteY73" fmla="*/ 115252 h 369569"/>
                  <a:gd name="connsiteX74" fmla="*/ 198120 w 290512"/>
                  <a:gd name="connsiteY74" fmla="*/ 107633 h 369569"/>
                  <a:gd name="connsiteX75" fmla="*/ 196215 w 290512"/>
                  <a:gd name="connsiteY75" fmla="*/ 101918 h 369569"/>
                  <a:gd name="connsiteX76" fmla="*/ 193357 w 290512"/>
                  <a:gd name="connsiteY76" fmla="*/ 95250 h 369569"/>
                  <a:gd name="connsiteX77" fmla="*/ 190500 w 290512"/>
                  <a:gd name="connsiteY77" fmla="*/ 90488 h 369569"/>
                  <a:gd name="connsiteX78" fmla="*/ 187643 w 290512"/>
                  <a:gd name="connsiteY78" fmla="*/ 86677 h 369569"/>
                  <a:gd name="connsiteX79" fmla="*/ 183832 w 290512"/>
                  <a:gd name="connsiteY79" fmla="*/ 82868 h 369569"/>
                  <a:gd name="connsiteX80" fmla="*/ 181927 w 290512"/>
                  <a:gd name="connsiteY80" fmla="*/ 80963 h 369569"/>
                  <a:gd name="connsiteX81" fmla="*/ 180022 w 290512"/>
                  <a:gd name="connsiteY81" fmla="*/ 80010 h 369569"/>
                  <a:gd name="connsiteX82" fmla="*/ 178118 w 290512"/>
                  <a:gd name="connsiteY82" fmla="*/ 78105 h 369569"/>
                  <a:gd name="connsiteX83" fmla="*/ 175260 w 290512"/>
                  <a:gd name="connsiteY83" fmla="*/ 77152 h 369569"/>
                  <a:gd name="connsiteX84" fmla="*/ 170497 w 290512"/>
                  <a:gd name="connsiteY84" fmla="*/ 75248 h 369569"/>
                  <a:gd name="connsiteX85" fmla="*/ 164782 w 290512"/>
                  <a:gd name="connsiteY85" fmla="*/ 74295 h 369569"/>
                  <a:gd name="connsiteX86" fmla="*/ 159068 w 290512"/>
                  <a:gd name="connsiteY86" fmla="*/ 72390 h 369569"/>
                  <a:gd name="connsiteX87" fmla="*/ 152400 w 290512"/>
                  <a:gd name="connsiteY87" fmla="*/ 72390 h 369569"/>
                  <a:gd name="connsiteX88" fmla="*/ 148590 w 290512"/>
                  <a:gd name="connsiteY88" fmla="*/ 72390 h 369569"/>
                  <a:gd name="connsiteX89" fmla="*/ 144780 w 290512"/>
                  <a:gd name="connsiteY89" fmla="*/ 72390 h 369569"/>
                  <a:gd name="connsiteX90" fmla="*/ 140970 w 290512"/>
                  <a:gd name="connsiteY90" fmla="*/ 73343 h 369569"/>
                  <a:gd name="connsiteX91" fmla="*/ 137160 w 290512"/>
                  <a:gd name="connsiteY91" fmla="*/ 74295 h 369569"/>
                  <a:gd name="connsiteX92" fmla="*/ 134302 w 290512"/>
                  <a:gd name="connsiteY92" fmla="*/ 75248 h 369569"/>
                  <a:gd name="connsiteX93" fmla="*/ 130493 w 290512"/>
                  <a:gd name="connsiteY93" fmla="*/ 76200 h 369569"/>
                  <a:gd name="connsiteX94" fmla="*/ 127635 w 290512"/>
                  <a:gd name="connsiteY94" fmla="*/ 77152 h 369569"/>
                  <a:gd name="connsiteX95" fmla="*/ 124777 w 290512"/>
                  <a:gd name="connsiteY95" fmla="*/ 78105 h 369569"/>
                  <a:gd name="connsiteX96" fmla="*/ 121920 w 290512"/>
                  <a:gd name="connsiteY96" fmla="*/ 80010 h 369569"/>
                  <a:gd name="connsiteX97" fmla="*/ 119063 w 290512"/>
                  <a:gd name="connsiteY97" fmla="*/ 81915 h 369569"/>
                  <a:gd name="connsiteX98" fmla="*/ 116205 w 290512"/>
                  <a:gd name="connsiteY98" fmla="*/ 83820 h 369569"/>
                  <a:gd name="connsiteX99" fmla="*/ 114300 w 290512"/>
                  <a:gd name="connsiteY99" fmla="*/ 85725 h 369569"/>
                  <a:gd name="connsiteX100" fmla="*/ 111443 w 290512"/>
                  <a:gd name="connsiteY100" fmla="*/ 88583 h 369569"/>
                  <a:gd name="connsiteX101" fmla="*/ 109538 w 290512"/>
                  <a:gd name="connsiteY101" fmla="*/ 90488 h 369569"/>
                  <a:gd name="connsiteX102" fmla="*/ 107632 w 290512"/>
                  <a:gd name="connsiteY102" fmla="*/ 93345 h 369569"/>
                  <a:gd name="connsiteX103" fmla="*/ 105727 w 290512"/>
                  <a:gd name="connsiteY103" fmla="*/ 96202 h 369569"/>
                  <a:gd name="connsiteX104" fmla="*/ 101918 w 290512"/>
                  <a:gd name="connsiteY104" fmla="*/ 101918 h 369569"/>
                  <a:gd name="connsiteX105" fmla="*/ 99060 w 290512"/>
                  <a:gd name="connsiteY105" fmla="*/ 108585 h 369569"/>
                  <a:gd name="connsiteX106" fmla="*/ 96202 w 290512"/>
                  <a:gd name="connsiteY106" fmla="*/ 116205 h 369569"/>
                  <a:gd name="connsiteX107" fmla="*/ 94297 w 290512"/>
                  <a:gd name="connsiteY107" fmla="*/ 122873 h 369569"/>
                  <a:gd name="connsiteX108" fmla="*/ 92393 w 290512"/>
                  <a:gd name="connsiteY108" fmla="*/ 131445 h 369569"/>
                  <a:gd name="connsiteX109" fmla="*/ 91440 w 290512"/>
                  <a:gd name="connsiteY109" fmla="*/ 140018 h 369569"/>
                  <a:gd name="connsiteX110" fmla="*/ 90488 w 290512"/>
                  <a:gd name="connsiteY110" fmla="*/ 148590 h 369569"/>
                  <a:gd name="connsiteX111" fmla="*/ 90488 w 290512"/>
                  <a:gd name="connsiteY111" fmla="*/ 158115 h 369569"/>
                  <a:gd name="connsiteX112" fmla="*/ 90488 w 290512"/>
                  <a:gd name="connsiteY112" fmla="*/ 369570 h 369569"/>
                  <a:gd name="connsiteX113" fmla="*/ 2857 w 290512"/>
                  <a:gd name="connsiteY113" fmla="*/ 369570 h 369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</a:cxnLst>
                <a:rect l="l" t="t" r="r" b="b"/>
                <a:pathLst>
                  <a:path w="290512" h="369569">
                    <a:moveTo>
                      <a:pt x="2857" y="369570"/>
                    </a:moveTo>
                    <a:lnTo>
                      <a:pt x="2857" y="65723"/>
                    </a:lnTo>
                    <a:lnTo>
                      <a:pt x="2857" y="56198"/>
                    </a:lnTo>
                    <a:lnTo>
                      <a:pt x="2857" y="47625"/>
                    </a:lnTo>
                    <a:lnTo>
                      <a:pt x="2857" y="39052"/>
                    </a:lnTo>
                    <a:lnTo>
                      <a:pt x="1905" y="31433"/>
                    </a:lnTo>
                    <a:lnTo>
                      <a:pt x="1905" y="23813"/>
                    </a:lnTo>
                    <a:lnTo>
                      <a:pt x="952" y="17145"/>
                    </a:lnTo>
                    <a:lnTo>
                      <a:pt x="0" y="11430"/>
                    </a:lnTo>
                    <a:lnTo>
                      <a:pt x="0" y="5715"/>
                    </a:lnTo>
                    <a:lnTo>
                      <a:pt x="81915" y="5715"/>
                    </a:lnTo>
                    <a:lnTo>
                      <a:pt x="81915" y="11430"/>
                    </a:lnTo>
                    <a:lnTo>
                      <a:pt x="81915" y="17145"/>
                    </a:lnTo>
                    <a:lnTo>
                      <a:pt x="82868" y="23813"/>
                    </a:lnTo>
                    <a:lnTo>
                      <a:pt x="82868" y="31433"/>
                    </a:lnTo>
                    <a:lnTo>
                      <a:pt x="83820" y="39052"/>
                    </a:lnTo>
                    <a:lnTo>
                      <a:pt x="83820" y="46673"/>
                    </a:lnTo>
                    <a:lnTo>
                      <a:pt x="83820" y="54293"/>
                    </a:lnTo>
                    <a:lnTo>
                      <a:pt x="83820" y="60960"/>
                    </a:lnTo>
                    <a:lnTo>
                      <a:pt x="86677" y="60960"/>
                    </a:lnTo>
                    <a:lnTo>
                      <a:pt x="85725" y="60960"/>
                    </a:lnTo>
                    <a:lnTo>
                      <a:pt x="89535" y="55245"/>
                    </a:lnTo>
                    <a:lnTo>
                      <a:pt x="93345" y="48577"/>
                    </a:lnTo>
                    <a:lnTo>
                      <a:pt x="98107" y="42863"/>
                    </a:lnTo>
                    <a:lnTo>
                      <a:pt x="102870" y="37148"/>
                    </a:lnTo>
                    <a:lnTo>
                      <a:pt x="107632" y="32385"/>
                    </a:lnTo>
                    <a:lnTo>
                      <a:pt x="111443" y="26670"/>
                    </a:lnTo>
                    <a:lnTo>
                      <a:pt x="117157" y="21908"/>
                    </a:lnTo>
                    <a:lnTo>
                      <a:pt x="122872" y="18098"/>
                    </a:lnTo>
                    <a:lnTo>
                      <a:pt x="125730" y="15240"/>
                    </a:lnTo>
                    <a:lnTo>
                      <a:pt x="128588" y="13335"/>
                    </a:lnTo>
                    <a:lnTo>
                      <a:pt x="131445" y="11430"/>
                    </a:lnTo>
                    <a:lnTo>
                      <a:pt x="134302" y="9525"/>
                    </a:lnTo>
                    <a:lnTo>
                      <a:pt x="137160" y="8573"/>
                    </a:lnTo>
                    <a:lnTo>
                      <a:pt x="140970" y="6668"/>
                    </a:lnTo>
                    <a:lnTo>
                      <a:pt x="144780" y="5715"/>
                    </a:lnTo>
                    <a:lnTo>
                      <a:pt x="148590" y="4763"/>
                    </a:lnTo>
                    <a:lnTo>
                      <a:pt x="156210" y="2858"/>
                    </a:lnTo>
                    <a:lnTo>
                      <a:pt x="164782" y="952"/>
                    </a:lnTo>
                    <a:lnTo>
                      <a:pt x="173355" y="0"/>
                    </a:lnTo>
                    <a:lnTo>
                      <a:pt x="182880" y="0"/>
                    </a:lnTo>
                    <a:lnTo>
                      <a:pt x="192405" y="0"/>
                    </a:lnTo>
                    <a:lnTo>
                      <a:pt x="200977" y="952"/>
                    </a:lnTo>
                    <a:lnTo>
                      <a:pt x="210502" y="2858"/>
                    </a:lnTo>
                    <a:lnTo>
                      <a:pt x="218122" y="4763"/>
                    </a:lnTo>
                    <a:lnTo>
                      <a:pt x="225743" y="6668"/>
                    </a:lnTo>
                    <a:lnTo>
                      <a:pt x="233363" y="9525"/>
                    </a:lnTo>
                    <a:lnTo>
                      <a:pt x="236220" y="11430"/>
                    </a:lnTo>
                    <a:lnTo>
                      <a:pt x="240030" y="13335"/>
                    </a:lnTo>
                    <a:lnTo>
                      <a:pt x="242888" y="15240"/>
                    </a:lnTo>
                    <a:lnTo>
                      <a:pt x="245745" y="18098"/>
                    </a:lnTo>
                    <a:lnTo>
                      <a:pt x="251460" y="21908"/>
                    </a:lnTo>
                    <a:lnTo>
                      <a:pt x="257175" y="26670"/>
                    </a:lnTo>
                    <a:lnTo>
                      <a:pt x="261938" y="32385"/>
                    </a:lnTo>
                    <a:lnTo>
                      <a:pt x="266700" y="38100"/>
                    </a:lnTo>
                    <a:lnTo>
                      <a:pt x="270510" y="44768"/>
                    </a:lnTo>
                    <a:lnTo>
                      <a:pt x="274320" y="51435"/>
                    </a:lnTo>
                    <a:lnTo>
                      <a:pt x="277177" y="58102"/>
                    </a:lnTo>
                    <a:lnTo>
                      <a:pt x="280035" y="65723"/>
                    </a:lnTo>
                    <a:lnTo>
                      <a:pt x="282893" y="73343"/>
                    </a:lnTo>
                    <a:lnTo>
                      <a:pt x="284797" y="80963"/>
                    </a:lnTo>
                    <a:lnTo>
                      <a:pt x="286702" y="89535"/>
                    </a:lnTo>
                    <a:lnTo>
                      <a:pt x="287655" y="98108"/>
                    </a:lnTo>
                    <a:lnTo>
                      <a:pt x="288607" y="106680"/>
                    </a:lnTo>
                    <a:lnTo>
                      <a:pt x="289560" y="115252"/>
                    </a:lnTo>
                    <a:lnTo>
                      <a:pt x="290513" y="124777"/>
                    </a:lnTo>
                    <a:lnTo>
                      <a:pt x="290513" y="134302"/>
                    </a:lnTo>
                    <a:lnTo>
                      <a:pt x="290513" y="369570"/>
                    </a:lnTo>
                    <a:lnTo>
                      <a:pt x="202882" y="369570"/>
                    </a:lnTo>
                    <a:lnTo>
                      <a:pt x="202882" y="151448"/>
                    </a:lnTo>
                    <a:lnTo>
                      <a:pt x="201930" y="140970"/>
                    </a:lnTo>
                    <a:lnTo>
                      <a:pt x="201930" y="131445"/>
                    </a:lnTo>
                    <a:lnTo>
                      <a:pt x="200977" y="122873"/>
                    </a:lnTo>
                    <a:lnTo>
                      <a:pt x="200025" y="115252"/>
                    </a:lnTo>
                    <a:lnTo>
                      <a:pt x="198120" y="107633"/>
                    </a:lnTo>
                    <a:lnTo>
                      <a:pt x="196215" y="101918"/>
                    </a:lnTo>
                    <a:lnTo>
                      <a:pt x="193357" y="95250"/>
                    </a:lnTo>
                    <a:lnTo>
                      <a:pt x="190500" y="90488"/>
                    </a:lnTo>
                    <a:lnTo>
                      <a:pt x="187643" y="86677"/>
                    </a:lnTo>
                    <a:lnTo>
                      <a:pt x="183832" y="82868"/>
                    </a:lnTo>
                    <a:lnTo>
                      <a:pt x="181927" y="80963"/>
                    </a:lnTo>
                    <a:lnTo>
                      <a:pt x="180022" y="80010"/>
                    </a:lnTo>
                    <a:lnTo>
                      <a:pt x="178118" y="78105"/>
                    </a:lnTo>
                    <a:lnTo>
                      <a:pt x="175260" y="77152"/>
                    </a:lnTo>
                    <a:lnTo>
                      <a:pt x="170497" y="75248"/>
                    </a:lnTo>
                    <a:lnTo>
                      <a:pt x="164782" y="74295"/>
                    </a:lnTo>
                    <a:lnTo>
                      <a:pt x="159068" y="72390"/>
                    </a:lnTo>
                    <a:lnTo>
                      <a:pt x="152400" y="72390"/>
                    </a:lnTo>
                    <a:lnTo>
                      <a:pt x="148590" y="72390"/>
                    </a:lnTo>
                    <a:lnTo>
                      <a:pt x="144780" y="72390"/>
                    </a:lnTo>
                    <a:lnTo>
                      <a:pt x="140970" y="73343"/>
                    </a:lnTo>
                    <a:lnTo>
                      <a:pt x="137160" y="74295"/>
                    </a:lnTo>
                    <a:lnTo>
                      <a:pt x="134302" y="75248"/>
                    </a:lnTo>
                    <a:lnTo>
                      <a:pt x="130493" y="76200"/>
                    </a:lnTo>
                    <a:lnTo>
                      <a:pt x="127635" y="77152"/>
                    </a:lnTo>
                    <a:lnTo>
                      <a:pt x="124777" y="78105"/>
                    </a:lnTo>
                    <a:lnTo>
                      <a:pt x="121920" y="80010"/>
                    </a:lnTo>
                    <a:lnTo>
                      <a:pt x="119063" y="81915"/>
                    </a:lnTo>
                    <a:lnTo>
                      <a:pt x="116205" y="83820"/>
                    </a:lnTo>
                    <a:lnTo>
                      <a:pt x="114300" y="85725"/>
                    </a:lnTo>
                    <a:lnTo>
                      <a:pt x="111443" y="88583"/>
                    </a:lnTo>
                    <a:lnTo>
                      <a:pt x="109538" y="90488"/>
                    </a:lnTo>
                    <a:lnTo>
                      <a:pt x="107632" y="93345"/>
                    </a:lnTo>
                    <a:lnTo>
                      <a:pt x="105727" y="96202"/>
                    </a:lnTo>
                    <a:lnTo>
                      <a:pt x="101918" y="101918"/>
                    </a:lnTo>
                    <a:lnTo>
                      <a:pt x="99060" y="108585"/>
                    </a:lnTo>
                    <a:lnTo>
                      <a:pt x="96202" y="116205"/>
                    </a:lnTo>
                    <a:lnTo>
                      <a:pt x="94297" y="122873"/>
                    </a:lnTo>
                    <a:lnTo>
                      <a:pt x="92393" y="131445"/>
                    </a:lnTo>
                    <a:lnTo>
                      <a:pt x="91440" y="140018"/>
                    </a:lnTo>
                    <a:lnTo>
                      <a:pt x="90488" y="148590"/>
                    </a:lnTo>
                    <a:lnTo>
                      <a:pt x="90488" y="158115"/>
                    </a:lnTo>
                    <a:lnTo>
                      <a:pt x="90488" y="369570"/>
                    </a:lnTo>
                    <a:lnTo>
                      <a:pt x="2857" y="36957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DF5D2985-9E79-9F30-9507-8833B5D12B8A}"/>
                  </a:ext>
                </a:extLst>
              </p:cNvPr>
              <p:cNvSpPr/>
              <p:nvPr/>
            </p:nvSpPr>
            <p:spPr>
              <a:xfrm>
                <a:off x="5973762" y="3782467"/>
                <a:ext cx="1969770" cy="1744979"/>
              </a:xfrm>
              <a:custGeom>
                <a:avLst/>
                <a:gdLst>
                  <a:gd name="connsiteX0" fmla="*/ 327660 w 1969770"/>
                  <a:gd name="connsiteY0" fmla="*/ 811530 h 1744979"/>
                  <a:gd name="connsiteX1" fmla="*/ 433388 w 1969770"/>
                  <a:gd name="connsiteY1" fmla="*/ 811530 h 1744979"/>
                  <a:gd name="connsiteX2" fmla="*/ 438150 w 1969770"/>
                  <a:gd name="connsiteY2" fmla="*/ 798195 h 1744979"/>
                  <a:gd name="connsiteX3" fmla="*/ 439103 w 1969770"/>
                  <a:gd name="connsiteY3" fmla="*/ 784860 h 1744979"/>
                  <a:gd name="connsiteX4" fmla="*/ 440055 w 1969770"/>
                  <a:gd name="connsiteY4" fmla="*/ 771525 h 1744979"/>
                  <a:gd name="connsiteX5" fmla="*/ 441008 w 1969770"/>
                  <a:gd name="connsiteY5" fmla="*/ 758190 h 1744979"/>
                  <a:gd name="connsiteX6" fmla="*/ 442913 w 1969770"/>
                  <a:gd name="connsiteY6" fmla="*/ 744855 h 1744979"/>
                  <a:gd name="connsiteX7" fmla="*/ 444818 w 1969770"/>
                  <a:gd name="connsiteY7" fmla="*/ 732473 h 1744979"/>
                  <a:gd name="connsiteX8" fmla="*/ 447675 w 1969770"/>
                  <a:gd name="connsiteY8" fmla="*/ 719138 h 1744979"/>
                  <a:gd name="connsiteX9" fmla="*/ 450533 w 1969770"/>
                  <a:gd name="connsiteY9" fmla="*/ 706755 h 1744979"/>
                  <a:gd name="connsiteX10" fmla="*/ 453390 w 1969770"/>
                  <a:gd name="connsiteY10" fmla="*/ 694373 h 1744979"/>
                  <a:gd name="connsiteX11" fmla="*/ 456248 w 1969770"/>
                  <a:gd name="connsiteY11" fmla="*/ 681990 h 1744979"/>
                  <a:gd name="connsiteX12" fmla="*/ 459105 w 1969770"/>
                  <a:gd name="connsiteY12" fmla="*/ 669608 h 1744979"/>
                  <a:gd name="connsiteX13" fmla="*/ 466725 w 1969770"/>
                  <a:gd name="connsiteY13" fmla="*/ 644843 h 1744979"/>
                  <a:gd name="connsiteX14" fmla="*/ 471488 w 1969770"/>
                  <a:gd name="connsiteY14" fmla="*/ 632460 h 1744979"/>
                  <a:gd name="connsiteX15" fmla="*/ 476250 w 1969770"/>
                  <a:gd name="connsiteY15" fmla="*/ 620078 h 1744979"/>
                  <a:gd name="connsiteX16" fmla="*/ 481013 w 1969770"/>
                  <a:gd name="connsiteY16" fmla="*/ 608648 h 1744979"/>
                  <a:gd name="connsiteX17" fmla="*/ 486728 w 1969770"/>
                  <a:gd name="connsiteY17" fmla="*/ 597218 h 1744979"/>
                  <a:gd name="connsiteX18" fmla="*/ 492443 w 1969770"/>
                  <a:gd name="connsiteY18" fmla="*/ 585788 h 1744979"/>
                  <a:gd name="connsiteX19" fmla="*/ 498158 w 1969770"/>
                  <a:gd name="connsiteY19" fmla="*/ 574358 h 1744979"/>
                  <a:gd name="connsiteX20" fmla="*/ 503873 w 1969770"/>
                  <a:gd name="connsiteY20" fmla="*/ 562928 h 1744979"/>
                  <a:gd name="connsiteX21" fmla="*/ 510540 w 1969770"/>
                  <a:gd name="connsiteY21" fmla="*/ 551498 h 1744979"/>
                  <a:gd name="connsiteX22" fmla="*/ 517208 w 1969770"/>
                  <a:gd name="connsiteY22" fmla="*/ 541020 h 1744979"/>
                  <a:gd name="connsiteX23" fmla="*/ 523875 w 1969770"/>
                  <a:gd name="connsiteY23" fmla="*/ 530543 h 1744979"/>
                  <a:gd name="connsiteX24" fmla="*/ 530543 w 1969770"/>
                  <a:gd name="connsiteY24" fmla="*/ 520065 h 1744979"/>
                  <a:gd name="connsiteX25" fmla="*/ 537210 w 1969770"/>
                  <a:gd name="connsiteY25" fmla="*/ 509588 h 1744979"/>
                  <a:gd name="connsiteX26" fmla="*/ 544830 w 1969770"/>
                  <a:gd name="connsiteY26" fmla="*/ 499110 h 1744979"/>
                  <a:gd name="connsiteX27" fmla="*/ 552450 w 1969770"/>
                  <a:gd name="connsiteY27" fmla="*/ 489585 h 1744979"/>
                  <a:gd name="connsiteX28" fmla="*/ 560070 w 1969770"/>
                  <a:gd name="connsiteY28" fmla="*/ 479108 h 1744979"/>
                  <a:gd name="connsiteX29" fmla="*/ 567690 w 1969770"/>
                  <a:gd name="connsiteY29" fmla="*/ 469583 h 1744979"/>
                  <a:gd name="connsiteX30" fmla="*/ 575310 w 1969770"/>
                  <a:gd name="connsiteY30" fmla="*/ 460058 h 1744979"/>
                  <a:gd name="connsiteX31" fmla="*/ 583883 w 1969770"/>
                  <a:gd name="connsiteY31" fmla="*/ 450533 h 1744979"/>
                  <a:gd name="connsiteX32" fmla="*/ 592455 w 1969770"/>
                  <a:gd name="connsiteY32" fmla="*/ 441008 h 1744979"/>
                  <a:gd name="connsiteX33" fmla="*/ 514350 w 1969770"/>
                  <a:gd name="connsiteY33" fmla="*/ 362903 h 1744979"/>
                  <a:gd name="connsiteX34" fmla="*/ 503873 w 1969770"/>
                  <a:gd name="connsiteY34" fmla="*/ 373380 h 1744979"/>
                  <a:gd name="connsiteX35" fmla="*/ 493395 w 1969770"/>
                  <a:gd name="connsiteY35" fmla="*/ 384810 h 1744979"/>
                  <a:gd name="connsiteX36" fmla="*/ 483870 w 1969770"/>
                  <a:gd name="connsiteY36" fmla="*/ 396240 h 1744979"/>
                  <a:gd name="connsiteX37" fmla="*/ 474345 w 1969770"/>
                  <a:gd name="connsiteY37" fmla="*/ 407670 h 1744979"/>
                  <a:gd name="connsiteX38" fmla="*/ 464820 w 1969770"/>
                  <a:gd name="connsiteY38" fmla="*/ 420053 h 1744979"/>
                  <a:gd name="connsiteX39" fmla="*/ 455295 w 1969770"/>
                  <a:gd name="connsiteY39" fmla="*/ 432435 h 1744979"/>
                  <a:gd name="connsiteX40" fmla="*/ 446723 w 1969770"/>
                  <a:gd name="connsiteY40" fmla="*/ 444818 h 1744979"/>
                  <a:gd name="connsiteX41" fmla="*/ 438150 w 1969770"/>
                  <a:gd name="connsiteY41" fmla="*/ 457200 h 1744979"/>
                  <a:gd name="connsiteX42" fmla="*/ 428625 w 1969770"/>
                  <a:gd name="connsiteY42" fmla="*/ 471488 h 1744979"/>
                  <a:gd name="connsiteX43" fmla="*/ 421005 w 1969770"/>
                  <a:gd name="connsiteY43" fmla="*/ 484823 h 1744979"/>
                  <a:gd name="connsiteX44" fmla="*/ 413385 w 1969770"/>
                  <a:gd name="connsiteY44" fmla="*/ 498158 h 1744979"/>
                  <a:gd name="connsiteX45" fmla="*/ 405765 w 1969770"/>
                  <a:gd name="connsiteY45" fmla="*/ 511493 h 1744979"/>
                  <a:gd name="connsiteX46" fmla="*/ 399098 w 1969770"/>
                  <a:gd name="connsiteY46" fmla="*/ 524828 h 1744979"/>
                  <a:gd name="connsiteX47" fmla="*/ 392430 w 1969770"/>
                  <a:gd name="connsiteY47" fmla="*/ 538163 h 1744979"/>
                  <a:gd name="connsiteX48" fmla="*/ 384810 w 1969770"/>
                  <a:gd name="connsiteY48" fmla="*/ 552450 h 1744979"/>
                  <a:gd name="connsiteX49" fmla="*/ 379095 w 1969770"/>
                  <a:gd name="connsiteY49" fmla="*/ 566738 h 1744979"/>
                  <a:gd name="connsiteX50" fmla="*/ 373380 w 1969770"/>
                  <a:gd name="connsiteY50" fmla="*/ 581025 h 1744979"/>
                  <a:gd name="connsiteX51" fmla="*/ 367665 w 1969770"/>
                  <a:gd name="connsiteY51" fmla="*/ 595313 h 1744979"/>
                  <a:gd name="connsiteX52" fmla="*/ 361950 w 1969770"/>
                  <a:gd name="connsiteY52" fmla="*/ 609600 h 1744979"/>
                  <a:gd name="connsiteX53" fmla="*/ 357188 w 1969770"/>
                  <a:gd name="connsiteY53" fmla="*/ 623888 h 1744979"/>
                  <a:gd name="connsiteX54" fmla="*/ 352425 w 1969770"/>
                  <a:gd name="connsiteY54" fmla="*/ 639128 h 1744979"/>
                  <a:gd name="connsiteX55" fmla="*/ 348615 w 1969770"/>
                  <a:gd name="connsiteY55" fmla="*/ 654368 h 1744979"/>
                  <a:gd name="connsiteX56" fmla="*/ 344805 w 1969770"/>
                  <a:gd name="connsiteY56" fmla="*/ 669608 h 1744979"/>
                  <a:gd name="connsiteX57" fmla="*/ 340995 w 1969770"/>
                  <a:gd name="connsiteY57" fmla="*/ 684848 h 1744979"/>
                  <a:gd name="connsiteX58" fmla="*/ 338138 w 1969770"/>
                  <a:gd name="connsiteY58" fmla="*/ 700088 h 1744979"/>
                  <a:gd name="connsiteX59" fmla="*/ 335280 w 1969770"/>
                  <a:gd name="connsiteY59" fmla="*/ 716280 h 1744979"/>
                  <a:gd name="connsiteX60" fmla="*/ 333375 w 1969770"/>
                  <a:gd name="connsiteY60" fmla="*/ 731520 h 1744979"/>
                  <a:gd name="connsiteX61" fmla="*/ 331470 w 1969770"/>
                  <a:gd name="connsiteY61" fmla="*/ 747713 h 1744979"/>
                  <a:gd name="connsiteX62" fmla="*/ 330518 w 1969770"/>
                  <a:gd name="connsiteY62" fmla="*/ 763905 h 1744979"/>
                  <a:gd name="connsiteX63" fmla="*/ 329565 w 1969770"/>
                  <a:gd name="connsiteY63" fmla="*/ 780098 h 1744979"/>
                  <a:gd name="connsiteX64" fmla="*/ 328613 w 1969770"/>
                  <a:gd name="connsiteY64" fmla="*/ 796290 h 1744979"/>
                  <a:gd name="connsiteX65" fmla="*/ 327660 w 1969770"/>
                  <a:gd name="connsiteY65" fmla="*/ 811530 h 1744979"/>
                  <a:gd name="connsiteX66" fmla="*/ 327660 w 1969770"/>
                  <a:gd name="connsiteY66" fmla="*/ 811530 h 1744979"/>
                  <a:gd name="connsiteX67" fmla="*/ 991553 w 1969770"/>
                  <a:gd name="connsiteY67" fmla="*/ 1088708 h 1744979"/>
                  <a:gd name="connsiteX68" fmla="*/ 974408 w 1969770"/>
                  <a:gd name="connsiteY68" fmla="*/ 1094423 h 1744979"/>
                  <a:gd name="connsiteX69" fmla="*/ 965835 w 1969770"/>
                  <a:gd name="connsiteY69" fmla="*/ 1097280 h 1744979"/>
                  <a:gd name="connsiteX70" fmla="*/ 962978 w 1969770"/>
                  <a:gd name="connsiteY70" fmla="*/ 1100138 h 1744979"/>
                  <a:gd name="connsiteX71" fmla="*/ 965835 w 1969770"/>
                  <a:gd name="connsiteY71" fmla="*/ 1404938 h 1744979"/>
                  <a:gd name="connsiteX72" fmla="*/ 968693 w 1969770"/>
                  <a:gd name="connsiteY72" fmla="*/ 1424940 h 1744979"/>
                  <a:gd name="connsiteX73" fmla="*/ 971550 w 1969770"/>
                  <a:gd name="connsiteY73" fmla="*/ 1439228 h 1744979"/>
                  <a:gd name="connsiteX74" fmla="*/ 977265 w 1969770"/>
                  <a:gd name="connsiteY74" fmla="*/ 1447800 h 1744979"/>
                  <a:gd name="connsiteX75" fmla="*/ 982980 w 1969770"/>
                  <a:gd name="connsiteY75" fmla="*/ 1450658 h 1744979"/>
                  <a:gd name="connsiteX76" fmla="*/ 988695 w 1969770"/>
                  <a:gd name="connsiteY76" fmla="*/ 1447800 h 1744979"/>
                  <a:gd name="connsiteX77" fmla="*/ 994410 w 1969770"/>
                  <a:gd name="connsiteY77" fmla="*/ 1439228 h 1744979"/>
                  <a:gd name="connsiteX78" fmla="*/ 997268 w 1969770"/>
                  <a:gd name="connsiteY78" fmla="*/ 1424940 h 1744979"/>
                  <a:gd name="connsiteX79" fmla="*/ 997268 w 1969770"/>
                  <a:gd name="connsiteY79" fmla="*/ 1404938 h 1744979"/>
                  <a:gd name="connsiteX80" fmla="*/ 1005840 w 1969770"/>
                  <a:gd name="connsiteY80" fmla="*/ 1082993 h 1744979"/>
                  <a:gd name="connsiteX81" fmla="*/ 991553 w 1969770"/>
                  <a:gd name="connsiteY81" fmla="*/ 1088708 h 1744979"/>
                  <a:gd name="connsiteX82" fmla="*/ 991553 w 1969770"/>
                  <a:gd name="connsiteY82" fmla="*/ 1088708 h 1744979"/>
                  <a:gd name="connsiteX83" fmla="*/ 960120 w 1969770"/>
                  <a:gd name="connsiteY83" fmla="*/ 988695 h 1744979"/>
                  <a:gd name="connsiteX84" fmla="*/ 988695 w 1969770"/>
                  <a:gd name="connsiteY84" fmla="*/ 980123 h 1744979"/>
                  <a:gd name="connsiteX85" fmla="*/ 1005840 w 1969770"/>
                  <a:gd name="connsiteY85" fmla="*/ 974408 h 1744979"/>
                  <a:gd name="connsiteX86" fmla="*/ 1014413 w 1969770"/>
                  <a:gd name="connsiteY86" fmla="*/ 649605 h 1744979"/>
                  <a:gd name="connsiteX87" fmla="*/ 980123 w 1969770"/>
                  <a:gd name="connsiteY87" fmla="*/ 658178 h 1744979"/>
                  <a:gd name="connsiteX88" fmla="*/ 954405 w 1969770"/>
                  <a:gd name="connsiteY88" fmla="*/ 666750 h 1744979"/>
                  <a:gd name="connsiteX89" fmla="*/ 960120 w 1969770"/>
                  <a:gd name="connsiteY89" fmla="*/ 988695 h 1744979"/>
                  <a:gd name="connsiteX90" fmla="*/ 960120 w 1969770"/>
                  <a:gd name="connsiteY90" fmla="*/ 988695 h 1744979"/>
                  <a:gd name="connsiteX91" fmla="*/ 381000 w 1969770"/>
                  <a:gd name="connsiteY91" fmla="*/ 301943 h 1744979"/>
                  <a:gd name="connsiteX92" fmla="*/ 392430 w 1969770"/>
                  <a:gd name="connsiteY92" fmla="*/ 283845 h 1744979"/>
                  <a:gd name="connsiteX93" fmla="*/ 404813 w 1969770"/>
                  <a:gd name="connsiteY93" fmla="*/ 264795 h 1744979"/>
                  <a:gd name="connsiteX94" fmla="*/ 418148 w 1969770"/>
                  <a:gd name="connsiteY94" fmla="*/ 245745 h 1744979"/>
                  <a:gd name="connsiteX95" fmla="*/ 431483 w 1969770"/>
                  <a:gd name="connsiteY95" fmla="*/ 226695 h 1744979"/>
                  <a:gd name="connsiteX96" fmla="*/ 444818 w 1969770"/>
                  <a:gd name="connsiteY96" fmla="*/ 208598 h 1744979"/>
                  <a:gd name="connsiteX97" fmla="*/ 457200 w 1969770"/>
                  <a:gd name="connsiteY97" fmla="*/ 192405 h 1744979"/>
                  <a:gd name="connsiteX98" fmla="*/ 462915 w 1969770"/>
                  <a:gd name="connsiteY98" fmla="*/ 185738 h 1744979"/>
                  <a:gd name="connsiteX99" fmla="*/ 468630 w 1969770"/>
                  <a:gd name="connsiteY99" fmla="*/ 179070 h 1744979"/>
                  <a:gd name="connsiteX100" fmla="*/ 474345 w 1969770"/>
                  <a:gd name="connsiteY100" fmla="*/ 173355 h 1744979"/>
                  <a:gd name="connsiteX101" fmla="*/ 479108 w 1969770"/>
                  <a:gd name="connsiteY101" fmla="*/ 168593 h 1744979"/>
                  <a:gd name="connsiteX102" fmla="*/ 466725 w 1969770"/>
                  <a:gd name="connsiteY102" fmla="*/ 170498 h 1744979"/>
                  <a:gd name="connsiteX103" fmla="*/ 454343 w 1969770"/>
                  <a:gd name="connsiteY103" fmla="*/ 174308 h 1744979"/>
                  <a:gd name="connsiteX104" fmla="*/ 442913 w 1969770"/>
                  <a:gd name="connsiteY104" fmla="*/ 178118 h 1744979"/>
                  <a:gd name="connsiteX105" fmla="*/ 431483 w 1969770"/>
                  <a:gd name="connsiteY105" fmla="*/ 181928 h 1744979"/>
                  <a:gd name="connsiteX106" fmla="*/ 420053 w 1969770"/>
                  <a:gd name="connsiteY106" fmla="*/ 186690 h 1744979"/>
                  <a:gd name="connsiteX107" fmla="*/ 409575 w 1969770"/>
                  <a:gd name="connsiteY107" fmla="*/ 192405 h 1744979"/>
                  <a:gd name="connsiteX108" fmla="*/ 399098 w 1969770"/>
                  <a:gd name="connsiteY108" fmla="*/ 198120 h 1744979"/>
                  <a:gd name="connsiteX109" fmla="*/ 388620 w 1969770"/>
                  <a:gd name="connsiteY109" fmla="*/ 203835 h 1744979"/>
                  <a:gd name="connsiteX110" fmla="*/ 378143 w 1969770"/>
                  <a:gd name="connsiteY110" fmla="*/ 210503 h 1744979"/>
                  <a:gd name="connsiteX111" fmla="*/ 368618 w 1969770"/>
                  <a:gd name="connsiteY111" fmla="*/ 217170 h 1744979"/>
                  <a:gd name="connsiteX112" fmla="*/ 359093 w 1969770"/>
                  <a:gd name="connsiteY112" fmla="*/ 223838 h 1744979"/>
                  <a:gd name="connsiteX113" fmla="*/ 349568 w 1969770"/>
                  <a:gd name="connsiteY113" fmla="*/ 231458 h 1744979"/>
                  <a:gd name="connsiteX114" fmla="*/ 340043 w 1969770"/>
                  <a:gd name="connsiteY114" fmla="*/ 239078 h 1744979"/>
                  <a:gd name="connsiteX115" fmla="*/ 330518 w 1969770"/>
                  <a:gd name="connsiteY115" fmla="*/ 246698 h 1744979"/>
                  <a:gd name="connsiteX116" fmla="*/ 321945 w 1969770"/>
                  <a:gd name="connsiteY116" fmla="*/ 257175 h 1744979"/>
                  <a:gd name="connsiteX117" fmla="*/ 313373 w 1969770"/>
                  <a:gd name="connsiteY117" fmla="*/ 265748 h 1744979"/>
                  <a:gd name="connsiteX118" fmla="*/ 305753 w 1969770"/>
                  <a:gd name="connsiteY118" fmla="*/ 275273 h 1744979"/>
                  <a:gd name="connsiteX119" fmla="*/ 298133 w 1969770"/>
                  <a:gd name="connsiteY119" fmla="*/ 284798 h 1744979"/>
                  <a:gd name="connsiteX120" fmla="*/ 290513 w 1969770"/>
                  <a:gd name="connsiteY120" fmla="*/ 294323 h 1744979"/>
                  <a:gd name="connsiteX121" fmla="*/ 283845 w 1969770"/>
                  <a:gd name="connsiteY121" fmla="*/ 304800 h 1744979"/>
                  <a:gd name="connsiteX122" fmla="*/ 277178 w 1969770"/>
                  <a:gd name="connsiteY122" fmla="*/ 314325 h 1744979"/>
                  <a:gd name="connsiteX123" fmla="*/ 269558 w 1969770"/>
                  <a:gd name="connsiteY123" fmla="*/ 323850 h 1744979"/>
                  <a:gd name="connsiteX124" fmla="*/ 263843 w 1969770"/>
                  <a:gd name="connsiteY124" fmla="*/ 334328 h 1744979"/>
                  <a:gd name="connsiteX125" fmla="*/ 258128 w 1969770"/>
                  <a:gd name="connsiteY125" fmla="*/ 344805 h 1744979"/>
                  <a:gd name="connsiteX126" fmla="*/ 252413 w 1969770"/>
                  <a:gd name="connsiteY126" fmla="*/ 355283 h 1744979"/>
                  <a:gd name="connsiteX127" fmla="*/ 247650 w 1969770"/>
                  <a:gd name="connsiteY127" fmla="*/ 367665 h 1744979"/>
                  <a:gd name="connsiteX128" fmla="*/ 242888 w 1969770"/>
                  <a:gd name="connsiteY128" fmla="*/ 379095 h 1744979"/>
                  <a:gd name="connsiteX129" fmla="*/ 239078 w 1969770"/>
                  <a:gd name="connsiteY129" fmla="*/ 390525 h 1744979"/>
                  <a:gd name="connsiteX130" fmla="*/ 235268 w 1969770"/>
                  <a:gd name="connsiteY130" fmla="*/ 401955 h 1744979"/>
                  <a:gd name="connsiteX131" fmla="*/ 231458 w 1969770"/>
                  <a:gd name="connsiteY131" fmla="*/ 414338 h 1744979"/>
                  <a:gd name="connsiteX132" fmla="*/ 228600 w 1969770"/>
                  <a:gd name="connsiteY132" fmla="*/ 425768 h 1744979"/>
                  <a:gd name="connsiteX133" fmla="*/ 225743 w 1969770"/>
                  <a:gd name="connsiteY133" fmla="*/ 438150 h 1744979"/>
                  <a:gd name="connsiteX134" fmla="*/ 236220 w 1969770"/>
                  <a:gd name="connsiteY134" fmla="*/ 427673 h 1744979"/>
                  <a:gd name="connsiteX135" fmla="*/ 246698 w 1969770"/>
                  <a:gd name="connsiteY135" fmla="*/ 418148 h 1744979"/>
                  <a:gd name="connsiteX136" fmla="*/ 257175 w 1969770"/>
                  <a:gd name="connsiteY136" fmla="*/ 408623 h 1744979"/>
                  <a:gd name="connsiteX137" fmla="*/ 268605 w 1969770"/>
                  <a:gd name="connsiteY137" fmla="*/ 400050 h 1744979"/>
                  <a:gd name="connsiteX138" fmla="*/ 290513 w 1969770"/>
                  <a:gd name="connsiteY138" fmla="*/ 382905 h 1744979"/>
                  <a:gd name="connsiteX139" fmla="*/ 312420 w 1969770"/>
                  <a:gd name="connsiteY139" fmla="*/ 366713 h 1744979"/>
                  <a:gd name="connsiteX140" fmla="*/ 322898 w 1969770"/>
                  <a:gd name="connsiteY140" fmla="*/ 359093 h 1744979"/>
                  <a:gd name="connsiteX141" fmla="*/ 333375 w 1969770"/>
                  <a:gd name="connsiteY141" fmla="*/ 351473 h 1744979"/>
                  <a:gd name="connsiteX142" fmla="*/ 342900 w 1969770"/>
                  <a:gd name="connsiteY142" fmla="*/ 343853 h 1744979"/>
                  <a:gd name="connsiteX143" fmla="*/ 352425 w 1969770"/>
                  <a:gd name="connsiteY143" fmla="*/ 336233 h 1744979"/>
                  <a:gd name="connsiteX144" fmla="*/ 360998 w 1969770"/>
                  <a:gd name="connsiteY144" fmla="*/ 328613 h 1744979"/>
                  <a:gd name="connsiteX145" fmla="*/ 368618 w 1969770"/>
                  <a:gd name="connsiteY145" fmla="*/ 320993 h 1744979"/>
                  <a:gd name="connsiteX146" fmla="*/ 371475 w 1969770"/>
                  <a:gd name="connsiteY146" fmla="*/ 314325 h 1744979"/>
                  <a:gd name="connsiteX147" fmla="*/ 375285 w 1969770"/>
                  <a:gd name="connsiteY147" fmla="*/ 310515 h 1744979"/>
                  <a:gd name="connsiteX148" fmla="*/ 378143 w 1969770"/>
                  <a:gd name="connsiteY148" fmla="*/ 306705 h 1744979"/>
                  <a:gd name="connsiteX149" fmla="*/ 381000 w 1969770"/>
                  <a:gd name="connsiteY149" fmla="*/ 301943 h 1744979"/>
                  <a:gd name="connsiteX150" fmla="*/ 381000 w 1969770"/>
                  <a:gd name="connsiteY150" fmla="*/ 301943 h 1744979"/>
                  <a:gd name="connsiteX151" fmla="*/ 316230 w 1969770"/>
                  <a:gd name="connsiteY151" fmla="*/ 510540 h 1744979"/>
                  <a:gd name="connsiteX152" fmla="*/ 312420 w 1969770"/>
                  <a:gd name="connsiteY152" fmla="*/ 517208 h 1744979"/>
                  <a:gd name="connsiteX153" fmla="*/ 306705 w 1969770"/>
                  <a:gd name="connsiteY153" fmla="*/ 523875 h 1744979"/>
                  <a:gd name="connsiteX154" fmla="*/ 300990 w 1969770"/>
                  <a:gd name="connsiteY154" fmla="*/ 530543 h 1744979"/>
                  <a:gd name="connsiteX155" fmla="*/ 295275 w 1969770"/>
                  <a:gd name="connsiteY155" fmla="*/ 536258 h 1744979"/>
                  <a:gd name="connsiteX156" fmla="*/ 288608 w 1969770"/>
                  <a:gd name="connsiteY156" fmla="*/ 542925 h 1744979"/>
                  <a:gd name="connsiteX157" fmla="*/ 281940 w 1969770"/>
                  <a:gd name="connsiteY157" fmla="*/ 549593 h 1744979"/>
                  <a:gd name="connsiteX158" fmla="*/ 273368 w 1969770"/>
                  <a:gd name="connsiteY158" fmla="*/ 556260 h 1744979"/>
                  <a:gd name="connsiteX159" fmla="*/ 264795 w 1969770"/>
                  <a:gd name="connsiteY159" fmla="*/ 562928 h 1744979"/>
                  <a:gd name="connsiteX160" fmla="*/ 247650 w 1969770"/>
                  <a:gd name="connsiteY160" fmla="*/ 578168 h 1744979"/>
                  <a:gd name="connsiteX161" fmla="*/ 229553 w 1969770"/>
                  <a:gd name="connsiteY161" fmla="*/ 594360 h 1744979"/>
                  <a:gd name="connsiteX162" fmla="*/ 220980 w 1969770"/>
                  <a:gd name="connsiteY162" fmla="*/ 602933 h 1744979"/>
                  <a:gd name="connsiteX163" fmla="*/ 211455 w 1969770"/>
                  <a:gd name="connsiteY163" fmla="*/ 611505 h 1744979"/>
                  <a:gd name="connsiteX164" fmla="*/ 201930 w 1969770"/>
                  <a:gd name="connsiteY164" fmla="*/ 621030 h 1744979"/>
                  <a:gd name="connsiteX165" fmla="*/ 192405 w 1969770"/>
                  <a:gd name="connsiteY165" fmla="*/ 630555 h 1744979"/>
                  <a:gd name="connsiteX166" fmla="*/ 187643 w 1969770"/>
                  <a:gd name="connsiteY166" fmla="*/ 636270 h 1744979"/>
                  <a:gd name="connsiteX167" fmla="*/ 182880 w 1969770"/>
                  <a:gd name="connsiteY167" fmla="*/ 642938 h 1744979"/>
                  <a:gd name="connsiteX168" fmla="*/ 178118 w 1969770"/>
                  <a:gd name="connsiteY168" fmla="*/ 650558 h 1744979"/>
                  <a:gd name="connsiteX169" fmla="*/ 173355 w 1969770"/>
                  <a:gd name="connsiteY169" fmla="*/ 658178 h 1744979"/>
                  <a:gd name="connsiteX170" fmla="*/ 168593 w 1969770"/>
                  <a:gd name="connsiteY170" fmla="*/ 666750 h 1744979"/>
                  <a:gd name="connsiteX171" fmla="*/ 163830 w 1969770"/>
                  <a:gd name="connsiteY171" fmla="*/ 675323 h 1744979"/>
                  <a:gd name="connsiteX172" fmla="*/ 160020 w 1969770"/>
                  <a:gd name="connsiteY172" fmla="*/ 684848 h 1744979"/>
                  <a:gd name="connsiteX173" fmla="*/ 156210 w 1969770"/>
                  <a:gd name="connsiteY173" fmla="*/ 694373 h 1744979"/>
                  <a:gd name="connsiteX174" fmla="*/ 152400 w 1969770"/>
                  <a:gd name="connsiteY174" fmla="*/ 703898 h 1744979"/>
                  <a:gd name="connsiteX175" fmla="*/ 148590 w 1969770"/>
                  <a:gd name="connsiteY175" fmla="*/ 713423 h 1744979"/>
                  <a:gd name="connsiteX176" fmla="*/ 144780 w 1969770"/>
                  <a:gd name="connsiteY176" fmla="*/ 722948 h 1744979"/>
                  <a:gd name="connsiteX177" fmla="*/ 141923 w 1969770"/>
                  <a:gd name="connsiteY177" fmla="*/ 732473 h 1744979"/>
                  <a:gd name="connsiteX178" fmla="*/ 139065 w 1969770"/>
                  <a:gd name="connsiteY178" fmla="*/ 741998 h 1744979"/>
                  <a:gd name="connsiteX179" fmla="*/ 136208 w 1969770"/>
                  <a:gd name="connsiteY179" fmla="*/ 751523 h 1744979"/>
                  <a:gd name="connsiteX180" fmla="*/ 133350 w 1969770"/>
                  <a:gd name="connsiteY180" fmla="*/ 761048 h 1744979"/>
                  <a:gd name="connsiteX181" fmla="*/ 130493 w 1969770"/>
                  <a:gd name="connsiteY181" fmla="*/ 770573 h 1744979"/>
                  <a:gd name="connsiteX182" fmla="*/ 121920 w 1969770"/>
                  <a:gd name="connsiteY182" fmla="*/ 693420 h 1744979"/>
                  <a:gd name="connsiteX183" fmla="*/ 119063 w 1969770"/>
                  <a:gd name="connsiteY183" fmla="*/ 678180 h 1744979"/>
                  <a:gd name="connsiteX184" fmla="*/ 116205 w 1969770"/>
                  <a:gd name="connsiteY184" fmla="*/ 662940 h 1744979"/>
                  <a:gd name="connsiteX185" fmla="*/ 113348 w 1969770"/>
                  <a:gd name="connsiteY185" fmla="*/ 647700 h 1744979"/>
                  <a:gd name="connsiteX186" fmla="*/ 110490 w 1969770"/>
                  <a:gd name="connsiteY186" fmla="*/ 631508 h 1744979"/>
                  <a:gd name="connsiteX187" fmla="*/ 107633 w 1969770"/>
                  <a:gd name="connsiteY187" fmla="*/ 615315 h 1744979"/>
                  <a:gd name="connsiteX188" fmla="*/ 105728 w 1969770"/>
                  <a:gd name="connsiteY188" fmla="*/ 599123 h 1744979"/>
                  <a:gd name="connsiteX189" fmla="*/ 104775 w 1969770"/>
                  <a:gd name="connsiteY189" fmla="*/ 582930 h 1744979"/>
                  <a:gd name="connsiteX190" fmla="*/ 103823 w 1969770"/>
                  <a:gd name="connsiteY190" fmla="*/ 566738 h 1744979"/>
                  <a:gd name="connsiteX191" fmla="*/ 102870 w 1969770"/>
                  <a:gd name="connsiteY191" fmla="*/ 550545 h 1744979"/>
                  <a:gd name="connsiteX192" fmla="*/ 102870 w 1969770"/>
                  <a:gd name="connsiteY192" fmla="*/ 534353 h 1744979"/>
                  <a:gd name="connsiteX193" fmla="*/ 102870 w 1969770"/>
                  <a:gd name="connsiteY193" fmla="*/ 518160 h 1744979"/>
                  <a:gd name="connsiteX194" fmla="*/ 103823 w 1969770"/>
                  <a:gd name="connsiteY194" fmla="*/ 501968 h 1744979"/>
                  <a:gd name="connsiteX195" fmla="*/ 103823 w 1969770"/>
                  <a:gd name="connsiteY195" fmla="*/ 494348 h 1744979"/>
                  <a:gd name="connsiteX196" fmla="*/ 104775 w 1969770"/>
                  <a:gd name="connsiteY196" fmla="*/ 485775 h 1744979"/>
                  <a:gd name="connsiteX197" fmla="*/ 105728 w 1969770"/>
                  <a:gd name="connsiteY197" fmla="*/ 478155 h 1744979"/>
                  <a:gd name="connsiteX198" fmla="*/ 106680 w 1969770"/>
                  <a:gd name="connsiteY198" fmla="*/ 470535 h 1744979"/>
                  <a:gd name="connsiteX199" fmla="*/ 107633 w 1969770"/>
                  <a:gd name="connsiteY199" fmla="*/ 462915 h 1744979"/>
                  <a:gd name="connsiteX200" fmla="*/ 109538 w 1969770"/>
                  <a:gd name="connsiteY200" fmla="*/ 455295 h 1744979"/>
                  <a:gd name="connsiteX201" fmla="*/ 111443 w 1969770"/>
                  <a:gd name="connsiteY201" fmla="*/ 447675 h 1744979"/>
                  <a:gd name="connsiteX202" fmla="*/ 113348 w 1969770"/>
                  <a:gd name="connsiteY202" fmla="*/ 440055 h 1744979"/>
                  <a:gd name="connsiteX203" fmla="*/ 100965 w 1969770"/>
                  <a:gd name="connsiteY203" fmla="*/ 461010 h 1744979"/>
                  <a:gd name="connsiteX204" fmla="*/ 89535 w 1969770"/>
                  <a:gd name="connsiteY204" fmla="*/ 481965 h 1744979"/>
                  <a:gd name="connsiteX205" fmla="*/ 83820 w 1969770"/>
                  <a:gd name="connsiteY205" fmla="*/ 492443 h 1744979"/>
                  <a:gd name="connsiteX206" fmla="*/ 78105 w 1969770"/>
                  <a:gd name="connsiteY206" fmla="*/ 502920 h 1744979"/>
                  <a:gd name="connsiteX207" fmla="*/ 72390 w 1969770"/>
                  <a:gd name="connsiteY207" fmla="*/ 513398 h 1744979"/>
                  <a:gd name="connsiteX208" fmla="*/ 68580 w 1969770"/>
                  <a:gd name="connsiteY208" fmla="*/ 523875 h 1744979"/>
                  <a:gd name="connsiteX209" fmla="*/ 63818 w 1969770"/>
                  <a:gd name="connsiteY209" fmla="*/ 535305 h 1744979"/>
                  <a:gd name="connsiteX210" fmla="*/ 60008 w 1969770"/>
                  <a:gd name="connsiteY210" fmla="*/ 546735 h 1744979"/>
                  <a:gd name="connsiteX211" fmla="*/ 56198 w 1969770"/>
                  <a:gd name="connsiteY211" fmla="*/ 558165 h 1744979"/>
                  <a:gd name="connsiteX212" fmla="*/ 53340 w 1969770"/>
                  <a:gd name="connsiteY212" fmla="*/ 569595 h 1744979"/>
                  <a:gd name="connsiteX213" fmla="*/ 50483 w 1969770"/>
                  <a:gd name="connsiteY213" fmla="*/ 581025 h 1744979"/>
                  <a:gd name="connsiteX214" fmla="*/ 48578 w 1969770"/>
                  <a:gd name="connsiteY214" fmla="*/ 593408 h 1744979"/>
                  <a:gd name="connsiteX215" fmla="*/ 47625 w 1969770"/>
                  <a:gd name="connsiteY215" fmla="*/ 599123 h 1744979"/>
                  <a:gd name="connsiteX216" fmla="*/ 47625 w 1969770"/>
                  <a:gd name="connsiteY216" fmla="*/ 605790 h 1744979"/>
                  <a:gd name="connsiteX217" fmla="*/ 47625 w 1969770"/>
                  <a:gd name="connsiteY217" fmla="*/ 611505 h 1744979"/>
                  <a:gd name="connsiteX218" fmla="*/ 47625 w 1969770"/>
                  <a:gd name="connsiteY218" fmla="*/ 618173 h 1744979"/>
                  <a:gd name="connsiteX219" fmla="*/ 47625 w 1969770"/>
                  <a:gd name="connsiteY219" fmla="*/ 626745 h 1744979"/>
                  <a:gd name="connsiteX220" fmla="*/ 48578 w 1969770"/>
                  <a:gd name="connsiteY220" fmla="*/ 635318 h 1744979"/>
                  <a:gd name="connsiteX221" fmla="*/ 49530 w 1969770"/>
                  <a:gd name="connsiteY221" fmla="*/ 643890 h 1744979"/>
                  <a:gd name="connsiteX222" fmla="*/ 50483 w 1969770"/>
                  <a:gd name="connsiteY222" fmla="*/ 652463 h 1744979"/>
                  <a:gd name="connsiteX223" fmla="*/ 51435 w 1969770"/>
                  <a:gd name="connsiteY223" fmla="*/ 661035 h 1744979"/>
                  <a:gd name="connsiteX224" fmla="*/ 52388 w 1969770"/>
                  <a:gd name="connsiteY224" fmla="*/ 669608 h 1744979"/>
                  <a:gd name="connsiteX225" fmla="*/ 54293 w 1969770"/>
                  <a:gd name="connsiteY225" fmla="*/ 677228 h 1744979"/>
                  <a:gd name="connsiteX226" fmla="*/ 56198 w 1969770"/>
                  <a:gd name="connsiteY226" fmla="*/ 684848 h 1744979"/>
                  <a:gd name="connsiteX227" fmla="*/ 58103 w 1969770"/>
                  <a:gd name="connsiteY227" fmla="*/ 692468 h 1744979"/>
                  <a:gd name="connsiteX228" fmla="*/ 60008 w 1969770"/>
                  <a:gd name="connsiteY228" fmla="*/ 700088 h 1744979"/>
                  <a:gd name="connsiteX229" fmla="*/ 62865 w 1969770"/>
                  <a:gd name="connsiteY229" fmla="*/ 707708 h 1744979"/>
                  <a:gd name="connsiteX230" fmla="*/ 65723 w 1969770"/>
                  <a:gd name="connsiteY230" fmla="*/ 715328 h 1744979"/>
                  <a:gd name="connsiteX231" fmla="*/ 71438 w 1969770"/>
                  <a:gd name="connsiteY231" fmla="*/ 729615 h 1744979"/>
                  <a:gd name="connsiteX232" fmla="*/ 77153 w 1969770"/>
                  <a:gd name="connsiteY232" fmla="*/ 743903 h 1744979"/>
                  <a:gd name="connsiteX233" fmla="*/ 89535 w 1969770"/>
                  <a:gd name="connsiteY233" fmla="*/ 772478 h 1744979"/>
                  <a:gd name="connsiteX234" fmla="*/ 102870 w 1969770"/>
                  <a:gd name="connsiteY234" fmla="*/ 801053 h 1744979"/>
                  <a:gd name="connsiteX235" fmla="*/ 109538 w 1969770"/>
                  <a:gd name="connsiteY235" fmla="*/ 815340 h 1744979"/>
                  <a:gd name="connsiteX236" fmla="*/ 115253 w 1969770"/>
                  <a:gd name="connsiteY236" fmla="*/ 829628 h 1744979"/>
                  <a:gd name="connsiteX237" fmla="*/ 120968 w 1969770"/>
                  <a:gd name="connsiteY237" fmla="*/ 844868 h 1744979"/>
                  <a:gd name="connsiteX238" fmla="*/ 125730 w 1969770"/>
                  <a:gd name="connsiteY238" fmla="*/ 860108 h 1744979"/>
                  <a:gd name="connsiteX239" fmla="*/ 126683 w 1969770"/>
                  <a:gd name="connsiteY239" fmla="*/ 855345 h 1744979"/>
                  <a:gd name="connsiteX240" fmla="*/ 127635 w 1969770"/>
                  <a:gd name="connsiteY240" fmla="*/ 849630 h 1744979"/>
                  <a:gd name="connsiteX241" fmla="*/ 128588 w 1969770"/>
                  <a:gd name="connsiteY241" fmla="*/ 843915 h 1744979"/>
                  <a:gd name="connsiteX242" fmla="*/ 130493 w 1969770"/>
                  <a:gd name="connsiteY242" fmla="*/ 838200 h 1744979"/>
                  <a:gd name="connsiteX243" fmla="*/ 132398 w 1969770"/>
                  <a:gd name="connsiteY243" fmla="*/ 832485 h 1744979"/>
                  <a:gd name="connsiteX244" fmla="*/ 134303 w 1969770"/>
                  <a:gd name="connsiteY244" fmla="*/ 826770 h 1744979"/>
                  <a:gd name="connsiteX245" fmla="*/ 137160 w 1969770"/>
                  <a:gd name="connsiteY245" fmla="*/ 820103 h 1744979"/>
                  <a:gd name="connsiteX246" fmla="*/ 140018 w 1969770"/>
                  <a:gd name="connsiteY246" fmla="*/ 814388 h 1744979"/>
                  <a:gd name="connsiteX247" fmla="*/ 145733 w 1969770"/>
                  <a:gd name="connsiteY247" fmla="*/ 802005 h 1744979"/>
                  <a:gd name="connsiteX248" fmla="*/ 152400 w 1969770"/>
                  <a:gd name="connsiteY248" fmla="*/ 788670 h 1744979"/>
                  <a:gd name="connsiteX249" fmla="*/ 160020 w 1969770"/>
                  <a:gd name="connsiteY249" fmla="*/ 775335 h 1744979"/>
                  <a:gd name="connsiteX250" fmla="*/ 168593 w 1969770"/>
                  <a:gd name="connsiteY250" fmla="*/ 762000 h 1744979"/>
                  <a:gd name="connsiteX251" fmla="*/ 177165 w 1969770"/>
                  <a:gd name="connsiteY251" fmla="*/ 749618 h 1744979"/>
                  <a:gd name="connsiteX252" fmla="*/ 185738 w 1969770"/>
                  <a:gd name="connsiteY252" fmla="*/ 737235 h 1744979"/>
                  <a:gd name="connsiteX253" fmla="*/ 194310 w 1969770"/>
                  <a:gd name="connsiteY253" fmla="*/ 724853 h 1744979"/>
                  <a:gd name="connsiteX254" fmla="*/ 201930 w 1969770"/>
                  <a:gd name="connsiteY254" fmla="*/ 713423 h 1744979"/>
                  <a:gd name="connsiteX255" fmla="*/ 210503 w 1969770"/>
                  <a:gd name="connsiteY255" fmla="*/ 702945 h 1744979"/>
                  <a:gd name="connsiteX256" fmla="*/ 218123 w 1969770"/>
                  <a:gd name="connsiteY256" fmla="*/ 693420 h 1744979"/>
                  <a:gd name="connsiteX257" fmla="*/ 224790 w 1969770"/>
                  <a:gd name="connsiteY257" fmla="*/ 684848 h 1744979"/>
                  <a:gd name="connsiteX258" fmla="*/ 231458 w 1969770"/>
                  <a:gd name="connsiteY258" fmla="*/ 678180 h 1744979"/>
                  <a:gd name="connsiteX259" fmla="*/ 240983 w 1969770"/>
                  <a:gd name="connsiteY259" fmla="*/ 665798 h 1744979"/>
                  <a:gd name="connsiteX260" fmla="*/ 249555 w 1969770"/>
                  <a:gd name="connsiteY260" fmla="*/ 654368 h 1744979"/>
                  <a:gd name="connsiteX261" fmla="*/ 257175 w 1969770"/>
                  <a:gd name="connsiteY261" fmla="*/ 643890 h 1744979"/>
                  <a:gd name="connsiteX262" fmla="*/ 263843 w 1969770"/>
                  <a:gd name="connsiteY262" fmla="*/ 634365 h 1744979"/>
                  <a:gd name="connsiteX263" fmla="*/ 269558 w 1969770"/>
                  <a:gd name="connsiteY263" fmla="*/ 625793 h 1744979"/>
                  <a:gd name="connsiteX264" fmla="*/ 274320 w 1969770"/>
                  <a:gd name="connsiteY264" fmla="*/ 617220 h 1744979"/>
                  <a:gd name="connsiteX265" fmla="*/ 278130 w 1969770"/>
                  <a:gd name="connsiteY265" fmla="*/ 608648 h 1744979"/>
                  <a:gd name="connsiteX266" fmla="*/ 281940 w 1969770"/>
                  <a:gd name="connsiteY266" fmla="*/ 600075 h 1744979"/>
                  <a:gd name="connsiteX267" fmla="*/ 285750 w 1969770"/>
                  <a:gd name="connsiteY267" fmla="*/ 591503 h 1744979"/>
                  <a:gd name="connsiteX268" fmla="*/ 289560 w 1969770"/>
                  <a:gd name="connsiteY268" fmla="*/ 582930 h 1744979"/>
                  <a:gd name="connsiteX269" fmla="*/ 293370 w 1969770"/>
                  <a:gd name="connsiteY269" fmla="*/ 573405 h 1744979"/>
                  <a:gd name="connsiteX270" fmla="*/ 297180 w 1969770"/>
                  <a:gd name="connsiteY270" fmla="*/ 562928 h 1744979"/>
                  <a:gd name="connsiteX271" fmla="*/ 305753 w 1969770"/>
                  <a:gd name="connsiteY271" fmla="*/ 539115 h 1744979"/>
                  <a:gd name="connsiteX272" fmla="*/ 316230 w 1969770"/>
                  <a:gd name="connsiteY272" fmla="*/ 510540 h 1744979"/>
                  <a:gd name="connsiteX273" fmla="*/ 316230 w 1969770"/>
                  <a:gd name="connsiteY273" fmla="*/ 510540 h 1744979"/>
                  <a:gd name="connsiteX274" fmla="*/ 251460 w 1969770"/>
                  <a:gd name="connsiteY274" fmla="*/ 711518 h 1744979"/>
                  <a:gd name="connsiteX275" fmla="*/ 239078 w 1969770"/>
                  <a:gd name="connsiteY275" fmla="*/ 727710 h 1744979"/>
                  <a:gd name="connsiteX276" fmla="*/ 227648 w 1969770"/>
                  <a:gd name="connsiteY276" fmla="*/ 743903 h 1744979"/>
                  <a:gd name="connsiteX277" fmla="*/ 216218 w 1969770"/>
                  <a:gd name="connsiteY277" fmla="*/ 759143 h 1744979"/>
                  <a:gd name="connsiteX278" fmla="*/ 205740 w 1969770"/>
                  <a:gd name="connsiteY278" fmla="*/ 774383 h 1744979"/>
                  <a:gd name="connsiteX279" fmla="*/ 196215 w 1969770"/>
                  <a:gd name="connsiteY279" fmla="*/ 788670 h 1744979"/>
                  <a:gd name="connsiteX280" fmla="*/ 186690 w 1969770"/>
                  <a:gd name="connsiteY280" fmla="*/ 803910 h 1744979"/>
                  <a:gd name="connsiteX281" fmla="*/ 182880 w 1969770"/>
                  <a:gd name="connsiteY281" fmla="*/ 811530 h 1744979"/>
                  <a:gd name="connsiteX282" fmla="*/ 179070 w 1969770"/>
                  <a:gd name="connsiteY282" fmla="*/ 819150 h 1744979"/>
                  <a:gd name="connsiteX283" fmla="*/ 175260 w 1969770"/>
                  <a:gd name="connsiteY283" fmla="*/ 826770 h 1744979"/>
                  <a:gd name="connsiteX284" fmla="*/ 171450 w 1969770"/>
                  <a:gd name="connsiteY284" fmla="*/ 835343 h 1744979"/>
                  <a:gd name="connsiteX285" fmla="*/ 167640 w 1969770"/>
                  <a:gd name="connsiteY285" fmla="*/ 842963 h 1744979"/>
                  <a:gd name="connsiteX286" fmla="*/ 164783 w 1969770"/>
                  <a:gd name="connsiteY286" fmla="*/ 850583 h 1744979"/>
                  <a:gd name="connsiteX287" fmla="*/ 161925 w 1969770"/>
                  <a:gd name="connsiteY287" fmla="*/ 859155 h 1744979"/>
                  <a:gd name="connsiteX288" fmla="*/ 159068 w 1969770"/>
                  <a:gd name="connsiteY288" fmla="*/ 867728 h 1744979"/>
                  <a:gd name="connsiteX289" fmla="*/ 157163 w 1969770"/>
                  <a:gd name="connsiteY289" fmla="*/ 876300 h 1744979"/>
                  <a:gd name="connsiteX290" fmla="*/ 155258 w 1969770"/>
                  <a:gd name="connsiteY290" fmla="*/ 884873 h 1744979"/>
                  <a:gd name="connsiteX291" fmla="*/ 153353 w 1969770"/>
                  <a:gd name="connsiteY291" fmla="*/ 893445 h 1744979"/>
                  <a:gd name="connsiteX292" fmla="*/ 151448 w 1969770"/>
                  <a:gd name="connsiteY292" fmla="*/ 902970 h 1744979"/>
                  <a:gd name="connsiteX293" fmla="*/ 150495 w 1969770"/>
                  <a:gd name="connsiteY293" fmla="*/ 912495 h 1744979"/>
                  <a:gd name="connsiteX294" fmla="*/ 149543 w 1969770"/>
                  <a:gd name="connsiteY294" fmla="*/ 922020 h 1744979"/>
                  <a:gd name="connsiteX295" fmla="*/ 148590 w 1969770"/>
                  <a:gd name="connsiteY295" fmla="*/ 931545 h 1744979"/>
                  <a:gd name="connsiteX296" fmla="*/ 147638 w 1969770"/>
                  <a:gd name="connsiteY296" fmla="*/ 942023 h 1744979"/>
                  <a:gd name="connsiteX297" fmla="*/ 147638 w 1969770"/>
                  <a:gd name="connsiteY297" fmla="*/ 952500 h 1744979"/>
                  <a:gd name="connsiteX298" fmla="*/ 147638 w 1969770"/>
                  <a:gd name="connsiteY298" fmla="*/ 962978 h 1744979"/>
                  <a:gd name="connsiteX299" fmla="*/ 147638 w 1969770"/>
                  <a:gd name="connsiteY299" fmla="*/ 974408 h 1744979"/>
                  <a:gd name="connsiteX300" fmla="*/ 148590 w 1969770"/>
                  <a:gd name="connsiteY300" fmla="*/ 985838 h 1744979"/>
                  <a:gd name="connsiteX301" fmla="*/ 146685 w 1969770"/>
                  <a:gd name="connsiteY301" fmla="*/ 976313 h 1744979"/>
                  <a:gd name="connsiteX302" fmla="*/ 143828 w 1969770"/>
                  <a:gd name="connsiteY302" fmla="*/ 965835 h 1744979"/>
                  <a:gd name="connsiteX303" fmla="*/ 140970 w 1969770"/>
                  <a:gd name="connsiteY303" fmla="*/ 956310 h 1744979"/>
                  <a:gd name="connsiteX304" fmla="*/ 137160 w 1969770"/>
                  <a:gd name="connsiteY304" fmla="*/ 945833 h 1744979"/>
                  <a:gd name="connsiteX305" fmla="*/ 133350 w 1969770"/>
                  <a:gd name="connsiteY305" fmla="*/ 936308 h 1744979"/>
                  <a:gd name="connsiteX306" fmla="*/ 129540 w 1969770"/>
                  <a:gd name="connsiteY306" fmla="*/ 925830 h 1744979"/>
                  <a:gd name="connsiteX307" fmla="*/ 124778 w 1969770"/>
                  <a:gd name="connsiteY307" fmla="*/ 916305 h 1744979"/>
                  <a:gd name="connsiteX308" fmla="*/ 120968 w 1969770"/>
                  <a:gd name="connsiteY308" fmla="*/ 906780 h 1744979"/>
                  <a:gd name="connsiteX309" fmla="*/ 111443 w 1969770"/>
                  <a:gd name="connsiteY309" fmla="*/ 886778 h 1744979"/>
                  <a:gd name="connsiteX310" fmla="*/ 100013 w 1969770"/>
                  <a:gd name="connsiteY310" fmla="*/ 866775 h 1744979"/>
                  <a:gd name="connsiteX311" fmla="*/ 89535 w 1969770"/>
                  <a:gd name="connsiteY311" fmla="*/ 846773 h 1744979"/>
                  <a:gd name="connsiteX312" fmla="*/ 79058 w 1969770"/>
                  <a:gd name="connsiteY312" fmla="*/ 827723 h 1744979"/>
                  <a:gd name="connsiteX313" fmla="*/ 68580 w 1969770"/>
                  <a:gd name="connsiteY313" fmla="*/ 808673 h 1744979"/>
                  <a:gd name="connsiteX314" fmla="*/ 58103 w 1969770"/>
                  <a:gd name="connsiteY314" fmla="*/ 789623 h 1744979"/>
                  <a:gd name="connsiteX315" fmla="*/ 53340 w 1969770"/>
                  <a:gd name="connsiteY315" fmla="*/ 780098 h 1744979"/>
                  <a:gd name="connsiteX316" fmla="*/ 48578 w 1969770"/>
                  <a:gd name="connsiteY316" fmla="*/ 770573 h 1744979"/>
                  <a:gd name="connsiteX317" fmla="*/ 44768 w 1969770"/>
                  <a:gd name="connsiteY317" fmla="*/ 761048 h 1744979"/>
                  <a:gd name="connsiteX318" fmla="*/ 40958 w 1969770"/>
                  <a:gd name="connsiteY318" fmla="*/ 751523 h 1744979"/>
                  <a:gd name="connsiteX319" fmla="*/ 38100 w 1969770"/>
                  <a:gd name="connsiteY319" fmla="*/ 742950 h 1744979"/>
                  <a:gd name="connsiteX320" fmla="*/ 35243 w 1969770"/>
                  <a:gd name="connsiteY320" fmla="*/ 733425 h 1744979"/>
                  <a:gd name="connsiteX321" fmla="*/ 32385 w 1969770"/>
                  <a:gd name="connsiteY321" fmla="*/ 723900 h 1744979"/>
                  <a:gd name="connsiteX322" fmla="*/ 29528 w 1969770"/>
                  <a:gd name="connsiteY322" fmla="*/ 714375 h 1744979"/>
                  <a:gd name="connsiteX323" fmla="*/ 27623 w 1969770"/>
                  <a:gd name="connsiteY323" fmla="*/ 705803 h 1744979"/>
                  <a:gd name="connsiteX324" fmla="*/ 26670 w 1969770"/>
                  <a:gd name="connsiteY324" fmla="*/ 697230 h 1744979"/>
                  <a:gd name="connsiteX325" fmla="*/ 25718 w 1969770"/>
                  <a:gd name="connsiteY325" fmla="*/ 688658 h 1744979"/>
                  <a:gd name="connsiteX326" fmla="*/ 25718 w 1969770"/>
                  <a:gd name="connsiteY326" fmla="*/ 680085 h 1744979"/>
                  <a:gd name="connsiteX327" fmla="*/ 21908 w 1969770"/>
                  <a:gd name="connsiteY327" fmla="*/ 699135 h 1744979"/>
                  <a:gd name="connsiteX328" fmla="*/ 19050 w 1969770"/>
                  <a:gd name="connsiteY328" fmla="*/ 717233 h 1744979"/>
                  <a:gd name="connsiteX329" fmla="*/ 17145 w 1969770"/>
                  <a:gd name="connsiteY329" fmla="*/ 734378 h 1744979"/>
                  <a:gd name="connsiteX330" fmla="*/ 14288 w 1969770"/>
                  <a:gd name="connsiteY330" fmla="*/ 752475 h 1744979"/>
                  <a:gd name="connsiteX331" fmla="*/ 13335 w 1969770"/>
                  <a:gd name="connsiteY331" fmla="*/ 768668 h 1744979"/>
                  <a:gd name="connsiteX332" fmla="*/ 13335 w 1969770"/>
                  <a:gd name="connsiteY332" fmla="*/ 783908 h 1744979"/>
                  <a:gd name="connsiteX333" fmla="*/ 13335 w 1969770"/>
                  <a:gd name="connsiteY333" fmla="*/ 798195 h 1744979"/>
                  <a:gd name="connsiteX334" fmla="*/ 14288 w 1969770"/>
                  <a:gd name="connsiteY334" fmla="*/ 811530 h 1744979"/>
                  <a:gd name="connsiteX335" fmla="*/ 15240 w 1969770"/>
                  <a:gd name="connsiteY335" fmla="*/ 824865 h 1744979"/>
                  <a:gd name="connsiteX336" fmla="*/ 17145 w 1969770"/>
                  <a:gd name="connsiteY336" fmla="*/ 837248 h 1744979"/>
                  <a:gd name="connsiteX337" fmla="*/ 20003 w 1969770"/>
                  <a:gd name="connsiteY337" fmla="*/ 848678 h 1744979"/>
                  <a:gd name="connsiteX338" fmla="*/ 22860 w 1969770"/>
                  <a:gd name="connsiteY338" fmla="*/ 860108 h 1744979"/>
                  <a:gd name="connsiteX339" fmla="*/ 26670 w 1969770"/>
                  <a:gd name="connsiteY339" fmla="*/ 871538 h 1744979"/>
                  <a:gd name="connsiteX340" fmla="*/ 30480 w 1969770"/>
                  <a:gd name="connsiteY340" fmla="*/ 882015 h 1744979"/>
                  <a:gd name="connsiteX341" fmla="*/ 35243 w 1969770"/>
                  <a:gd name="connsiteY341" fmla="*/ 892493 h 1744979"/>
                  <a:gd name="connsiteX342" fmla="*/ 40005 w 1969770"/>
                  <a:gd name="connsiteY342" fmla="*/ 902970 h 1744979"/>
                  <a:gd name="connsiteX343" fmla="*/ 45720 w 1969770"/>
                  <a:gd name="connsiteY343" fmla="*/ 913448 h 1744979"/>
                  <a:gd name="connsiteX344" fmla="*/ 51435 w 1969770"/>
                  <a:gd name="connsiteY344" fmla="*/ 922973 h 1744979"/>
                  <a:gd name="connsiteX345" fmla="*/ 58103 w 1969770"/>
                  <a:gd name="connsiteY345" fmla="*/ 932498 h 1744979"/>
                  <a:gd name="connsiteX346" fmla="*/ 64770 w 1969770"/>
                  <a:gd name="connsiteY346" fmla="*/ 942023 h 1744979"/>
                  <a:gd name="connsiteX347" fmla="*/ 71438 w 1969770"/>
                  <a:gd name="connsiteY347" fmla="*/ 951548 h 1744979"/>
                  <a:gd name="connsiteX348" fmla="*/ 79058 w 1969770"/>
                  <a:gd name="connsiteY348" fmla="*/ 961073 h 1744979"/>
                  <a:gd name="connsiteX349" fmla="*/ 86678 w 1969770"/>
                  <a:gd name="connsiteY349" fmla="*/ 970598 h 1744979"/>
                  <a:gd name="connsiteX350" fmla="*/ 94298 w 1969770"/>
                  <a:gd name="connsiteY350" fmla="*/ 981075 h 1744979"/>
                  <a:gd name="connsiteX351" fmla="*/ 111443 w 1969770"/>
                  <a:gd name="connsiteY351" fmla="*/ 1001078 h 1744979"/>
                  <a:gd name="connsiteX352" fmla="*/ 129540 w 1969770"/>
                  <a:gd name="connsiteY352" fmla="*/ 1022985 h 1744979"/>
                  <a:gd name="connsiteX353" fmla="*/ 139065 w 1969770"/>
                  <a:gd name="connsiteY353" fmla="*/ 1034415 h 1744979"/>
                  <a:gd name="connsiteX354" fmla="*/ 148590 w 1969770"/>
                  <a:gd name="connsiteY354" fmla="*/ 1045845 h 1744979"/>
                  <a:gd name="connsiteX355" fmla="*/ 158115 w 1969770"/>
                  <a:gd name="connsiteY355" fmla="*/ 1058228 h 1744979"/>
                  <a:gd name="connsiteX356" fmla="*/ 167640 w 1969770"/>
                  <a:gd name="connsiteY356" fmla="*/ 1071563 h 1744979"/>
                  <a:gd name="connsiteX357" fmla="*/ 166688 w 1969770"/>
                  <a:gd name="connsiteY357" fmla="*/ 1062038 h 1744979"/>
                  <a:gd name="connsiteX358" fmla="*/ 166688 w 1969770"/>
                  <a:gd name="connsiteY358" fmla="*/ 1052513 h 1744979"/>
                  <a:gd name="connsiteX359" fmla="*/ 166688 w 1969770"/>
                  <a:gd name="connsiteY359" fmla="*/ 1042988 h 1744979"/>
                  <a:gd name="connsiteX360" fmla="*/ 167640 w 1969770"/>
                  <a:gd name="connsiteY360" fmla="*/ 1033463 h 1744979"/>
                  <a:gd name="connsiteX361" fmla="*/ 169545 w 1969770"/>
                  <a:gd name="connsiteY361" fmla="*/ 1023938 h 1744979"/>
                  <a:gd name="connsiteX362" fmla="*/ 171450 w 1969770"/>
                  <a:gd name="connsiteY362" fmla="*/ 1014413 h 1744979"/>
                  <a:gd name="connsiteX363" fmla="*/ 174308 w 1969770"/>
                  <a:gd name="connsiteY363" fmla="*/ 1004888 h 1744979"/>
                  <a:gd name="connsiteX364" fmla="*/ 177165 w 1969770"/>
                  <a:gd name="connsiteY364" fmla="*/ 994410 h 1744979"/>
                  <a:gd name="connsiteX365" fmla="*/ 180023 w 1969770"/>
                  <a:gd name="connsiteY365" fmla="*/ 983933 h 1744979"/>
                  <a:gd name="connsiteX366" fmla="*/ 183833 w 1969770"/>
                  <a:gd name="connsiteY366" fmla="*/ 973455 h 1744979"/>
                  <a:gd name="connsiteX367" fmla="*/ 187643 w 1969770"/>
                  <a:gd name="connsiteY367" fmla="*/ 962978 h 1744979"/>
                  <a:gd name="connsiteX368" fmla="*/ 191453 w 1969770"/>
                  <a:gd name="connsiteY368" fmla="*/ 952500 h 1744979"/>
                  <a:gd name="connsiteX369" fmla="*/ 200025 w 1969770"/>
                  <a:gd name="connsiteY369" fmla="*/ 931545 h 1744979"/>
                  <a:gd name="connsiteX370" fmla="*/ 208598 w 1969770"/>
                  <a:gd name="connsiteY370" fmla="*/ 908685 h 1744979"/>
                  <a:gd name="connsiteX371" fmla="*/ 218123 w 1969770"/>
                  <a:gd name="connsiteY371" fmla="*/ 885825 h 1744979"/>
                  <a:gd name="connsiteX372" fmla="*/ 226695 w 1969770"/>
                  <a:gd name="connsiteY372" fmla="*/ 862965 h 1744979"/>
                  <a:gd name="connsiteX373" fmla="*/ 230505 w 1969770"/>
                  <a:gd name="connsiteY373" fmla="*/ 851535 h 1744979"/>
                  <a:gd name="connsiteX374" fmla="*/ 234315 w 1969770"/>
                  <a:gd name="connsiteY374" fmla="*/ 840105 h 1744979"/>
                  <a:gd name="connsiteX375" fmla="*/ 238125 w 1969770"/>
                  <a:gd name="connsiteY375" fmla="*/ 827723 h 1744979"/>
                  <a:gd name="connsiteX376" fmla="*/ 240983 w 1969770"/>
                  <a:gd name="connsiteY376" fmla="*/ 815340 h 1744979"/>
                  <a:gd name="connsiteX377" fmla="*/ 243840 w 1969770"/>
                  <a:gd name="connsiteY377" fmla="*/ 802958 h 1744979"/>
                  <a:gd name="connsiteX378" fmla="*/ 246698 w 1969770"/>
                  <a:gd name="connsiteY378" fmla="*/ 790575 h 1744979"/>
                  <a:gd name="connsiteX379" fmla="*/ 248603 w 1969770"/>
                  <a:gd name="connsiteY379" fmla="*/ 777240 h 1744979"/>
                  <a:gd name="connsiteX380" fmla="*/ 250508 w 1969770"/>
                  <a:gd name="connsiteY380" fmla="*/ 764858 h 1744979"/>
                  <a:gd name="connsiteX381" fmla="*/ 251460 w 1969770"/>
                  <a:gd name="connsiteY381" fmla="*/ 751523 h 1744979"/>
                  <a:gd name="connsiteX382" fmla="*/ 252413 w 1969770"/>
                  <a:gd name="connsiteY382" fmla="*/ 738188 h 1744979"/>
                  <a:gd name="connsiteX383" fmla="*/ 252413 w 1969770"/>
                  <a:gd name="connsiteY383" fmla="*/ 724853 h 1744979"/>
                  <a:gd name="connsiteX384" fmla="*/ 251460 w 1969770"/>
                  <a:gd name="connsiteY384" fmla="*/ 711518 h 1744979"/>
                  <a:gd name="connsiteX385" fmla="*/ 251460 w 1969770"/>
                  <a:gd name="connsiteY385" fmla="*/ 711518 h 1744979"/>
                  <a:gd name="connsiteX386" fmla="*/ 267653 w 1969770"/>
                  <a:gd name="connsiteY386" fmla="*/ 1283018 h 1744979"/>
                  <a:gd name="connsiteX387" fmla="*/ 264795 w 1969770"/>
                  <a:gd name="connsiteY387" fmla="*/ 1272540 h 1744979"/>
                  <a:gd name="connsiteX388" fmla="*/ 261938 w 1969770"/>
                  <a:gd name="connsiteY388" fmla="*/ 1262063 h 1744979"/>
                  <a:gd name="connsiteX389" fmla="*/ 260033 w 1969770"/>
                  <a:gd name="connsiteY389" fmla="*/ 1251585 h 1744979"/>
                  <a:gd name="connsiteX390" fmla="*/ 259080 w 1969770"/>
                  <a:gd name="connsiteY390" fmla="*/ 1241108 h 1744979"/>
                  <a:gd name="connsiteX391" fmla="*/ 258128 w 1969770"/>
                  <a:gd name="connsiteY391" fmla="*/ 1230630 h 1744979"/>
                  <a:gd name="connsiteX392" fmla="*/ 257175 w 1969770"/>
                  <a:gd name="connsiteY392" fmla="*/ 1219200 h 1744979"/>
                  <a:gd name="connsiteX393" fmla="*/ 257175 w 1969770"/>
                  <a:gd name="connsiteY393" fmla="*/ 1207770 h 1744979"/>
                  <a:gd name="connsiteX394" fmla="*/ 257175 w 1969770"/>
                  <a:gd name="connsiteY394" fmla="*/ 1194435 h 1744979"/>
                  <a:gd name="connsiteX395" fmla="*/ 257175 w 1969770"/>
                  <a:gd name="connsiteY395" fmla="*/ 1183005 h 1744979"/>
                  <a:gd name="connsiteX396" fmla="*/ 258128 w 1969770"/>
                  <a:gd name="connsiteY396" fmla="*/ 1171575 h 1744979"/>
                  <a:gd name="connsiteX397" fmla="*/ 259080 w 1969770"/>
                  <a:gd name="connsiteY397" fmla="*/ 1159193 h 1744979"/>
                  <a:gd name="connsiteX398" fmla="*/ 260033 w 1969770"/>
                  <a:gd name="connsiteY398" fmla="*/ 1146810 h 1744979"/>
                  <a:gd name="connsiteX399" fmla="*/ 261938 w 1969770"/>
                  <a:gd name="connsiteY399" fmla="*/ 1122045 h 1744979"/>
                  <a:gd name="connsiteX400" fmla="*/ 263843 w 1969770"/>
                  <a:gd name="connsiteY400" fmla="*/ 1097280 h 1744979"/>
                  <a:gd name="connsiteX401" fmla="*/ 265748 w 1969770"/>
                  <a:gd name="connsiteY401" fmla="*/ 1071563 h 1744979"/>
                  <a:gd name="connsiteX402" fmla="*/ 267653 w 1969770"/>
                  <a:gd name="connsiteY402" fmla="*/ 1045845 h 1744979"/>
                  <a:gd name="connsiteX403" fmla="*/ 267653 w 1969770"/>
                  <a:gd name="connsiteY403" fmla="*/ 1032510 h 1744979"/>
                  <a:gd name="connsiteX404" fmla="*/ 267653 w 1969770"/>
                  <a:gd name="connsiteY404" fmla="*/ 1020128 h 1744979"/>
                  <a:gd name="connsiteX405" fmla="*/ 267653 w 1969770"/>
                  <a:gd name="connsiteY405" fmla="*/ 1007745 h 1744979"/>
                  <a:gd name="connsiteX406" fmla="*/ 267653 w 1969770"/>
                  <a:gd name="connsiteY406" fmla="*/ 995363 h 1744979"/>
                  <a:gd name="connsiteX407" fmla="*/ 266700 w 1969770"/>
                  <a:gd name="connsiteY407" fmla="*/ 982980 h 1744979"/>
                  <a:gd name="connsiteX408" fmla="*/ 265748 w 1969770"/>
                  <a:gd name="connsiteY408" fmla="*/ 970598 h 1744979"/>
                  <a:gd name="connsiteX409" fmla="*/ 263843 w 1969770"/>
                  <a:gd name="connsiteY409" fmla="*/ 958215 h 1744979"/>
                  <a:gd name="connsiteX410" fmla="*/ 260985 w 1969770"/>
                  <a:gd name="connsiteY410" fmla="*/ 945833 h 1744979"/>
                  <a:gd name="connsiteX411" fmla="*/ 257175 w 1969770"/>
                  <a:gd name="connsiteY411" fmla="*/ 933450 h 1744979"/>
                  <a:gd name="connsiteX412" fmla="*/ 253365 w 1969770"/>
                  <a:gd name="connsiteY412" fmla="*/ 922020 h 1744979"/>
                  <a:gd name="connsiteX413" fmla="*/ 249555 w 1969770"/>
                  <a:gd name="connsiteY413" fmla="*/ 910590 h 1744979"/>
                  <a:gd name="connsiteX414" fmla="*/ 244793 w 1969770"/>
                  <a:gd name="connsiteY414" fmla="*/ 899160 h 1744979"/>
                  <a:gd name="connsiteX415" fmla="*/ 239078 w 1969770"/>
                  <a:gd name="connsiteY415" fmla="*/ 917258 h 1744979"/>
                  <a:gd name="connsiteX416" fmla="*/ 234315 w 1969770"/>
                  <a:gd name="connsiteY416" fmla="*/ 933450 h 1744979"/>
                  <a:gd name="connsiteX417" fmla="*/ 228600 w 1969770"/>
                  <a:gd name="connsiteY417" fmla="*/ 950595 h 1744979"/>
                  <a:gd name="connsiteX418" fmla="*/ 223838 w 1969770"/>
                  <a:gd name="connsiteY418" fmla="*/ 967740 h 1744979"/>
                  <a:gd name="connsiteX419" fmla="*/ 219075 w 1969770"/>
                  <a:gd name="connsiteY419" fmla="*/ 984885 h 1744979"/>
                  <a:gd name="connsiteX420" fmla="*/ 214313 w 1969770"/>
                  <a:gd name="connsiteY420" fmla="*/ 1002030 h 1744979"/>
                  <a:gd name="connsiteX421" fmla="*/ 210503 w 1969770"/>
                  <a:gd name="connsiteY421" fmla="*/ 1019175 h 1744979"/>
                  <a:gd name="connsiteX422" fmla="*/ 207645 w 1969770"/>
                  <a:gd name="connsiteY422" fmla="*/ 1036320 h 1744979"/>
                  <a:gd name="connsiteX423" fmla="*/ 206693 w 1969770"/>
                  <a:gd name="connsiteY423" fmla="*/ 1044893 h 1744979"/>
                  <a:gd name="connsiteX424" fmla="*/ 205740 w 1969770"/>
                  <a:gd name="connsiteY424" fmla="*/ 1053465 h 1744979"/>
                  <a:gd name="connsiteX425" fmla="*/ 204788 w 1969770"/>
                  <a:gd name="connsiteY425" fmla="*/ 1062038 h 1744979"/>
                  <a:gd name="connsiteX426" fmla="*/ 203835 w 1969770"/>
                  <a:gd name="connsiteY426" fmla="*/ 1071563 h 1744979"/>
                  <a:gd name="connsiteX427" fmla="*/ 203835 w 1969770"/>
                  <a:gd name="connsiteY427" fmla="*/ 1080135 h 1744979"/>
                  <a:gd name="connsiteX428" fmla="*/ 203835 w 1969770"/>
                  <a:gd name="connsiteY428" fmla="*/ 1090613 h 1744979"/>
                  <a:gd name="connsiteX429" fmla="*/ 203835 w 1969770"/>
                  <a:gd name="connsiteY429" fmla="*/ 1100138 h 1744979"/>
                  <a:gd name="connsiteX430" fmla="*/ 203835 w 1969770"/>
                  <a:gd name="connsiteY430" fmla="*/ 1109663 h 1744979"/>
                  <a:gd name="connsiteX431" fmla="*/ 204788 w 1969770"/>
                  <a:gd name="connsiteY431" fmla="*/ 1120140 h 1744979"/>
                  <a:gd name="connsiteX432" fmla="*/ 205740 w 1969770"/>
                  <a:gd name="connsiteY432" fmla="*/ 1130618 h 1744979"/>
                  <a:gd name="connsiteX433" fmla="*/ 206693 w 1969770"/>
                  <a:gd name="connsiteY433" fmla="*/ 1141095 h 1744979"/>
                  <a:gd name="connsiteX434" fmla="*/ 208598 w 1969770"/>
                  <a:gd name="connsiteY434" fmla="*/ 1151573 h 1744979"/>
                  <a:gd name="connsiteX435" fmla="*/ 210503 w 1969770"/>
                  <a:gd name="connsiteY435" fmla="*/ 1162050 h 1744979"/>
                  <a:gd name="connsiteX436" fmla="*/ 213360 w 1969770"/>
                  <a:gd name="connsiteY436" fmla="*/ 1173480 h 1744979"/>
                  <a:gd name="connsiteX437" fmla="*/ 216218 w 1969770"/>
                  <a:gd name="connsiteY437" fmla="*/ 1184910 h 1744979"/>
                  <a:gd name="connsiteX438" fmla="*/ 219075 w 1969770"/>
                  <a:gd name="connsiteY438" fmla="*/ 1196340 h 1744979"/>
                  <a:gd name="connsiteX439" fmla="*/ 215265 w 1969770"/>
                  <a:gd name="connsiteY439" fmla="*/ 1189673 h 1744979"/>
                  <a:gd name="connsiteX440" fmla="*/ 209550 w 1969770"/>
                  <a:gd name="connsiteY440" fmla="*/ 1180148 h 1744979"/>
                  <a:gd name="connsiteX441" fmla="*/ 201930 w 1969770"/>
                  <a:gd name="connsiteY441" fmla="*/ 1167765 h 1744979"/>
                  <a:gd name="connsiteX442" fmla="*/ 192405 w 1969770"/>
                  <a:gd name="connsiteY442" fmla="*/ 1153478 h 1744979"/>
                  <a:gd name="connsiteX443" fmla="*/ 181928 w 1969770"/>
                  <a:gd name="connsiteY443" fmla="*/ 1137285 h 1744979"/>
                  <a:gd name="connsiteX444" fmla="*/ 169545 w 1969770"/>
                  <a:gd name="connsiteY444" fmla="*/ 1119188 h 1744979"/>
                  <a:gd name="connsiteX445" fmla="*/ 162878 w 1969770"/>
                  <a:gd name="connsiteY445" fmla="*/ 1110615 h 1744979"/>
                  <a:gd name="connsiteX446" fmla="*/ 155258 w 1969770"/>
                  <a:gd name="connsiteY446" fmla="*/ 1101090 h 1744979"/>
                  <a:gd name="connsiteX447" fmla="*/ 147638 w 1969770"/>
                  <a:gd name="connsiteY447" fmla="*/ 1091565 h 1744979"/>
                  <a:gd name="connsiteX448" fmla="*/ 139065 w 1969770"/>
                  <a:gd name="connsiteY448" fmla="*/ 1082040 h 1744979"/>
                  <a:gd name="connsiteX449" fmla="*/ 120015 w 1969770"/>
                  <a:gd name="connsiteY449" fmla="*/ 1059180 h 1744979"/>
                  <a:gd name="connsiteX450" fmla="*/ 100013 w 1969770"/>
                  <a:gd name="connsiteY450" fmla="*/ 1036320 h 1744979"/>
                  <a:gd name="connsiteX451" fmla="*/ 80010 w 1969770"/>
                  <a:gd name="connsiteY451" fmla="*/ 1013460 h 1744979"/>
                  <a:gd name="connsiteX452" fmla="*/ 60960 w 1969770"/>
                  <a:gd name="connsiteY452" fmla="*/ 990600 h 1744979"/>
                  <a:gd name="connsiteX453" fmla="*/ 51435 w 1969770"/>
                  <a:gd name="connsiteY453" fmla="*/ 979170 h 1744979"/>
                  <a:gd name="connsiteX454" fmla="*/ 41910 w 1969770"/>
                  <a:gd name="connsiteY454" fmla="*/ 967740 h 1744979"/>
                  <a:gd name="connsiteX455" fmla="*/ 33338 w 1969770"/>
                  <a:gd name="connsiteY455" fmla="*/ 956310 h 1744979"/>
                  <a:gd name="connsiteX456" fmla="*/ 24765 w 1969770"/>
                  <a:gd name="connsiteY456" fmla="*/ 944880 h 1744979"/>
                  <a:gd name="connsiteX457" fmla="*/ 19050 w 1969770"/>
                  <a:gd name="connsiteY457" fmla="*/ 938213 h 1744979"/>
                  <a:gd name="connsiteX458" fmla="*/ 12383 w 1969770"/>
                  <a:gd name="connsiteY458" fmla="*/ 927735 h 1744979"/>
                  <a:gd name="connsiteX459" fmla="*/ 5715 w 1969770"/>
                  <a:gd name="connsiteY459" fmla="*/ 917258 h 1744979"/>
                  <a:gd name="connsiteX460" fmla="*/ 0 w 1969770"/>
                  <a:gd name="connsiteY460" fmla="*/ 907733 h 1744979"/>
                  <a:gd name="connsiteX461" fmla="*/ 0 w 1969770"/>
                  <a:gd name="connsiteY461" fmla="*/ 931545 h 1744979"/>
                  <a:gd name="connsiteX462" fmla="*/ 1905 w 1969770"/>
                  <a:gd name="connsiteY462" fmla="*/ 954405 h 1744979"/>
                  <a:gd name="connsiteX463" fmla="*/ 4763 w 1969770"/>
                  <a:gd name="connsiteY463" fmla="*/ 976313 h 1744979"/>
                  <a:gd name="connsiteX464" fmla="*/ 8573 w 1969770"/>
                  <a:gd name="connsiteY464" fmla="*/ 996315 h 1744979"/>
                  <a:gd name="connsiteX465" fmla="*/ 14288 w 1969770"/>
                  <a:gd name="connsiteY465" fmla="*/ 1015365 h 1744979"/>
                  <a:gd name="connsiteX466" fmla="*/ 20955 w 1969770"/>
                  <a:gd name="connsiteY466" fmla="*/ 1034415 h 1744979"/>
                  <a:gd name="connsiteX467" fmla="*/ 28575 w 1969770"/>
                  <a:gd name="connsiteY467" fmla="*/ 1051560 h 1744979"/>
                  <a:gd name="connsiteX468" fmla="*/ 37148 w 1969770"/>
                  <a:gd name="connsiteY468" fmla="*/ 1067753 h 1744979"/>
                  <a:gd name="connsiteX469" fmla="*/ 45720 w 1969770"/>
                  <a:gd name="connsiteY469" fmla="*/ 1083945 h 1744979"/>
                  <a:gd name="connsiteX470" fmla="*/ 55245 w 1969770"/>
                  <a:gd name="connsiteY470" fmla="*/ 1099185 h 1744979"/>
                  <a:gd name="connsiteX471" fmla="*/ 65723 w 1969770"/>
                  <a:gd name="connsiteY471" fmla="*/ 1113473 h 1744979"/>
                  <a:gd name="connsiteX472" fmla="*/ 76200 w 1969770"/>
                  <a:gd name="connsiteY472" fmla="*/ 1126808 h 1744979"/>
                  <a:gd name="connsiteX473" fmla="*/ 87630 w 1969770"/>
                  <a:gd name="connsiteY473" fmla="*/ 1140143 h 1744979"/>
                  <a:gd name="connsiteX474" fmla="*/ 99060 w 1969770"/>
                  <a:gd name="connsiteY474" fmla="*/ 1152525 h 1744979"/>
                  <a:gd name="connsiteX475" fmla="*/ 111443 w 1969770"/>
                  <a:gd name="connsiteY475" fmla="*/ 1163955 h 1744979"/>
                  <a:gd name="connsiteX476" fmla="*/ 123825 w 1969770"/>
                  <a:gd name="connsiteY476" fmla="*/ 1174433 h 1744979"/>
                  <a:gd name="connsiteX477" fmla="*/ 136208 w 1969770"/>
                  <a:gd name="connsiteY477" fmla="*/ 1184910 h 1744979"/>
                  <a:gd name="connsiteX478" fmla="*/ 148590 w 1969770"/>
                  <a:gd name="connsiteY478" fmla="*/ 1194435 h 1744979"/>
                  <a:gd name="connsiteX479" fmla="*/ 160973 w 1969770"/>
                  <a:gd name="connsiteY479" fmla="*/ 1203008 h 1744979"/>
                  <a:gd name="connsiteX480" fmla="*/ 173355 w 1969770"/>
                  <a:gd name="connsiteY480" fmla="*/ 1211580 h 1744979"/>
                  <a:gd name="connsiteX481" fmla="*/ 196215 w 1969770"/>
                  <a:gd name="connsiteY481" fmla="*/ 1226820 h 1744979"/>
                  <a:gd name="connsiteX482" fmla="*/ 217170 w 1969770"/>
                  <a:gd name="connsiteY482" fmla="*/ 1241108 h 1744979"/>
                  <a:gd name="connsiteX483" fmla="*/ 226695 w 1969770"/>
                  <a:gd name="connsiteY483" fmla="*/ 1247775 h 1744979"/>
                  <a:gd name="connsiteX484" fmla="*/ 235268 w 1969770"/>
                  <a:gd name="connsiteY484" fmla="*/ 1253490 h 1744979"/>
                  <a:gd name="connsiteX485" fmla="*/ 242888 w 1969770"/>
                  <a:gd name="connsiteY485" fmla="*/ 1259205 h 1744979"/>
                  <a:gd name="connsiteX486" fmla="*/ 249555 w 1969770"/>
                  <a:gd name="connsiteY486" fmla="*/ 1264920 h 1744979"/>
                  <a:gd name="connsiteX487" fmla="*/ 256223 w 1969770"/>
                  <a:gd name="connsiteY487" fmla="*/ 1270635 h 1744979"/>
                  <a:gd name="connsiteX488" fmla="*/ 261938 w 1969770"/>
                  <a:gd name="connsiteY488" fmla="*/ 1275398 h 1744979"/>
                  <a:gd name="connsiteX489" fmla="*/ 265748 w 1969770"/>
                  <a:gd name="connsiteY489" fmla="*/ 1280160 h 1744979"/>
                  <a:gd name="connsiteX490" fmla="*/ 267653 w 1969770"/>
                  <a:gd name="connsiteY490" fmla="*/ 1283018 h 1744979"/>
                  <a:gd name="connsiteX491" fmla="*/ 267653 w 1969770"/>
                  <a:gd name="connsiteY491" fmla="*/ 1283018 h 1744979"/>
                  <a:gd name="connsiteX492" fmla="*/ 143828 w 1969770"/>
                  <a:gd name="connsiteY492" fmla="*/ 656273 h 1744979"/>
                  <a:gd name="connsiteX493" fmla="*/ 148590 w 1969770"/>
                  <a:gd name="connsiteY493" fmla="*/ 642938 h 1744979"/>
                  <a:gd name="connsiteX494" fmla="*/ 154305 w 1969770"/>
                  <a:gd name="connsiteY494" fmla="*/ 630555 h 1744979"/>
                  <a:gd name="connsiteX495" fmla="*/ 160020 w 1969770"/>
                  <a:gd name="connsiteY495" fmla="*/ 618173 h 1744979"/>
                  <a:gd name="connsiteX496" fmla="*/ 166688 w 1969770"/>
                  <a:gd name="connsiteY496" fmla="*/ 607695 h 1744979"/>
                  <a:gd name="connsiteX497" fmla="*/ 174308 w 1969770"/>
                  <a:gd name="connsiteY497" fmla="*/ 597218 h 1744979"/>
                  <a:gd name="connsiteX498" fmla="*/ 181928 w 1969770"/>
                  <a:gd name="connsiteY498" fmla="*/ 586740 h 1744979"/>
                  <a:gd name="connsiteX499" fmla="*/ 189548 w 1969770"/>
                  <a:gd name="connsiteY499" fmla="*/ 577215 h 1744979"/>
                  <a:gd name="connsiteX500" fmla="*/ 198120 w 1969770"/>
                  <a:gd name="connsiteY500" fmla="*/ 567690 h 1744979"/>
                  <a:gd name="connsiteX501" fmla="*/ 206693 w 1969770"/>
                  <a:gd name="connsiteY501" fmla="*/ 559118 h 1744979"/>
                  <a:gd name="connsiteX502" fmla="*/ 216218 w 1969770"/>
                  <a:gd name="connsiteY502" fmla="*/ 550545 h 1744979"/>
                  <a:gd name="connsiteX503" fmla="*/ 225743 w 1969770"/>
                  <a:gd name="connsiteY503" fmla="*/ 541973 h 1744979"/>
                  <a:gd name="connsiteX504" fmla="*/ 235268 w 1969770"/>
                  <a:gd name="connsiteY504" fmla="*/ 534353 h 1744979"/>
                  <a:gd name="connsiteX505" fmla="*/ 255270 w 1969770"/>
                  <a:gd name="connsiteY505" fmla="*/ 518160 h 1744979"/>
                  <a:gd name="connsiteX506" fmla="*/ 275273 w 1969770"/>
                  <a:gd name="connsiteY506" fmla="*/ 502920 h 1744979"/>
                  <a:gd name="connsiteX507" fmla="*/ 285750 w 1969770"/>
                  <a:gd name="connsiteY507" fmla="*/ 495300 h 1744979"/>
                  <a:gd name="connsiteX508" fmla="*/ 296228 w 1969770"/>
                  <a:gd name="connsiteY508" fmla="*/ 487680 h 1744979"/>
                  <a:gd name="connsiteX509" fmla="*/ 305753 w 1969770"/>
                  <a:gd name="connsiteY509" fmla="*/ 480060 h 1744979"/>
                  <a:gd name="connsiteX510" fmla="*/ 315278 w 1969770"/>
                  <a:gd name="connsiteY510" fmla="*/ 471488 h 1744979"/>
                  <a:gd name="connsiteX511" fmla="*/ 324803 w 1969770"/>
                  <a:gd name="connsiteY511" fmla="*/ 462915 h 1744979"/>
                  <a:gd name="connsiteX512" fmla="*/ 334328 w 1969770"/>
                  <a:gd name="connsiteY512" fmla="*/ 454343 h 1744979"/>
                  <a:gd name="connsiteX513" fmla="*/ 343853 w 1969770"/>
                  <a:gd name="connsiteY513" fmla="*/ 445770 h 1744979"/>
                  <a:gd name="connsiteX514" fmla="*/ 352425 w 1969770"/>
                  <a:gd name="connsiteY514" fmla="*/ 436245 h 1744979"/>
                  <a:gd name="connsiteX515" fmla="*/ 360045 w 1969770"/>
                  <a:gd name="connsiteY515" fmla="*/ 426720 h 1744979"/>
                  <a:gd name="connsiteX516" fmla="*/ 367665 w 1969770"/>
                  <a:gd name="connsiteY516" fmla="*/ 416243 h 1744979"/>
                  <a:gd name="connsiteX517" fmla="*/ 375285 w 1969770"/>
                  <a:gd name="connsiteY517" fmla="*/ 405765 h 1744979"/>
                  <a:gd name="connsiteX518" fmla="*/ 381953 w 1969770"/>
                  <a:gd name="connsiteY518" fmla="*/ 394335 h 1744979"/>
                  <a:gd name="connsiteX519" fmla="*/ 388620 w 1969770"/>
                  <a:gd name="connsiteY519" fmla="*/ 381953 h 1744979"/>
                  <a:gd name="connsiteX520" fmla="*/ 394335 w 1969770"/>
                  <a:gd name="connsiteY520" fmla="*/ 369570 h 1744979"/>
                  <a:gd name="connsiteX521" fmla="*/ 399098 w 1969770"/>
                  <a:gd name="connsiteY521" fmla="*/ 356235 h 1744979"/>
                  <a:gd name="connsiteX522" fmla="*/ 403860 w 1969770"/>
                  <a:gd name="connsiteY522" fmla="*/ 341948 h 1744979"/>
                  <a:gd name="connsiteX523" fmla="*/ 394335 w 1969770"/>
                  <a:gd name="connsiteY523" fmla="*/ 351473 h 1744979"/>
                  <a:gd name="connsiteX524" fmla="*/ 384810 w 1969770"/>
                  <a:gd name="connsiteY524" fmla="*/ 360045 h 1744979"/>
                  <a:gd name="connsiteX525" fmla="*/ 374333 w 1969770"/>
                  <a:gd name="connsiteY525" fmla="*/ 368618 h 1744979"/>
                  <a:gd name="connsiteX526" fmla="*/ 363855 w 1969770"/>
                  <a:gd name="connsiteY526" fmla="*/ 376238 h 1744979"/>
                  <a:gd name="connsiteX527" fmla="*/ 353378 w 1969770"/>
                  <a:gd name="connsiteY527" fmla="*/ 383858 h 1744979"/>
                  <a:gd name="connsiteX528" fmla="*/ 341948 w 1969770"/>
                  <a:gd name="connsiteY528" fmla="*/ 390525 h 1744979"/>
                  <a:gd name="connsiteX529" fmla="*/ 331470 w 1969770"/>
                  <a:gd name="connsiteY529" fmla="*/ 397193 h 1744979"/>
                  <a:gd name="connsiteX530" fmla="*/ 320040 w 1969770"/>
                  <a:gd name="connsiteY530" fmla="*/ 404813 h 1744979"/>
                  <a:gd name="connsiteX531" fmla="*/ 297180 w 1969770"/>
                  <a:gd name="connsiteY531" fmla="*/ 419100 h 1744979"/>
                  <a:gd name="connsiteX532" fmla="*/ 274320 w 1969770"/>
                  <a:gd name="connsiteY532" fmla="*/ 434340 h 1744979"/>
                  <a:gd name="connsiteX533" fmla="*/ 262890 w 1969770"/>
                  <a:gd name="connsiteY533" fmla="*/ 441960 h 1744979"/>
                  <a:gd name="connsiteX534" fmla="*/ 252413 w 1969770"/>
                  <a:gd name="connsiteY534" fmla="*/ 450533 h 1744979"/>
                  <a:gd name="connsiteX535" fmla="*/ 241935 w 1969770"/>
                  <a:gd name="connsiteY535" fmla="*/ 460058 h 1744979"/>
                  <a:gd name="connsiteX536" fmla="*/ 231458 w 1969770"/>
                  <a:gd name="connsiteY536" fmla="*/ 469583 h 1744979"/>
                  <a:gd name="connsiteX537" fmla="*/ 221933 w 1969770"/>
                  <a:gd name="connsiteY537" fmla="*/ 479108 h 1744979"/>
                  <a:gd name="connsiteX538" fmla="*/ 213360 w 1969770"/>
                  <a:gd name="connsiteY538" fmla="*/ 488633 h 1744979"/>
                  <a:gd name="connsiteX539" fmla="*/ 205740 w 1969770"/>
                  <a:gd name="connsiteY539" fmla="*/ 498158 h 1744979"/>
                  <a:gd name="connsiteX540" fmla="*/ 199073 w 1969770"/>
                  <a:gd name="connsiteY540" fmla="*/ 508635 h 1744979"/>
                  <a:gd name="connsiteX541" fmla="*/ 192405 w 1969770"/>
                  <a:gd name="connsiteY541" fmla="*/ 519113 h 1744979"/>
                  <a:gd name="connsiteX542" fmla="*/ 186690 w 1969770"/>
                  <a:gd name="connsiteY542" fmla="*/ 529590 h 1744979"/>
                  <a:gd name="connsiteX543" fmla="*/ 180975 w 1969770"/>
                  <a:gd name="connsiteY543" fmla="*/ 540068 h 1744979"/>
                  <a:gd name="connsiteX544" fmla="*/ 175260 w 1969770"/>
                  <a:gd name="connsiteY544" fmla="*/ 551498 h 1744979"/>
                  <a:gd name="connsiteX545" fmla="*/ 180023 w 1969770"/>
                  <a:gd name="connsiteY545" fmla="*/ 534353 h 1744979"/>
                  <a:gd name="connsiteX546" fmla="*/ 184785 w 1969770"/>
                  <a:gd name="connsiteY546" fmla="*/ 517208 h 1744979"/>
                  <a:gd name="connsiteX547" fmla="*/ 188595 w 1969770"/>
                  <a:gd name="connsiteY547" fmla="*/ 500063 h 1744979"/>
                  <a:gd name="connsiteX548" fmla="*/ 192405 w 1969770"/>
                  <a:gd name="connsiteY548" fmla="*/ 482918 h 1744979"/>
                  <a:gd name="connsiteX549" fmla="*/ 195263 w 1969770"/>
                  <a:gd name="connsiteY549" fmla="*/ 465773 h 1744979"/>
                  <a:gd name="connsiteX550" fmla="*/ 198120 w 1969770"/>
                  <a:gd name="connsiteY550" fmla="*/ 449580 h 1744979"/>
                  <a:gd name="connsiteX551" fmla="*/ 199073 w 1969770"/>
                  <a:gd name="connsiteY551" fmla="*/ 441960 h 1744979"/>
                  <a:gd name="connsiteX552" fmla="*/ 200025 w 1969770"/>
                  <a:gd name="connsiteY552" fmla="*/ 434340 h 1744979"/>
                  <a:gd name="connsiteX553" fmla="*/ 200025 w 1969770"/>
                  <a:gd name="connsiteY553" fmla="*/ 426720 h 1744979"/>
                  <a:gd name="connsiteX554" fmla="*/ 200025 w 1969770"/>
                  <a:gd name="connsiteY554" fmla="*/ 419100 h 1744979"/>
                  <a:gd name="connsiteX555" fmla="*/ 202883 w 1969770"/>
                  <a:gd name="connsiteY555" fmla="*/ 398145 h 1744979"/>
                  <a:gd name="connsiteX556" fmla="*/ 204788 w 1969770"/>
                  <a:gd name="connsiteY556" fmla="*/ 382905 h 1744979"/>
                  <a:gd name="connsiteX557" fmla="*/ 206693 w 1969770"/>
                  <a:gd name="connsiteY557" fmla="*/ 370523 h 1744979"/>
                  <a:gd name="connsiteX558" fmla="*/ 208598 w 1969770"/>
                  <a:gd name="connsiteY558" fmla="*/ 360045 h 1744979"/>
                  <a:gd name="connsiteX559" fmla="*/ 209550 w 1969770"/>
                  <a:gd name="connsiteY559" fmla="*/ 355283 h 1744979"/>
                  <a:gd name="connsiteX560" fmla="*/ 211455 w 1969770"/>
                  <a:gd name="connsiteY560" fmla="*/ 350520 h 1744979"/>
                  <a:gd name="connsiteX561" fmla="*/ 213360 w 1969770"/>
                  <a:gd name="connsiteY561" fmla="*/ 344805 h 1744979"/>
                  <a:gd name="connsiteX562" fmla="*/ 215265 w 1969770"/>
                  <a:gd name="connsiteY562" fmla="*/ 339090 h 1744979"/>
                  <a:gd name="connsiteX563" fmla="*/ 220980 w 1969770"/>
                  <a:gd name="connsiteY563" fmla="*/ 324803 h 1744979"/>
                  <a:gd name="connsiteX564" fmla="*/ 228600 w 1969770"/>
                  <a:gd name="connsiteY564" fmla="*/ 305753 h 1744979"/>
                  <a:gd name="connsiteX565" fmla="*/ 231458 w 1969770"/>
                  <a:gd name="connsiteY565" fmla="*/ 300038 h 1744979"/>
                  <a:gd name="connsiteX566" fmla="*/ 237173 w 1969770"/>
                  <a:gd name="connsiteY566" fmla="*/ 292418 h 1744979"/>
                  <a:gd name="connsiteX567" fmla="*/ 241935 w 1969770"/>
                  <a:gd name="connsiteY567" fmla="*/ 284798 h 1744979"/>
                  <a:gd name="connsiteX568" fmla="*/ 244793 w 1969770"/>
                  <a:gd name="connsiteY568" fmla="*/ 279083 h 1744979"/>
                  <a:gd name="connsiteX569" fmla="*/ 238125 w 1969770"/>
                  <a:gd name="connsiteY569" fmla="*/ 285750 h 1744979"/>
                  <a:gd name="connsiteX570" fmla="*/ 232410 w 1969770"/>
                  <a:gd name="connsiteY570" fmla="*/ 290513 h 1744979"/>
                  <a:gd name="connsiteX571" fmla="*/ 226695 w 1969770"/>
                  <a:gd name="connsiteY571" fmla="*/ 294323 h 1744979"/>
                  <a:gd name="connsiteX572" fmla="*/ 220980 w 1969770"/>
                  <a:gd name="connsiteY572" fmla="*/ 299085 h 1744979"/>
                  <a:gd name="connsiteX573" fmla="*/ 215265 w 1969770"/>
                  <a:gd name="connsiteY573" fmla="*/ 303848 h 1744979"/>
                  <a:gd name="connsiteX574" fmla="*/ 210503 w 1969770"/>
                  <a:gd name="connsiteY574" fmla="*/ 308610 h 1744979"/>
                  <a:gd name="connsiteX575" fmla="*/ 205740 w 1969770"/>
                  <a:gd name="connsiteY575" fmla="*/ 313373 h 1744979"/>
                  <a:gd name="connsiteX576" fmla="*/ 200978 w 1969770"/>
                  <a:gd name="connsiteY576" fmla="*/ 318135 h 1744979"/>
                  <a:gd name="connsiteX577" fmla="*/ 196215 w 1969770"/>
                  <a:gd name="connsiteY577" fmla="*/ 322898 h 1744979"/>
                  <a:gd name="connsiteX578" fmla="*/ 192405 w 1969770"/>
                  <a:gd name="connsiteY578" fmla="*/ 328613 h 1744979"/>
                  <a:gd name="connsiteX579" fmla="*/ 189548 w 1969770"/>
                  <a:gd name="connsiteY579" fmla="*/ 333375 h 1744979"/>
                  <a:gd name="connsiteX580" fmla="*/ 185738 w 1969770"/>
                  <a:gd name="connsiteY580" fmla="*/ 339090 h 1744979"/>
                  <a:gd name="connsiteX581" fmla="*/ 180975 w 1969770"/>
                  <a:gd name="connsiteY581" fmla="*/ 343853 h 1744979"/>
                  <a:gd name="connsiteX582" fmla="*/ 177165 w 1969770"/>
                  <a:gd name="connsiteY582" fmla="*/ 349568 h 1744979"/>
                  <a:gd name="connsiteX583" fmla="*/ 173355 w 1969770"/>
                  <a:gd name="connsiteY583" fmla="*/ 355283 h 1744979"/>
                  <a:gd name="connsiteX584" fmla="*/ 171450 w 1969770"/>
                  <a:gd name="connsiteY584" fmla="*/ 360045 h 1744979"/>
                  <a:gd name="connsiteX585" fmla="*/ 168593 w 1969770"/>
                  <a:gd name="connsiteY585" fmla="*/ 365760 h 1744979"/>
                  <a:gd name="connsiteX586" fmla="*/ 164783 w 1969770"/>
                  <a:gd name="connsiteY586" fmla="*/ 371475 h 1744979"/>
                  <a:gd name="connsiteX587" fmla="*/ 161925 w 1969770"/>
                  <a:gd name="connsiteY587" fmla="*/ 377190 h 1744979"/>
                  <a:gd name="connsiteX588" fmla="*/ 159068 w 1969770"/>
                  <a:gd name="connsiteY588" fmla="*/ 382905 h 1744979"/>
                  <a:gd name="connsiteX589" fmla="*/ 154305 w 1969770"/>
                  <a:gd name="connsiteY589" fmla="*/ 395288 h 1744979"/>
                  <a:gd name="connsiteX590" fmla="*/ 149543 w 1969770"/>
                  <a:gd name="connsiteY590" fmla="*/ 407670 h 1744979"/>
                  <a:gd name="connsiteX591" fmla="*/ 145733 w 1969770"/>
                  <a:gd name="connsiteY591" fmla="*/ 421005 h 1744979"/>
                  <a:gd name="connsiteX592" fmla="*/ 142875 w 1969770"/>
                  <a:gd name="connsiteY592" fmla="*/ 435293 h 1744979"/>
                  <a:gd name="connsiteX593" fmla="*/ 140018 w 1969770"/>
                  <a:gd name="connsiteY593" fmla="*/ 449580 h 1744979"/>
                  <a:gd name="connsiteX594" fmla="*/ 138113 w 1969770"/>
                  <a:gd name="connsiteY594" fmla="*/ 463868 h 1744979"/>
                  <a:gd name="connsiteX595" fmla="*/ 136208 w 1969770"/>
                  <a:gd name="connsiteY595" fmla="*/ 476250 h 1744979"/>
                  <a:gd name="connsiteX596" fmla="*/ 135255 w 1969770"/>
                  <a:gd name="connsiteY596" fmla="*/ 488633 h 1744979"/>
                  <a:gd name="connsiteX597" fmla="*/ 135255 w 1969770"/>
                  <a:gd name="connsiteY597" fmla="*/ 501015 h 1744979"/>
                  <a:gd name="connsiteX598" fmla="*/ 134303 w 1969770"/>
                  <a:gd name="connsiteY598" fmla="*/ 512445 h 1744979"/>
                  <a:gd name="connsiteX599" fmla="*/ 134303 w 1969770"/>
                  <a:gd name="connsiteY599" fmla="*/ 523875 h 1744979"/>
                  <a:gd name="connsiteX600" fmla="*/ 134303 w 1969770"/>
                  <a:gd name="connsiteY600" fmla="*/ 535305 h 1744979"/>
                  <a:gd name="connsiteX601" fmla="*/ 134303 w 1969770"/>
                  <a:gd name="connsiteY601" fmla="*/ 546735 h 1744979"/>
                  <a:gd name="connsiteX602" fmla="*/ 135255 w 1969770"/>
                  <a:gd name="connsiteY602" fmla="*/ 558165 h 1744979"/>
                  <a:gd name="connsiteX603" fmla="*/ 136208 w 1969770"/>
                  <a:gd name="connsiteY603" fmla="*/ 581025 h 1744979"/>
                  <a:gd name="connsiteX604" fmla="*/ 138113 w 1969770"/>
                  <a:gd name="connsiteY604" fmla="*/ 604838 h 1744979"/>
                  <a:gd name="connsiteX605" fmla="*/ 140970 w 1969770"/>
                  <a:gd name="connsiteY605" fmla="*/ 629603 h 1744979"/>
                  <a:gd name="connsiteX606" fmla="*/ 143828 w 1969770"/>
                  <a:gd name="connsiteY606" fmla="*/ 656273 h 1744979"/>
                  <a:gd name="connsiteX607" fmla="*/ 143828 w 1969770"/>
                  <a:gd name="connsiteY607" fmla="*/ 656273 h 1744979"/>
                  <a:gd name="connsiteX608" fmla="*/ 419100 w 1969770"/>
                  <a:gd name="connsiteY608" fmla="*/ 1446848 h 1744979"/>
                  <a:gd name="connsiteX609" fmla="*/ 413385 w 1969770"/>
                  <a:gd name="connsiteY609" fmla="*/ 1438275 h 1744979"/>
                  <a:gd name="connsiteX610" fmla="*/ 407670 w 1969770"/>
                  <a:gd name="connsiteY610" fmla="*/ 1428750 h 1744979"/>
                  <a:gd name="connsiteX611" fmla="*/ 402908 w 1969770"/>
                  <a:gd name="connsiteY611" fmla="*/ 1419225 h 1744979"/>
                  <a:gd name="connsiteX612" fmla="*/ 399098 w 1969770"/>
                  <a:gd name="connsiteY612" fmla="*/ 1409700 h 1744979"/>
                  <a:gd name="connsiteX613" fmla="*/ 395288 w 1969770"/>
                  <a:gd name="connsiteY613" fmla="*/ 1399223 h 1744979"/>
                  <a:gd name="connsiteX614" fmla="*/ 391478 w 1969770"/>
                  <a:gd name="connsiteY614" fmla="*/ 1388745 h 1744979"/>
                  <a:gd name="connsiteX615" fmla="*/ 388620 w 1969770"/>
                  <a:gd name="connsiteY615" fmla="*/ 1378268 h 1744979"/>
                  <a:gd name="connsiteX616" fmla="*/ 385763 w 1969770"/>
                  <a:gd name="connsiteY616" fmla="*/ 1367790 h 1744979"/>
                  <a:gd name="connsiteX617" fmla="*/ 382905 w 1969770"/>
                  <a:gd name="connsiteY617" fmla="*/ 1356360 h 1744979"/>
                  <a:gd name="connsiteX618" fmla="*/ 380048 w 1969770"/>
                  <a:gd name="connsiteY618" fmla="*/ 1344930 h 1744979"/>
                  <a:gd name="connsiteX619" fmla="*/ 378143 w 1969770"/>
                  <a:gd name="connsiteY619" fmla="*/ 1333500 h 1744979"/>
                  <a:gd name="connsiteX620" fmla="*/ 375285 w 1969770"/>
                  <a:gd name="connsiteY620" fmla="*/ 1322070 h 1744979"/>
                  <a:gd name="connsiteX621" fmla="*/ 371475 w 1969770"/>
                  <a:gd name="connsiteY621" fmla="*/ 1299210 h 1744979"/>
                  <a:gd name="connsiteX622" fmla="*/ 366713 w 1969770"/>
                  <a:gd name="connsiteY622" fmla="*/ 1275398 h 1744979"/>
                  <a:gd name="connsiteX623" fmla="*/ 361950 w 1969770"/>
                  <a:gd name="connsiteY623" fmla="*/ 1251585 h 1744979"/>
                  <a:gd name="connsiteX624" fmla="*/ 356235 w 1969770"/>
                  <a:gd name="connsiteY624" fmla="*/ 1227773 h 1744979"/>
                  <a:gd name="connsiteX625" fmla="*/ 353378 w 1969770"/>
                  <a:gd name="connsiteY625" fmla="*/ 1215390 h 1744979"/>
                  <a:gd name="connsiteX626" fmla="*/ 350520 w 1969770"/>
                  <a:gd name="connsiteY626" fmla="*/ 1203960 h 1744979"/>
                  <a:gd name="connsiteX627" fmla="*/ 346710 w 1969770"/>
                  <a:gd name="connsiteY627" fmla="*/ 1192530 h 1744979"/>
                  <a:gd name="connsiteX628" fmla="*/ 342900 w 1969770"/>
                  <a:gd name="connsiteY628" fmla="*/ 1181100 h 1744979"/>
                  <a:gd name="connsiteX629" fmla="*/ 339090 w 1969770"/>
                  <a:gd name="connsiteY629" fmla="*/ 1169670 h 1744979"/>
                  <a:gd name="connsiteX630" fmla="*/ 334328 w 1969770"/>
                  <a:gd name="connsiteY630" fmla="*/ 1158240 h 1744979"/>
                  <a:gd name="connsiteX631" fmla="*/ 328613 w 1969770"/>
                  <a:gd name="connsiteY631" fmla="*/ 1147763 h 1744979"/>
                  <a:gd name="connsiteX632" fmla="*/ 322898 w 1969770"/>
                  <a:gd name="connsiteY632" fmla="*/ 1137285 h 1744979"/>
                  <a:gd name="connsiteX633" fmla="*/ 316230 w 1969770"/>
                  <a:gd name="connsiteY633" fmla="*/ 1126808 h 1744979"/>
                  <a:gd name="connsiteX634" fmla="*/ 309563 w 1969770"/>
                  <a:gd name="connsiteY634" fmla="*/ 1116330 h 1744979"/>
                  <a:gd name="connsiteX635" fmla="*/ 301943 w 1969770"/>
                  <a:gd name="connsiteY635" fmla="*/ 1106805 h 1744979"/>
                  <a:gd name="connsiteX636" fmla="*/ 294323 w 1969770"/>
                  <a:gd name="connsiteY636" fmla="*/ 1097280 h 1744979"/>
                  <a:gd name="connsiteX637" fmla="*/ 295275 w 1969770"/>
                  <a:gd name="connsiteY637" fmla="*/ 1118235 h 1744979"/>
                  <a:gd name="connsiteX638" fmla="*/ 295275 w 1969770"/>
                  <a:gd name="connsiteY638" fmla="*/ 1138238 h 1744979"/>
                  <a:gd name="connsiteX639" fmla="*/ 295275 w 1969770"/>
                  <a:gd name="connsiteY639" fmla="*/ 1158240 h 1744979"/>
                  <a:gd name="connsiteX640" fmla="*/ 295275 w 1969770"/>
                  <a:gd name="connsiteY640" fmla="*/ 1177290 h 1744979"/>
                  <a:gd name="connsiteX641" fmla="*/ 295275 w 1969770"/>
                  <a:gd name="connsiteY641" fmla="*/ 1195388 h 1744979"/>
                  <a:gd name="connsiteX642" fmla="*/ 295275 w 1969770"/>
                  <a:gd name="connsiteY642" fmla="*/ 1212533 h 1744979"/>
                  <a:gd name="connsiteX643" fmla="*/ 295275 w 1969770"/>
                  <a:gd name="connsiteY643" fmla="*/ 1229678 h 1744979"/>
                  <a:gd name="connsiteX644" fmla="*/ 295275 w 1969770"/>
                  <a:gd name="connsiteY644" fmla="*/ 1245870 h 1744979"/>
                  <a:gd name="connsiteX645" fmla="*/ 295275 w 1969770"/>
                  <a:gd name="connsiteY645" fmla="*/ 1254443 h 1744979"/>
                  <a:gd name="connsiteX646" fmla="*/ 296228 w 1969770"/>
                  <a:gd name="connsiteY646" fmla="*/ 1262063 h 1744979"/>
                  <a:gd name="connsiteX647" fmla="*/ 297180 w 1969770"/>
                  <a:gd name="connsiteY647" fmla="*/ 1269683 h 1744979"/>
                  <a:gd name="connsiteX648" fmla="*/ 298133 w 1969770"/>
                  <a:gd name="connsiteY648" fmla="*/ 1277303 h 1744979"/>
                  <a:gd name="connsiteX649" fmla="*/ 299085 w 1969770"/>
                  <a:gd name="connsiteY649" fmla="*/ 1284923 h 1744979"/>
                  <a:gd name="connsiteX650" fmla="*/ 300038 w 1969770"/>
                  <a:gd name="connsiteY650" fmla="*/ 1292543 h 1744979"/>
                  <a:gd name="connsiteX651" fmla="*/ 301943 w 1969770"/>
                  <a:gd name="connsiteY651" fmla="*/ 1300163 h 1744979"/>
                  <a:gd name="connsiteX652" fmla="*/ 303848 w 1969770"/>
                  <a:gd name="connsiteY652" fmla="*/ 1307783 h 1744979"/>
                  <a:gd name="connsiteX653" fmla="*/ 306705 w 1969770"/>
                  <a:gd name="connsiteY653" fmla="*/ 1315403 h 1744979"/>
                  <a:gd name="connsiteX654" fmla="*/ 309563 w 1969770"/>
                  <a:gd name="connsiteY654" fmla="*/ 1323023 h 1744979"/>
                  <a:gd name="connsiteX655" fmla="*/ 312420 w 1969770"/>
                  <a:gd name="connsiteY655" fmla="*/ 1330643 h 1744979"/>
                  <a:gd name="connsiteX656" fmla="*/ 316230 w 1969770"/>
                  <a:gd name="connsiteY656" fmla="*/ 1338263 h 1744979"/>
                  <a:gd name="connsiteX657" fmla="*/ 320040 w 1969770"/>
                  <a:gd name="connsiteY657" fmla="*/ 1344930 h 1744979"/>
                  <a:gd name="connsiteX658" fmla="*/ 324803 w 1969770"/>
                  <a:gd name="connsiteY658" fmla="*/ 1352550 h 1744979"/>
                  <a:gd name="connsiteX659" fmla="*/ 329565 w 1969770"/>
                  <a:gd name="connsiteY659" fmla="*/ 1360170 h 1744979"/>
                  <a:gd name="connsiteX660" fmla="*/ 335280 w 1969770"/>
                  <a:gd name="connsiteY660" fmla="*/ 1366838 h 1744979"/>
                  <a:gd name="connsiteX661" fmla="*/ 325755 w 1969770"/>
                  <a:gd name="connsiteY661" fmla="*/ 1358265 h 1744979"/>
                  <a:gd name="connsiteX662" fmla="*/ 315278 w 1969770"/>
                  <a:gd name="connsiteY662" fmla="*/ 1348740 h 1744979"/>
                  <a:gd name="connsiteX663" fmla="*/ 302895 w 1969770"/>
                  <a:gd name="connsiteY663" fmla="*/ 1338263 h 1744979"/>
                  <a:gd name="connsiteX664" fmla="*/ 288608 w 1969770"/>
                  <a:gd name="connsiteY664" fmla="*/ 1327785 h 1744979"/>
                  <a:gd name="connsiteX665" fmla="*/ 280988 w 1969770"/>
                  <a:gd name="connsiteY665" fmla="*/ 1322070 h 1744979"/>
                  <a:gd name="connsiteX666" fmla="*/ 273368 w 1969770"/>
                  <a:gd name="connsiteY666" fmla="*/ 1316355 h 1744979"/>
                  <a:gd name="connsiteX667" fmla="*/ 264795 w 1969770"/>
                  <a:gd name="connsiteY667" fmla="*/ 1310640 h 1744979"/>
                  <a:gd name="connsiteX668" fmla="*/ 255270 w 1969770"/>
                  <a:gd name="connsiteY668" fmla="*/ 1304925 h 1744979"/>
                  <a:gd name="connsiteX669" fmla="*/ 245745 w 1969770"/>
                  <a:gd name="connsiteY669" fmla="*/ 1299210 h 1744979"/>
                  <a:gd name="connsiteX670" fmla="*/ 235268 w 1969770"/>
                  <a:gd name="connsiteY670" fmla="*/ 1294448 h 1744979"/>
                  <a:gd name="connsiteX671" fmla="*/ 224790 w 1969770"/>
                  <a:gd name="connsiteY671" fmla="*/ 1289685 h 1744979"/>
                  <a:gd name="connsiteX672" fmla="*/ 213360 w 1969770"/>
                  <a:gd name="connsiteY672" fmla="*/ 1284923 h 1744979"/>
                  <a:gd name="connsiteX673" fmla="*/ 206693 w 1969770"/>
                  <a:gd name="connsiteY673" fmla="*/ 1282065 h 1744979"/>
                  <a:gd name="connsiteX674" fmla="*/ 200025 w 1969770"/>
                  <a:gd name="connsiteY674" fmla="*/ 1279208 h 1744979"/>
                  <a:gd name="connsiteX675" fmla="*/ 193358 w 1969770"/>
                  <a:gd name="connsiteY675" fmla="*/ 1276350 h 1744979"/>
                  <a:gd name="connsiteX676" fmla="*/ 186690 w 1969770"/>
                  <a:gd name="connsiteY676" fmla="*/ 1272540 h 1744979"/>
                  <a:gd name="connsiteX677" fmla="*/ 180023 w 1969770"/>
                  <a:gd name="connsiteY677" fmla="*/ 1268730 h 1744979"/>
                  <a:gd name="connsiteX678" fmla="*/ 174308 w 1969770"/>
                  <a:gd name="connsiteY678" fmla="*/ 1264920 h 1744979"/>
                  <a:gd name="connsiteX679" fmla="*/ 168593 w 1969770"/>
                  <a:gd name="connsiteY679" fmla="*/ 1261110 h 1744979"/>
                  <a:gd name="connsiteX680" fmla="*/ 161925 w 1969770"/>
                  <a:gd name="connsiteY680" fmla="*/ 1257300 h 1744979"/>
                  <a:gd name="connsiteX681" fmla="*/ 150495 w 1969770"/>
                  <a:gd name="connsiteY681" fmla="*/ 1248728 h 1744979"/>
                  <a:gd name="connsiteX682" fmla="*/ 140018 w 1969770"/>
                  <a:gd name="connsiteY682" fmla="*/ 1240155 h 1744979"/>
                  <a:gd name="connsiteX683" fmla="*/ 129540 w 1969770"/>
                  <a:gd name="connsiteY683" fmla="*/ 1230630 h 1744979"/>
                  <a:gd name="connsiteX684" fmla="*/ 119063 w 1969770"/>
                  <a:gd name="connsiteY684" fmla="*/ 1221105 h 1744979"/>
                  <a:gd name="connsiteX685" fmla="*/ 109538 w 1969770"/>
                  <a:gd name="connsiteY685" fmla="*/ 1211580 h 1744979"/>
                  <a:gd name="connsiteX686" fmla="*/ 100013 w 1969770"/>
                  <a:gd name="connsiteY686" fmla="*/ 1202055 h 1744979"/>
                  <a:gd name="connsiteX687" fmla="*/ 90488 w 1969770"/>
                  <a:gd name="connsiteY687" fmla="*/ 1192530 h 1744979"/>
                  <a:gd name="connsiteX688" fmla="*/ 80963 w 1969770"/>
                  <a:gd name="connsiteY688" fmla="*/ 1183005 h 1744979"/>
                  <a:gd name="connsiteX689" fmla="*/ 63818 w 1969770"/>
                  <a:gd name="connsiteY689" fmla="*/ 1163955 h 1744979"/>
                  <a:gd name="connsiteX690" fmla="*/ 47625 w 1969770"/>
                  <a:gd name="connsiteY690" fmla="*/ 1146810 h 1744979"/>
                  <a:gd name="connsiteX691" fmla="*/ 53340 w 1969770"/>
                  <a:gd name="connsiteY691" fmla="*/ 1160145 h 1744979"/>
                  <a:gd name="connsiteX692" fmla="*/ 60960 w 1969770"/>
                  <a:gd name="connsiteY692" fmla="*/ 1184910 h 1744979"/>
                  <a:gd name="connsiteX693" fmla="*/ 69533 w 1969770"/>
                  <a:gd name="connsiteY693" fmla="*/ 1207770 h 1744979"/>
                  <a:gd name="connsiteX694" fmla="*/ 79058 w 1969770"/>
                  <a:gd name="connsiteY694" fmla="*/ 1228725 h 1744979"/>
                  <a:gd name="connsiteX695" fmla="*/ 89535 w 1969770"/>
                  <a:gd name="connsiteY695" fmla="*/ 1248728 h 1744979"/>
                  <a:gd name="connsiteX696" fmla="*/ 100013 w 1969770"/>
                  <a:gd name="connsiteY696" fmla="*/ 1266825 h 1744979"/>
                  <a:gd name="connsiteX697" fmla="*/ 111443 w 1969770"/>
                  <a:gd name="connsiteY697" fmla="*/ 1283970 h 1744979"/>
                  <a:gd name="connsiteX698" fmla="*/ 123825 w 1969770"/>
                  <a:gd name="connsiteY698" fmla="*/ 1299210 h 1744979"/>
                  <a:gd name="connsiteX699" fmla="*/ 136208 w 1969770"/>
                  <a:gd name="connsiteY699" fmla="*/ 1313498 h 1744979"/>
                  <a:gd name="connsiteX700" fmla="*/ 149543 w 1969770"/>
                  <a:gd name="connsiteY700" fmla="*/ 1326833 h 1744979"/>
                  <a:gd name="connsiteX701" fmla="*/ 162878 w 1969770"/>
                  <a:gd name="connsiteY701" fmla="*/ 1338263 h 1744979"/>
                  <a:gd name="connsiteX702" fmla="*/ 176213 w 1969770"/>
                  <a:gd name="connsiteY702" fmla="*/ 1348740 h 1744979"/>
                  <a:gd name="connsiteX703" fmla="*/ 190500 w 1969770"/>
                  <a:gd name="connsiteY703" fmla="*/ 1358265 h 1744979"/>
                  <a:gd name="connsiteX704" fmla="*/ 204788 w 1969770"/>
                  <a:gd name="connsiteY704" fmla="*/ 1366838 h 1744979"/>
                  <a:gd name="connsiteX705" fmla="*/ 219075 w 1969770"/>
                  <a:gd name="connsiteY705" fmla="*/ 1374458 h 1744979"/>
                  <a:gd name="connsiteX706" fmla="*/ 233363 w 1969770"/>
                  <a:gd name="connsiteY706" fmla="*/ 1381125 h 1744979"/>
                  <a:gd name="connsiteX707" fmla="*/ 247650 w 1969770"/>
                  <a:gd name="connsiteY707" fmla="*/ 1387793 h 1744979"/>
                  <a:gd name="connsiteX708" fmla="*/ 261938 w 1969770"/>
                  <a:gd name="connsiteY708" fmla="*/ 1393508 h 1744979"/>
                  <a:gd name="connsiteX709" fmla="*/ 276225 w 1969770"/>
                  <a:gd name="connsiteY709" fmla="*/ 1398270 h 1744979"/>
                  <a:gd name="connsiteX710" fmla="*/ 290513 w 1969770"/>
                  <a:gd name="connsiteY710" fmla="*/ 1403033 h 1744979"/>
                  <a:gd name="connsiteX711" fmla="*/ 303848 w 1969770"/>
                  <a:gd name="connsiteY711" fmla="*/ 1406843 h 1744979"/>
                  <a:gd name="connsiteX712" fmla="*/ 330518 w 1969770"/>
                  <a:gd name="connsiteY712" fmla="*/ 1413510 h 1744979"/>
                  <a:gd name="connsiteX713" fmla="*/ 354330 w 1969770"/>
                  <a:gd name="connsiteY713" fmla="*/ 1419225 h 1744979"/>
                  <a:gd name="connsiteX714" fmla="*/ 365760 w 1969770"/>
                  <a:gd name="connsiteY714" fmla="*/ 1422083 h 1744979"/>
                  <a:gd name="connsiteX715" fmla="*/ 376238 w 1969770"/>
                  <a:gd name="connsiteY715" fmla="*/ 1424940 h 1744979"/>
                  <a:gd name="connsiteX716" fmla="*/ 385763 w 1969770"/>
                  <a:gd name="connsiteY716" fmla="*/ 1427798 h 1744979"/>
                  <a:gd name="connsiteX717" fmla="*/ 394335 w 1969770"/>
                  <a:gd name="connsiteY717" fmla="*/ 1430655 h 1744979"/>
                  <a:gd name="connsiteX718" fmla="*/ 402908 w 1969770"/>
                  <a:gd name="connsiteY718" fmla="*/ 1434465 h 1744979"/>
                  <a:gd name="connsiteX719" fmla="*/ 409575 w 1969770"/>
                  <a:gd name="connsiteY719" fmla="*/ 1438275 h 1744979"/>
                  <a:gd name="connsiteX720" fmla="*/ 416243 w 1969770"/>
                  <a:gd name="connsiteY720" fmla="*/ 1442085 h 1744979"/>
                  <a:gd name="connsiteX721" fmla="*/ 419100 w 1969770"/>
                  <a:gd name="connsiteY721" fmla="*/ 1446848 h 1744979"/>
                  <a:gd name="connsiteX722" fmla="*/ 419100 w 1969770"/>
                  <a:gd name="connsiteY722" fmla="*/ 1446848 h 1744979"/>
                  <a:gd name="connsiteX723" fmla="*/ 598170 w 1969770"/>
                  <a:gd name="connsiteY723" fmla="*/ 1568768 h 1744979"/>
                  <a:gd name="connsiteX724" fmla="*/ 594360 w 1969770"/>
                  <a:gd name="connsiteY724" fmla="*/ 1563053 h 1744979"/>
                  <a:gd name="connsiteX725" fmla="*/ 590550 w 1969770"/>
                  <a:gd name="connsiteY725" fmla="*/ 1556385 h 1744979"/>
                  <a:gd name="connsiteX726" fmla="*/ 586740 w 1969770"/>
                  <a:gd name="connsiteY726" fmla="*/ 1549718 h 1744979"/>
                  <a:gd name="connsiteX727" fmla="*/ 582930 w 1969770"/>
                  <a:gd name="connsiteY727" fmla="*/ 1543050 h 1744979"/>
                  <a:gd name="connsiteX728" fmla="*/ 576263 w 1969770"/>
                  <a:gd name="connsiteY728" fmla="*/ 1526858 h 1744979"/>
                  <a:gd name="connsiteX729" fmla="*/ 568643 w 1969770"/>
                  <a:gd name="connsiteY729" fmla="*/ 1509713 h 1744979"/>
                  <a:gd name="connsiteX730" fmla="*/ 561023 w 1969770"/>
                  <a:gd name="connsiteY730" fmla="*/ 1490663 h 1744979"/>
                  <a:gd name="connsiteX731" fmla="*/ 553403 w 1969770"/>
                  <a:gd name="connsiteY731" fmla="*/ 1470660 h 1744979"/>
                  <a:gd name="connsiteX732" fmla="*/ 543878 w 1969770"/>
                  <a:gd name="connsiteY732" fmla="*/ 1449705 h 1744979"/>
                  <a:gd name="connsiteX733" fmla="*/ 534353 w 1969770"/>
                  <a:gd name="connsiteY733" fmla="*/ 1428750 h 1744979"/>
                  <a:gd name="connsiteX734" fmla="*/ 528638 w 1969770"/>
                  <a:gd name="connsiteY734" fmla="*/ 1418273 h 1744979"/>
                  <a:gd name="connsiteX735" fmla="*/ 522923 w 1969770"/>
                  <a:gd name="connsiteY735" fmla="*/ 1407795 h 1744979"/>
                  <a:gd name="connsiteX736" fmla="*/ 517208 w 1969770"/>
                  <a:gd name="connsiteY736" fmla="*/ 1397318 h 1744979"/>
                  <a:gd name="connsiteX737" fmla="*/ 510540 w 1969770"/>
                  <a:gd name="connsiteY737" fmla="*/ 1386840 h 1744979"/>
                  <a:gd name="connsiteX738" fmla="*/ 503873 w 1969770"/>
                  <a:gd name="connsiteY738" fmla="*/ 1376363 h 1744979"/>
                  <a:gd name="connsiteX739" fmla="*/ 497205 w 1969770"/>
                  <a:gd name="connsiteY739" fmla="*/ 1365885 h 1744979"/>
                  <a:gd name="connsiteX740" fmla="*/ 489585 w 1969770"/>
                  <a:gd name="connsiteY740" fmla="*/ 1355408 h 1744979"/>
                  <a:gd name="connsiteX741" fmla="*/ 481965 w 1969770"/>
                  <a:gd name="connsiteY741" fmla="*/ 1345883 h 1744979"/>
                  <a:gd name="connsiteX742" fmla="*/ 473393 w 1969770"/>
                  <a:gd name="connsiteY742" fmla="*/ 1336358 h 1744979"/>
                  <a:gd name="connsiteX743" fmla="*/ 464820 w 1969770"/>
                  <a:gd name="connsiteY743" fmla="*/ 1326833 h 1744979"/>
                  <a:gd name="connsiteX744" fmla="*/ 455295 w 1969770"/>
                  <a:gd name="connsiteY744" fmla="*/ 1317308 h 1744979"/>
                  <a:gd name="connsiteX745" fmla="*/ 445770 w 1969770"/>
                  <a:gd name="connsiteY745" fmla="*/ 1308735 h 1744979"/>
                  <a:gd name="connsiteX746" fmla="*/ 435293 w 1969770"/>
                  <a:gd name="connsiteY746" fmla="*/ 1300163 h 1744979"/>
                  <a:gd name="connsiteX747" fmla="*/ 424815 w 1969770"/>
                  <a:gd name="connsiteY747" fmla="*/ 1291590 h 1744979"/>
                  <a:gd name="connsiteX748" fmla="*/ 414338 w 1969770"/>
                  <a:gd name="connsiteY748" fmla="*/ 1283970 h 1744979"/>
                  <a:gd name="connsiteX749" fmla="*/ 402908 w 1969770"/>
                  <a:gd name="connsiteY749" fmla="*/ 1277303 h 1744979"/>
                  <a:gd name="connsiteX750" fmla="*/ 414338 w 1969770"/>
                  <a:gd name="connsiteY750" fmla="*/ 1316355 h 1744979"/>
                  <a:gd name="connsiteX751" fmla="*/ 423863 w 1969770"/>
                  <a:gd name="connsiteY751" fmla="*/ 1352550 h 1744979"/>
                  <a:gd name="connsiteX752" fmla="*/ 428625 w 1969770"/>
                  <a:gd name="connsiteY752" fmla="*/ 1369695 h 1744979"/>
                  <a:gd name="connsiteX753" fmla="*/ 433388 w 1969770"/>
                  <a:gd name="connsiteY753" fmla="*/ 1385888 h 1744979"/>
                  <a:gd name="connsiteX754" fmla="*/ 439103 w 1969770"/>
                  <a:gd name="connsiteY754" fmla="*/ 1402080 h 1744979"/>
                  <a:gd name="connsiteX755" fmla="*/ 444818 w 1969770"/>
                  <a:gd name="connsiteY755" fmla="*/ 1417320 h 1744979"/>
                  <a:gd name="connsiteX756" fmla="*/ 447675 w 1969770"/>
                  <a:gd name="connsiteY756" fmla="*/ 1424940 h 1744979"/>
                  <a:gd name="connsiteX757" fmla="*/ 450533 w 1969770"/>
                  <a:gd name="connsiteY757" fmla="*/ 1431608 h 1744979"/>
                  <a:gd name="connsiteX758" fmla="*/ 454343 w 1969770"/>
                  <a:gd name="connsiteY758" fmla="*/ 1438275 h 1744979"/>
                  <a:gd name="connsiteX759" fmla="*/ 458153 w 1969770"/>
                  <a:gd name="connsiteY759" fmla="*/ 1444943 h 1744979"/>
                  <a:gd name="connsiteX760" fmla="*/ 461963 w 1969770"/>
                  <a:gd name="connsiteY760" fmla="*/ 1451610 h 1744979"/>
                  <a:gd name="connsiteX761" fmla="*/ 465773 w 1969770"/>
                  <a:gd name="connsiteY761" fmla="*/ 1458278 h 1744979"/>
                  <a:gd name="connsiteX762" fmla="*/ 469583 w 1969770"/>
                  <a:gd name="connsiteY762" fmla="*/ 1464945 h 1744979"/>
                  <a:gd name="connsiteX763" fmla="*/ 474345 w 1969770"/>
                  <a:gd name="connsiteY763" fmla="*/ 1471613 h 1744979"/>
                  <a:gd name="connsiteX764" fmla="*/ 479108 w 1969770"/>
                  <a:gd name="connsiteY764" fmla="*/ 1478280 h 1744979"/>
                  <a:gd name="connsiteX765" fmla="*/ 484823 w 1969770"/>
                  <a:gd name="connsiteY765" fmla="*/ 1484948 h 1744979"/>
                  <a:gd name="connsiteX766" fmla="*/ 490538 w 1969770"/>
                  <a:gd name="connsiteY766" fmla="*/ 1491615 h 1744979"/>
                  <a:gd name="connsiteX767" fmla="*/ 496253 w 1969770"/>
                  <a:gd name="connsiteY767" fmla="*/ 1498283 h 1744979"/>
                  <a:gd name="connsiteX768" fmla="*/ 501968 w 1969770"/>
                  <a:gd name="connsiteY768" fmla="*/ 1504950 h 1744979"/>
                  <a:gd name="connsiteX769" fmla="*/ 508635 w 1969770"/>
                  <a:gd name="connsiteY769" fmla="*/ 1510665 h 1744979"/>
                  <a:gd name="connsiteX770" fmla="*/ 515303 w 1969770"/>
                  <a:gd name="connsiteY770" fmla="*/ 1516380 h 1744979"/>
                  <a:gd name="connsiteX771" fmla="*/ 522923 w 1969770"/>
                  <a:gd name="connsiteY771" fmla="*/ 1523048 h 1744979"/>
                  <a:gd name="connsiteX772" fmla="*/ 510540 w 1969770"/>
                  <a:gd name="connsiteY772" fmla="*/ 1517333 h 1744979"/>
                  <a:gd name="connsiteX773" fmla="*/ 494348 w 1969770"/>
                  <a:gd name="connsiteY773" fmla="*/ 1510665 h 1744979"/>
                  <a:gd name="connsiteX774" fmla="*/ 475298 w 1969770"/>
                  <a:gd name="connsiteY774" fmla="*/ 1503045 h 1744979"/>
                  <a:gd name="connsiteX775" fmla="*/ 454343 w 1969770"/>
                  <a:gd name="connsiteY775" fmla="*/ 1495425 h 1744979"/>
                  <a:gd name="connsiteX776" fmla="*/ 442913 w 1969770"/>
                  <a:gd name="connsiteY776" fmla="*/ 1491615 h 1744979"/>
                  <a:gd name="connsiteX777" fmla="*/ 430530 w 1969770"/>
                  <a:gd name="connsiteY777" fmla="*/ 1487805 h 1744979"/>
                  <a:gd name="connsiteX778" fmla="*/ 418148 w 1969770"/>
                  <a:gd name="connsiteY778" fmla="*/ 1483995 h 1744979"/>
                  <a:gd name="connsiteX779" fmla="*/ 405765 w 1969770"/>
                  <a:gd name="connsiteY779" fmla="*/ 1481138 h 1744979"/>
                  <a:gd name="connsiteX780" fmla="*/ 393383 w 1969770"/>
                  <a:gd name="connsiteY780" fmla="*/ 1478280 h 1744979"/>
                  <a:gd name="connsiteX781" fmla="*/ 381000 w 1969770"/>
                  <a:gd name="connsiteY781" fmla="*/ 1475423 h 1744979"/>
                  <a:gd name="connsiteX782" fmla="*/ 368618 w 1969770"/>
                  <a:gd name="connsiteY782" fmla="*/ 1473518 h 1744979"/>
                  <a:gd name="connsiteX783" fmla="*/ 356235 w 1969770"/>
                  <a:gd name="connsiteY783" fmla="*/ 1471613 h 1744979"/>
                  <a:gd name="connsiteX784" fmla="*/ 345758 w 1969770"/>
                  <a:gd name="connsiteY784" fmla="*/ 1470660 h 1744979"/>
                  <a:gd name="connsiteX785" fmla="*/ 335280 w 1969770"/>
                  <a:gd name="connsiteY785" fmla="*/ 1468755 h 1744979"/>
                  <a:gd name="connsiteX786" fmla="*/ 325755 w 1969770"/>
                  <a:gd name="connsiteY786" fmla="*/ 1466850 h 1744979"/>
                  <a:gd name="connsiteX787" fmla="*/ 316230 w 1969770"/>
                  <a:gd name="connsiteY787" fmla="*/ 1464945 h 1744979"/>
                  <a:gd name="connsiteX788" fmla="*/ 307658 w 1969770"/>
                  <a:gd name="connsiteY788" fmla="*/ 1463040 h 1744979"/>
                  <a:gd name="connsiteX789" fmla="*/ 300038 w 1969770"/>
                  <a:gd name="connsiteY789" fmla="*/ 1461135 h 1744979"/>
                  <a:gd name="connsiteX790" fmla="*/ 292418 w 1969770"/>
                  <a:gd name="connsiteY790" fmla="*/ 1459230 h 1744979"/>
                  <a:gd name="connsiteX791" fmla="*/ 284798 w 1969770"/>
                  <a:gd name="connsiteY791" fmla="*/ 1457325 h 1744979"/>
                  <a:gd name="connsiteX792" fmla="*/ 277178 w 1969770"/>
                  <a:gd name="connsiteY792" fmla="*/ 1454468 h 1744979"/>
                  <a:gd name="connsiteX793" fmla="*/ 270510 w 1969770"/>
                  <a:gd name="connsiteY793" fmla="*/ 1451610 h 1744979"/>
                  <a:gd name="connsiteX794" fmla="*/ 263843 w 1969770"/>
                  <a:gd name="connsiteY794" fmla="*/ 1448753 h 1744979"/>
                  <a:gd name="connsiteX795" fmla="*/ 257175 w 1969770"/>
                  <a:gd name="connsiteY795" fmla="*/ 1445895 h 1744979"/>
                  <a:gd name="connsiteX796" fmla="*/ 245745 w 1969770"/>
                  <a:gd name="connsiteY796" fmla="*/ 1440180 h 1744979"/>
                  <a:gd name="connsiteX797" fmla="*/ 235268 w 1969770"/>
                  <a:gd name="connsiteY797" fmla="*/ 1434465 h 1744979"/>
                  <a:gd name="connsiteX798" fmla="*/ 225743 w 1969770"/>
                  <a:gd name="connsiteY798" fmla="*/ 1428750 h 1744979"/>
                  <a:gd name="connsiteX799" fmla="*/ 216218 w 1969770"/>
                  <a:gd name="connsiteY799" fmla="*/ 1423035 h 1744979"/>
                  <a:gd name="connsiteX800" fmla="*/ 207645 w 1969770"/>
                  <a:gd name="connsiteY800" fmla="*/ 1417320 h 1744979"/>
                  <a:gd name="connsiteX801" fmla="*/ 199073 w 1969770"/>
                  <a:gd name="connsiteY801" fmla="*/ 1411605 h 1744979"/>
                  <a:gd name="connsiteX802" fmla="*/ 190500 w 1969770"/>
                  <a:gd name="connsiteY802" fmla="*/ 1405890 h 1744979"/>
                  <a:gd name="connsiteX803" fmla="*/ 181928 w 1969770"/>
                  <a:gd name="connsiteY803" fmla="*/ 1400175 h 1744979"/>
                  <a:gd name="connsiteX804" fmla="*/ 173355 w 1969770"/>
                  <a:gd name="connsiteY804" fmla="*/ 1394460 h 1744979"/>
                  <a:gd name="connsiteX805" fmla="*/ 163830 w 1969770"/>
                  <a:gd name="connsiteY805" fmla="*/ 1388745 h 1744979"/>
                  <a:gd name="connsiteX806" fmla="*/ 177165 w 1969770"/>
                  <a:gd name="connsiteY806" fmla="*/ 1411605 h 1744979"/>
                  <a:gd name="connsiteX807" fmla="*/ 190500 w 1969770"/>
                  <a:gd name="connsiteY807" fmla="*/ 1432560 h 1744979"/>
                  <a:gd name="connsiteX808" fmla="*/ 203835 w 1969770"/>
                  <a:gd name="connsiteY808" fmla="*/ 1451610 h 1744979"/>
                  <a:gd name="connsiteX809" fmla="*/ 218123 w 1969770"/>
                  <a:gd name="connsiteY809" fmla="*/ 1468755 h 1744979"/>
                  <a:gd name="connsiteX810" fmla="*/ 232410 w 1969770"/>
                  <a:gd name="connsiteY810" fmla="*/ 1483995 h 1744979"/>
                  <a:gd name="connsiteX811" fmla="*/ 247650 w 1969770"/>
                  <a:gd name="connsiteY811" fmla="*/ 1497330 h 1744979"/>
                  <a:gd name="connsiteX812" fmla="*/ 262890 w 1969770"/>
                  <a:gd name="connsiteY812" fmla="*/ 1509713 h 1744979"/>
                  <a:gd name="connsiteX813" fmla="*/ 278130 w 1969770"/>
                  <a:gd name="connsiteY813" fmla="*/ 1520190 h 1744979"/>
                  <a:gd name="connsiteX814" fmla="*/ 293370 w 1969770"/>
                  <a:gd name="connsiteY814" fmla="*/ 1529715 h 1744979"/>
                  <a:gd name="connsiteX815" fmla="*/ 309563 w 1969770"/>
                  <a:gd name="connsiteY815" fmla="*/ 1537335 h 1744979"/>
                  <a:gd name="connsiteX816" fmla="*/ 325755 w 1969770"/>
                  <a:gd name="connsiteY816" fmla="*/ 1544003 h 1744979"/>
                  <a:gd name="connsiteX817" fmla="*/ 341948 w 1969770"/>
                  <a:gd name="connsiteY817" fmla="*/ 1549718 h 1744979"/>
                  <a:gd name="connsiteX818" fmla="*/ 358140 w 1969770"/>
                  <a:gd name="connsiteY818" fmla="*/ 1554480 h 1744979"/>
                  <a:gd name="connsiteX819" fmla="*/ 374333 w 1969770"/>
                  <a:gd name="connsiteY819" fmla="*/ 1558290 h 1744979"/>
                  <a:gd name="connsiteX820" fmla="*/ 390525 w 1969770"/>
                  <a:gd name="connsiteY820" fmla="*/ 1561148 h 1744979"/>
                  <a:gd name="connsiteX821" fmla="*/ 406718 w 1969770"/>
                  <a:gd name="connsiteY821" fmla="*/ 1563053 h 1744979"/>
                  <a:gd name="connsiteX822" fmla="*/ 421958 w 1969770"/>
                  <a:gd name="connsiteY822" fmla="*/ 1564005 h 1744979"/>
                  <a:gd name="connsiteX823" fmla="*/ 437198 w 1969770"/>
                  <a:gd name="connsiteY823" fmla="*/ 1564958 h 1744979"/>
                  <a:gd name="connsiteX824" fmla="*/ 451485 w 1969770"/>
                  <a:gd name="connsiteY824" fmla="*/ 1564958 h 1744979"/>
                  <a:gd name="connsiteX825" fmla="*/ 465773 w 1969770"/>
                  <a:gd name="connsiteY825" fmla="*/ 1564958 h 1744979"/>
                  <a:gd name="connsiteX826" fmla="*/ 493395 w 1969770"/>
                  <a:gd name="connsiteY826" fmla="*/ 1564005 h 1744979"/>
                  <a:gd name="connsiteX827" fmla="*/ 519113 w 1969770"/>
                  <a:gd name="connsiteY827" fmla="*/ 1563053 h 1744979"/>
                  <a:gd name="connsiteX828" fmla="*/ 531495 w 1969770"/>
                  <a:gd name="connsiteY828" fmla="*/ 1563053 h 1744979"/>
                  <a:gd name="connsiteX829" fmla="*/ 542925 w 1969770"/>
                  <a:gd name="connsiteY829" fmla="*/ 1563053 h 1744979"/>
                  <a:gd name="connsiteX830" fmla="*/ 553403 w 1969770"/>
                  <a:gd name="connsiteY830" fmla="*/ 1563053 h 1744979"/>
                  <a:gd name="connsiteX831" fmla="*/ 563880 w 1969770"/>
                  <a:gd name="connsiteY831" fmla="*/ 1563053 h 1744979"/>
                  <a:gd name="connsiteX832" fmla="*/ 573405 w 1969770"/>
                  <a:gd name="connsiteY832" fmla="*/ 1564005 h 1744979"/>
                  <a:gd name="connsiteX833" fmla="*/ 581978 w 1969770"/>
                  <a:gd name="connsiteY833" fmla="*/ 1564958 h 1744979"/>
                  <a:gd name="connsiteX834" fmla="*/ 589598 w 1969770"/>
                  <a:gd name="connsiteY834" fmla="*/ 1566863 h 1744979"/>
                  <a:gd name="connsiteX835" fmla="*/ 598170 w 1969770"/>
                  <a:gd name="connsiteY835" fmla="*/ 1568768 h 1744979"/>
                  <a:gd name="connsiteX836" fmla="*/ 598170 w 1969770"/>
                  <a:gd name="connsiteY836" fmla="*/ 1568768 h 1744979"/>
                  <a:gd name="connsiteX837" fmla="*/ 1590675 w 1969770"/>
                  <a:gd name="connsiteY837" fmla="*/ 301943 h 1744979"/>
                  <a:gd name="connsiteX838" fmla="*/ 1579245 w 1969770"/>
                  <a:gd name="connsiteY838" fmla="*/ 283845 h 1744979"/>
                  <a:gd name="connsiteX839" fmla="*/ 1566863 w 1969770"/>
                  <a:gd name="connsiteY839" fmla="*/ 264795 h 1744979"/>
                  <a:gd name="connsiteX840" fmla="*/ 1553528 w 1969770"/>
                  <a:gd name="connsiteY840" fmla="*/ 245745 h 1744979"/>
                  <a:gd name="connsiteX841" fmla="*/ 1540193 w 1969770"/>
                  <a:gd name="connsiteY841" fmla="*/ 226695 h 1744979"/>
                  <a:gd name="connsiteX842" fmla="*/ 1526858 w 1969770"/>
                  <a:gd name="connsiteY842" fmla="*/ 208598 h 1744979"/>
                  <a:gd name="connsiteX843" fmla="*/ 1514475 w 1969770"/>
                  <a:gd name="connsiteY843" fmla="*/ 192405 h 1744979"/>
                  <a:gd name="connsiteX844" fmla="*/ 1508760 w 1969770"/>
                  <a:gd name="connsiteY844" fmla="*/ 185738 h 1744979"/>
                  <a:gd name="connsiteX845" fmla="*/ 1503045 w 1969770"/>
                  <a:gd name="connsiteY845" fmla="*/ 179070 h 1744979"/>
                  <a:gd name="connsiteX846" fmla="*/ 1497330 w 1969770"/>
                  <a:gd name="connsiteY846" fmla="*/ 173355 h 1744979"/>
                  <a:gd name="connsiteX847" fmla="*/ 1492568 w 1969770"/>
                  <a:gd name="connsiteY847" fmla="*/ 168593 h 1744979"/>
                  <a:gd name="connsiteX848" fmla="*/ 1504950 w 1969770"/>
                  <a:gd name="connsiteY848" fmla="*/ 171450 h 1744979"/>
                  <a:gd name="connsiteX849" fmla="*/ 1517333 w 1969770"/>
                  <a:gd name="connsiteY849" fmla="*/ 175260 h 1744979"/>
                  <a:gd name="connsiteX850" fmla="*/ 1528763 w 1969770"/>
                  <a:gd name="connsiteY850" fmla="*/ 179070 h 1744979"/>
                  <a:gd name="connsiteX851" fmla="*/ 1540193 w 1969770"/>
                  <a:gd name="connsiteY851" fmla="*/ 182880 h 1744979"/>
                  <a:gd name="connsiteX852" fmla="*/ 1551623 w 1969770"/>
                  <a:gd name="connsiteY852" fmla="*/ 187643 h 1744979"/>
                  <a:gd name="connsiteX853" fmla="*/ 1563053 w 1969770"/>
                  <a:gd name="connsiteY853" fmla="*/ 193358 h 1744979"/>
                  <a:gd name="connsiteX854" fmla="*/ 1573530 w 1969770"/>
                  <a:gd name="connsiteY854" fmla="*/ 199073 h 1744979"/>
                  <a:gd name="connsiteX855" fmla="*/ 1584008 w 1969770"/>
                  <a:gd name="connsiteY855" fmla="*/ 204788 h 1744979"/>
                  <a:gd name="connsiteX856" fmla="*/ 1594485 w 1969770"/>
                  <a:gd name="connsiteY856" fmla="*/ 211455 h 1744979"/>
                  <a:gd name="connsiteX857" fmla="*/ 1604010 w 1969770"/>
                  <a:gd name="connsiteY857" fmla="*/ 218123 h 1744979"/>
                  <a:gd name="connsiteX858" fmla="*/ 1613535 w 1969770"/>
                  <a:gd name="connsiteY858" fmla="*/ 224790 h 1744979"/>
                  <a:gd name="connsiteX859" fmla="*/ 1623060 w 1969770"/>
                  <a:gd name="connsiteY859" fmla="*/ 232410 h 1744979"/>
                  <a:gd name="connsiteX860" fmla="*/ 1632585 w 1969770"/>
                  <a:gd name="connsiteY860" fmla="*/ 240030 h 1744979"/>
                  <a:gd name="connsiteX861" fmla="*/ 1641158 w 1969770"/>
                  <a:gd name="connsiteY861" fmla="*/ 247650 h 1744979"/>
                  <a:gd name="connsiteX862" fmla="*/ 1649730 w 1969770"/>
                  <a:gd name="connsiteY862" fmla="*/ 256223 h 1744979"/>
                  <a:gd name="connsiteX863" fmla="*/ 1657350 w 1969770"/>
                  <a:gd name="connsiteY863" fmla="*/ 264795 h 1744979"/>
                  <a:gd name="connsiteX864" fmla="*/ 1664970 w 1969770"/>
                  <a:gd name="connsiteY864" fmla="*/ 274320 h 1744979"/>
                  <a:gd name="connsiteX865" fmla="*/ 1672590 w 1969770"/>
                  <a:gd name="connsiteY865" fmla="*/ 283845 h 1744979"/>
                  <a:gd name="connsiteX866" fmla="*/ 1680210 w 1969770"/>
                  <a:gd name="connsiteY866" fmla="*/ 293370 h 1744979"/>
                  <a:gd name="connsiteX867" fmla="*/ 1686878 w 1969770"/>
                  <a:gd name="connsiteY867" fmla="*/ 303848 h 1744979"/>
                  <a:gd name="connsiteX868" fmla="*/ 1693545 w 1969770"/>
                  <a:gd name="connsiteY868" fmla="*/ 313373 h 1744979"/>
                  <a:gd name="connsiteX869" fmla="*/ 1700213 w 1969770"/>
                  <a:gd name="connsiteY869" fmla="*/ 323850 h 1744979"/>
                  <a:gd name="connsiteX870" fmla="*/ 1706880 w 1969770"/>
                  <a:gd name="connsiteY870" fmla="*/ 334328 h 1744979"/>
                  <a:gd name="connsiteX871" fmla="*/ 1712595 w 1969770"/>
                  <a:gd name="connsiteY871" fmla="*/ 344805 h 1744979"/>
                  <a:gd name="connsiteX872" fmla="*/ 1718310 w 1969770"/>
                  <a:gd name="connsiteY872" fmla="*/ 355283 h 1744979"/>
                  <a:gd name="connsiteX873" fmla="*/ 1724025 w 1969770"/>
                  <a:gd name="connsiteY873" fmla="*/ 366713 h 1744979"/>
                  <a:gd name="connsiteX874" fmla="*/ 1728788 w 1969770"/>
                  <a:gd name="connsiteY874" fmla="*/ 378143 h 1744979"/>
                  <a:gd name="connsiteX875" fmla="*/ 1732598 w 1969770"/>
                  <a:gd name="connsiteY875" fmla="*/ 389573 h 1744979"/>
                  <a:gd name="connsiteX876" fmla="*/ 1736408 w 1969770"/>
                  <a:gd name="connsiteY876" fmla="*/ 401003 h 1744979"/>
                  <a:gd name="connsiteX877" fmla="*/ 1740218 w 1969770"/>
                  <a:gd name="connsiteY877" fmla="*/ 413385 h 1744979"/>
                  <a:gd name="connsiteX878" fmla="*/ 1743075 w 1969770"/>
                  <a:gd name="connsiteY878" fmla="*/ 425768 h 1744979"/>
                  <a:gd name="connsiteX879" fmla="*/ 1745933 w 1969770"/>
                  <a:gd name="connsiteY879" fmla="*/ 438150 h 1744979"/>
                  <a:gd name="connsiteX880" fmla="*/ 1735455 w 1969770"/>
                  <a:gd name="connsiteY880" fmla="*/ 427673 h 1744979"/>
                  <a:gd name="connsiteX881" fmla="*/ 1724978 w 1969770"/>
                  <a:gd name="connsiteY881" fmla="*/ 418148 h 1744979"/>
                  <a:gd name="connsiteX882" fmla="*/ 1713548 w 1969770"/>
                  <a:gd name="connsiteY882" fmla="*/ 408623 h 1744979"/>
                  <a:gd name="connsiteX883" fmla="*/ 1703070 w 1969770"/>
                  <a:gd name="connsiteY883" fmla="*/ 400050 h 1744979"/>
                  <a:gd name="connsiteX884" fmla="*/ 1680210 w 1969770"/>
                  <a:gd name="connsiteY884" fmla="*/ 382905 h 1744979"/>
                  <a:gd name="connsiteX885" fmla="*/ 1658303 w 1969770"/>
                  <a:gd name="connsiteY885" fmla="*/ 366713 h 1744979"/>
                  <a:gd name="connsiteX886" fmla="*/ 1647825 w 1969770"/>
                  <a:gd name="connsiteY886" fmla="*/ 359093 h 1744979"/>
                  <a:gd name="connsiteX887" fmla="*/ 1637348 w 1969770"/>
                  <a:gd name="connsiteY887" fmla="*/ 351473 h 1744979"/>
                  <a:gd name="connsiteX888" fmla="*/ 1627823 w 1969770"/>
                  <a:gd name="connsiteY888" fmla="*/ 343853 h 1744979"/>
                  <a:gd name="connsiteX889" fmla="*/ 1618298 w 1969770"/>
                  <a:gd name="connsiteY889" fmla="*/ 336233 h 1744979"/>
                  <a:gd name="connsiteX890" fmla="*/ 1609725 w 1969770"/>
                  <a:gd name="connsiteY890" fmla="*/ 328613 h 1744979"/>
                  <a:gd name="connsiteX891" fmla="*/ 1602105 w 1969770"/>
                  <a:gd name="connsiteY891" fmla="*/ 320993 h 1744979"/>
                  <a:gd name="connsiteX892" fmla="*/ 1600200 w 1969770"/>
                  <a:gd name="connsiteY892" fmla="*/ 314325 h 1744979"/>
                  <a:gd name="connsiteX893" fmla="*/ 1597343 w 1969770"/>
                  <a:gd name="connsiteY893" fmla="*/ 310515 h 1744979"/>
                  <a:gd name="connsiteX894" fmla="*/ 1594485 w 1969770"/>
                  <a:gd name="connsiteY894" fmla="*/ 306705 h 1744979"/>
                  <a:gd name="connsiteX895" fmla="*/ 1590675 w 1969770"/>
                  <a:gd name="connsiteY895" fmla="*/ 301943 h 1744979"/>
                  <a:gd name="connsiteX896" fmla="*/ 1590675 w 1969770"/>
                  <a:gd name="connsiteY896" fmla="*/ 301943 h 1744979"/>
                  <a:gd name="connsiteX897" fmla="*/ 1660208 w 1969770"/>
                  <a:gd name="connsiteY897" fmla="*/ 511493 h 1744979"/>
                  <a:gd name="connsiteX898" fmla="*/ 1664018 w 1969770"/>
                  <a:gd name="connsiteY898" fmla="*/ 518160 h 1744979"/>
                  <a:gd name="connsiteX899" fmla="*/ 1668780 w 1969770"/>
                  <a:gd name="connsiteY899" fmla="*/ 524828 h 1744979"/>
                  <a:gd name="connsiteX900" fmla="*/ 1674495 w 1969770"/>
                  <a:gd name="connsiteY900" fmla="*/ 531495 h 1744979"/>
                  <a:gd name="connsiteX901" fmla="*/ 1681163 w 1969770"/>
                  <a:gd name="connsiteY901" fmla="*/ 538163 h 1744979"/>
                  <a:gd name="connsiteX902" fmla="*/ 1687830 w 1969770"/>
                  <a:gd name="connsiteY902" fmla="*/ 544830 h 1744979"/>
                  <a:gd name="connsiteX903" fmla="*/ 1695450 w 1969770"/>
                  <a:gd name="connsiteY903" fmla="*/ 551498 h 1744979"/>
                  <a:gd name="connsiteX904" fmla="*/ 1703070 w 1969770"/>
                  <a:gd name="connsiteY904" fmla="*/ 558165 h 1744979"/>
                  <a:gd name="connsiteX905" fmla="*/ 1710690 w 1969770"/>
                  <a:gd name="connsiteY905" fmla="*/ 564833 h 1744979"/>
                  <a:gd name="connsiteX906" fmla="*/ 1727835 w 1969770"/>
                  <a:gd name="connsiteY906" fmla="*/ 579120 h 1744979"/>
                  <a:gd name="connsiteX907" fmla="*/ 1745933 w 1969770"/>
                  <a:gd name="connsiteY907" fmla="*/ 595313 h 1744979"/>
                  <a:gd name="connsiteX908" fmla="*/ 1754505 w 1969770"/>
                  <a:gd name="connsiteY908" fmla="*/ 603885 h 1744979"/>
                  <a:gd name="connsiteX909" fmla="*/ 1763078 w 1969770"/>
                  <a:gd name="connsiteY909" fmla="*/ 612458 h 1744979"/>
                  <a:gd name="connsiteX910" fmla="*/ 1771650 w 1969770"/>
                  <a:gd name="connsiteY910" fmla="*/ 621983 h 1744979"/>
                  <a:gd name="connsiteX911" fmla="*/ 1780223 w 1969770"/>
                  <a:gd name="connsiteY911" fmla="*/ 631508 h 1744979"/>
                  <a:gd name="connsiteX912" fmla="*/ 1784985 w 1969770"/>
                  <a:gd name="connsiteY912" fmla="*/ 637223 h 1744979"/>
                  <a:gd name="connsiteX913" fmla="*/ 1789748 w 1969770"/>
                  <a:gd name="connsiteY913" fmla="*/ 643890 h 1744979"/>
                  <a:gd name="connsiteX914" fmla="*/ 1794510 w 1969770"/>
                  <a:gd name="connsiteY914" fmla="*/ 651510 h 1744979"/>
                  <a:gd name="connsiteX915" fmla="*/ 1799273 w 1969770"/>
                  <a:gd name="connsiteY915" fmla="*/ 659130 h 1744979"/>
                  <a:gd name="connsiteX916" fmla="*/ 1804035 w 1969770"/>
                  <a:gd name="connsiteY916" fmla="*/ 666750 h 1744979"/>
                  <a:gd name="connsiteX917" fmla="*/ 1808798 w 1969770"/>
                  <a:gd name="connsiteY917" fmla="*/ 675323 h 1744979"/>
                  <a:gd name="connsiteX918" fmla="*/ 1813560 w 1969770"/>
                  <a:gd name="connsiteY918" fmla="*/ 684848 h 1744979"/>
                  <a:gd name="connsiteX919" fmla="*/ 1817370 w 1969770"/>
                  <a:gd name="connsiteY919" fmla="*/ 694373 h 1744979"/>
                  <a:gd name="connsiteX920" fmla="*/ 1821180 w 1969770"/>
                  <a:gd name="connsiteY920" fmla="*/ 703898 h 1744979"/>
                  <a:gd name="connsiteX921" fmla="*/ 1824990 w 1969770"/>
                  <a:gd name="connsiteY921" fmla="*/ 713423 h 1744979"/>
                  <a:gd name="connsiteX922" fmla="*/ 1828800 w 1969770"/>
                  <a:gd name="connsiteY922" fmla="*/ 722948 h 1744979"/>
                  <a:gd name="connsiteX923" fmla="*/ 1832610 w 1969770"/>
                  <a:gd name="connsiteY923" fmla="*/ 732473 h 1744979"/>
                  <a:gd name="connsiteX924" fmla="*/ 1835468 w 1969770"/>
                  <a:gd name="connsiteY924" fmla="*/ 741998 h 1744979"/>
                  <a:gd name="connsiteX925" fmla="*/ 1838325 w 1969770"/>
                  <a:gd name="connsiteY925" fmla="*/ 751523 h 1744979"/>
                  <a:gd name="connsiteX926" fmla="*/ 1841183 w 1969770"/>
                  <a:gd name="connsiteY926" fmla="*/ 761048 h 1744979"/>
                  <a:gd name="connsiteX927" fmla="*/ 1843088 w 1969770"/>
                  <a:gd name="connsiteY927" fmla="*/ 770573 h 1744979"/>
                  <a:gd name="connsiteX928" fmla="*/ 1851660 w 1969770"/>
                  <a:gd name="connsiteY928" fmla="*/ 693420 h 1744979"/>
                  <a:gd name="connsiteX929" fmla="*/ 1854518 w 1969770"/>
                  <a:gd name="connsiteY929" fmla="*/ 678180 h 1744979"/>
                  <a:gd name="connsiteX930" fmla="*/ 1857375 w 1969770"/>
                  <a:gd name="connsiteY930" fmla="*/ 662940 h 1744979"/>
                  <a:gd name="connsiteX931" fmla="*/ 1860233 w 1969770"/>
                  <a:gd name="connsiteY931" fmla="*/ 647700 h 1744979"/>
                  <a:gd name="connsiteX932" fmla="*/ 1863090 w 1969770"/>
                  <a:gd name="connsiteY932" fmla="*/ 631508 h 1744979"/>
                  <a:gd name="connsiteX933" fmla="*/ 1864995 w 1969770"/>
                  <a:gd name="connsiteY933" fmla="*/ 615315 h 1744979"/>
                  <a:gd name="connsiteX934" fmla="*/ 1866900 w 1969770"/>
                  <a:gd name="connsiteY934" fmla="*/ 599123 h 1744979"/>
                  <a:gd name="connsiteX935" fmla="*/ 1868805 w 1969770"/>
                  <a:gd name="connsiteY935" fmla="*/ 582930 h 1744979"/>
                  <a:gd name="connsiteX936" fmla="*/ 1869758 w 1969770"/>
                  <a:gd name="connsiteY936" fmla="*/ 566738 h 1744979"/>
                  <a:gd name="connsiteX937" fmla="*/ 1870710 w 1969770"/>
                  <a:gd name="connsiteY937" fmla="*/ 550545 h 1744979"/>
                  <a:gd name="connsiteX938" fmla="*/ 1871663 w 1969770"/>
                  <a:gd name="connsiteY938" fmla="*/ 534353 h 1744979"/>
                  <a:gd name="connsiteX939" fmla="*/ 1871663 w 1969770"/>
                  <a:gd name="connsiteY939" fmla="*/ 518160 h 1744979"/>
                  <a:gd name="connsiteX940" fmla="*/ 1870710 w 1969770"/>
                  <a:gd name="connsiteY940" fmla="*/ 501968 h 1744979"/>
                  <a:gd name="connsiteX941" fmla="*/ 1869758 w 1969770"/>
                  <a:gd name="connsiteY941" fmla="*/ 494348 h 1744979"/>
                  <a:gd name="connsiteX942" fmla="*/ 1868805 w 1969770"/>
                  <a:gd name="connsiteY942" fmla="*/ 486728 h 1744979"/>
                  <a:gd name="connsiteX943" fmla="*/ 1867853 w 1969770"/>
                  <a:gd name="connsiteY943" fmla="*/ 479108 h 1744979"/>
                  <a:gd name="connsiteX944" fmla="*/ 1866900 w 1969770"/>
                  <a:gd name="connsiteY944" fmla="*/ 471488 h 1744979"/>
                  <a:gd name="connsiteX945" fmla="*/ 1865948 w 1969770"/>
                  <a:gd name="connsiteY945" fmla="*/ 463868 h 1744979"/>
                  <a:gd name="connsiteX946" fmla="*/ 1864995 w 1969770"/>
                  <a:gd name="connsiteY946" fmla="*/ 456248 h 1744979"/>
                  <a:gd name="connsiteX947" fmla="*/ 1863090 w 1969770"/>
                  <a:gd name="connsiteY947" fmla="*/ 448628 h 1744979"/>
                  <a:gd name="connsiteX948" fmla="*/ 1861185 w 1969770"/>
                  <a:gd name="connsiteY948" fmla="*/ 441008 h 1744979"/>
                  <a:gd name="connsiteX949" fmla="*/ 1872615 w 1969770"/>
                  <a:gd name="connsiteY949" fmla="*/ 461963 h 1744979"/>
                  <a:gd name="connsiteX950" fmla="*/ 1884045 w 1969770"/>
                  <a:gd name="connsiteY950" fmla="*/ 482918 h 1744979"/>
                  <a:gd name="connsiteX951" fmla="*/ 1889760 w 1969770"/>
                  <a:gd name="connsiteY951" fmla="*/ 493395 h 1744979"/>
                  <a:gd name="connsiteX952" fmla="*/ 1895475 w 1969770"/>
                  <a:gd name="connsiteY952" fmla="*/ 503873 h 1744979"/>
                  <a:gd name="connsiteX953" fmla="*/ 1900238 w 1969770"/>
                  <a:gd name="connsiteY953" fmla="*/ 514350 h 1744979"/>
                  <a:gd name="connsiteX954" fmla="*/ 1905000 w 1969770"/>
                  <a:gd name="connsiteY954" fmla="*/ 524828 h 1744979"/>
                  <a:gd name="connsiteX955" fmla="*/ 1908810 w 1969770"/>
                  <a:gd name="connsiteY955" fmla="*/ 535305 h 1744979"/>
                  <a:gd name="connsiteX956" fmla="*/ 1912620 w 1969770"/>
                  <a:gd name="connsiteY956" fmla="*/ 545783 h 1744979"/>
                  <a:gd name="connsiteX957" fmla="*/ 1916430 w 1969770"/>
                  <a:gd name="connsiteY957" fmla="*/ 557213 h 1744979"/>
                  <a:gd name="connsiteX958" fmla="*/ 1919288 w 1969770"/>
                  <a:gd name="connsiteY958" fmla="*/ 568643 h 1744979"/>
                  <a:gd name="connsiteX959" fmla="*/ 1921193 w 1969770"/>
                  <a:gd name="connsiteY959" fmla="*/ 580073 h 1744979"/>
                  <a:gd name="connsiteX960" fmla="*/ 1923098 w 1969770"/>
                  <a:gd name="connsiteY960" fmla="*/ 592455 h 1744979"/>
                  <a:gd name="connsiteX961" fmla="*/ 1924050 w 1969770"/>
                  <a:gd name="connsiteY961" fmla="*/ 598170 h 1744979"/>
                  <a:gd name="connsiteX962" fmla="*/ 1925003 w 1969770"/>
                  <a:gd name="connsiteY962" fmla="*/ 604838 h 1744979"/>
                  <a:gd name="connsiteX963" fmla="*/ 1925003 w 1969770"/>
                  <a:gd name="connsiteY963" fmla="*/ 610553 h 1744979"/>
                  <a:gd name="connsiteX964" fmla="*/ 1925003 w 1969770"/>
                  <a:gd name="connsiteY964" fmla="*/ 617220 h 1744979"/>
                  <a:gd name="connsiteX965" fmla="*/ 1925003 w 1969770"/>
                  <a:gd name="connsiteY965" fmla="*/ 625793 h 1744979"/>
                  <a:gd name="connsiteX966" fmla="*/ 1925003 w 1969770"/>
                  <a:gd name="connsiteY966" fmla="*/ 634365 h 1744979"/>
                  <a:gd name="connsiteX967" fmla="*/ 1924050 w 1969770"/>
                  <a:gd name="connsiteY967" fmla="*/ 642938 h 1744979"/>
                  <a:gd name="connsiteX968" fmla="*/ 1923098 w 1969770"/>
                  <a:gd name="connsiteY968" fmla="*/ 651510 h 1744979"/>
                  <a:gd name="connsiteX969" fmla="*/ 1922145 w 1969770"/>
                  <a:gd name="connsiteY969" fmla="*/ 659130 h 1744979"/>
                  <a:gd name="connsiteX970" fmla="*/ 1921193 w 1969770"/>
                  <a:gd name="connsiteY970" fmla="*/ 666750 h 1744979"/>
                  <a:gd name="connsiteX971" fmla="*/ 1919288 w 1969770"/>
                  <a:gd name="connsiteY971" fmla="*/ 674370 h 1744979"/>
                  <a:gd name="connsiteX972" fmla="*/ 1917383 w 1969770"/>
                  <a:gd name="connsiteY972" fmla="*/ 681990 h 1744979"/>
                  <a:gd name="connsiteX973" fmla="*/ 1915478 w 1969770"/>
                  <a:gd name="connsiteY973" fmla="*/ 689610 h 1744979"/>
                  <a:gd name="connsiteX974" fmla="*/ 1912620 w 1969770"/>
                  <a:gd name="connsiteY974" fmla="*/ 697230 h 1744979"/>
                  <a:gd name="connsiteX975" fmla="*/ 1909763 w 1969770"/>
                  <a:gd name="connsiteY975" fmla="*/ 704850 h 1744979"/>
                  <a:gd name="connsiteX976" fmla="*/ 1906905 w 1969770"/>
                  <a:gd name="connsiteY976" fmla="*/ 712470 h 1744979"/>
                  <a:gd name="connsiteX977" fmla="*/ 1901190 w 1969770"/>
                  <a:gd name="connsiteY977" fmla="*/ 726758 h 1744979"/>
                  <a:gd name="connsiteX978" fmla="*/ 1895475 w 1969770"/>
                  <a:gd name="connsiteY978" fmla="*/ 741045 h 1744979"/>
                  <a:gd name="connsiteX979" fmla="*/ 1882140 w 1969770"/>
                  <a:gd name="connsiteY979" fmla="*/ 769620 h 1744979"/>
                  <a:gd name="connsiteX980" fmla="*/ 1869758 w 1969770"/>
                  <a:gd name="connsiteY980" fmla="*/ 798195 h 1744979"/>
                  <a:gd name="connsiteX981" fmla="*/ 1863090 w 1969770"/>
                  <a:gd name="connsiteY981" fmla="*/ 812483 h 1744979"/>
                  <a:gd name="connsiteX982" fmla="*/ 1857375 w 1969770"/>
                  <a:gd name="connsiteY982" fmla="*/ 826770 h 1744979"/>
                  <a:gd name="connsiteX983" fmla="*/ 1851660 w 1969770"/>
                  <a:gd name="connsiteY983" fmla="*/ 841058 h 1744979"/>
                  <a:gd name="connsiteX984" fmla="*/ 1845945 w 1969770"/>
                  <a:gd name="connsiteY984" fmla="*/ 856298 h 1744979"/>
                  <a:gd name="connsiteX985" fmla="*/ 1844993 w 1969770"/>
                  <a:gd name="connsiteY985" fmla="*/ 851535 h 1744979"/>
                  <a:gd name="connsiteX986" fmla="*/ 1844040 w 1969770"/>
                  <a:gd name="connsiteY986" fmla="*/ 845820 h 1744979"/>
                  <a:gd name="connsiteX987" fmla="*/ 1843088 w 1969770"/>
                  <a:gd name="connsiteY987" fmla="*/ 840105 h 1744979"/>
                  <a:gd name="connsiteX988" fmla="*/ 1841183 w 1969770"/>
                  <a:gd name="connsiteY988" fmla="*/ 834390 h 1744979"/>
                  <a:gd name="connsiteX989" fmla="*/ 1839278 w 1969770"/>
                  <a:gd name="connsiteY989" fmla="*/ 828675 h 1744979"/>
                  <a:gd name="connsiteX990" fmla="*/ 1836420 w 1969770"/>
                  <a:gd name="connsiteY990" fmla="*/ 822960 h 1744979"/>
                  <a:gd name="connsiteX991" fmla="*/ 1833563 w 1969770"/>
                  <a:gd name="connsiteY991" fmla="*/ 816293 h 1744979"/>
                  <a:gd name="connsiteX992" fmla="*/ 1830705 w 1969770"/>
                  <a:gd name="connsiteY992" fmla="*/ 810578 h 1744979"/>
                  <a:gd name="connsiteX993" fmla="*/ 1824038 w 1969770"/>
                  <a:gd name="connsiteY993" fmla="*/ 798195 h 1744979"/>
                  <a:gd name="connsiteX994" fmla="*/ 1817370 w 1969770"/>
                  <a:gd name="connsiteY994" fmla="*/ 784860 h 1744979"/>
                  <a:gd name="connsiteX995" fmla="*/ 1809750 w 1969770"/>
                  <a:gd name="connsiteY995" fmla="*/ 771525 h 1744979"/>
                  <a:gd name="connsiteX996" fmla="*/ 1802130 w 1969770"/>
                  <a:gd name="connsiteY996" fmla="*/ 758190 h 1744979"/>
                  <a:gd name="connsiteX997" fmla="*/ 1794510 w 1969770"/>
                  <a:gd name="connsiteY997" fmla="*/ 745808 h 1744979"/>
                  <a:gd name="connsiteX998" fmla="*/ 1785938 w 1969770"/>
                  <a:gd name="connsiteY998" fmla="*/ 733425 h 1744979"/>
                  <a:gd name="connsiteX999" fmla="*/ 1777365 w 1969770"/>
                  <a:gd name="connsiteY999" fmla="*/ 721043 h 1744979"/>
                  <a:gd name="connsiteX1000" fmla="*/ 1768793 w 1969770"/>
                  <a:gd name="connsiteY1000" fmla="*/ 710565 h 1744979"/>
                  <a:gd name="connsiteX1001" fmla="*/ 1761173 w 1969770"/>
                  <a:gd name="connsiteY1001" fmla="*/ 700088 h 1744979"/>
                  <a:gd name="connsiteX1002" fmla="*/ 1753553 w 1969770"/>
                  <a:gd name="connsiteY1002" fmla="*/ 690563 h 1744979"/>
                  <a:gd name="connsiteX1003" fmla="*/ 1745933 w 1969770"/>
                  <a:gd name="connsiteY1003" fmla="*/ 682943 h 1744979"/>
                  <a:gd name="connsiteX1004" fmla="*/ 1739265 w 1969770"/>
                  <a:gd name="connsiteY1004" fmla="*/ 676275 h 1744979"/>
                  <a:gd name="connsiteX1005" fmla="*/ 1729740 w 1969770"/>
                  <a:gd name="connsiteY1005" fmla="*/ 663893 h 1744979"/>
                  <a:gd name="connsiteX1006" fmla="*/ 1721168 w 1969770"/>
                  <a:gd name="connsiteY1006" fmla="*/ 653415 h 1744979"/>
                  <a:gd name="connsiteX1007" fmla="*/ 1714500 w 1969770"/>
                  <a:gd name="connsiteY1007" fmla="*/ 642938 h 1744979"/>
                  <a:gd name="connsiteX1008" fmla="*/ 1707833 w 1969770"/>
                  <a:gd name="connsiteY1008" fmla="*/ 633413 h 1744979"/>
                  <a:gd name="connsiteX1009" fmla="*/ 1702118 w 1969770"/>
                  <a:gd name="connsiteY1009" fmla="*/ 624840 h 1744979"/>
                  <a:gd name="connsiteX1010" fmla="*/ 1697355 w 1969770"/>
                  <a:gd name="connsiteY1010" fmla="*/ 616268 h 1744979"/>
                  <a:gd name="connsiteX1011" fmla="*/ 1693545 w 1969770"/>
                  <a:gd name="connsiteY1011" fmla="*/ 608648 h 1744979"/>
                  <a:gd name="connsiteX1012" fmla="*/ 1689735 w 1969770"/>
                  <a:gd name="connsiteY1012" fmla="*/ 601028 h 1744979"/>
                  <a:gd name="connsiteX1013" fmla="*/ 1685925 w 1969770"/>
                  <a:gd name="connsiteY1013" fmla="*/ 592455 h 1744979"/>
                  <a:gd name="connsiteX1014" fmla="*/ 1683068 w 1969770"/>
                  <a:gd name="connsiteY1014" fmla="*/ 583883 h 1744979"/>
                  <a:gd name="connsiteX1015" fmla="*/ 1679258 w 1969770"/>
                  <a:gd name="connsiteY1015" fmla="*/ 574358 h 1744979"/>
                  <a:gd name="connsiteX1016" fmla="*/ 1675448 w 1969770"/>
                  <a:gd name="connsiteY1016" fmla="*/ 563880 h 1744979"/>
                  <a:gd name="connsiteX1017" fmla="*/ 1667828 w 1969770"/>
                  <a:gd name="connsiteY1017" fmla="*/ 541020 h 1744979"/>
                  <a:gd name="connsiteX1018" fmla="*/ 1660208 w 1969770"/>
                  <a:gd name="connsiteY1018" fmla="*/ 511493 h 1744979"/>
                  <a:gd name="connsiteX1019" fmla="*/ 1660208 w 1969770"/>
                  <a:gd name="connsiteY1019" fmla="*/ 511493 h 1744979"/>
                  <a:gd name="connsiteX1020" fmla="*/ 1721168 w 1969770"/>
                  <a:gd name="connsiteY1020" fmla="*/ 711518 h 1744979"/>
                  <a:gd name="connsiteX1021" fmla="*/ 1733550 w 1969770"/>
                  <a:gd name="connsiteY1021" fmla="*/ 727710 h 1744979"/>
                  <a:gd name="connsiteX1022" fmla="*/ 1744980 w 1969770"/>
                  <a:gd name="connsiteY1022" fmla="*/ 743903 h 1744979"/>
                  <a:gd name="connsiteX1023" fmla="*/ 1756410 w 1969770"/>
                  <a:gd name="connsiteY1023" fmla="*/ 759143 h 1744979"/>
                  <a:gd name="connsiteX1024" fmla="*/ 1766888 w 1969770"/>
                  <a:gd name="connsiteY1024" fmla="*/ 774383 h 1744979"/>
                  <a:gd name="connsiteX1025" fmla="*/ 1776413 w 1969770"/>
                  <a:gd name="connsiteY1025" fmla="*/ 788670 h 1744979"/>
                  <a:gd name="connsiteX1026" fmla="*/ 1784985 w 1969770"/>
                  <a:gd name="connsiteY1026" fmla="*/ 803910 h 1744979"/>
                  <a:gd name="connsiteX1027" fmla="*/ 1788795 w 1969770"/>
                  <a:gd name="connsiteY1027" fmla="*/ 811530 h 1744979"/>
                  <a:gd name="connsiteX1028" fmla="*/ 1792605 w 1969770"/>
                  <a:gd name="connsiteY1028" fmla="*/ 819150 h 1744979"/>
                  <a:gd name="connsiteX1029" fmla="*/ 1796415 w 1969770"/>
                  <a:gd name="connsiteY1029" fmla="*/ 826770 h 1744979"/>
                  <a:gd name="connsiteX1030" fmla="*/ 1800225 w 1969770"/>
                  <a:gd name="connsiteY1030" fmla="*/ 834390 h 1744979"/>
                  <a:gd name="connsiteX1031" fmla="*/ 1803083 w 1969770"/>
                  <a:gd name="connsiteY1031" fmla="*/ 842010 h 1744979"/>
                  <a:gd name="connsiteX1032" fmla="*/ 1805940 w 1969770"/>
                  <a:gd name="connsiteY1032" fmla="*/ 849630 h 1744979"/>
                  <a:gd name="connsiteX1033" fmla="*/ 1808798 w 1969770"/>
                  <a:gd name="connsiteY1033" fmla="*/ 857250 h 1744979"/>
                  <a:gd name="connsiteX1034" fmla="*/ 1811655 w 1969770"/>
                  <a:gd name="connsiteY1034" fmla="*/ 865823 h 1744979"/>
                  <a:gd name="connsiteX1035" fmla="*/ 1814513 w 1969770"/>
                  <a:gd name="connsiteY1035" fmla="*/ 874395 h 1744979"/>
                  <a:gd name="connsiteX1036" fmla="*/ 1816418 w 1969770"/>
                  <a:gd name="connsiteY1036" fmla="*/ 882968 h 1744979"/>
                  <a:gd name="connsiteX1037" fmla="*/ 1818323 w 1969770"/>
                  <a:gd name="connsiteY1037" fmla="*/ 891540 h 1744979"/>
                  <a:gd name="connsiteX1038" fmla="*/ 1820228 w 1969770"/>
                  <a:gd name="connsiteY1038" fmla="*/ 901065 h 1744979"/>
                  <a:gd name="connsiteX1039" fmla="*/ 1821180 w 1969770"/>
                  <a:gd name="connsiteY1039" fmla="*/ 910590 h 1744979"/>
                  <a:gd name="connsiteX1040" fmla="*/ 1822133 w 1969770"/>
                  <a:gd name="connsiteY1040" fmla="*/ 920115 h 1744979"/>
                  <a:gd name="connsiteX1041" fmla="*/ 1823085 w 1969770"/>
                  <a:gd name="connsiteY1041" fmla="*/ 929640 h 1744979"/>
                  <a:gd name="connsiteX1042" fmla="*/ 1824038 w 1969770"/>
                  <a:gd name="connsiteY1042" fmla="*/ 940118 h 1744979"/>
                  <a:gd name="connsiteX1043" fmla="*/ 1824038 w 1969770"/>
                  <a:gd name="connsiteY1043" fmla="*/ 950595 h 1744979"/>
                  <a:gd name="connsiteX1044" fmla="*/ 1824038 w 1969770"/>
                  <a:gd name="connsiteY1044" fmla="*/ 961073 h 1744979"/>
                  <a:gd name="connsiteX1045" fmla="*/ 1824038 w 1969770"/>
                  <a:gd name="connsiteY1045" fmla="*/ 972503 h 1744979"/>
                  <a:gd name="connsiteX1046" fmla="*/ 1824038 w 1969770"/>
                  <a:gd name="connsiteY1046" fmla="*/ 983933 h 1744979"/>
                  <a:gd name="connsiteX1047" fmla="*/ 1825943 w 1969770"/>
                  <a:gd name="connsiteY1047" fmla="*/ 974408 h 1744979"/>
                  <a:gd name="connsiteX1048" fmla="*/ 1828800 w 1969770"/>
                  <a:gd name="connsiteY1048" fmla="*/ 963930 h 1744979"/>
                  <a:gd name="connsiteX1049" fmla="*/ 1831658 w 1969770"/>
                  <a:gd name="connsiteY1049" fmla="*/ 954405 h 1744979"/>
                  <a:gd name="connsiteX1050" fmla="*/ 1834515 w 1969770"/>
                  <a:gd name="connsiteY1050" fmla="*/ 943928 h 1744979"/>
                  <a:gd name="connsiteX1051" fmla="*/ 1838325 w 1969770"/>
                  <a:gd name="connsiteY1051" fmla="*/ 934403 h 1744979"/>
                  <a:gd name="connsiteX1052" fmla="*/ 1842135 w 1969770"/>
                  <a:gd name="connsiteY1052" fmla="*/ 923925 h 1744979"/>
                  <a:gd name="connsiteX1053" fmla="*/ 1845945 w 1969770"/>
                  <a:gd name="connsiteY1053" fmla="*/ 914400 h 1744979"/>
                  <a:gd name="connsiteX1054" fmla="*/ 1850708 w 1969770"/>
                  <a:gd name="connsiteY1054" fmla="*/ 904875 h 1744979"/>
                  <a:gd name="connsiteX1055" fmla="*/ 1860233 w 1969770"/>
                  <a:gd name="connsiteY1055" fmla="*/ 884873 h 1744979"/>
                  <a:gd name="connsiteX1056" fmla="*/ 1870710 w 1969770"/>
                  <a:gd name="connsiteY1056" fmla="*/ 864870 h 1744979"/>
                  <a:gd name="connsiteX1057" fmla="*/ 1881188 w 1969770"/>
                  <a:gd name="connsiteY1057" fmla="*/ 844868 h 1744979"/>
                  <a:gd name="connsiteX1058" fmla="*/ 1891665 w 1969770"/>
                  <a:gd name="connsiteY1058" fmla="*/ 825818 h 1744979"/>
                  <a:gd name="connsiteX1059" fmla="*/ 1902143 w 1969770"/>
                  <a:gd name="connsiteY1059" fmla="*/ 806768 h 1744979"/>
                  <a:gd name="connsiteX1060" fmla="*/ 1911668 w 1969770"/>
                  <a:gd name="connsiteY1060" fmla="*/ 787718 h 1744979"/>
                  <a:gd name="connsiteX1061" fmla="*/ 1916430 w 1969770"/>
                  <a:gd name="connsiteY1061" fmla="*/ 778193 h 1744979"/>
                  <a:gd name="connsiteX1062" fmla="*/ 1921193 w 1969770"/>
                  <a:gd name="connsiteY1062" fmla="*/ 768668 h 1744979"/>
                  <a:gd name="connsiteX1063" fmla="*/ 1925003 w 1969770"/>
                  <a:gd name="connsiteY1063" fmla="*/ 759143 h 1744979"/>
                  <a:gd name="connsiteX1064" fmla="*/ 1928813 w 1969770"/>
                  <a:gd name="connsiteY1064" fmla="*/ 749618 h 1744979"/>
                  <a:gd name="connsiteX1065" fmla="*/ 1932623 w 1969770"/>
                  <a:gd name="connsiteY1065" fmla="*/ 740093 h 1744979"/>
                  <a:gd name="connsiteX1066" fmla="*/ 1935480 w 1969770"/>
                  <a:gd name="connsiteY1066" fmla="*/ 730568 h 1744979"/>
                  <a:gd name="connsiteX1067" fmla="*/ 1938338 w 1969770"/>
                  <a:gd name="connsiteY1067" fmla="*/ 721043 h 1744979"/>
                  <a:gd name="connsiteX1068" fmla="*/ 1941195 w 1969770"/>
                  <a:gd name="connsiteY1068" fmla="*/ 711518 h 1744979"/>
                  <a:gd name="connsiteX1069" fmla="*/ 1943100 w 1969770"/>
                  <a:gd name="connsiteY1069" fmla="*/ 702945 h 1744979"/>
                  <a:gd name="connsiteX1070" fmla="*/ 1945005 w 1969770"/>
                  <a:gd name="connsiteY1070" fmla="*/ 694373 h 1744979"/>
                  <a:gd name="connsiteX1071" fmla="*/ 1945958 w 1969770"/>
                  <a:gd name="connsiteY1071" fmla="*/ 685800 h 1744979"/>
                  <a:gd name="connsiteX1072" fmla="*/ 1946910 w 1969770"/>
                  <a:gd name="connsiteY1072" fmla="*/ 677228 h 1744979"/>
                  <a:gd name="connsiteX1073" fmla="*/ 1950720 w 1969770"/>
                  <a:gd name="connsiteY1073" fmla="*/ 696278 h 1744979"/>
                  <a:gd name="connsiteX1074" fmla="*/ 1953578 w 1969770"/>
                  <a:gd name="connsiteY1074" fmla="*/ 714375 h 1744979"/>
                  <a:gd name="connsiteX1075" fmla="*/ 1956435 w 1969770"/>
                  <a:gd name="connsiteY1075" fmla="*/ 731520 h 1744979"/>
                  <a:gd name="connsiteX1076" fmla="*/ 1958340 w 1969770"/>
                  <a:gd name="connsiteY1076" fmla="*/ 747713 h 1744979"/>
                  <a:gd name="connsiteX1077" fmla="*/ 1959293 w 1969770"/>
                  <a:gd name="connsiteY1077" fmla="*/ 763905 h 1744979"/>
                  <a:gd name="connsiteX1078" fmla="*/ 1959293 w 1969770"/>
                  <a:gd name="connsiteY1078" fmla="*/ 779145 h 1744979"/>
                  <a:gd name="connsiteX1079" fmla="*/ 1959293 w 1969770"/>
                  <a:gd name="connsiteY1079" fmla="*/ 793433 h 1744979"/>
                  <a:gd name="connsiteX1080" fmla="*/ 1958340 w 1969770"/>
                  <a:gd name="connsiteY1080" fmla="*/ 806768 h 1744979"/>
                  <a:gd name="connsiteX1081" fmla="*/ 1956435 w 1969770"/>
                  <a:gd name="connsiteY1081" fmla="*/ 820103 h 1744979"/>
                  <a:gd name="connsiteX1082" fmla="*/ 1954530 w 1969770"/>
                  <a:gd name="connsiteY1082" fmla="*/ 832485 h 1744979"/>
                  <a:gd name="connsiteX1083" fmla="*/ 1951673 w 1969770"/>
                  <a:gd name="connsiteY1083" fmla="*/ 843915 h 1744979"/>
                  <a:gd name="connsiteX1084" fmla="*/ 1947863 w 1969770"/>
                  <a:gd name="connsiteY1084" fmla="*/ 855345 h 1744979"/>
                  <a:gd name="connsiteX1085" fmla="*/ 1944053 w 1969770"/>
                  <a:gd name="connsiteY1085" fmla="*/ 866775 h 1744979"/>
                  <a:gd name="connsiteX1086" fmla="*/ 1940243 w 1969770"/>
                  <a:gd name="connsiteY1086" fmla="*/ 877253 h 1744979"/>
                  <a:gd name="connsiteX1087" fmla="*/ 1935480 w 1969770"/>
                  <a:gd name="connsiteY1087" fmla="*/ 887730 h 1744979"/>
                  <a:gd name="connsiteX1088" fmla="*/ 1930718 w 1969770"/>
                  <a:gd name="connsiteY1088" fmla="*/ 898208 h 1744979"/>
                  <a:gd name="connsiteX1089" fmla="*/ 1925003 w 1969770"/>
                  <a:gd name="connsiteY1089" fmla="*/ 908685 h 1744979"/>
                  <a:gd name="connsiteX1090" fmla="*/ 1919288 w 1969770"/>
                  <a:gd name="connsiteY1090" fmla="*/ 918210 h 1744979"/>
                  <a:gd name="connsiteX1091" fmla="*/ 1912620 w 1969770"/>
                  <a:gd name="connsiteY1091" fmla="*/ 927735 h 1744979"/>
                  <a:gd name="connsiteX1092" fmla="*/ 1905953 w 1969770"/>
                  <a:gd name="connsiteY1092" fmla="*/ 937260 h 1744979"/>
                  <a:gd name="connsiteX1093" fmla="*/ 1899285 w 1969770"/>
                  <a:gd name="connsiteY1093" fmla="*/ 946785 h 1744979"/>
                  <a:gd name="connsiteX1094" fmla="*/ 1891665 w 1969770"/>
                  <a:gd name="connsiteY1094" fmla="*/ 956310 h 1744979"/>
                  <a:gd name="connsiteX1095" fmla="*/ 1884045 w 1969770"/>
                  <a:gd name="connsiteY1095" fmla="*/ 965835 h 1744979"/>
                  <a:gd name="connsiteX1096" fmla="*/ 1876425 w 1969770"/>
                  <a:gd name="connsiteY1096" fmla="*/ 981075 h 1744979"/>
                  <a:gd name="connsiteX1097" fmla="*/ 1859280 w 1969770"/>
                  <a:gd name="connsiteY1097" fmla="*/ 1001078 h 1744979"/>
                  <a:gd name="connsiteX1098" fmla="*/ 1841183 w 1969770"/>
                  <a:gd name="connsiteY1098" fmla="*/ 1022985 h 1744979"/>
                  <a:gd name="connsiteX1099" fmla="*/ 1831658 w 1969770"/>
                  <a:gd name="connsiteY1099" fmla="*/ 1034415 h 1744979"/>
                  <a:gd name="connsiteX1100" fmla="*/ 1822133 w 1969770"/>
                  <a:gd name="connsiteY1100" fmla="*/ 1045845 h 1744979"/>
                  <a:gd name="connsiteX1101" fmla="*/ 1812608 w 1969770"/>
                  <a:gd name="connsiteY1101" fmla="*/ 1058228 h 1744979"/>
                  <a:gd name="connsiteX1102" fmla="*/ 1803083 w 1969770"/>
                  <a:gd name="connsiteY1102" fmla="*/ 1071563 h 1744979"/>
                  <a:gd name="connsiteX1103" fmla="*/ 1804035 w 1969770"/>
                  <a:gd name="connsiteY1103" fmla="*/ 1062038 h 1744979"/>
                  <a:gd name="connsiteX1104" fmla="*/ 1804035 w 1969770"/>
                  <a:gd name="connsiteY1104" fmla="*/ 1052513 h 1744979"/>
                  <a:gd name="connsiteX1105" fmla="*/ 1804035 w 1969770"/>
                  <a:gd name="connsiteY1105" fmla="*/ 1042988 h 1744979"/>
                  <a:gd name="connsiteX1106" fmla="*/ 1803083 w 1969770"/>
                  <a:gd name="connsiteY1106" fmla="*/ 1033463 h 1744979"/>
                  <a:gd name="connsiteX1107" fmla="*/ 1802130 w 1969770"/>
                  <a:gd name="connsiteY1107" fmla="*/ 1023938 h 1744979"/>
                  <a:gd name="connsiteX1108" fmla="*/ 1800225 w 1969770"/>
                  <a:gd name="connsiteY1108" fmla="*/ 1014413 h 1744979"/>
                  <a:gd name="connsiteX1109" fmla="*/ 1798320 w 1969770"/>
                  <a:gd name="connsiteY1109" fmla="*/ 1004888 h 1744979"/>
                  <a:gd name="connsiteX1110" fmla="*/ 1795463 w 1969770"/>
                  <a:gd name="connsiteY1110" fmla="*/ 994410 h 1744979"/>
                  <a:gd name="connsiteX1111" fmla="*/ 1792605 w 1969770"/>
                  <a:gd name="connsiteY1111" fmla="*/ 983933 h 1744979"/>
                  <a:gd name="connsiteX1112" fmla="*/ 1788795 w 1969770"/>
                  <a:gd name="connsiteY1112" fmla="*/ 973455 h 1744979"/>
                  <a:gd name="connsiteX1113" fmla="*/ 1784985 w 1969770"/>
                  <a:gd name="connsiteY1113" fmla="*/ 962978 h 1744979"/>
                  <a:gd name="connsiteX1114" fmla="*/ 1781175 w 1969770"/>
                  <a:gd name="connsiteY1114" fmla="*/ 952500 h 1744979"/>
                  <a:gd name="connsiteX1115" fmla="*/ 1772603 w 1969770"/>
                  <a:gd name="connsiteY1115" fmla="*/ 931545 h 1744979"/>
                  <a:gd name="connsiteX1116" fmla="*/ 1763078 w 1969770"/>
                  <a:gd name="connsiteY1116" fmla="*/ 908685 h 1744979"/>
                  <a:gd name="connsiteX1117" fmla="*/ 1754505 w 1969770"/>
                  <a:gd name="connsiteY1117" fmla="*/ 886778 h 1744979"/>
                  <a:gd name="connsiteX1118" fmla="*/ 1745933 w 1969770"/>
                  <a:gd name="connsiteY1118" fmla="*/ 863918 h 1744979"/>
                  <a:gd name="connsiteX1119" fmla="*/ 1742123 w 1969770"/>
                  <a:gd name="connsiteY1119" fmla="*/ 852488 h 1744979"/>
                  <a:gd name="connsiteX1120" fmla="*/ 1738313 w 1969770"/>
                  <a:gd name="connsiteY1120" fmla="*/ 841058 h 1744979"/>
                  <a:gd name="connsiteX1121" fmla="*/ 1734503 w 1969770"/>
                  <a:gd name="connsiteY1121" fmla="*/ 828675 h 1744979"/>
                  <a:gd name="connsiteX1122" fmla="*/ 1730693 w 1969770"/>
                  <a:gd name="connsiteY1122" fmla="*/ 816293 h 1744979"/>
                  <a:gd name="connsiteX1123" fmla="*/ 1727835 w 1969770"/>
                  <a:gd name="connsiteY1123" fmla="*/ 803910 h 1744979"/>
                  <a:gd name="connsiteX1124" fmla="*/ 1724978 w 1969770"/>
                  <a:gd name="connsiteY1124" fmla="*/ 791528 h 1744979"/>
                  <a:gd name="connsiteX1125" fmla="*/ 1722120 w 1969770"/>
                  <a:gd name="connsiteY1125" fmla="*/ 778193 h 1744979"/>
                  <a:gd name="connsiteX1126" fmla="*/ 1721168 w 1969770"/>
                  <a:gd name="connsiteY1126" fmla="*/ 765810 h 1744979"/>
                  <a:gd name="connsiteX1127" fmla="*/ 1720215 w 1969770"/>
                  <a:gd name="connsiteY1127" fmla="*/ 752475 h 1744979"/>
                  <a:gd name="connsiteX1128" fmla="*/ 1720215 w 1969770"/>
                  <a:gd name="connsiteY1128" fmla="*/ 739140 h 1744979"/>
                  <a:gd name="connsiteX1129" fmla="*/ 1720215 w 1969770"/>
                  <a:gd name="connsiteY1129" fmla="*/ 725805 h 1744979"/>
                  <a:gd name="connsiteX1130" fmla="*/ 1721168 w 1969770"/>
                  <a:gd name="connsiteY1130" fmla="*/ 711518 h 1744979"/>
                  <a:gd name="connsiteX1131" fmla="*/ 1721168 w 1969770"/>
                  <a:gd name="connsiteY1131" fmla="*/ 711518 h 1744979"/>
                  <a:gd name="connsiteX1132" fmla="*/ 1704023 w 1969770"/>
                  <a:gd name="connsiteY1132" fmla="*/ 1283018 h 1744979"/>
                  <a:gd name="connsiteX1133" fmla="*/ 1706880 w 1969770"/>
                  <a:gd name="connsiteY1133" fmla="*/ 1272540 h 1744979"/>
                  <a:gd name="connsiteX1134" fmla="*/ 1709738 w 1969770"/>
                  <a:gd name="connsiteY1134" fmla="*/ 1262063 h 1744979"/>
                  <a:gd name="connsiteX1135" fmla="*/ 1711643 w 1969770"/>
                  <a:gd name="connsiteY1135" fmla="*/ 1251585 h 1744979"/>
                  <a:gd name="connsiteX1136" fmla="*/ 1713548 w 1969770"/>
                  <a:gd name="connsiteY1136" fmla="*/ 1241108 h 1744979"/>
                  <a:gd name="connsiteX1137" fmla="*/ 1714500 w 1969770"/>
                  <a:gd name="connsiteY1137" fmla="*/ 1230630 h 1744979"/>
                  <a:gd name="connsiteX1138" fmla="*/ 1715453 w 1969770"/>
                  <a:gd name="connsiteY1138" fmla="*/ 1219200 h 1744979"/>
                  <a:gd name="connsiteX1139" fmla="*/ 1715453 w 1969770"/>
                  <a:gd name="connsiteY1139" fmla="*/ 1207770 h 1744979"/>
                  <a:gd name="connsiteX1140" fmla="*/ 1715453 w 1969770"/>
                  <a:gd name="connsiteY1140" fmla="*/ 1196340 h 1744979"/>
                  <a:gd name="connsiteX1141" fmla="*/ 1715453 w 1969770"/>
                  <a:gd name="connsiteY1141" fmla="*/ 1183958 h 1744979"/>
                  <a:gd name="connsiteX1142" fmla="*/ 1714500 w 1969770"/>
                  <a:gd name="connsiteY1142" fmla="*/ 1171575 h 1744979"/>
                  <a:gd name="connsiteX1143" fmla="*/ 1713548 w 1969770"/>
                  <a:gd name="connsiteY1143" fmla="*/ 1159193 h 1744979"/>
                  <a:gd name="connsiteX1144" fmla="*/ 1712595 w 1969770"/>
                  <a:gd name="connsiteY1144" fmla="*/ 1146810 h 1744979"/>
                  <a:gd name="connsiteX1145" fmla="*/ 1710690 w 1969770"/>
                  <a:gd name="connsiteY1145" fmla="*/ 1121093 h 1744979"/>
                  <a:gd name="connsiteX1146" fmla="*/ 1708785 w 1969770"/>
                  <a:gd name="connsiteY1146" fmla="*/ 1095375 h 1744979"/>
                  <a:gd name="connsiteX1147" fmla="*/ 1706880 w 1969770"/>
                  <a:gd name="connsiteY1147" fmla="*/ 1069658 h 1744979"/>
                  <a:gd name="connsiteX1148" fmla="*/ 1705928 w 1969770"/>
                  <a:gd name="connsiteY1148" fmla="*/ 1043940 h 1744979"/>
                  <a:gd name="connsiteX1149" fmla="*/ 1704975 w 1969770"/>
                  <a:gd name="connsiteY1149" fmla="*/ 1030605 h 1744979"/>
                  <a:gd name="connsiteX1150" fmla="*/ 1704975 w 1969770"/>
                  <a:gd name="connsiteY1150" fmla="*/ 1019175 h 1744979"/>
                  <a:gd name="connsiteX1151" fmla="*/ 1704975 w 1969770"/>
                  <a:gd name="connsiteY1151" fmla="*/ 1006793 h 1744979"/>
                  <a:gd name="connsiteX1152" fmla="*/ 1704975 w 1969770"/>
                  <a:gd name="connsiteY1152" fmla="*/ 994410 h 1744979"/>
                  <a:gd name="connsiteX1153" fmla="*/ 1705928 w 1969770"/>
                  <a:gd name="connsiteY1153" fmla="*/ 982028 h 1744979"/>
                  <a:gd name="connsiteX1154" fmla="*/ 1706880 w 1969770"/>
                  <a:gd name="connsiteY1154" fmla="*/ 969645 h 1744979"/>
                  <a:gd name="connsiteX1155" fmla="*/ 1708785 w 1969770"/>
                  <a:gd name="connsiteY1155" fmla="*/ 957263 h 1744979"/>
                  <a:gd name="connsiteX1156" fmla="*/ 1711643 w 1969770"/>
                  <a:gd name="connsiteY1156" fmla="*/ 944880 h 1744979"/>
                  <a:gd name="connsiteX1157" fmla="*/ 1714500 w 1969770"/>
                  <a:gd name="connsiteY1157" fmla="*/ 932498 h 1744979"/>
                  <a:gd name="connsiteX1158" fmla="*/ 1718310 w 1969770"/>
                  <a:gd name="connsiteY1158" fmla="*/ 921068 h 1744979"/>
                  <a:gd name="connsiteX1159" fmla="*/ 1722120 w 1969770"/>
                  <a:gd name="connsiteY1159" fmla="*/ 909638 h 1744979"/>
                  <a:gd name="connsiteX1160" fmla="*/ 1726883 w 1969770"/>
                  <a:gd name="connsiteY1160" fmla="*/ 898208 h 1744979"/>
                  <a:gd name="connsiteX1161" fmla="*/ 1732598 w 1969770"/>
                  <a:gd name="connsiteY1161" fmla="*/ 916305 h 1744979"/>
                  <a:gd name="connsiteX1162" fmla="*/ 1737360 w 1969770"/>
                  <a:gd name="connsiteY1162" fmla="*/ 933450 h 1744979"/>
                  <a:gd name="connsiteX1163" fmla="*/ 1742123 w 1969770"/>
                  <a:gd name="connsiteY1163" fmla="*/ 950595 h 1744979"/>
                  <a:gd name="connsiteX1164" fmla="*/ 1746885 w 1969770"/>
                  <a:gd name="connsiteY1164" fmla="*/ 967740 h 1744979"/>
                  <a:gd name="connsiteX1165" fmla="*/ 1751648 w 1969770"/>
                  <a:gd name="connsiteY1165" fmla="*/ 984885 h 1744979"/>
                  <a:gd name="connsiteX1166" fmla="*/ 1755458 w 1969770"/>
                  <a:gd name="connsiteY1166" fmla="*/ 1002030 h 1744979"/>
                  <a:gd name="connsiteX1167" fmla="*/ 1759268 w 1969770"/>
                  <a:gd name="connsiteY1167" fmla="*/ 1019175 h 1744979"/>
                  <a:gd name="connsiteX1168" fmla="*/ 1762125 w 1969770"/>
                  <a:gd name="connsiteY1168" fmla="*/ 1036320 h 1744979"/>
                  <a:gd name="connsiteX1169" fmla="*/ 1763078 w 1969770"/>
                  <a:gd name="connsiteY1169" fmla="*/ 1044893 h 1744979"/>
                  <a:gd name="connsiteX1170" fmla="*/ 1764030 w 1969770"/>
                  <a:gd name="connsiteY1170" fmla="*/ 1053465 h 1744979"/>
                  <a:gd name="connsiteX1171" fmla="*/ 1764983 w 1969770"/>
                  <a:gd name="connsiteY1171" fmla="*/ 1062038 h 1744979"/>
                  <a:gd name="connsiteX1172" fmla="*/ 1764983 w 1969770"/>
                  <a:gd name="connsiteY1172" fmla="*/ 1071563 h 1744979"/>
                  <a:gd name="connsiteX1173" fmla="*/ 1765935 w 1969770"/>
                  <a:gd name="connsiteY1173" fmla="*/ 1080135 h 1744979"/>
                  <a:gd name="connsiteX1174" fmla="*/ 1765935 w 1969770"/>
                  <a:gd name="connsiteY1174" fmla="*/ 1091565 h 1744979"/>
                  <a:gd name="connsiteX1175" fmla="*/ 1765935 w 1969770"/>
                  <a:gd name="connsiteY1175" fmla="*/ 1101090 h 1744979"/>
                  <a:gd name="connsiteX1176" fmla="*/ 1765935 w 1969770"/>
                  <a:gd name="connsiteY1176" fmla="*/ 1110615 h 1744979"/>
                  <a:gd name="connsiteX1177" fmla="*/ 1764983 w 1969770"/>
                  <a:gd name="connsiteY1177" fmla="*/ 1121093 h 1744979"/>
                  <a:gd name="connsiteX1178" fmla="*/ 1764030 w 1969770"/>
                  <a:gd name="connsiteY1178" fmla="*/ 1131570 h 1744979"/>
                  <a:gd name="connsiteX1179" fmla="*/ 1763078 w 1969770"/>
                  <a:gd name="connsiteY1179" fmla="*/ 1142048 h 1744979"/>
                  <a:gd name="connsiteX1180" fmla="*/ 1761173 w 1969770"/>
                  <a:gd name="connsiteY1180" fmla="*/ 1152525 h 1744979"/>
                  <a:gd name="connsiteX1181" fmla="*/ 1759268 w 1969770"/>
                  <a:gd name="connsiteY1181" fmla="*/ 1163003 h 1744979"/>
                  <a:gd name="connsiteX1182" fmla="*/ 1756410 w 1969770"/>
                  <a:gd name="connsiteY1182" fmla="*/ 1174433 h 1744979"/>
                  <a:gd name="connsiteX1183" fmla="*/ 1753553 w 1969770"/>
                  <a:gd name="connsiteY1183" fmla="*/ 1185863 h 1744979"/>
                  <a:gd name="connsiteX1184" fmla="*/ 1750695 w 1969770"/>
                  <a:gd name="connsiteY1184" fmla="*/ 1197293 h 1744979"/>
                  <a:gd name="connsiteX1185" fmla="*/ 1754505 w 1969770"/>
                  <a:gd name="connsiteY1185" fmla="*/ 1190625 h 1744979"/>
                  <a:gd name="connsiteX1186" fmla="*/ 1760220 w 1969770"/>
                  <a:gd name="connsiteY1186" fmla="*/ 1181100 h 1744979"/>
                  <a:gd name="connsiteX1187" fmla="*/ 1767840 w 1969770"/>
                  <a:gd name="connsiteY1187" fmla="*/ 1168718 h 1744979"/>
                  <a:gd name="connsiteX1188" fmla="*/ 1777365 w 1969770"/>
                  <a:gd name="connsiteY1188" fmla="*/ 1154430 h 1744979"/>
                  <a:gd name="connsiteX1189" fmla="*/ 1787843 w 1969770"/>
                  <a:gd name="connsiteY1189" fmla="*/ 1138238 h 1744979"/>
                  <a:gd name="connsiteX1190" fmla="*/ 1800225 w 1969770"/>
                  <a:gd name="connsiteY1190" fmla="*/ 1120140 h 1744979"/>
                  <a:gd name="connsiteX1191" fmla="*/ 1806893 w 1969770"/>
                  <a:gd name="connsiteY1191" fmla="*/ 1111568 h 1744979"/>
                  <a:gd name="connsiteX1192" fmla="*/ 1813560 w 1969770"/>
                  <a:gd name="connsiteY1192" fmla="*/ 1102043 h 1744979"/>
                  <a:gd name="connsiteX1193" fmla="*/ 1821180 w 1969770"/>
                  <a:gd name="connsiteY1193" fmla="*/ 1092518 h 1744979"/>
                  <a:gd name="connsiteX1194" fmla="*/ 1828800 w 1969770"/>
                  <a:gd name="connsiteY1194" fmla="*/ 1082993 h 1744979"/>
                  <a:gd name="connsiteX1195" fmla="*/ 1847850 w 1969770"/>
                  <a:gd name="connsiteY1195" fmla="*/ 1060133 h 1744979"/>
                  <a:gd name="connsiteX1196" fmla="*/ 1867853 w 1969770"/>
                  <a:gd name="connsiteY1196" fmla="*/ 1037273 h 1744979"/>
                  <a:gd name="connsiteX1197" fmla="*/ 1887855 w 1969770"/>
                  <a:gd name="connsiteY1197" fmla="*/ 1014413 h 1744979"/>
                  <a:gd name="connsiteX1198" fmla="*/ 1906905 w 1969770"/>
                  <a:gd name="connsiteY1198" fmla="*/ 991553 h 1744979"/>
                  <a:gd name="connsiteX1199" fmla="*/ 1916430 w 1969770"/>
                  <a:gd name="connsiteY1199" fmla="*/ 980123 h 1744979"/>
                  <a:gd name="connsiteX1200" fmla="*/ 1925955 w 1969770"/>
                  <a:gd name="connsiteY1200" fmla="*/ 968693 h 1744979"/>
                  <a:gd name="connsiteX1201" fmla="*/ 1934528 w 1969770"/>
                  <a:gd name="connsiteY1201" fmla="*/ 957263 h 1744979"/>
                  <a:gd name="connsiteX1202" fmla="*/ 1943100 w 1969770"/>
                  <a:gd name="connsiteY1202" fmla="*/ 945833 h 1744979"/>
                  <a:gd name="connsiteX1203" fmla="*/ 1950720 w 1969770"/>
                  <a:gd name="connsiteY1203" fmla="*/ 935355 h 1744979"/>
                  <a:gd name="connsiteX1204" fmla="*/ 1957388 w 1969770"/>
                  <a:gd name="connsiteY1204" fmla="*/ 924878 h 1744979"/>
                  <a:gd name="connsiteX1205" fmla="*/ 1964055 w 1969770"/>
                  <a:gd name="connsiteY1205" fmla="*/ 914400 h 1744979"/>
                  <a:gd name="connsiteX1206" fmla="*/ 1969770 w 1969770"/>
                  <a:gd name="connsiteY1206" fmla="*/ 904875 h 1744979"/>
                  <a:gd name="connsiteX1207" fmla="*/ 1969770 w 1969770"/>
                  <a:gd name="connsiteY1207" fmla="*/ 928688 h 1744979"/>
                  <a:gd name="connsiteX1208" fmla="*/ 1967865 w 1969770"/>
                  <a:gd name="connsiteY1208" fmla="*/ 951548 h 1744979"/>
                  <a:gd name="connsiteX1209" fmla="*/ 1965008 w 1969770"/>
                  <a:gd name="connsiteY1209" fmla="*/ 973455 h 1744979"/>
                  <a:gd name="connsiteX1210" fmla="*/ 1960245 w 1969770"/>
                  <a:gd name="connsiteY1210" fmla="*/ 993458 h 1744979"/>
                  <a:gd name="connsiteX1211" fmla="*/ 1954530 w 1969770"/>
                  <a:gd name="connsiteY1211" fmla="*/ 1012508 h 1744979"/>
                  <a:gd name="connsiteX1212" fmla="*/ 1947863 w 1969770"/>
                  <a:gd name="connsiteY1212" fmla="*/ 1031558 h 1744979"/>
                  <a:gd name="connsiteX1213" fmla="*/ 1940243 w 1969770"/>
                  <a:gd name="connsiteY1213" fmla="*/ 1048703 h 1744979"/>
                  <a:gd name="connsiteX1214" fmla="*/ 1933575 w 1969770"/>
                  <a:gd name="connsiteY1214" fmla="*/ 1066800 h 1744979"/>
                  <a:gd name="connsiteX1215" fmla="*/ 1924050 w 1969770"/>
                  <a:gd name="connsiteY1215" fmla="*/ 1082993 h 1744979"/>
                  <a:gd name="connsiteX1216" fmla="*/ 1914525 w 1969770"/>
                  <a:gd name="connsiteY1216" fmla="*/ 1098233 h 1744979"/>
                  <a:gd name="connsiteX1217" fmla="*/ 1904048 w 1969770"/>
                  <a:gd name="connsiteY1217" fmla="*/ 1112520 h 1744979"/>
                  <a:gd name="connsiteX1218" fmla="*/ 1893570 w 1969770"/>
                  <a:gd name="connsiteY1218" fmla="*/ 1125855 h 1744979"/>
                  <a:gd name="connsiteX1219" fmla="*/ 1882140 w 1969770"/>
                  <a:gd name="connsiteY1219" fmla="*/ 1139190 h 1744979"/>
                  <a:gd name="connsiteX1220" fmla="*/ 1870710 w 1969770"/>
                  <a:gd name="connsiteY1220" fmla="*/ 1151573 h 1744979"/>
                  <a:gd name="connsiteX1221" fmla="*/ 1859280 w 1969770"/>
                  <a:gd name="connsiteY1221" fmla="*/ 1163003 h 1744979"/>
                  <a:gd name="connsiteX1222" fmla="*/ 1846898 w 1969770"/>
                  <a:gd name="connsiteY1222" fmla="*/ 1173480 h 1744979"/>
                  <a:gd name="connsiteX1223" fmla="*/ 1834515 w 1969770"/>
                  <a:gd name="connsiteY1223" fmla="*/ 1183958 h 1744979"/>
                  <a:gd name="connsiteX1224" fmla="*/ 1822133 w 1969770"/>
                  <a:gd name="connsiteY1224" fmla="*/ 1193483 h 1744979"/>
                  <a:gd name="connsiteX1225" fmla="*/ 1810703 w 1969770"/>
                  <a:gd name="connsiteY1225" fmla="*/ 1202055 h 1744979"/>
                  <a:gd name="connsiteX1226" fmla="*/ 1799273 w 1969770"/>
                  <a:gd name="connsiteY1226" fmla="*/ 1210628 h 1744979"/>
                  <a:gd name="connsiteX1227" fmla="*/ 1776413 w 1969770"/>
                  <a:gd name="connsiteY1227" fmla="*/ 1225868 h 1744979"/>
                  <a:gd name="connsiteX1228" fmla="*/ 1755458 w 1969770"/>
                  <a:gd name="connsiteY1228" fmla="*/ 1240155 h 1744979"/>
                  <a:gd name="connsiteX1229" fmla="*/ 1745933 w 1969770"/>
                  <a:gd name="connsiteY1229" fmla="*/ 1246823 h 1744979"/>
                  <a:gd name="connsiteX1230" fmla="*/ 1737360 w 1969770"/>
                  <a:gd name="connsiteY1230" fmla="*/ 1252538 h 1744979"/>
                  <a:gd name="connsiteX1231" fmla="*/ 1729740 w 1969770"/>
                  <a:gd name="connsiteY1231" fmla="*/ 1258253 h 1744979"/>
                  <a:gd name="connsiteX1232" fmla="*/ 1722120 w 1969770"/>
                  <a:gd name="connsiteY1232" fmla="*/ 1263968 h 1744979"/>
                  <a:gd name="connsiteX1233" fmla="*/ 1715453 w 1969770"/>
                  <a:gd name="connsiteY1233" fmla="*/ 1269683 h 1744979"/>
                  <a:gd name="connsiteX1234" fmla="*/ 1710690 w 1969770"/>
                  <a:gd name="connsiteY1234" fmla="*/ 1274445 h 1744979"/>
                  <a:gd name="connsiteX1235" fmla="*/ 1706880 w 1969770"/>
                  <a:gd name="connsiteY1235" fmla="*/ 1279208 h 1744979"/>
                  <a:gd name="connsiteX1236" fmla="*/ 1704023 w 1969770"/>
                  <a:gd name="connsiteY1236" fmla="*/ 1283018 h 1744979"/>
                  <a:gd name="connsiteX1237" fmla="*/ 1704023 w 1969770"/>
                  <a:gd name="connsiteY1237" fmla="*/ 1283018 h 1744979"/>
                  <a:gd name="connsiteX1238" fmla="*/ 1552575 w 1969770"/>
                  <a:gd name="connsiteY1238" fmla="*/ 1446848 h 1744979"/>
                  <a:gd name="connsiteX1239" fmla="*/ 1558290 w 1969770"/>
                  <a:gd name="connsiteY1239" fmla="*/ 1438275 h 1744979"/>
                  <a:gd name="connsiteX1240" fmla="*/ 1564005 w 1969770"/>
                  <a:gd name="connsiteY1240" fmla="*/ 1428750 h 1744979"/>
                  <a:gd name="connsiteX1241" fmla="*/ 1568768 w 1969770"/>
                  <a:gd name="connsiteY1241" fmla="*/ 1419225 h 1744979"/>
                  <a:gd name="connsiteX1242" fmla="*/ 1572578 w 1969770"/>
                  <a:gd name="connsiteY1242" fmla="*/ 1409700 h 1744979"/>
                  <a:gd name="connsiteX1243" fmla="*/ 1576388 w 1969770"/>
                  <a:gd name="connsiteY1243" fmla="*/ 1399223 h 1744979"/>
                  <a:gd name="connsiteX1244" fmla="*/ 1580198 w 1969770"/>
                  <a:gd name="connsiteY1244" fmla="*/ 1388745 h 1744979"/>
                  <a:gd name="connsiteX1245" fmla="*/ 1583055 w 1969770"/>
                  <a:gd name="connsiteY1245" fmla="*/ 1378268 h 1744979"/>
                  <a:gd name="connsiteX1246" fmla="*/ 1585913 w 1969770"/>
                  <a:gd name="connsiteY1246" fmla="*/ 1367790 h 1744979"/>
                  <a:gd name="connsiteX1247" fmla="*/ 1588770 w 1969770"/>
                  <a:gd name="connsiteY1247" fmla="*/ 1356360 h 1744979"/>
                  <a:gd name="connsiteX1248" fmla="*/ 1591628 w 1969770"/>
                  <a:gd name="connsiteY1248" fmla="*/ 1344930 h 1744979"/>
                  <a:gd name="connsiteX1249" fmla="*/ 1594485 w 1969770"/>
                  <a:gd name="connsiteY1249" fmla="*/ 1333500 h 1744979"/>
                  <a:gd name="connsiteX1250" fmla="*/ 1597343 w 1969770"/>
                  <a:gd name="connsiteY1250" fmla="*/ 1322070 h 1744979"/>
                  <a:gd name="connsiteX1251" fmla="*/ 1601153 w 1969770"/>
                  <a:gd name="connsiteY1251" fmla="*/ 1299210 h 1744979"/>
                  <a:gd name="connsiteX1252" fmla="*/ 1605915 w 1969770"/>
                  <a:gd name="connsiteY1252" fmla="*/ 1275398 h 1744979"/>
                  <a:gd name="connsiteX1253" fmla="*/ 1610678 w 1969770"/>
                  <a:gd name="connsiteY1253" fmla="*/ 1251585 h 1744979"/>
                  <a:gd name="connsiteX1254" fmla="*/ 1616393 w 1969770"/>
                  <a:gd name="connsiteY1254" fmla="*/ 1227773 h 1744979"/>
                  <a:gd name="connsiteX1255" fmla="*/ 1619250 w 1969770"/>
                  <a:gd name="connsiteY1255" fmla="*/ 1215390 h 1744979"/>
                  <a:gd name="connsiteX1256" fmla="*/ 1622108 w 1969770"/>
                  <a:gd name="connsiteY1256" fmla="*/ 1203960 h 1744979"/>
                  <a:gd name="connsiteX1257" fmla="*/ 1625918 w 1969770"/>
                  <a:gd name="connsiteY1257" fmla="*/ 1192530 h 1744979"/>
                  <a:gd name="connsiteX1258" fmla="*/ 1629728 w 1969770"/>
                  <a:gd name="connsiteY1258" fmla="*/ 1181100 h 1744979"/>
                  <a:gd name="connsiteX1259" fmla="*/ 1633538 w 1969770"/>
                  <a:gd name="connsiteY1259" fmla="*/ 1169670 h 1744979"/>
                  <a:gd name="connsiteX1260" fmla="*/ 1638300 w 1969770"/>
                  <a:gd name="connsiteY1260" fmla="*/ 1158240 h 1744979"/>
                  <a:gd name="connsiteX1261" fmla="*/ 1644015 w 1969770"/>
                  <a:gd name="connsiteY1261" fmla="*/ 1147763 h 1744979"/>
                  <a:gd name="connsiteX1262" fmla="*/ 1649730 w 1969770"/>
                  <a:gd name="connsiteY1262" fmla="*/ 1137285 h 1744979"/>
                  <a:gd name="connsiteX1263" fmla="*/ 1656398 w 1969770"/>
                  <a:gd name="connsiteY1263" fmla="*/ 1126808 h 1744979"/>
                  <a:gd name="connsiteX1264" fmla="*/ 1663065 w 1969770"/>
                  <a:gd name="connsiteY1264" fmla="*/ 1116330 h 1744979"/>
                  <a:gd name="connsiteX1265" fmla="*/ 1670685 w 1969770"/>
                  <a:gd name="connsiteY1265" fmla="*/ 1106805 h 1744979"/>
                  <a:gd name="connsiteX1266" fmla="*/ 1679258 w 1969770"/>
                  <a:gd name="connsiteY1266" fmla="*/ 1097280 h 1744979"/>
                  <a:gd name="connsiteX1267" fmla="*/ 1678305 w 1969770"/>
                  <a:gd name="connsiteY1267" fmla="*/ 1118235 h 1744979"/>
                  <a:gd name="connsiteX1268" fmla="*/ 1678305 w 1969770"/>
                  <a:gd name="connsiteY1268" fmla="*/ 1138238 h 1744979"/>
                  <a:gd name="connsiteX1269" fmla="*/ 1679258 w 1969770"/>
                  <a:gd name="connsiteY1269" fmla="*/ 1158240 h 1744979"/>
                  <a:gd name="connsiteX1270" fmla="*/ 1679258 w 1969770"/>
                  <a:gd name="connsiteY1270" fmla="*/ 1177290 h 1744979"/>
                  <a:gd name="connsiteX1271" fmla="*/ 1679258 w 1969770"/>
                  <a:gd name="connsiteY1271" fmla="*/ 1195388 h 1744979"/>
                  <a:gd name="connsiteX1272" fmla="*/ 1680210 w 1969770"/>
                  <a:gd name="connsiteY1272" fmla="*/ 1212533 h 1744979"/>
                  <a:gd name="connsiteX1273" fmla="*/ 1680210 w 1969770"/>
                  <a:gd name="connsiteY1273" fmla="*/ 1229678 h 1744979"/>
                  <a:gd name="connsiteX1274" fmla="*/ 1679258 w 1969770"/>
                  <a:gd name="connsiteY1274" fmla="*/ 1245870 h 1744979"/>
                  <a:gd name="connsiteX1275" fmla="*/ 1678305 w 1969770"/>
                  <a:gd name="connsiteY1275" fmla="*/ 1254443 h 1744979"/>
                  <a:gd name="connsiteX1276" fmla="*/ 1677353 w 1969770"/>
                  <a:gd name="connsiteY1276" fmla="*/ 1262063 h 1744979"/>
                  <a:gd name="connsiteX1277" fmla="*/ 1676400 w 1969770"/>
                  <a:gd name="connsiteY1277" fmla="*/ 1269683 h 1744979"/>
                  <a:gd name="connsiteX1278" fmla="*/ 1675448 w 1969770"/>
                  <a:gd name="connsiteY1278" fmla="*/ 1277303 h 1744979"/>
                  <a:gd name="connsiteX1279" fmla="*/ 1673543 w 1969770"/>
                  <a:gd name="connsiteY1279" fmla="*/ 1284923 h 1744979"/>
                  <a:gd name="connsiteX1280" fmla="*/ 1671638 w 1969770"/>
                  <a:gd name="connsiteY1280" fmla="*/ 1292543 h 1744979"/>
                  <a:gd name="connsiteX1281" fmla="*/ 1669733 w 1969770"/>
                  <a:gd name="connsiteY1281" fmla="*/ 1300163 h 1744979"/>
                  <a:gd name="connsiteX1282" fmla="*/ 1666875 w 1969770"/>
                  <a:gd name="connsiteY1282" fmla="*/ 1307783 h 1744979"/>
                  <a:gd name="connsiteX1283" fmla="*/ 1664018 w 1969770"/>
                  <a:gd name="connsiteY1283" fmla="*/ 1315403 h 1744979"/>
                  <a:gd name="connsiteX1284" fmla="*/ 1661160 w 1969770"/>
                  <a:gd name="connsiteY1284" fmla="*/ 1323023 h 1744979"/>
                  <a:gd name="connsiteX1285" fmla="*/ 1657350 w 1969770"/>
                  <a:gd name="connsiteY1285" fmla="*/ 1330643 h 1744979"/>
                  <a:gd name="connsiteX1286" fmla="*/ 1653540 w 1969770"/>
                  <a:gd name="connsiteY1286" fmla="*/ 1338263 h 1744979"/>
                  <a:gd name="connsiteX1287" fmla="*/ 1649730 w 1969770"/>
                  <a:gd name="connsiteY1287" fmla="*/ 1344930 h 1744979"/>
                  <a:gd name="connsiteX1288" fmla="*/ 1644968 w 1969770"/>
                  <a:gd name="connsiteY1288" fmla="*/ 1352550 h 1744979"/>
                  <a:gd name="connsiteX1289" fmla="*/ 1640205 w 1969770"/>
                  <a:gd name="connsiteY1289" fmla="*/ 1360170 h 1744979"/>
                  <a:gd name="connsiteX1290" fmla="*/ 1634490 w 1969770"/>
                  <a:gd name="connsiteY1290" fmla="*/ 1366838 h 1744979"/>
                  <a:gd name="connsiteX1291" fmla="*/ 1644015 w 1969770"/>
                  <a:gd name="connsiteY1291" fmla="*/ 1358265 h 1744979"/>
                  <a:gd name="connsiteX1292" fmla="*/ 1655445 w 1969770"/>
                  <a:gd name="connsiteY1292" fmla="*/ 1348740 h 1744979"/>
                  <a:gd name="connsiteX1293" fmla="*/ 1667828 w 1969770"/>
                  <a:gd name="connsiteY1293" fmla="*/ 1338263 h 1744979"/>
                  <a:gd name="connsiteX1294" fmla="*/ 1682115 w 1969770"/>
                  <a:gd name="connsiteY1294" fmla="*/ 1327785 h 1744979"/>
                  <a:gd name="connsiteX1295" fmla="*/ 1689735 w 1969770"/>
                  <a:gd name="connsiteY1295" fmla="*/ 1322070 h 1744979"/>
                  <a:gd name="connsiteX1296" fmla="*/ 1698308 w 1969770"/>
                  <a:gd name="connsiteY1296" fmla="*/ 1316355 h 1744979"/>
                  <a:gd name="connsiteX1297" fmla="*/ 1706880 w 1969770"/>
                  <a:gd name="connsiteY1297" fmla="*/ 1310640 h 1744979"/>
                  <a:gd name="connsiteX1298" fmla="*/ 1716405 w 1969770"/>
                  <a:gd name="connsiteY1298" fmla="*/ 1304925 h 1744979"/>
                  <a:gd name="connsiteX1299" fmla="*/ 1725930 w 1969770"/>
                  <a:gd name="connsiteY1299" fmla="*/ 1299210 h 1744979"/>
                  <a:gd name="connsiteX1300" fmla="*/ 1736408 w 1969770"/>
                  <a:gd name="connsiteY1300" fmla="*/ 1294448 h 1744979"/>
                  <a:gd name="connsiteX1301" fmla="*/ 1746885 w 1969770"/>
                  <a:gd name="connsiteY1301" fmla="*/ 1289685 h 1744979"/>
                  <a:gd name="connsiteX1302" fmla="*/ 1758315 w 1969770"/>
                  <a:gd name="connsiteY1302" fmla="*/ 1284923 h 1744979"/>
                  <a:gd name="connsiteX1303" fmla="*/ 1764983 w 1969770"/>
                  <a:gd name="connsiteY1303" fmla="*/ 1282065 h 1744979"/>
                  <a:gd name="connsiteX1304" fmla="*/ 1771650 w 1969770"/>
                  <a:gd name="connsiteY1304" fmla="*/ 1279208 h 1744979"/>
                  <a:gd name="connsiteX1305" fmla="*/ 1778318 w 1969770"/>
                  <a:gd name="connsiteY1305" fmla="*/ 1276350 h 1744979"/>
                  <a:gd name="connsiteX1306" fmla="*/ 1784033 w 1969770"/>
                  <a:gd name="connsiteY1306" fmla="*/ 1272540 h 1744979"/>
                  <a:gd name="connsiteX1307" fmla="*/ 1790700 w 1969770"/>
                  <a:gd name="connsiteY1307" fmla="*/ 1268730 h 1744979"/>
                  <a:gd name="connsiteX1308" fmla="*/ 1796415 w 1969770"/>
                  <a:gd name="connsiteY1308" fmla="*/ 1264920 h 1744979"/>
                  <a:gd name="connsiteX1309" fmla="*/ 1802130 w 1969770"/>
                  <a:gd name="connsiteY1309" fmla="*/ 1261110 h 1744979"/>
                  <a:gd name="connsiteX1310" fmla="*/ 1807845 w 1969770"/>
                  <a:gd name="connsiteY1310" fmla="*/ 1257300 h 1744979"/>
                  <a:gd name="connsiteX1311" fmla="*/ 1819275 w 1969770"/>
                  <a:gd name="connsiteY1311" fmla="*/ 1248728 h 1744979"/>
                  <a:gd name="connsiteX1312" fmla="*/ 1829753 w 1969770"/>
                  <a:gd name="connsiteY1312" fmla="*/ 1240155 h 1744979"/>
                  <a:gd name="connsiteX1313" fmla="*/ 1840230 w 1969770"/>
                  <a:gd name="connsiteY1313" fmla="*/ 1230630 h 1744979"/>
                  <a:gd name="connsiteX1314" fmla="*/ 1850708 w 1969770"/>
                  <a:gd name="connsiteY1314" fmla="*/ 1221105 h 1744979"/>
                  <a:gd name="connsiteX1315" fmla="*/ 1861185 w 1969770"/>
                  <a:gd name="connsiteY1315" fmla="*/ 1211580 h 1744979"/>
                  <a:gd name="connsiteX1316" fmla="*/ 1870710 w 1969770"/>
                  <a:gd name="connsiteY1316" fmla="*/ 1202055 h 1744979"/>
                  <a:gd name="connsiteX1317" fmla="*/ 1880235 w 1969770"/>
                  <a:gd name="connsiteY1317" fmla="*/ 1192530 h 1744979"/>
                  <a:gd name="connsiteX1318" fmla="*/ 1888808 w 1969770"/>
                  <a:gd name="connsiteY1318" fmla="*/ 1183005 h 1744979"/>
                  <a:gd name="connsiteX1319" fmla="*/ 1905953 w 1969770"/>
                  <a:gd name="connsiteY1319" fmla="*/ 1163955 h 1744979"/>
                  <a:gd name="connsiteX1320" fmla="*/ 1922145 w 1969770"/>
                  <a:gd name="connsiteY1320" fmla="*/ 1146810 h 1744979"/>
                  <a:gd name="connsiteX1321" fmla="*/ 1916430 w 1969770"/>
                  <a:gd name="connsiteY1321" fmla="*/ 1160145 h 1744979"/>
                  <a:gd name="connsiteX1322" fmla="*/ 1908810 w 1969770"/>
                  <a:gd name="connsiteY1322" fmla="*/ 1184910 h 1744979"/>
                  <a:gd name="connsiteX1323" fmla="*/ 1900238 w 1969770"/>
                  <a:gd name="connsiteY1323" fmla="*/ 1207770 h 1744979"/>
                  <a:gd name="connsiteX1324" fmla="*/ 1890713 w 1969770"/>
                  <a:gd name="connsiteY1324" fmla="*/ 1228725 h 1744979"/>
                  <a:gd name="connsiteX1325" fmla="*/ 1881188 w 1969770"/>
                  <a:gd name="connsiteY1325" fmla="*/ 1248728 h 1744979"/>
                  <a:gd name="connsiteX1326" fmla="*/ 1870710 w 1969770"/>
                  <a:gd name="connsiteY1326" fmla="*/ 1266825 h 1744979"/>
                  <a:gd name="connsiteX1327" fmla="*/ 1859280 w 1969770"/>
                  <a:gd name="connsiteY1327" fmla="*/ 1283970 h 1744979"/>
                  <a:gd name="connsiteX1328" fmla="*/ 1846898 w 1969770"/>
                  <a:gd name="connsiteY1328" fmla="*/ 1299210 h 1744979"/>
                  <a:gd name="connsiteX1329" fmla="*/ 1834515 w 1969770"/>
                  <a:gd name="connsiteY1329" fmla="*/ 1313498 h 1744979"/>
                  <a:gd name="connsiteX1330" fmla="*/ 1821180 w 1969770"/>
                  <a:gd name="connsiteY1330" fmla="*/ 1326833 h 1744979"/>
                  <a:gd name="connsiteX1331" fmla="*/ 1807845 w 1969770"/>
                  <a:gd name="connsiteY1331" fmla="*/ 1338263 h 1744979"/>
                  <a:gd name="connsiteX1332" fmla="*/ 1794510 w 1969770"/>
                  <a:gd name="connsiteY1332" fmla="*/ 1348740 h 1744979"/>
                  <a:gd name="connsiteX1333" fmla="*/ 1780223 w 1969770"/>
                  <a:gd name="connsiteY1333" fmla="*/ 1358265 h 1744979"/>
                  <a:gd name="connsiteX1334" fmla="*/ 1765935 w 1969770"/>
                  <a:gd name="connsiteY1334" fmla="*/ 1366838 h 1744979"/>
                  <a:gd name="connsiteX1335" fmla="*/ 1751648 w 1969770"/>
                  <a:gd name="connsiteY1335" fmla="*/ 1374458 h 1744979"/>
                  <a:gd name="connsiteX1336" fmla="*/ 1737360 w 1969770"/>
                  <a:gd name="connsiteY1336" fmla="*/ 1381125 h 1744979"/>
                  <a:gd name="connsiteX1337" fmla="*/ 1723073 w 1969770"/>
                  <a:gd name="connsiteY1337" fmla="*/ 1387793 h 1744979"/>
                  <a:gd name="connsiteX1338" fmla="*/ 1708785 w 1969770"/>
                  <a:gd name="connsiteY1338" fmla="*/ 1393508 h 1744979"/>
                  <a:gd name="connsiteX1339" fmla="*/ 1694498 w 1969770"/>
                  <a:gd name="connsiteY1339" fmla="*/ 1398270 h 1744979"/>
                  <a:gd name="connsiteX1340" fmla="*/ 1680210 w 1969770"/>
                  <a:gd name="connsiteY1340" fmla="*/ 1403033 h 1744979"/>
                  <a:gd name="connsiteX1341" fmla="*/ 1666875 w 1969770"/>
                  <a:gd name="connsiteY1341" fmla="*/ 1406843 h 1744979"/>
                  <a:gd name="connsiteX1342" fmla="*/ 1641158 w 1969770"/>
                  <a:gd name="connsiteY1342" fmla="*/ 1413510 h 1744979"/>
                  <a:gd name="connsiteX1343" fmla="*/ 1617345 w 1969770"/>
                  <a:gd name="connsiteY1343" fmla="*/ 1419225 h 1744979"/>
                  <a:gd name="connsiteX1344" fmla="*/ 1605915 w 1969770"/>
                  <a:gd name="connsiteY1344" fmla="*/ 1422083 h 1744979"/>
                  <a:gd name="connsiteX1345" fmla="*/ 1595438 w 1969770"/>
                  <a:gd name="connsiteY1345" fmla="*/ 1424940 h 1744979"/>
                  <a:gd name="connsiteX1346" fmla="*/ 1585913 w 1969770"/>
                  <a:gd name="connsiteY1346" fmla="*/ 1427798 h 1744979"/>
                  <a:gd name="connsiteX1347" fmla="*/ 1576388 w 1969770"/>
                  <a:gd name="connsiteY1347" fmla="*/ 1430655 h 1744979"/>
                  <a:gd name="connsiteX1348" fmla="*/ 1568768 w 1969770"/>
                  <a:gd name="connsiteY1348" fmla="*/ 1434465 h 1744979"/>
                  <a:gd name="connsiteX1349" fmla="*/ 1561148 w 1969770"/>
                  <a:gd name="connsiteY1349" fmla="*/ 1438275 h 1744979"/>
                  <a:gd name="connsiteX1350" fmla="*/ 1554480 w 1969770"/>
                  <a:gd name="connsiteY1350" fmla="*/ 1442085 h 1744979"/>
                  <a:gd name="connsiteX1351" fmla="*/ 1552575 w 1969770"/>
                  <a:gd name="connsiteY1351" fmla="*/ 1446848 h 1744979"/>
                  <a:gd name="connsiteX1352" fmla="*/ 1552575 w 1969770"/>
                  <a:gd name="connsiteY1352" fmla="*/ 1446848 h 1744979"/>
                  <a:gd name="connsiteX1353" fmla="*/ 1373505 w 1969770"/>
                  <a:gd name="connsiteY1353" fmla="*/ 1568768 h 1744979"/>
                  <a:gd name="connsiteX1354" fmla="*/ 1377315 w 1969770"/>
                  <a:gd name="connsiteY1354" fmla="*/ 1563053 h 1744979"/>
                  <a:gd name="connsiteX1355" fmla="*/ 1381125 w 1969770"/>
                  <a:gd name="connsiteY1355" fmla="*/ 1556385 h 1744979"/>
                  <a:gd name="connsiteX1356" fmla="*/ 1384935 w 1969770"/>
                  <a:gd name="connsiteY1356" fmla="*/ 1549718 h 1744979"/>
                  <a:gd name="connsiteX1357" fmla="*/ 1388745 w 1969770"/>
                  <a:gd name="connsiteY1357" fmla="*/ 1543050 h 1744979"/>
                  <a:gd name="connsiteX1358" fmla="*/ 1395413 w 1969770"/>
                  <a:gd name="connsiteY1358" fmla="*/ 1526858 h 1744979"/>
                  <a:gd name="connsiteX1359" fmla="*/ 1403033 w 1969770"/>
                  <a:gd name="connsiteY1359" fmla="*/ 1509713 h 1744979"/>
                  <a:gd name="connsiteX1360" fmla="*/ 1410653 w 1969770"/>
                  <a:gd name="connsiteY1360" fmla="*/ 1490663 h 1744979"/>
                  <a:gd name="connsiteX1361" fmla="*/ 1419225 w 1969770"/>
                  <a:gd name="connsiteY1361" fmla="*/ 1470660 h 1744979"/>
                  <a:gd name="connsiteX1362" fmla="*/ 1428750 w 1969770"/>
                  <a:gd name="connsiteY1362" fmla="*/ 1449705 h 1744979"/>
                  <a:gd name="connsiteX1363" fmla="*/ 1438275 w 1969770"/>
                  <a:gd name="connsiteY1363" fmla="*/ 1428750 h 1744979"/>
                  <a:gd name="connsiteX1364" fmla="*/ 1443990 w 1969770"/>
                  <a:gd name="connsiteY1364" fmla="*/ 1418273 h 1744979"/>
                  <a:gd name="connsiteX1365" fmla="*/ 1449705 w 1969770"/>
                  <a:gd name="connsiteY1365" fmla="*/ 1407795 h 1744979"/>
                  <a:gd name="connsiteX1366" fmla="*/ 1455420 w 1969770"/>
                  <a:gd name="connsiteY1366" fmla="*/ 1397318 h 1744979"/>
                  <a:gd name="connsiteX1367" fmla="*/ 1462088 w 1969770"/>
                  <a:gd name="connsiteY1367" fmla="*/ 1386840 h 1744979"/>
                  <a:gd name="connsiteX1368" fmla="*/ 1468755 w 1969770"/>
                  <a:gd name="connsiteY1368" fmla="*/ 1376363 h 1744979"/>
                  <a:gd name="connsiteX1369" fmla="*/ 1475423 w 1969770"/>
                  <a:gd name="connsiteY1369" fmla="*/ 1365885 h 1744979"/>
                  <a:gd name="connsiteX1370" fmla="*/ 1483043 w 1969770"/>
                  <a:gd name="connsiteY1370" fmla="*/ 1355408 h 1744979"/>
                  <a:gd name="connsiteX1371" fmla="*/ 1490663 w 1969770"/>
                  <a:gd name="connsiteY1371" fmla="*/ 1345883 h 1744979"/>
                  <a:gd name="connsiteX1372" fmla="*/ 1498283 w 1969770"/>
                  <a:gd name="connsiteY1372" fmla="*/ 1336358 h 1744979"/>
                  <a:gd name="connsiteX1373" fmla="*/ 1506855 w 1969770"/>
                  <a:gd name="connsiteY1373" fmla="*/ 1326833 h 1744979"/>
                  <a:gd name="connsiteX1374" fmla="*/ 1515428 w 1969770"/>
                  <a:gd name="connsiteY1374" fmla="*/ 1317308 h 1744979"/>
                  <a:gd name="connsiteX1375" fmla="*/ 1524953 w 1969770"/>
                  <a:gd name="connsiteY1375" fmla="*/ 1308735 h 1744979"/>
                  <a:gd name="connsiteX1376" fmla="*/ 1534478 w 1969770"/>
                  <a:gd name="connsiteY1376" fmla="*/ 1300163 h 1744979"/>
                  <a:gd name="connsiteX1377" fmla="*/ 1544955 w 1969770"/>
                  <a:gd name="connsiteY1377" fmla="*/ 1291590 h 1744979"/>
                  <a:gd name="connsiteX1378" fmla="*/ 1556385 w 1969770"/>
                  <a:gd name="connsiteY1378" fmla="*/ 1283970 h 1744979"/>
                  <a:gd name="connsiteX1379" fmla="*/ 1567815 w 1969770"/>
                  <a:gd name="connsiteY1379" fmla="*/ 1277303 h 1744979"/>
                  <a:gd name="connsiteX1380" fmla="*/ 1556385 w 1969770"/>
                  <a:gd name="connsiteY1380" fmla="*/ 1316355 h 1744979"/>
                  <a:gd name="connsiteX1381" fmla="*/ 1545908 w 1969770"/>
                  <a:gd name="connsiteY1381" fmla="*/ 1352550 h 1744979"/>
                  <a:gd name="connsiteX1382" fmla="*/ 1541145 w 1969770"/>
                  <a:gd name="connsiteY1382" fmla="*/ 1369695 h 1744979"/>
                  <a:gd name="connsiteX1383" fmla="*/ 1536383 w 1969770"/>
                  <a:gd name="connsiteY1383" fmla="*/ 1385888 h 1744979"/>
                  <a:gd name="connsiteX1384" fmla="*/ 1531620 w 1969770"/>
                  <a:gd name="connsiteY1384" fmla="*/ 1402080 h 1744979"/>
                  <a:gd name="connsiteX1385" fmla="*/ 1525905 w 1969770"/>
                  <a:gd name="connsiteY1385" fmla="*/ 1417320 h 1744979"/>
                  <a:gd name="connsiteX1386" fmla="*/ 1523048 w 1969770"/>
                  <a:gd name="connsiteY1386" fmla="*/ 1424940 h 1744979"/>
                  <a:gd name="connsiteX1387" fmla="*/ 1520190 w 1969770"/>
                  <a:gd name="connsiteY1387" fmla="*/ 1431608 h 1744979"/>
                  <a:gd name="connsiteX1388" fmla="*/ 1517333 w 1969770"/>
                  <a:gd name="connsiteY1388" fmla="*/ 1438275 h 1744979"/>
                  <a:gd name="connsiteX1389" fmla="*/ 1513523 w 1969770"/>
                  <a:gd name="connsiteY1389" fmla="*/ 1444943 h 1744979"/>
                  <a:gd name="connsiteX1390" fmla="*/ 1509713 w 1969770"/>
                  <a:gd name="connsiteY1390" fmla="*/ 1451610 h 1744979"/>
                  <a:gd name="connsiteX1391" fmla="*/ 1505903 w 1969770"/>
                  <a:gd name="connsiteY1391" fmla="*/ 1458278 h 1744979"/>
                  <a:gd name="connsiteX1392" fmla="*/ 1502093 w 1969770"/>
                  <a:gd name="connsiteY1392" fmla="*/ 1464945 h 1744979"/>
                  <a:gd name="connsiteX1393" fmla="*/ 1498283 w 1969770"/>
                  <a:gd name="connsiteY1393" fmla="*/ 1471613 h 1744979"/>
                  <a:gd name="connsiteX1394" fmla="*/ 1493520 w 1969770"/>
                  <a:gd name="connsiteY1394" fmla="*/ 1478280 h 1744979"/>
                  <a:gd name="connsiteX1395" fmla="*/ 1488758 w 1969770"/>
                  <a:gd name="connsiteY1395" fmla="*/ 1484948 h 1744979"/>
                  <a:gd name="connsiteX1396" fmla="*/ 1483043 w 1969770"/>
                  <a:gd name="connsiteY1396" fmla="*/ 1491615 h 1744979"/>
                  <a:gd name="connsiteX1397" fmla="*/ 1477328 w 1969770"/>
                  <a:gd name="connsiteY1397" fmla="*/ 1498283 h 1744979"/>
                  <a:gd name="connsiteX1398" fmla="*/ 1471613 w 1969770"/>
                  <a:gd name="connsiteY1398" fmla="*/ 1504950 h 1744979"/>
                  <a:gd name="connsiteX1399" fmla="*/ 1464945 w 1969770"/>
                  <a:gd name="connsiteY1399" fmla="*/ 1510665 h 1744979"/>
                  <a:gd name="connsiteX1400" fmla="*/ 1458278 w 1969770"/>
                  <a:gd name="connsiteY1400" fmla="*/ 1516380 h 1744979"/>
                  <a:gd name="connsiteX1401" fmla="*/ 1451610 w 1969770"/>
                  <a:gd name="connsiteY1401" fmla="*/ 1523048 h 1744979"/>
                  <a:gd name="connsiteX1402" fmla="*/ 1463993 w 1969770"/>
                  <a:gd name="connsiteY1402" fmla="*/ 1517333 h 1744979"/>
                  <a:gd name="connsiteX1403" fmla="*/ 1480185 w 1969770"/>
                  <a:gd name="connsiteY1403" fmla="*/ 1510665 h 1744979"/>
                  <a:gd name="connsiteX1404" fmla="*/ 1499235 w 1969770"/>
                  <a:gd name="connsiteY1404" fmla="*/ 1503045 h 1744979"/>
                  <a:gd name="connsiteX1405" fmla="*/ 1521143 w 1969770"/>
                  <a:gd name="connsiteY1405" fmla="*/ 1495425 h 1744979"/>
                  <a:gd name="connsiteX1406" fmla="*/ 1532573 w 1969770"/>
                  <a:gd name="connsiteY1406" fmla="*/ 1491615 h 1744979"/>
                  <a:gd name="connsiteX1407" fmla="*/ 1544003 w 1969770"/>
                  <a:gd name="connsiteY1407" fmla="*/ 1487805 h 1744979"/>
                  <a:gd name="connsiteX1408" fmla="*/ 1556385 w 1969770"/>
                  <a:gd name="connsiteY1408" fmla="*/ 1483995 h 1744979"/>
                  <a:gd name="connsiteX1409" fmla="*/ 1568768 w 1969770"/>
                  <a:gd name="connsiteY1409" fmla="*/ 1481138 h 1744979"/>
                  <a:gd name="connsiteX1410" fmla="*/ 1581150 w 1969770"/>
                  <a:gd name="connsiteY1410" fmla="*/ 1478280 h 1744979"/>
                  <a:gd name="connsiteX1411" fmla="*/ 1593533 w 1969770"/>
                  <a:gd name="connsiteY1411" fmla="*/ 1475423 h 1744979"/>
                  <a:gd name="connsiteX1412" fmla="*/ 1605915 w 1969770"/>
                  <a:gd name="connsiteY1412" fmla="*/ 1473518 h 1744979"/>
                  <a:gd name="connsiteX1413" fmla="*/ 1618298 w 1969770"/>
                  <a:gd name="connsiteY1413" fmla="*/ 1471613 h 1744979"/>
                  <a:gd name="connsiteX1414" fmla="*/ 1628775 w 1969770"/>
                  <a:gd name="connsiteY1414" fmla="*/ 1470660 h 1744979"/>
                  <a:gd name="connsiteX1415" fmla="*/ 1639253 w 1969770"/>
                  <a:gd name="connsiteY1415" fmla="*/ 1468755 h 1744979"/>
                  <a:gd name="connsiteX1416" fmla="*/ 1648778 w 1969770"/>
                  <a:gd name="connsiteY1416" fmla="*/ 1466850 h 1744979"/>
                  <a:gd name="connsiteX1417" fmla="*/ 1658303 w 1969770"/>
                  <a:gd name="connsiteY1417" fmla="*/ 1464945 h 1744979"/>
                  <a:gd name="connsiteX1418" fmla="*/ 1666875 w 1969770"/>
                  <a:gd name="connsiteY1418" fmla="*/ 1463040 h 1744979"/>
                  <a:gd name="connsiteX1419" fmla="*/ 1675448 w 1969770"/>
                  <a:gd name="connsiteY1419" fmla="*/ 1461135 h 1744979"/>
                  <a:gd name="connsiteX1420" fmla="*/ 1683068 w 1969770"/>
                  <a:gd name="connsiteY1420" fmla="*/ 1459230 h 1744979"/>
                  <a:gd name="connsiteX1421" fmla="*/ 1690688 w 1969770"/>
                  <a:gd name="connsiteY1421" fmla="*/ 1457325 h 1744979"/>
                  <a:gd name="connsiteX1422" fmla="*/ 1697355 w 1969770"/>
                  <a:gd name="connsiteY1422" fmla="*/ 1454468 h 1744979"/>
                  <a:gd name="connsiteX1423" fmla="*/ 1704023 w 1969770"/>
                  <a:gd name="connsiteY1423" fmla="*/ 1451610 h 1744979"/>
                  <a:gd name="connsiteX1424" fmla="*/ 1710690 w 1969770"/>
                  <a:gd name="connsiteY1424" fmla="*/ 1448753 h 1744979"/>
                  <a:gd name="connsiteX1425" fmla="*/ 1716405 w 1969770"/>
                  <a:gd name="connsiteY1425" fmla="*/ 1445895 h 1744979"/>
                  <a:gd name="connsiteX1426" fmla="*/ 1727835 w 1969770"/>
                  <a:gd name="connsiteY1426" fmla="*/ 1440180 h 1744979"/>
                  <a:gd name="connsiteX1427" fmla="*/ 1738313 w 1969770"/>
                  <a:gd name="connsiteY1427" fmla="*/ 1434465 h 1744979"/>
                  <a:gd name="connsiteX1428" fmla="*/ 1747838 w 1969770"/>
                  <a:gd name="connsiteY1428" fmla="*/ 1428750 h 1744979"/>
                  <a:gd name="connsiteX1429" fmla="*/ 1757363 w 1969770"/>
                  <a:gd name="connsiteY1429" fmla="*/ 1423035 h 1744979"/>
                  <a:gd name="connsiteX1430" fmla="*/ 1765935 w 1969770"/>
                  <a:gd name="connsiteY1430" fmla="*/ 1417320 h 1744979"/>
                  <a:gd name="connsiteX1431" fmla="*/ 1774508 w 1969770"/>
                  <a:gd name="connsiteY1431" fmla="*/ 1411605 h 1744979"/>
                  <a:gd name="connsiteX1432" fmla="*/ 1783080 w 1969770"/>
                  <a:gd name="connsiteY1432" fmla="*/ 1405890 h 1744979"/>
                  <a:gd name="connsiteX1433" fmla="*/ 1791653 w 1969770"/>
                  <a:gd name="connsiteY1433" fmla="*/ 1400175 h 1744979"/>
                  <a:gd name="connsiteX1434" fmla="*/ 1801178 w 1969770"/>
                  <a:gd name="connsiteY1434" fmla="*/ 1394460 h 1744979"/>
                  <a:gd name="connsiteX1435" fmla="*/ 1810703 w 1969770"/>
                  <a:gd name="connsiteY1435" fmla="*/ 1388745 h 1744979"/>
                  <a:gd name="connsiteX1436" fmla="*/ 1797368 w 1969770"/>
                  <a:gd name="connsiteY1436" fmla="*/ 1411605 h 1744979"/>
                  <a:gd name="connsiteX1437" fmla="*/ 1784033 w 1969770"/>
                  <a:gd name="connsiteY1437" fmla="*/ 1432560 h 1744979"/>
                  <a:gd name="connsiteX1438" fmla="*/ 1769745 w 1969770"/>
                  <a:gd name="connsiteY1438" fmla="*/ 1451610 h 1744979"/>
                  <a:gd name="connsiteX1439" fmla="*/ 1755458 w 1969770"/>
                  <a:gd name="connsiteY1439" fmla="*/ 1468755 h 1744979"/>
                  <a:gd name="connsiteX1440" fmla="*/ 1741170 w 1969770"/>
                  <a:gd name="connsiteY1440" fmla="*/ 1483995 h 1744979"/>
                  <a:gd name="connsiteX1441" fmla="*/ 1725930 w 1969770"/>
                  <a:gd name="connsiteY1441" fmla="*/ 1497330 h 1744979"/>
                  <a:gd name="connsiteX1442" fmla="*/ 1710690 w 1969770"/>
                  <a:gd name="connsiteY1442" fmla="*/ 1509713 h 1744979"/>
                  <a:gd name="connsiteX1443" fmla="*/ 1695450 w 1969770"/>
                  <a:gd name="connsiteY1443" fmla="*/ 1520190 h 1744979"/>
                  <a:gd name="connsiteX1444" fmla="*/ 1679258 w 1969770"/>
                  <a:gd name="connsiteY1444" fmla="*/ 1529715 h 1744979"/>
                  <a:gd name="connsiteX1445" fmla="*/ 1663065 w 1969770"/>
                  <a:gd name="connsiteY1445" fmla="*/ 1537335 h 1744979"/>
                  <a:gd name="connsiteX1446" fmla="*/ 1646873 w 1969770"/>
                  <a:gd name="connsiteY1446" fmla="*/ 1544003 h 1744979"/>
                  <a:gd name="connsiteX1447" fmla="*/ 1630680 w 1969770"/>
                  <a:gd name="connsiteY1447" fmla="*/ 1549718 h 1744979"/>
                  <a:gd name="connsiteX1448" fmla="*/ 1614488 w 1969770"/>
                  <a:gd name="connsiteY1448" fmla="*/ 1554480 h 1744979"/>
                  <a:gd name="connsiteX1449" fmla="*/ 1598295 w 1969770"/>
                  <a:gd name="connsiteY1449" fmla="*/ 1558290 h 1744979"/>
                  <a:gd name="connsiteX1450" fmla="*/ 1582103 w 1969770"/>
                  <a:gd name="connsiteY1450" fmla="*/ 1561148 h 1744979"/>
                  <a:gd name="connsiteX1451" fmla="*/ 1566863 w 1969770"/>
                  <a:gd name="connsiteY1451" fmla="*/ 1563053 h 1744979"/>
                  <a:gd name="connsiteX1452" fmla="*/ 1551623 w 1969770"/>
                  <a:gd name="connsiteY1452" fmla="*/ 1564005 h 1744979"/>
                  <a:gd name="connsiteX1453" fmla="*/ 1536383 w 1969770"/>
                  <a:gd name="connsiteY1453" fmla="*/ 1564958 h 1744979"/>
                  <a:gd name="connsiteX1454" fmla="*/ 1521143 w 1969770"/>
                  <a:gd name="connsiteY1454" fmla="*/ 1564958 h 1744979"/>
                  <a:gd name="connsiteX1455" fmla="*/ 1506855 w 1969770"/>
                  <a:gd name="connsiteY1455" fmla="*/ 1564958 h 1744979"/>
                  <a:gd name="connsiteX1456" fmla="*/ 1479233 w 1969770"/>
                  <a:gd name="connsiteY1456" fmla="*/ 1564005 h 1744979"/>
                  <a:gd name="connsiteX1457" fmla="*/ 1452563 w 1969770"/>
                  <a:gd name="connsiteY1457" fmla="*/ 1563053 h 1744979"/>
                  <a:gd name="connsiteX1458" fmla="*/ 1440180 w 1969770"/>
                  <a:gd name="connsiteY1458" fmla="*/ 1563053 h 1744979"/>
                  <a:gd name="connsiteX1459" fmla="*/ 1428750 w 1969770"/>
                  <a:gd name="connsiteY1459" fmla="*/ 1563053 h 1744979"/>
                  <a:gd name="connsiteX1460" fmla="*/ 1418273 w 1969770"/>
                  <a:gd name="connsiteY1460" fmla="*/ 1563053 h 1744979"/>
                  <a:gd name="connsiteX1461" fmla="*/ 1407795 w 1969770"/>
                  <a:gd name="connsiteY1461" fmla="*/ 1563053 h 1744979"/>
                  <a:gd name="connsiteX1462" fmla="*/ 1398270 w 1969770"/>
                  <a:gd name="connsiteY1462" fmla="*/ 1564005 h 1744979"/>
                  <a:gd name="connsiteX1463" fmla="*/ 1389698 w 1969770"/>
                  <a:gd name="connsiteY1463" fmla="*/ 1564958 h 1744979"/>
                  <a:gd name="connsiteX1464" fmla="*/ 1382078 w 1969770"/>
                  <a:gd name="connsiteY1464" fmla="*/ 1566863 h 1744979"/>
                  <a:gd name="connsiteX1465" fmla="*/ 1373505 w 1969770"/>
                  <a:gd name="connsiteY1465" fmla="*/ 1568768 h 1744979"/>
                  <a:gd name="connsiteX1466" fmla="*/ 1373505 w 1969770"/>
                  <a:gd name="connsiteY1466" fmla="*/ 1568768 h 1744979"/>
                  <a:gd name="connsiteX1467" fmla="*/ 1829753 w 1969770"/>
                  <a:gd name="connsiteY1467" fmla="*/ 656273 h 1744979"/>
                  <a:gd name="connsiteX1468" fmla="*/ 1824990 w 1969770"/>
                  <a:gd name="connsiteY1468" fmla="*/ 642938 h 1744979"/>
                  <a:gd name="connsiteX1469" fmla="*/ 1819275 w 1969770"/>
                  <a:gd name="connsiteY1469" fmla="*/ 630555 h 1744979"/>
                  <a:gd name="connsiteX1470" fmla="*/ 1812608 w 1969770"/>
                  <a:gd name="connsiteY1470" fmla="*/ 618173 h 1744979"/>
                  <a:gd name="connsiteX1471" fmla="*/ 1805940 w 1969770"/>
                  <a:gd name="connsiteY1471" fmla="*/ 607695 h 1744979"/>
                  <a:gd name="connsiteX1472" fmla="*/ 1799273 w 1969770"/>
                  <a:gd name="connsiteY1472" fmla="*/ 597218 h 1744979"/>
                  <a:gd name="connsiteX1473" fmla="*/ 1790700 w 1969770"/>
                  <a:gd name="connsiteY1473" fmla="*/ 586740 h 1744979"/>
                  <a:gd name="connsiteX1474" fmla="*/ 1783080 w 1969770"/>
                  <a:gd name="connsiteY1474" fmla="*/ 577215 h 1744979"/>
                  <a:gd name="connsiteX1475" fmla="*/ 1774508 w 1969770"/>
                  <a:gd name="connsiteY1475" fmla="*/ 567690 h 1744979"/>
                  <a:gd name="connsiteX1476" fmla="*/ 1764983 w 1969770"/>
                  <a:gd name="connsiteY1476" fmla="*/ 559118 h 1744979"/>
                  <a:gd name="connsiteX1477" fmla="*/ 1755458 w 1969770"/>
                  <a:gd name="connsiteY1477" fmla="*/ 550545 h 1744979"/>
                  <a:gd name="connsiteX1478" fmla="*/ 1745933 w 1969770"/>
                  <a:gd name="connsiteY1478" fmla="*/ 541973 h 1744979"/>
                  <a:gd name="connsiteX1479" fmla="*/ 1736408 w 1969770"/>
                  <a:gd name="connsiteY1479" fmla="*/ 534353 h 1744979"/>
                  <a:gd name="connsiteX1480" fmla="*/ 1716405 w 1969770"/>
                  <a:gd name="connsiteY1480" fmla="*/ 518160 h 1744979"/>
                  <a:gd name="connsiteX1481" fmla="*/ 1696403 w 1969770"/>
                  <a:gd name="connsiteY1481" fmla="*/ 502920 h 1744979"/>
                  <a:gd name="connsiteX1482" fmla="*/ 1685925 w 1969770"/>
                  <a:gd name="connsiteY1482" fmla="*/ 495300 h 1744979"/>
                  <a:gd name="connsiteX1483" fmla="*/ 1676400 w 1969770"/>
                  <a:gd name="connsiteY1483" fmla="*/ 487680 h 1744979"/>
                  <a:gd name="connsiteX1484" fmla="*/ 1666875 w 1969770"/>
                  <a:gd name="connsiteY1484" fmla="*/ 480060 h 1744979"/>
                  <a:gd name="connsiteX1485" fmla="*/ 1657350 w 1969770"/>
                  <a:gd name="connsiteY1485" fmla="*/ 471488 h 1744979"/>
                  <a:gd name="connsiteX1486" fmla="*/ 1647825 w 1969770"/>
                  <a:gd name="connsiteY1486" fmla="*/ 462915 h 1744979"/>
                  <a:gd name="connsiteX1487" fmla="*/ 1638300 w 1969770"/>
                  <a:gd name="connsiteY1487" fmla="*/ 454343 h 1744979"/>
                  <a:gd name="connsiteX1488" fmla="*/ 1629728 w 1969770"/>
                  <a:gd name="connsiteY1488" fmla="*/ 445770 h 1744979"/>
                  <a:gd name="connsiteX1489" fmla="*/ 1621155 w 1969770"/>
                  <a:gd name="connsiteY1489" fmla="*/ 436245 h 1744979"/>
                  <a:gd name="connsiteX1490" fmla="*/ 1612583 w 1969770"/>
                  <a:gd name="connsiteY1490" fmla="*/ 426720 h 1744979"/>
                  <a:gd name="connsiteX1491" fmla="*/ 1604963 w 1969770"/>
                  <a:gd name="connsiteY1491" fmla="*/ 416243 h 1744979"/>
                  <a:gd name="connsiteX1492" fmla="*/ 1597343 w 1969770"/>
                  <a:gd name="connsiteY1492" fmla="*/ 405765 h 1744979"/>
                  <a:gd name="connsiteX1493" fmla="*/ 1590675 w 1969770"/>
                  <a:gd name="connsiteY1493" fmla="*/ 394335 h 1744979"/>
                  <a:gd name="connsiteX1494" fmla="*/ 1584008 w 1969770"/>
                  <a:gd name="connsiteY1494" fmla="*/ 381953 h 1744979"/>
                  <a:gd name="connsiteX1495" fmla="*/ 1578293 w 1969770"/>
                  <a:gd name="connsiteY1495" fmla="*/ 369570 h 1744979"/>
                  <a:gd name="connsiteX1496" fmla="*/ 1572578 w 1969770"/>
                  <a:gd name="connsiteY1496" fmla="*/ 356235 h 1744979"/>
                  <a:gd name="connsiteX1497" fmla="*/ 1568768 w 1969770"/>
                  <a:gd name="connsiteY1497" fmla="*/ 341948 h 1744979"/>
                  <a:gd name="connsiteX1498" fmla="*/ 1578293 w 1969770"/>
                  <a:gd name="connsiteY1498" fmla="*/ 351473 h 1744979"/>
                  <a:gd name="connsiteX1499" fmla="*/ 1588770 w 1969770"/>
                  <a:gd name="connsiteY1499" fmla="*/ 360045 h 1744979"/>
                  <a:gd name="connsiteX1500" fmla="*/ 1599248 w 1969770"/>
                  <a:gd name="connsiteY1500" fmla="*/ 368618 h 1744979"/>
                  <a:gd name="connsiteX1501" fmla="*/ 1609725 w 1969770"/>
                  <a:gd name="connsiteY1501" fmla="*/ 376238 h 1744979"/>
                  <a:gd name="connsiteX1502" fmla="*/ 1620203 w 1969770"/>
                  <a:gd name="connsiteY1502" fmla="*/ 383858 h 1744979"/>
                  <a:gd name="connsiteX1503" fmla="*/ 1630680 w 1969770"/>
                  <a:gd name="connsiteY1503" fmla="*/ 391478 h 1744979"/>
                  <a:gd name="connsiteX1504" fmla="*/ 1642110 w 1969770"/>
                  <a:gd name="connsiteY1504" fmla="*/ 398145 h 1744979"/>
                  <a:gd name="connsiteX1505" fmla="*/ 1653540 w 1969770"/>
                  <a:gd name="connsiteY1505" fmla="*/ 405765 h 1744979"/>
                  <a:gd name="connsiteX1506" fmla="*/ 1676400 w 1969770"/>
                  <a:gd name="connsiteY1506" fmla="*/ 420053 h 1744979"/>
                  <a:gd name="connsiteX1507" fmla="*/ 1699260 w 1969770"/>
                  <a:gd name="connsiteY1507" fmla="*/ 435293 h 1744979"/>
                  <a:gd name="connsiteX1508" fmla="*/ 1710690 w 1969770"/>
                  <a:gd name="connsiteY1508" fmla="*/ 442913 h 1744979"/>
                  <a:gd name="connsiteX1509" fmla="*/ 1721168 w 1969770"/>
                  <a:gd name="connsiteY1509" fmla="*/ 451485 h 1744979"/>
                  <a:gd name="connsiteX1510" fmla="*/ 1731645 w 1969770"/>
                  <a:gd name="connsiteY1510" fmla="*/ 461010 h 1744979"/>
                  <a:gd name="connsiteX1511" fmla="*/ 1742123 w 1969770"/>
                  <a:gd name="connsiteY1511" fmla="*/ 470535 h 1744979"/>
                  <a:gd name="connsiteX1512" fmla="*/ 1751648 w 1969770"/>
                  <a:gd name="connsiteY1512" fmla="*/ 480060 h 1744979"/>
                  <a:gd name="connsiteX1513" fmla="*/ 1760220 w 1969770"/>
                  <a:gd name="connsiteY1513" fmla="*/ 489585 h 1744979"/>
                  <a:gd name="connsiteX1514" fmla="*/ 1767840 w 1969770"/>
                  <a:gd name="connsiteY1514" fmla="*/ 499110 h 1744979"/>
                  <a:gd name="connsiteX1515" fmla="*/ 1774508 w 1969770"/>
                  <a:gd name="connsiteY1515" fmla="*/ 509588 h 1744979"/>
                  <a:gd name="connsiteX1516" fmla="*/ 1781175 w 1969770"/>
                  <a:gd name="connsiteY1516" fmla="*/ 520065 h 1744979"/>
                  <a:gd name="connsiteX1517" fmla="*/ 1787843 w 1969770"/>
                  <a:gd name="connsiteY1517" fmla="*/ 530543 h 1744979"/>
                  <a:gd name="connsiteX1518" fmla="*/ 1793558 w 1969770"/>
                  <a:gd name="connsiteY1518" fmla="*/ 541020 h 1744979"/>
                  <a:gd name="connsiteX1519" fmla="*/ 1799273 w 1969770"/>
                  <a:gd name="connsiteY1519" fmla="*/ 552450 h 1744979"/>
                  <a:gd name="connsiteX1520" fmla="*/ 1794510 w 1969770"/>
                  <a:gd name="connsiteY1520" fmla="*/ 535305 h 1744979"/>
                  <a:gd name="connsiteX1521" fmla="*/ 1790700 w 1969770"/>
                  <a:gd name="connsiteY1521" fmla="*/ 518160 h 1744979"/>
                  <a:gd name="connsiteX1522" fmla="*/ 1786890 w 1969770"/>
                  <a:gd name="connsiteY1522" fmla="*/ 501015 h 1744979"/>
                  <a:gd name="connsiteX1523" fmla="*/ 1783080 w 1969770"/>
                  <a:gd name="connsiteY1523" fmla="*/ 483870 h 1744979"/>
                  <a:gd name="connsiteX1524" fmla="*/ 1780223 w 1969770"/>
                  <a:gd name="connsiteY1524" fmla="*/ 466725 h 1744979"/>
                  <a:gd name="connsiteX1525" fmla="*/ 1777365 w 1969770"/>
                  <a:gd name="connsiteY1525" fmla="*/ 450533 h 1744979"/>
                  <a:gd name="connsiteX1526" fmla="*/ 1776413 w 1969770"/>
                  <a:gd name="connsiteY1526" fmla="*/ 442913 h 1744979"/>
                  <a:gd name="connsiteX1527" fmla="*/ 1775460 w 1969770"/>
                  <a:gd name="connsiteY1527" fmla="*/ 435293 h 1744979"/>
                  <a:gd name="connsiteX1528" fmla="*/ 1774508 w 1969770"/>
                  <a:gd name="connsiteY1528" fmla="*/ 427673 h 1744979"/>
                  <a:gd name="connsiteX1529" fmla="*/ 1774508 w 1969770"/>
                  <a:gd name="connsiteY1529" fmla="*/ 420053 h 1744979"/>
                  <a:gd name="connsiteX1530" fmla="*/ 1771650 w 1969770"/>
                  <a:gd name="connsiteY1530" fmla="*/ 400050 h 1744979"/>
                  <a:gd name="connsiteX1531" fmla="*/ 1769745 w 1969770"/>
                  <a:gd name="connsiteY1531" fmla="*/ 384810 h 1744979"/>
                  <a:gd name="connsiteX1532" fmla="*/ 1767840 w 1969770"/>
                  <a:gd name="connsiteY1532" fmla="*/ 372428 h 1744979"/>
                  <a:gd name="connsiteX1533" fmla="*/ 1765935 w 1969770"/>
                  <a:gd name="connsiteY1533" fmla="*/ 361950 h 1744979"/>
                  <a:gd name="connsiteX1534" fmla="*/ 1764983 w 1969770"/>
                  <a:gd name="connsiteY1534" fmla="*/ 357188 h 1744979"/>
                  <a:gd name="connsiteX1535" fmla="*/ 1763078 w 1969770"/>
                  <a:gd name="connsiteY1535" fmla="*/ 352425 h 1744979"/>
                  <a:gd name="connsiteX1536" fmla="*/ 1761173 w 1969770"/>
                  <a:gd name="connsiteY1536" fmla="*/ 346710 h 1744979"/>
                  <a:gd name="connsiteX1537" fmla="*/ 1758315 w 1969770"/>
                  <a:gd name="connsiteY1537" fmla="*/ 340995 h 1744979"/>
                  <a:gd name="connsiteX1538" fmla="*/ 1752600 w 1969770"/>
                  <a:gd name="connsiteY1538" fmla="*/ 326708 h 1744979"/>
                  <a:gd name="connsiteX1539" fmla="*/ 1744980 w 1969770"/>
                  <a:gd name="connsiteY1539" fmla="*/ 307658 h 1744979"/>
                  <a:gd name="connsiteX1540" fmla="*/ 1742123 w 1969770"/>
                  <a:gd name="connsiteY1540" fmla="*/ 301943 h 1744979"/>
                  <a:gd name="connsiteX1541" fmla="*/ 1737360 w 1969770"/>
                  <a:gd name="connsiteY1541" fmla="*/ 294323 h 1744979"/>
                  <a:gd name="connsiteX1542" fmla="*/ 1732598 w 1969770"/>
                  <a:gd name="connsiteY1542" fmla="*/ 286703 h 1744979"/>
                  <a:gd name="connsiteX1543" fmla="*/ 1729740 w 1969770"/>
                  <a:gd name="connsiteY1543" fmla="*/ 280988 h 1744979"/>
                  <a:gd name="connsiteX1544" fmla="*/ 1735455 w 1969770"/>
                  <a:gd name="connsiteY1544" fmla="*/ 284798 h 1744979"/>
                  <a:gd name="connsiteX1545" fmla="*/ 1741170 w 1969770"/>
                  <a:gd name="connsiteY1545" fmla="*/ 289560 h 1744979"/>
                  <a:gd name="connsiteX1546" fmla="*/ 1746885 w 1969770"/>
                  <a:gd name="connsiteY1546" fmla="*/ 293370 h 1744979"/>
                  <a:gd name="connsiteX1547" fmla="*/ 1752600 w 1969770"/>
                  <a:gd name="connsiteY1547" fmla="*/ 298133 h 1744979"/>
                  <a:gd name="connsiteX1548" fmla="*/ 1758315 w 1969770"/>
                  <a:gd name="connsiteY1548" fmla="*/ 302895 h 1744979"/>
                  <a:gd name="connsiteX1549" fmla="*/ 1763078 w 1969770"/>
                  <a:gd name="connsiteY1549" fmla="*/ 307658 h 1744979"/>
                  <a:gd name="connsiteX1550" fmla="*/ 1767840 w 1969770"/>
                  <a:gd name="connsiteY1550" fmla="*/ 312420 h 1744979"/>
                  <a:gd name="connsiteX1551" fmla="*/ 1772603 w 1969770"/>
                  <a:gd name="connsiteY1551" fmla="*/ 317183 h 1744979"/>
                  <a:gd name="connsiteX1552" fmla="*/ 1777365 w 1969770"/>
                  <a:gd name="connsiteY1552" fmla="*/ 321945 h 1744979"/>
                  <a:gd name="connsiteX1553" fmla="*/ 1781175 w 1969770"/>
                  <a:gd name="connsiteY1553" fmla="*/ 327660 h 1744979"/>
                  <a:gd name="connsiteX1554" fmla="*/ 1784985 w 1969770"/>
                  <a:gd name="connsiteY1554" fmla="*/ 332423 h 1744979"/>
                  <a:gd name="connsiteX1555" fmla="*/ 1788795 w 1969770"/>
                  <a:gd name="connsiteY1555" fmla="*/ 338138 h 1744979"/>
                  <a:gd name="connsiteX1556" fmla="*/ 1792605 w 1969770"/>
                  <a:gd name="connsiteY1556" fmla="*/ 343853 h 1744979"/>
                  <a:gd name="connsiteX1557" fmla="*/ 1796415 w 1969770"/>
                  <a:gd name="connsiteY1557" fmla="*/ 349568 h 1744979"/>
                  <a:gd name="connsiteX1558" fmla="*/ 1800225 w 1969770"/>
                  <a:gd name="connsiteY1558" fmla="*/ 355283 h 1744979"/>
                  <a:gd name="connsiteX1559" fmla="*/ 1803083 w 1969770"/>
                  <a:gd name="connsiteY1559" fmla="*/ 360998 h 1744979"/>
                  <a:gd name="connsiteX1560" fmla="*/ 1809750 w 1969770"/>
                  <a:gd name="connsiteY1560" fmla="*/ 371475 h 1744979"/>
                  <a:gd name="connsiteX1561" fmla="*/ 1815465 w 1969770"/>
                  <a:gd name="connsiteY1561" fmla="*/ 383858 h 1744979"/>
                  <a:gd name="connsiteX1562" fmla="*/ 1821180 w 1969770"/>
                  <a:gd name="connsiteY1562" fmla="*/ 396240 h 1744979"/>
                  <a:gd name="connsiteX1563" fmla="*/ 1824990 w 1969770"/>
                  <a:gd name="connsiteY1563" fmla="*/ 408623 h 1744979"/>
                  <a:gd name="connsiteX1564" fmla="*/ 1828800 w 1969770"/>
                  <a:gd name="connsiteY1564" fmla="*/ 421958 h 1744979"/>
                  <a:gd name="connsiteX1565" fmla="*/ 1832610 w 1969770"/>
                  <a:gd name="connsiteY1565" fmla="*/ 435293 h 1744979"/>
                  <a:gd name="connsiteX1566" fmla="*/ 1835468 w 1969770"/>
                  <a:gd name="connsiteY1566" fmla="*/ 449580 h 1744979"/>
                  <a:gd name="connsiteX1567" fmla="*/ 1838325 w 1969770"/>
                  <a:gd name="connsiteY1567" fmla="*/ 463868 h 1744979"/>
                  <a:gd name="connsiteX1568" fmla="*/ 1838325 w 1969770"/>
                  <a:gd name="connsiteY1568" fmla="*/ 476250 h 1744979"/>
                  <a:gd name="connsiteX1569" fmla="*/ 1839278 w 1969770"/>
                  <a:gd name="connsiteY1569" fmla="*/ 488633 h 1744979"/>
                  <a:gd name="connsiteX1570" fmla="*/ 1840230 w 1969770"/>
                  <a:gd name="connsiteY1570" fmla="*/ 501015 h 1744979"/>
                  <a:gd name="connsiteX1571" fmla="*/ 1840230 w 1969770"/>
                  <a:gd name="connsiteY1571" fmla="*/ 512445 h 1744979"/>
                  <a:gd name="connsiteX1572" fmla="*/ 1840230 w 1969770"/>
                  <a:gd name="connsiteY1572" fmla="*/ 524828 h 1744979"/>
                  <a:gd name="connsiteX1573" fmla="*/ 1840230 w 1969770"/>
                  <a:gd name="connsiteY1573" fmla="*/ 536258 h 1744979"/>
                  <a:gd name="connsiteX1574" fmla="*/ 1840230 w 1969770"/>
                  <a:gd name="connsiteY1574" fmla="*/ 547688 h 1744979"/>
                  <a:gd name="connsiteX1575" fmla="*/ 1839278 w 1969770"/>
                  <a:gd name="connsiteY1575" fmla="*/ 559118 h 1744979"/>
                  <a:gd name="connsiteX1576" fmla="*/ 1838325 w 1969770"/>
                  <a:gd name="connsiteY1576" fmla="*/ 581978 h 1744979"/>
                  <a:gd name="connsiteX1577" fmla="*/ 1836420 w 1969770"/>
                  <a:gd name="connsiteY1577" fmla="*/ 605790 h 1744979"/>
                  <a:gd name="connsiteX1578" fmla="*/ 1833563 w 1969770"/>
                  <a:gd name="connsiteY1578" fmla="*/ 630555 h 1744979"/>
                  <a:gd name="connsiteX1579" fmla="*/ 1829753 w 1969770"/>
                  <a:gd name="connsiteY1579" fmla="*/ 656273 h 1744979"/>
                  <a:gd name="connsiteX1580" fmla="*/ 1829753 w 1969770"/>
                  <a:gd name="connsiteY1580" fmla="*/ 656273 h 1744979"/>
                  <a:gd name="connsiteX1581" fmla="*/ 340995 w 1969770"/>
                  <a:gd name="connsiteY1581" fmla="*/ 1589723 h 1744979"/>
                  <a:gd name="connsiteX1582" fmla="*/ 353378 w 1969770"/>
                  <a:gd name="connsiteY1582" fmla="*/ 1597343 h 1744979"/>
                  <a:gd name="connsiteX1583" fmla="*/ 366713 w 1969770"/>
                  <a:gd name="connsiteY1583" fmla="*/ 1603058 h 1744979"/>
                  <a:gd name="connsiteX1584" fmla="*/ 381000 w 1969770"/>
                  <a:gd name="connsiteY1584" fmla="*/ 1606868 h 1744979"/>
                  <a:gd name="connsiteX1585" fmla="*/ 395288 w 1969770"/>
                  <a:gd name="connsiteY1585" fmla="*/ 1609725 h 1744979"/>
                  <a:gd name="connsiteX1586" fmla="*/ 410528 w 1969770"/>
                  <a:gd name="connsiteY1586" fmla="*/ 1611630 h 1744979"/>
                  <a:gd name="connsiteX1587" fmla="*/ 426720 w 1969770"/>
                  <a:gd name="connsiteY1587" fmla="*/ 1611630 h 1744979"/>
                  <a:gd name="connsiteX1588" fmla="*/ 443865 w 1969770"/>
                  <a:gd name="connsiteY1588" fmla="*/ 1611630 h 1744979"/>
                  <a:gd name="connsiteX1589" fmla="*/ 461010 w 1969770"/>
                  <a:gd name="connsiteY1589" fmla="*/ 1609725 h 1744979"/>
                  <a:gd name="connsiteX1590" fmla="*/ 479108 w 1969770"/>
                  <a:gd name="connsiteY1590" fmla="*/ 1607820 h 1744979"/>
                  <a:gd name="connsiteX1591" fmla="*/ 498158 w 1969770"/>
                  <a:gd name="connsiteY1591" fmla="*/ 1604963 h 1744979"/>
                  <a:gd name="connsiteX1592" fmla="*/ 517208 w 1969770"/>
                  <a:gd name="connsiteY1592" fmla="*/ 1601153 h 1744979"/>
                  <a:gd name="connsiteX1593" fmla="*/ 537210 w 1969770"/>
                  <a:gd name="connsiteY1593" fmla="*/ 1597343 h 1744979"/>
                  <a:gd name="connsiteX1594" fmla="*/ 577215 w 1969770"/>
                  <a:gd name="connsiteY1594" fmla="*/ 1587818 h 1744979"/>
                  <a:gd name="connsiteX1595" fmla="*/ 619125 w 1969770"/>
                  <a:gd name="connsiteY1595" fmla="*/ 1578293 h 1744979"/>
                  <a:gd name="connsiteX1596" fmla="*/ 640080 w 1969770"/>
                  <a:gd name="connsiteY1596" fmla="*/ 1573530 h 1744979"/>
                  <a:gd name="connsiteX1597" fmla="*/ 661988 w 1969770"/>
                  <a:gd name="connsiteY1597" fmla="*/ 1568768 h 1744979"/>
                  <a:gd name="connsiteX1598" fmla="*/ 683895 w 1969770"/>
                  <a:gd name="connsiteY1598" fmla="*/ 1564958 h 1744979"/>
                  <a:gd name="connsiteX1599" fmla="*/ 705803 w 1969770"/>
                  <a:gd name="connsiteY1599" fmla="*/ 1561148 h 1744979"/>
                  <a:gd name="connsiteX1600" fmla="*/ 728663 w 1969770"/>
                  <a:gd name="connsiteY1600" fmla="*/ 1557338 h 1744979"/>
                  <a:gd name="connsiteX1601" fmla="*/ 751523 w 1969770"/>
                  <a:gd name="connsiteY1601" fmla="*/ 1554480 h 1744979"/>
                  <a:gd name="connsiteX1602" fmla="*/ 774383 w 1969770"/>
                  <a:gd name="connsiteY1602" fmla="*/ 1551623 h 1744979"/>
                  <a:gd name="connsiteX1603" fmla="*/ 797243 w 1969770"/>
                  <a:gd name="connsiteY1603" fmla="*/ 1550670 h 1744979"/>
                  <a:gd name="connsiteX1604" fmla="*/ 820103 w 1969770"/>
                  <a:gd name="connsiteY1604" fmla="*/ 1549718 h 1744979"/>
                  <a:gd name="connsiteX1605" fmla="*/ 842963 w 1969770"/>
                  <a:gd name="connsiteY1605" fmla="*/ 1550670 h 1744979"/>
                  <a:gd name="connsiteX1606" fmla="*/ 866775 w 1969770"/>
                  <a:gd name="connsiteY1606" fmla="*/ 1551623 h 1744979"/>
                  <a:gd name="connsiteX1607" fmla="*/ 889635 w 1969770"/>
                  <a:gd name="connsiteY1607" fmla="*/ 1554480 h 1744979"/>
                  <a:gd name="connsiteX1608" fmla="*/ 913448 w 1969770"/>
                  <a:gd name="connsiteY1608" fmla="*/ 1558290 h 1744979"/>
                  <a:gd name="connsiteX1609" fmla="*/ 936308 w 1969770"/>
                  <a:gd name="connsiteY1609" fmla="*/ 1564005 h 1744979"/>
                  <a:gd name="connsiteX1610" fmla="*/ 960120 w 1969770"/>
                  <a:gd name="connsiteY1610" fmla="*/ 1571625 h 1744979"/>
                  <a:gd name="connsiteX1611" fmla="*/ 982980 w 1969770"/>
                  <a:gd name="connsiteY1611" fmla="*/ 1580198 h 1744979"/>
                  <a:gd name="connsiteX1612" fmla="*/ 1012508 w 1969770"/>
                  <a:gd name="connsiteY1612" fmla="*/ 1572578 h 1744979"/>
                  <a:gd name="connsiteX1613" fmla="*/ 1041083 w 1969770"/>
                  <a:gd name="connsiteY1613" fmla="*/ 1565910 h 1744979"/>
                  <a:gd name="connsiteX1614" fmla="*/ 1067753 w 1969770"/>
                  <a:gd name="connsiteY1614" fmla="*/ 1560195 h 1744979"/>
                  <a:gd name="connsiteX1615" fmla="*/ 1094423 w 1969770"/>
                  <a:gd name="connsiteY1615" fmla="*/ 1556385 h 1744979"/>
                  <a:gd name="connsiteX1616" fmla="*/ 1120140 w 1969770"/>
                  <a:gd name="connsiteY1616" fmla="*/ 1553528 h 1744979"/>
                  <a:gd name="connsiteX1617" fmla="*/ 1143953 w 1969770"/>
                  <a:gd name="connsiteY1617" fmla="*/ 1552575 h 1744979"/>
                  <a:gd name="connsiteX1618" fmla="*/ 1166813 w 1969770"/>
                  <a:gd name="connsiteY1618" fmla="*/ 1552575 h 1744979"/>
                  <a:gd name="connsiteX1619" fmla="*/ 1189673 w 1969770"/>
                  <a:gd name="connsiteY1619" fmla="*/ 1553528 h 1744979"/>
                  <a:gd name="connsiteX1620" fmla="*/ 1211580 w 1969770"/>
                  <a:gd name="connsiteY1620" fmla="*/ 1554480 h 1744979"/>
                  <a:gd name="connsiteX1621" fmla="*/ 1232535 w 1969770"/>
                  <a:gd name="connsiteY1621" fmla="*/ 1556385 h 1744979"/>
                  <a:gd name="connsiteX1622" fmla="*/ 1252538 w 1969770"/>
                  <a:gd name="connsiteY1622" fmla="*/ 1559243 h 1744979"/>
                  <a:gd name="connsiteX1623" fmla="*/ 1272540 w 1969770"/>
                  <a:gd name="connsiteY1623" fmla="*/ 1563053 h 1744979"/>
                  <a:gd name="connsiteX1624" fmla="*/ 1291590 w 1969770"/>
                  <a:gd name="connsiteY1624" fmla="*/ 1566863 h 1744979"/>
                  <a:gd name="connsiteX1625" fmla="*/ 1310640 w 1969770"/>
                  <a:gd name="connsiteY1625" fmla="*/ 1570673 h 1744979"/>
                  <a:gd name="connsiteX1626" fmla="*/ 1328738 w 1969770"/>
                  <a:gd name="connsiteY1626" fmla="*/ 1575435 h 1744979"/>
                  <a:gd name="connsiteX1627" fmla="*/ 1346835 w 1969770"/>
                  <a:gd name="connsiteY1627" fmla="*/ 1580198 h 1744979"/>
                  <a:gd name="connsiteX1628" fmla="*/ 1382078 w 1969770"/>
                  <a:gd name="connsiteY1628" fmla="*/ 1589723 h 1744979"/>
                  <a:gd name="connsiteX1629" fmla="*/ 1416368 w 1969770"/>
                  <a:gd name="connsiteY1629" fmla="*/ 1598295 h 1744979"/>
                  <a:gd name="connsiteX1630" fmla="*/ 1433513 w 1969770"/>
                  <a:gd name="connsiteY1630" fmla="*/ 1602105 h 1744979"/>
                  <a:gd name="connsiteX1631" fmla="*/ 1450658 w 1969770"/>
                  <a:gd name="connsiteY1631" fmla="*/ 1605915 h 1744979"/>
                  <a:gd name="connsiteX1632" fmla="*/ 1467803 w 1969770"/>
                  <a:gd name="connsiteY1632" fmla="*/ 1608773 h 1744979"/>
                  <a:gd name="connsiteX1633" fmla="*/ 1484948 w 1969770"/>
                  <a:gd name="connsiteY1633" fmla="*/ 1610678 h 1744979"/>
                  <a:gd name="connsiteX1634" fmla="*/ 1502093 w 1969770"/>
                  <a:gd name="connsiteY1634" fmla="*/ 1611630 h 1744979"/>
                  <a:gd name="connsiteX1635" fmla="*/ 1519238 w 1969770"/>
                  <a:gd name="connsiteY1635" fmla="*/ 1611630 h 1744979"/>
                  <a:gd name="connsiteX1636" fmla="*/ 1537335 w 1969770"/>
                  <a:gd name="connsiteY1636" fmla="*/ 1611630 h 1744979"/>
                  <a:gd name="connsiteX1637" fmla="*/ 1555433 w 1969770"/>
                  <a:gd name="connsiteY1637" fmla="*/ 1609725 h 1744979"/>
                  <a:gd name="connsiteX1638" fmla="*/ 1573530 w 1969770"/>
                  <a:gd name="connsiteY1638" fmla="*/ 1606868 h 1744979"/>
                  <a:gd name="connsiteX1639" fmla="*/ 1592580 w 1969770"/>
                  <a:gd name="connsiteY1639" fmla="*/ 1603058 h 1744979"/>
                  <a:gd name="connsiteX1640" fmla="*/ 1611630 w 1969770"/>
                  <a:gd name="connsiteY1640" fmla="*/ 1598295 h 1744979"/>
                  <a:gd name="connsiteX1641" fmla="*/ 1631633 w 1969770"/>
                  <a:gd name="connsiteY1641" fmla="*/ 1591628 h 1744979"/>
                  <a:gd name="connsiteX1642" fmla="*/ 1613535 w 1969770"/>
                  <a:gd name="connsiteY1642" fmla="*/ 1607820 h 1744979"/>
                  <a:gd name="connsiteX1643" fmla="*/ 1595438 w 1969770"/>
                  <a:gd name="connsiteY1643" fmla="*/ 1622108 h 1744979"/>
                  <a:gd name="connsiteX1644" fmla="*/ 1576388 w 1969770"/>
                  <a:gd name="connsiteY1644" fmla="*/ 1634490 h 1744979"/>
                  <a:gd name="connsiteX1645" fmla="*/ 1557338 w 1969770"/>
                  <a:gd name="connsiteY1645" fmla="*/ 1644968 h 1744979"/>
                  <a:gd name="connsiteX1646" fmla="*/ 1538288 w 1969770"/>
                  <a:gd name="connsiteY1646" fmla="*/ 1653540 h 1744979"/>
                  <a:gd name="connsiteX1647" fmla="*/ 1518285 w 1969770"/>
                  <a:gd name="connsiteY1647" fmla="*/ 1660208 h 1744979"/>
                  <a:gd name="connsiteX1648" fmla="*/ 1498283 w 1969770"/>
                  <a:gd name="connsiteY1648" fmla="*/ 1665923 h 1744979"/>
                  <a:gd name="connsiteX1649" fmla="*/ 1478280 w 1969770"/>
                  <a:gd name="connsiteY1649" fmla="*/ 1669733 h 1744979"/>
                  <a:gd name="connsiteX1650" fmla="*/ 1457325 w 1969770"/>
                  <a:gd name="connsiteY1650" fmla="*/ 1672590 h 1744979"/>
                  <a:gd name="connsiteX1651" fmla="*/ 1436370 w 1969770"/>
                  <a:gd name="connsiteY1651" fmla="*/ 1674495 h 1744979"/>
                  <a:gd name="connsiteX1652" fmla="*/ 1415415 w 1969770"/>
                  <a:gd name="connsiteY1652" fmla="*/ 1675448 h 1744979"/>
                  <a:gd name="connsiteX1653" fmla="*/ 1394460 w 1969770"/>
                  <a:gd name="connsiteY1653" fmla="*/ 1675448 h 1744979"/>
                  <a:gd name="connsiteX1654" fmla="*/ 1373505 w 1969770"/>
                  <a:gd name="connsiteY1654" fmla="*/ 1674495 h 1744979"/>
                  <a:gd name="connsiteX1655" fmla="*/ 1352550 w 1969770"/>
                  <a:gd name="connsiteY1655" fmla="*/ 1672590 h 1744979"/>
                  <a:gd name="connsiteX1656" fmla="*/ 1331595 w 1969770"/>
                  <a:gd name="connsiteY1656" fmla="*/ 1669733 h 1744979"/>
                  <a:gd name="connsiteX1657" fmla="*/ 1310640 w 1969770"/>
                  <a:gd name="connsiteY1657" fmla="*/ 1665923 h 1744979"/>
                  <a:gd name="connsiteX1658" fmla="*/ 1289685 w 1969770"/>
                  <a:gd name="connsiteY1658" fmla="*/ 1662113 h 1744979"/>
                  <a:gd name="connsiteX1659" fmla="*/ 1269683 w 1969770"/>
                  <a:gd name="connsiteY1659" fmla="*/ 1658303 h 1744979"/>
                  <a:gd name="connsiteX1660" fmla="*/ 1249680 w 1969770"/>
                  <a:gd name="connsiteY1660" fmla="*/ 1653540 h 1744979"/>
                  <a:gd name="connsiteX1661" fmla="*/ 1229678 w 1969770"/>
                  <a:gd name="connsiteY1661" fmla="*/ 1648778 h 1744979"/>
                  <a:gd name="connsiteX1662" fmla="*/ 1191578 w 1969770"/>
                  <a:gd name="connsiteY1662" fmla="*/ 1638300 h 1744979"/>
                  <a:gd name="connsiteX1663" fmla="*/ 1155383 w 1969770"/>
                  <a:gd name="connsiteY1663" fmla="*/ 1628775 h 1744979"/>
                  <a:gd name="connsiteX1664" fmla="*/ 1138238 w 1969770"/>
                  <a:gd name="connsiteY1664" fmla="*/ 1624013 h 1744979"/>
                  <a:gd name="connsiteX1665" fmla="*/ 1121093 w 1969770"/>
                  <a:gd name="connsiteY1665" fmla="*/ 1619250 h 1744979"/>
                  <a:gd name="connsiteX1666" fmla="*/ 1104900 w 1969770"/>
                  <a:gd name="connsiteY1666" fmla="*/ 1615440 h 1744979"/>
                  <a:gd name="connsiteX1667" fmla="*/ 1089660 w 1969770"/>
                  <a:gd name="connsiteY1667" fmla="*/ 1611630 h 1744979"/>
                  <a:gd name="connsiteX1668" fmla="*/ 1075373 w 1969770"/>
                  <a:gd name="connsiteY1668" fmla="*/ 1608773 h 1744979"/>
                  <a:gd name="connsiteX1669" fmla="*/ 1061085 w 1969770"/>
                  <a:gd name="connsiteY1669" fmla="*/ 1606868 h 1744979"/>
                  <a:gd name="connsiteX1670" fmla="*/ 1047750 w 1969770"/>
                  <a:gd name="connsiteY1670" fmla="*/ 1605915 h 1744979"/>
                  <a:gd name="connsiteX1671" fmla="*/ 1035368 w 1969770"/>
                  <a:gd name="connsiteY1671" fmla="*/ 1605915 h 1744979"/>
                  <a:gd name="connsiteX1672" fmla="*/ 1049655 w 1969770"/>
                  <a:gd name="connsiteY1672" fmla="*/ 1613535 h 1744979"/>
                  <a:gd name="connsiteX1673" fmla="*/ 1062990 w 1969770"/>
                  <a:gd name="connsiteY1673" fmla="*/ 1621155 h 1744979"/>
                  <a:gd name="connsiteX1674" fmla="*/ 1075373 w 1969770"/>
                  <a:gd name="connsiteY1674" fmla="*/ 1628775 h 1744979"/>
                  <a:gd name="connsiteX1675" fmla="*/ 1087755 w 1969770"/>
                  <a:gd name="connsiteY1675" fmla="*/ 1636395 h 1744979"/>
                  <a:gd name="connsiteX1676" fmla="*/ 1100138 w 1969770"/>
                  <a:gd name="connsiteY1676" fmla="*/ 1644968 h 1744979"/>
                  <a:gd name="connsiteX1677" fmla="*/ 1111568 w 1969770"/>
                  <a:gd name="connsiteY1677" fmla="*/ 1652588 h 1744979"/>
                  <a:gd name="connsiteX1678" fmla="*/ 1122045 w 1969770"/>
                  <a:gd name="connsiteY1678" fmla="*/ 1660208 h 1744979"/>
                  <a:gd name="connsiteX1679" fmla="*/ 1132523 w 1969770"/>
                  <a:gd name="connsiteY1679" fmla="*/ 1668780 h 1744979"/>
                  <a:gd name="connsiteX1680" fmla="*/ 1142048 w 1969770"/>
                  <a:gd name="connsiteY1680" fmla="*/ 1677353 h 1744979"/>
                  <a:gd name="connsiteX1681" fmla="*/ 1151573 w 1969770"/>
                  <a:gd name="connsiteY1681" fmla="*/ 1685925 h 1744979"/>
                  <a:gd name="connsiteX1682" fmla="*/ 1161098 w 1969770"/>
                  <a:gd name="connsiteY1682" fmla="*/ 1694498 h 1744979"/>
                  <a:gd name="connsiteX1683" fmla="*/ 1169670 w 1969770"/>
                  <a:gd name="connsiteY1683" fmla="*/ 1703070 h 1744979"/>
                  <a:gd name="connsiteX1684" fmla="*/ 1178243 w 1969770"/>
                  <a:gd name="connsiteY1684" fmla="*/ 1711643 h 1744979"/>
                  <a:gd name="connsiteX1685" fmla="*/ 1186815 w 1969770"/>
                  <a:gd name="connsiteY1685" fmla="*/ 1720215 h 1744979"/>
                  <a:gd name="connsiteX1686" fmla="*/ 1194435 w 1969770"/>
                  <a:gd name="connsiteY1686" fmla="*/ 1728788 h 1744979"/>
                  <a:gd name="connsiteX1687" fmla="*/ 1202055 w 1969770"/>
                  <a:gd name="connsiteY1687" fmla="*/ 1737360 h 1744979"/>
                  <a:gd name="connsiteX1688" fmla="*/ 1189673 w 1969770"/>
                  <a:gd name="connsiteY1688" fmla="*/ 1739265 h 1744979"/>
                  <a:gd name="connsiteX1689" fmla="*/ 1178243 w 1969770"/>
                  <a:gd name="connsiteY1689" fmla="*/ 1740218 h 1744979"/>
                  <a:gd name="connsiteX1690" fmla="*/ 1166813 w 1969770"/>
                  <a:gd name="connsiteY1690" fmla="*/ 1741170 h 1744979"/>
                  <a:gd name="connsiteX1691" fmla="*/ 1154430 w 1969770"/>
                  <a:gd name="connsiteY1691" fmla="*/ 1743075 h 1744979"/>
                  <a:gd name="connsiteX1692" fmla="*/ 1148715 w 1969770"/>
                  <a:gd name="connsiteY1692" fmla="*/ 1733550 h 1744979"/>
                  <a:gd name="connsiteX1693" fmla="*/ 1142048 w 1969770"/>
                  <a:gd name="connsiteY1693" fmla="*/ 1724025 h 1744979"/>
                  <a:gd name="connsiteX1694" fmla="*/ 1134428 w 1969770"/>
                  <a:gd name="connsiteY1694" fmla="*/ 1715453 h 1744979"/>
                  <a:gd name="connsiteX1695" fmla="*/ 1126808 w 1969770"/>
                  <a:gd name="connsiteY1695" fmla="*/ 1706880 h 1744979"/>
                  <a:gd name="connsiteX1696" fmla="*/ 1118235 w 1969770"/>
                  <a:gd name="connsiteY1696" fmla="*/ 1698308 h 1744979"/>
                  <a:gd name="connsiteX1697" fmla="*/ 1108710 w 1969770"/>
                  <a:gd name="connsiteY1697" fmla="*/ 1689735 h 1744979"/>
                  <a:gd name="connsiteX1698" fmla="*/ 1099185 w 1969770"/>
                  <a:gd name="connsiteY1698" fmla="*/ 1681163 h 1744979"/>
                  <a:gd name="connsiteX1699" fmla="*/ 1088708 w 1969770"/>
                  <a:gd name="connsiteY1699" fmla="*/ 1673543 h 1744979"/>
                  <a:gd name="connsiteX1700" fmla="*/ 1078230 w 1969770"/>
                  <a:gd name="connsiteY1700" fmla="*/ 1665923 h 1744979"/>
                  <a:gd name="connsiteX1701" fmla="*/ 1066800 w 1969770"/>
                  <a:gd name="connsiteY1701" fmla="*/ 1658303 h 1744979"/>
                  <a:gd name="connsiteX1702" fmla="*/ 1054418 w 1969770"/>
                  <a:gd name="connsiteY1702" fmla="*/ 1650683 h 1744979"/>
                  <a:gd name="connsiteX1703" fmla="*/ 1042035 w 1969770"/>
                  <a:gd name="connsiteY1703" fmla="*/ 1643063 h 1744979"/>
                  <a:gd name="connsiteX1704" fmla="*/ 1028700 w 1969770"/>
                  <a:gd name="connsiteY1704" fmla="*/ 1635443 h 1744979"/>
                  <a:gd name="connsiteX1705" fmla="*/ 1014413 w 1969770"/>
                  <a:gd name="connsiteY1705" fmla="*/ 1627823 h 1744979"/>
                  <a:gd name="connsiteX1706" fmla="*/ 1000125 w 1969770"/>
                  <a:gd name="connsiteY1706" fmla="*/ 1620203 h 1744979"/>
                  <a:gd name="connsiteX1707" fmla="*/ 984885 w 1969770"/>
                  <a:gd name="connsiteY1707" fmla="*/ 1612583 h 1744979"/>
                  <a:gd name="connsiteX1708" fmla="*/ 971550 w 1969770"/>
                  <a:gd name="connsiteY1708" fmla="*/ 1616393 h 1744979"/>
                  <a:gd name="connsiteX1709" fmla="*/ 959168 w 1969770"/>
                  <a:gd name="connsiteY1709" fmla="*/ 1621155 h 1744979"/>
                  <a:gd name="connsiteX1710" fmla="*/ 946785 w 1969770"/>
                  <a:gd name="connsiteY1710" fmla="*/ 1626870 h 1744979"/>
                  <a:gd name="connsiteX1711" fmla="*/ 934403 w 1969770"/>
                  <a:gd name="connsiteY1711" fmla="*/ 1632585 h 1744979"/>
                  <a:gd name="connsiteX1712" fmla="*/ 922020 w 1969770"/>
                  <a:gd name="connsiteY1712" fmla="*/ 1639253 h 1744979"/>
                  <a:gd name="connsiteX1713" fmla="*/ 910590 w 1969770"/>
                  <a:gd name="connsiteY1713" fmla="*/ 1645920 h 1744979"/>
                  <a:gd name="connsiteX1714" fmla="*/ 899160 w 1969770"/>
                  <a:gd name="connsiteY1714" fmla="*/ 1652588 h 1744979"/>
                  <a:gd name="connsiteX1715" fmla="*/ 887730 w 1969770"/>
                  <a:gd name="connsiteY1715" fmla="*/ 1661160 h 1744979"/>
                  <a:gd name="connsiteX1716" fmla="*/ 877253 w 1969770"/>
                  <a:gd name="connsiteY1716" fmla="*/ 1668780 h 1744979"/>
                  <a:gd name="connsiteX1717" fmla="*/ 866775 w 1969770"/>
                  <a:gd name="connsiteY1717" fmla="*/ 1678305 h 1744979"/>
                  <a:gd name="connsiteX1718" fmla="*/ 856298 w 1969770"/>
                  <a:gd name="connsiteY1718" fmla="*/ 1687830 h 1744979"/>
                  <a:gd name="connsiteX1719" fmla="*/ 846773 w 1969770"/>
                  <a:gd name="connsiteY1719" fmla="*/ 1698308 h 1744979"/>
                  <a:gd name="connsiteX1720" fmla="*/ 837248 w 1969770"/>
                  <a:gd name="connsiteY1720" fmla="*/ 1708785 h 1744979"/>
                  <a:gd name="connsiteX1721" fmla="*/ 827723 w 1969770"/>
                  <a:gd name="connsiteY1721" fmla="*/ 1720215 h 1744979"/>
                  <a:gd name="connsiteX1722" fmla="*/ 818198 w 1969770"/>
                  <a:gd name="connsiteY1722" fmla="*/ 1732598 h 1744979"/>
                  <a:gd name="connsiteX1723" fmla="*/ 809625 w 1969770"/>
                  <a:gd name="connsiteY1723" fmla="*/ 1744980 h 1744979"/>
                  <a:gd name="connsiteX1724" fmla="*/ 798195 w 1969770"/>
                  <a:gd name="connsiteY1724" fmla="*/ 1743075 h 1744979"/>
                  <a:gd name="connsiteX1725" fmla="*/ 785813 w 1969770"/>
                  <a:gd name="connsiteY1725" fmla="*/ 1742123 h 1744979"/>
                  <a:gd name="connsiteX1726" fmla="*/ 774383 w 1969770"/>
                  <a:gd name="connsiteY1726" fmla="*/ 1741170 h 1744979"/>
                  <a:gd name="connsiteX1727" fmla="*/ 762953 w 1969770"/>
                  <a:gd name="connsiteY1727" fmla="*/ 1739265 h 1744979"/>
                  <a:gd name="connsiteX1728" fmla="*/ 770573 w 1969770"/>
                  <a:gd name="connsiteY1728" fmla="*/ 1730693 h 1744979"/>
                  <a:gd name="connsiteX1729" fmla="*/ 779145 w 1969770"/>
                  <a:gd name="connsiteY1729" fmla="*/ 1722120 h 1744979"/>
                  <a:gd name="connsiteX1730" fmla="*/ 787718 w 1969770"/>
                  <a:gd name="connsiteY1730" fmla="*/ 1713548 h 1744979"/>
                  <a:gd name="connsiteX1731" fmla="*/ 796290 w 1969770"/>
                  <a:gd name="connsiteY1731" fmla="*/ 1704975 h 1744979"/>
                  <a:gd name="connsiteX1732" fmla="*/ 805815 w 1969770"/>
                  <a:gd name="connsiteY1732" fmla="*/ 1696403 h 1744979"/>
                  <a:gd name="connsiteX1733" fmla="*/ 815340 w 1969770"/>
                  <a:gd name="connsiteY1733" fmla="*/ 1687830 h 1744979"/>
                  <a:gd name="connsiteX1734" fmla="*/ 824865 w 1969770"/>
                  <a:gd name="connsiteY1734" fmla="*/ 1679258 h 1744979"/>
                  <a:gd name="connsiteX1735" fmla="*/ 834390 w 1969770"/>
                  <a:gd name="connsiteY1735" fmla="*/ 1670685 h 1744979"/>
                  <a:gd name="connsiteX1736" fmla="*/ 847725 w 1969770"/>
                  <a:gd name="connsiteY1736" fmla="*/ 1657350 h 1744979"/>
                  <a:gd name="connsiteX1737" fmla="*/ 858203 w 1969770"/>
                  <a:gd name="connsiteY1737" fmla="*/ 1649730 h 1744979"/>
                  <a:gd name="connsiteX1738" fmla="*/ 869633 w 1969770"/>
                  <a:gd name="connsiteY1738" fmla="*/ 1642110 h 1744979"/>
                  <a:gd name="connsiteX1739" fmla="*/ 881063 w 1969770"/>
                  <a:gd name="connsiteY1739" fmla="*/ 1634490 h 1744979"/>
                  <a:gd name="connsiteX1740" fmla="*/ 893445 w 1969770"/>
                  <a:gd name="connsiteY1740" fmla="*/ 1626870 h 1744979"/>
                  <a:gd name="connsiteX1741" fmla="*/ 905828 w 1969770"/>
                  <a:gd name="connsiteY1741" fmla="*/ 1619250 h 1744979"/>
                  <a:gd name="connsiteX1742" fmla="*/ 919163 w 1969770"/>
                  <a:gd name="connsiteY1742" fmla="*/ 1612583 h 1744979"/>
                  <a:gd name="connsiteX1743" fmla="*/ 932498 w 1969770"/>
                  <a:gd name="connsiteY1743" fmla="*/ 1604963 h 1744979"/>
                  <a:gd name="connsiteX1744" fmla="*/ 922973 w 1969770"/>
                  <a:gd name="connsiteY1744" fmla="*/ 1604010 h 1744979"/>
                  <a:gd name="connsiteX1745" fmla="*/ 912495 w 1969770"/>
                  <a:gd name="connsiteY1745" fmla="*/ 1604010 h 1744979"/>
                  <a:gd name="connsiteX1746" fmla="*/ 901065 w 1969770"/>
                  <a:gd name="connsiteY1746" fmla="*/ 1604963 h 1744979"/>
                  <a:gd name="connsiteX1747" fmla="*/ 888683 w 1969770"/>
                  <a:gd name="connsiteY1747" fmla="*/ 1606868 h 1744979"/>
                  <a:gd name="connsiteX1748" fmla="*/ 874395 w 1969770"/>
                  <a:gd name="connsiteY1748" fmla="*/ 1609725 h 1744979"/>
                  <a:gd name="connsiteX1749" fmla="*/ 860108 w 1969770"/>
                  <a:gd name="connsiteY1749" fmla="*/ 1613535 h 1744979"/>
                  <a:gd name="connsiteX1750" fmla="*/ 844868 w 1969770"/>
                  <a:gd name="connsiteY1750" fmla="*/ 1617345 h 1744979"/>
                  <a:gd name="connsiteX1751" fmla="*/ 828675 w 1969770"/>
                  <a:gd name="connsiteY1751" fmla="*/ 1621155 h 1744979"/>
                  <a:gd name="connsiteX1752" fmla="*/ 793433 w 1969770"/>
                  <a:gd name="connsiteY1752" fmla="*/ 1630680 h 1744979"/>
                  <a:gd name="connsiteX1753" fmla="*/ 756285 w 1969770"/>
                  <a:gd name="connsiteY1753" fmla="*/ 1640205 h 1744979"/>
                  <a:gd name="connsiteX1754" fmla="*/ 736283 w 1969770"/>
                  <a:gd name="connsiteY1754" fmla="*/ 1644968 h 1744979"/>
                  <a:gd name="connsiteX1755" fmla="*/ 716280 w 1969770"/>
                  <a:gd name="connsiteY1755" fmla="*/ 1649730 h 1744979"/>
                  <a:gd name="connsiteX1756" fmla="*/ 696278 w 1969770"/>
                  <a:gd name="connsiteY1756" fmla="*/ 1654493 h 1744979"/>
                  <a:gd name="connsiteX1757" fmla="*/ 675323 w 1969770"/>
                  <a:gd name="connsiteY1757" fmla="*/ 1658303 h 1744979"/>
                  <a:gd name="connsiteX1758" fmla="*/ 654368 w 1969770"/>
                  <a:gd name="connsiteY1758" fmla="*/ 1662113 h 1744979"/>
                  <a:gd name="connsiteX1759" fmla="*/ 632460 w 1969770"/>
                  <a:gd name="connsiteY1759" fmla="*/ 1664970 h 1744979"/>
                  <a:gd name="connsiteX1760" fmla="*/ 609600 w 1969770"/>
                  <a:gd name="connsiteY1760" fmla="*/ 1666875 h 1744979"/>
                  <a:gd name="connsiteX1761" fmla="*/ 587693 w 1969770"/>
                  <a:gd name="connsiteY1761" fmla="*/ 1668780 h 1744979"/>
                  <a:gd name="connsiteX1762" fmla="*/ 566738 w 1969770"/>
                  <a:gd name="connsiteY1762" fmla="*/ 1669733 h 1744979"/>
                  <a:gd name="connsiteX1763" fmla="*/ 544830 w 1969770"/>
                  <a:gd name="connsiteY1763" fmla="*/ 1669733 h 1744979"/>
                  <a:gd name="connsiteX1764" fmla="*/ 522923 w 1969770"/>
                  <a:gd name="connsiteY1764" fmla="*/ 1668780 h 1744979"/>
                  <a:gd name="connsiteX1765" fmla="*/ 501015 w 1969770"/>
                  <a:gd name="connsiteY1765" fmla="*/ 1665923 h 1744979"/>
                  <a:gd name="connsiteX1766" fmla="*/ 480060 w 1969770"/>
                  <a:gd name="connsiteY1766" fmla="*/ 1662113 h 1744979"/>
                  <a:gd name="connsiteX1767" fmla="*/ 459105 w 1969770"/>
                  <a:gd name="connsiteY1767" fmla="*/ 1656398 h 1744979"/>
                  <a:gd name="connsiteX1768" fmla="*/ 438150 w 1969770"/>
                  <a:gd name="connsiteY1768" fmla="*/ 1649730 h 1744979"/>
                  <a:gd name="connsiteX1769" fmla="*/ 418148 w 1969770"/>
                  <a:gd name="connsiteY1769" fmla="*/ 1641158 h 1744979"/>
                  <a:gd name="connsiteX1770" fmla="*/ 398145 w 1969770"/>
                  <a:gd name="connsiteY1770" fmla="*/ 1631633 h 1744979"/>
                  <a:gd name="connsiteX1771" fmla="*/ 379095 w 1969770"/>
                  <a:gd name="connsiteY1771" fmla="*/ 1619250 h 1744979"/>
                  <a:gd name="connsiteX1772" fmla="*/ 360045 w 1969770"/>
                  <a:gd name="connsiteY1772" fmla="*/ 1605915 h 1744979"/>
                  <a:gd name="connsiteX1773" fmla="*/ 340995 w 1969770"/>
                  <a:gd name="connsiteY1773" fmla="*/ 1589723 h 1744979"/>
                  <a:gd name="connsiteX1774" fmla="*/ 340995 w 1969770"/>
                  <a:gd name="connsiteY1774" fmla="*/ 1589723 h 1744979"/>
                  <a:gd name="connsiteX1775" fmla="*/ 1025843 w 1969770"/>
                  <a:gd name="connsiteY1775" fmla="*/ 1163003 h 1744979"/>
                  <a:gd name="connsiteX1776" fmla="*/ 1025843 w 1969770"/>
                  <a:gd name="connsiteY1776" fmla="*/ 1174433 h 1744979"/>
                  <a:gd name="connsiteX1777" fmla="*/ 1026795 w 1969770"/>
                  <a:gd name="connsiteY1777" fmla="*/ 1184910 h 1744979"/>
                  <a:gd name="connsiteX1778" fmla="*/ 1026795 w 1969770"/>
                  <a:gd name="connsiteY1778" fmla="*/ 1195388 h 1744979"/>
                  <a:gd name="connsiteX1779" fmla="*/ 1026795 w 1969770"/>
                  <a:gd name="connsiteY1779" fmla="*/ 1205865 h 1744979"/>
                  <a:gd name="connsiteX1780" fmla="*/ 1038225 w 1969770"/>
                  <a:gd name="connsiteY1780" fmla="*/ 1212533 h 1744979"/>
                  <a:gd name="connsiteX1781" fmla="*/ 1049655 w 1969770"/>
                  <a:gd name="connsiteY1781" fmla="*/ 1220153 h 1744979"/>
                  <a:gd name="connsiteX1782" fmla="*/ 1055370 w 1969770"/>
                  <a:gd name="connsiteY1782" fmla="*/ 1223963 h 1744979"/>
                  <a:gd name="connsiteX1783" fmla="*/ 1061085 w 1969770"/>
                  <a:gd name="connsiteY1783" fmla="*/ 1227773 h 1744979"/>
                  <a:gd name="connsiteX1784" fmla="*/ 1066800 w 1969770"/>
                  <a:gd name="connsiteY1784" fmla="*/ 1232535 h 1744979"/>
                  <a:gd name="connsiteX1785" fmla="*/ 1072515 w 1969770"/>
                  <a:gd name="connsiteY1785" fmla="*/ 1237298 h 1744979"/>
                  <a:gd name="connsiteX1786" fmla="*/ 1077278 w 1969770"/>
                  <a:gd name="connsiteY1786" fmla="*/ 1242060 h 1744979"/>
                  <a:gd name="connsiteX1787" fmla="*/ 1082040 w 1969770"/>
                  <a:gd name="connsiteY1787" fmla="*/ 1247775 h 1744979"/>
                  <a:gd name="connsiteX1788" fmla="*/ 1086803 w 1969770"/>
                  <a:gd name="connsiteY1788" fmla="*/ 1254443 h 1744979"/>
                  <a:gd name="connsiteX1789" fmla="*/ 1091565 w 1969770"/>
                  <a:gd name="connsiteY1789" fmla="*/ 1261110 h 1744979"/>
                  <a:gd name="connsiteX1790" fmla="*/ 1096328 w 1969770"/>
                  <a:gd name="connsiteY1790" fmla="*/ 1268730 h 1744979"/>
                  <a:gd name="connsiteX1791" fmla="*/ 1100138 w 1969770"/>
                  <a:gd name="connsiteY1791" fmla="*/ 1276350 h 1744979"/>
                  <a:gd name="connsiteX1792" fmla="*/ 1103948 w 1969770"/>
                  <a:gd name="connsiteY1792" fmla="*/ 1284923 h 1744979"/>
                  <a:gd name="connsiteX1793" fmla="*/ 1106805 w 1969770"/>
                  <a:gd name="connsiteY1793" fmla="*/ 1294448 h 1744979"/>
                  <a:gd name="connsiteX1794" fmla="*/ 1106805 w 1969770"/>
                  <a:gd name="connsiteY1794" fmla="*/ 1287780 h 1744979"/>
                  <a:gd name="connsiteX1795" fmla="*/ 1106805 w 1969770"/>
                  <a:gd name="connsiteY1795" fmla="*/ 1281113 h 1744979"/>
                  <a:gd name="connsiteX1796" fmla="*/ 1106805 w 1969770"/>
                  <a:gd name="connsiteY1796" fmla="*/ 1276350 h 1744979"/>
                  <a:gd name="connsiteX1797" fmla="*/ 1106805 w 1969770"/>
                  <a:gd name="connsiteY1797" fmla="*/ 1269683 h 1744979"/>
                  <a:gd name="connsiteX1798" fmla="*/ 1106805 w 1969770"/>
                  <a:gd name="connsiteY1798" fmla="*/ 1263968 h 1744979"/>
                  <a:gd name="connsiteX1799" fmla="*/ 1105853 w 1969770"/>
                  <a:gd name="connsiteY1799" fmla="*/ 1258253 h 1744979"/>
                  <a:gd name="connsiteX1800" fmla="*/ 1104900 w 1969770"/>
                  <a:gd name="connsiteY1800" fmla="*/ 1252538 h 1744979"/>
                  <a:gd name="connsiteX1801" fmla="*/ 1103948 w 1969770"/>
                  <a:gd name="connsiteY1801" fmla="*/ 1246823 h 1744979"/>
                  <a:gd name="connsiteX1802" fmla="*/ 1102995 w 1969770"/>
                  <a:gd name="connsiteY1802" fmla="*/ 1241108 h 1744979"/>
                  <a:gd name="connsiteX1803" fmla="*/ 1101090 w 1969770"/>
                  <a:gd name="connsiteY1803" fmla="*/ 1236345 h 1744979"/>
                  <a:gd name="connsiteX1804" fmla="*/ 1099185 w 1969770"/>
                  <a:gd name="connsiteY1804" fmla="*/ 1231583 h 1744979"/>
                  <a:gd name="connsiteX1805" fmla="*/ 1097280 w 1969770"/>
                  <a:gd name="connsiteY1805" fmla="*/ 1226820 h 1744979"/>
                  <a:gd name="connsiteX1806" fmla="*/ 1095375 w 1969770"/>
                  <a:gd name="connsiteY1806" fmla="*/ 1222058 h 1744979"/>
                  <a:gd name="connsiteX1807" fmla="*/ 1093470 w 1969770"/>
                  <a:gd name="connsiteY1807" fmla="*/ 1217295 h 1744979"/>
                  <a:gd name="connsiteX1808" fmla="*/ 1090613 w 1969770"/>
                  <a:gd name="connsiteY1808" fmla="*/ 1213485 h 1744979"/>
                  <a:gd name="connsiteX1809" fmla="*/ 1087755 w 1969770"/>
                  <a:gd name="connsiteY1809" fmla="*/ 1209675 h 1744979"/>
                  <a:gd name="connsiteX1810" fmla="*/ 1084898 w 1969770"/>
                  <a:gd name="connsiteY1810" fmla="*/ 1205865 h 1744979"/>
                  <a:gd name="connsiteX1811" fmla="*/ 1082040 w 1969770"/>
                  <a:gd name="connsiteY1811" fmla="*/ 1202055 h 1744979"/>
                  <a:gd name="connsiteX1812" fmla="*/ 1079183 w 1969770"/>
                  <a:gd name="connsiteY1812" fmla="*/ 1198245 h 1744979"/>
                  <a:gd name="connsiteX1813" fmla="*/ 1076325 w 1969770"/>
                  <a:gd name="connsiteY1813" fmla="*/ 1194435 h 1744979"/>
                  <a:gd name="connsiteX1814" fmla="*/ 1072515 w 1969770"/>
                  <a:gd name="connsiteY1814" fmla="*/ 1190625 h 1744979"/>
                  <a:gd name="connsiteX1815" fmla="*/ 1068705 w 1969770"/>
                  <a:gd name="connsiteY1815" fmla="*/ 1187768 h 1744979"/>
                  <a:gd name="connsiteX1816" fmla="*/ 1064895 w 1969770"/>
                  <a:gd name="connsiteY1816" fmla="*/ 1183958 h 1744979"/>
                  <a:gd name="connsiteX1817" fmla="*/ 1061085 w 1969770"/>
                  <a:gd name="connsiteY1817" fmla="*/ 1181100 h 1744979"/>
                  <a:gd name="connsiteX1818" fmla="*/ 1052513 w 1969770"/>
                  <a:gd name="connsiteY1818" fmla="*/ 1175385 h 1744979"/>
                  <a:gd name="connsiteX1819" fmla="*/ 1043940 w 1969770"/>
                  <a:gd name="connsiteY1819" fmla="*/ 1169670 h 1744979"/>
                  <a:gd name="connsiteX1820" fmla="*/ 1034415 w 1969770"/>
                  <a:gd name="connsiteY1820" fmla="*/ 1164908 h 1744979"/>
                  <a:gd name="connsiteX1821" fmla="*/ 1025843 w 1969770"/>
                  <a:gd name="connsiteY1821" fmla="*/ 1163003 h 1744979"/>
                  <a:gd name="connsiteX1822" fmla="*/ 1025843 w 1969770"/>
                  <a:gd name="connsiteY1822" fmla="*/ 1163003 h 1744979"/>
                  <a:gd name="connsiteX1823" fmla="*/ 1035368 w 1969770"/>
                  <a:gd name="connsiteY1823" fmla="*/ 825818 h 1744979"/>
                  <a:gd name="connsiteX1824" fmla="*/ 1035368 w 1969770"/>
                  <a:gd name="connsiteY1824" fmla="*/ 835343 h 1744979"/>
                  <a:gd name="connsiteX1825" fmla="*/ 1035368 w 1969770"/>
                  <a:gd name="connsiteY1825" fmla="*/ 844868 h 1744979"/>
                  <a:gd name="connsiteX1826" fmla="*/ 1034415 w 1969770"/>
                  <a:gd name="connsiteY1826" fmla="*/ 854393 h 1744979"/>
                  <a:gd name="connsiteX1827" fmla="*/ 1034415 w 1969770"/>
                  <a:gd name="connsiteY1827" fmla="*/ 863918 h 1744979"/>
                  <a:gd name="connsiteX1828" fmla="*/ 1034415 w 1969770"/>
                  <a:gd name="connsiteY1828" fmla="*/ 873443 h 1744979"/>
                  <a:gd name="connsiteX1829" fmla="*/ 1034415 w 1969770"/>
                  <a:gd name="connsiteY1829" fmla="*/ 882015 h 1744979"/>
                  <a:gd name="connsiteX1830" fmla="*/ 1034415 w 1969770"/>
                  <a:gd name="connsiteY1830" fmla="*/ 891540 h 1744979"/>
                  <a:gd name="connsiteX1831" fmla="*/ 1034415 w 1969770"/>
                  <a:gd name="connsiteY1831" fmla="*/ 901065 h 1744979"/>
                  <a:gd name="connsiteX1832" fmla="*/ 1043940 w 1969770"/>
                  <a:gd name="connsiteY1832" fmla="*/ 903923 h 1744979"/>
                  <a:gd name="connsiteX1833" fmla="*/ 1052513 w 1969770"/>
                  <a:gd name="connsiteY1833" fmla="*/ 907733 h 1744979"/>
                  <a:gd name="connsiteX1834" fmla="*/ 1056323 w 1969770"/>
                  <a:gd name="connsiteY1834" fmla="*/ 909638 h 1744979"/>
                  <a:gd name="connsiteX1835" fmla="*/ 1060133 w 1969770"/>
                  <a:gd name="connsiteY1835" fmla="*/ 911543 h 1744979"/>
                  <a:gd name="connsiteX1836" fmla="*/ 1063943 w 1969770"/>
                  <a:gd name="connsiteY1836" fmla="*/ 914400 h 1744979"/>
                  <a:gd name="connsiteX1837" fmla="*/ 1066800 w 1969770"/>
                  <a:gd name="connsiteY1837" fmla="*/ 917258 h 1744979"/>
                  <a:gd name="connsiteX1838" fmla="*/ 1069658 w 1969770"/>
                  <a:gd name="connsiteY1838" fmla="*/ 920115 h 1744979"/>
                  <a:gd name="connsiteX1839" fmla="*/ 1072515 w 1969770"/>
                  <a:gd name="connsiteY1839" fmla="*/ 922973 h 1744979"/>
                  <a:gd name="connsiteX1840" fmla="*/ 1074420 w 1969770"/>
                  <a:gd name="connsiteY1840" fmla="*/ 926783 h 1744979"/>
                  <a:gd name="connsiteX1841" fmla="*/ 1075373 w 1969770"/>
                  <a:gd name="connsiteY1841" fmla="*/ 930593 h 1744979"/>
                  <a:gd name="connsiteX1842" fmla="*/ 1076325 w 1969770"/>
                  <a:gd name="connsiteY1842" fmla="*/ 934403 h 1744979"/>
                  <a:gd name="connsiteX1843" fmla="*/ 1077278 w 1969770"/>
                  <a:gd name="connsiteY1843" fmla="*/ 939165 h 1744979"/>
                  <a:gd name="connsiteX1844" fmla="*/ 1077278 w 1969770"/>
                  <a:gd name="connsiteY1844" fmla="*/ 944880 h 1744979"/>
                  <a:gd name="connsiteX1845" fmla="*/ 1077278 w 1969770"/>
                  <a:gd name="connsiteY1845" fmla="*/ 950595 h 1744979"/>
                  <a:gd name="connsiteX1846" fmla="*/ 1076325 w 1969770"/>
                  <a:gd name="connsiteY1846" fmla="*/ 956310 h 1744979"/>
                  <a:gd name="connsiteX1847" fmla="*/ 1074420 w 1969770"/>
                  <a:gd name="connsiteY1847" fmla="*/ 962025 h 1744979"/>
                  <a:gd name="connsiteX1848" fmla="*/ 1071563 w 1969770"/>
                  <a:gd name="connsiteY1848" fmla="*/ 966788 h 1744979"/>
                  <a:gd name="connsiteX1849" fmla="*/ 1067753 w 1969770"/>
                  <a:gd name="connsiteY1849" fmla="*/ 971550 h 1744979"/>
                  <a:gd name="connsiteX1850" fmla="*/ 1062990 w 1969770"/>
                  <a:gd name="connsiteY1850" fmla="*/ 975360 h 1744979"/>
                  <a:gd name="connsiteX1851" fmla="*/ 1057275 w 1969770"/>
                  <a:gd name="connsiteY1851" fmla="*/ 979170 h 1744979"/>
                  <a:gd name="connsiteX1852" fmla="*/ 1050608 w 1969770"/>
                  <a:gd name="connsiteY1852" fmla="*/ 982980 h 1744979"/>
                  <a:gd name="connsiteX1853" fmla="*/ 1043940 w 1969770"/>
                  <a:gd name="connsiteY1853" fmla="*/ 985838 h 1744979"/>
                  <a:gd name="connsiteX1854" fmla="*/ 1036320 w 1969770"/>
                  <a:gd name="connsiteY1854" fmla="*/ 988695 h 1744979"/>
                  <a:gd name="connsiteX1855" fmla="*/ 1028700 w 1969770"/>
                  <a:gd name="connsiteY1855" fmla="*/ 991553 h 1744979"/>
                  <a:gd name="connsiteX1856" fmla="*/ 1021080 w 1969770"/>
                  <a:gd name="connsiteY1856" fmla="*/ 994410 h 1744979"/>
                  <a:gd name="connsiteX1857" fmla="*/ 1012508 w 1969770"/>
                  <a:gd name="connsiteY1857" fmla="*/ 997268 h 1744979"/>
                  <a:gd name="connsiteX1858" fmla="*/ 995363 w 1969770"/>
                  <a:gd name="connsiteY1858" fmla="*/ 1002983 h 1744979"/>
                  <a:gd name="connsiteX1859" fmla="*/ 977265 w 1969770"/>
                  <a:gd name="connsiteY1859" fmla="*/ 1008698 h 1744979"/>
                  <a:gd name="connsiteX1860" fmla="*/ 968693 w 1969770"/>
                  <a:gd name="connsiteY1860" fmla="*/ 1011555 h 1744979"/>
                  <a:gd name="connsiteX1861" fmla="*/ 959168 w 1969770"/>
                  <a:gd name="connsiteY1861" fmla="*/ 1014413 h 1744979"/>
                  <a:gd name="connsiteX1862" fmla="*/ 950595 w 1969770"/>
                  <a:gd name="connsiteY1862" fmla="*/ 1017270 h 1744979"/>
                  <a:gd name="connsiteX1863" fmla="*/ 942023 w 1969770"/>
                  <a:gd name="connsiteY1863" fmla="*/ 1021080 h 1744979"/>
                  <a:gd name="connsiteX1864" fmla="*/ 933450 w 1969770"/>
                  <a:gd name="connsiteY1864" fmla="*/ 1024890 h 1744979"/>
                  <a:gd name="connsiteX1865" fmla="*/ 925830 w 1969770"/>
                  <a:gd name="connsiteY1865" fmla="*/ 1028700 h 1744979"/>
                  <a:gd name="connsiteX1866" fmla="*/ 918210 w 1969770"/>
                  <a:gd name="connsiteY1866" fmla="*/ 1033463 h 1744979"/>
                  <a:gd name="connsiteX1867" fmla="*/ 911543 w 1969770"/>
                  <a:gd name="connsiteY1867" fmla="*/ 1039178 h 1744979"/>
                  <a:gd name="connsiteX1868" fmla="*/ 904875 w 1969770"/>
                  <a:gd name="connsiteY1868" fmla="*/ 1044893 h 1744979"/>
                  <a:gd name="connsiteX1869" fmla="*/ 899160 w 1969770"/>
                  <a:gd name="connsiteY1869" fmla="*/ 1050608 h 1744979"/>
                  <a:gd name="connsiteX1870" fmla="*/ 894398 w 1969770"/>
                  <a:gd name="connsiteY1870" fmla="*/ 1057275 h 1744979"/>
                  <a:gd name="connsiteX1871" fmla="*/ 890588 w 1969770"/>
                  <a:gd name="connsiteY1871" fmla="*/ 1063943 h 1744979"/>
                  <a:gd name="connsiteX1872" fmla="*/ 887730 w 1969770"/>
                  <a:gd name="connsiteY1872" fmla="*/ 1071563 h 1744979"/>
                  <a:gd name="connsiteX1873" fmla="*/ 885825 w 1969770"/>
                  <a:gd name="connsiteY1873" fmla="*/ 1080135 h 1744979"/>
                  <a:gd name="connsiteX1874" fmla="*/ 884873 w 1969770"/>
                  <a:gd name="connsiteY1874" fmla="*/ 1089660 h 1744979"/>
                  <a:gd name="connsiteX1875" fmla="*/ 884873 w 1969770"/>
                  <a:gd name="connsiteY1875" fmla="*/ 1099185 h 1744979"/>
                  <a:gd name="connsiteX1876" fmla="*/ 884873 w 1969770"/>
                  <a:gd name="connsiteY1876" fmla="*/ 1102995 h 1744979"/>
                  <a:gd name="connsiteX1877" fmla="*/ 884873 w 1969770"/>
                  <a:gd name="connsiteY1877" fmla="*/ 1105853 h 1744979"/>
                  <a:gd name="connsiteX1878" fmla="*/ 885825 w 1969770"/>
                  <a:gd name="connsiteY1878" fmla="*/ 1108710 h 1744979"/>
                  <a:gd name="connsiteX1879" fmla="*/ 886778 w 1969770"/>
                  <a:gd name="connsiteY1879" fmla="*/ 1111568 h 1744979"/>
                  <a:gd name="connsiteX1880" fmla="*/ 887730 w 1969770"/>
                  <a:gd name="connsiteY1880" fmla="*/ 1114425 h 1744979"/>
                  <a:gd name="connsiteX1881" fmla="*/ 888683 w 1969770"/>
                  <a:gd name="connsiteY1881" fmla="*/ 1117283 h 1744979"/>
                  <a:gd name="connsiteX1882" fmla="*/ 889635 w 1969770"/>
                  <a:gd name="connsiteY1882" fmla="*/ 1120140 h 1744979"/>
                  <a:gd name="connsiteX1883" fmla="*/ 891540 w 1969770"/>
                  <a:gd name="connsiteY1883" fmla="*/ 1122998 h 1744979"/>
                  <a:gd name="connsiteX1884" fmla="*/ 894398 w 1969770"/>
                  <a:gd name="connsiteY1884" fmla="*/ 1127760 h 1744979"/>
                  <a:gd name="connsiteX1885" fmla="*/ 898208 w 1969770"/>
                  <a:gd name="connsiteY1885" fmla="*/ 1132523 h 1744979"/>
                  <a:gd name="connsiteX1886" fmla="*/ 902018 w 1969770"/>
                  <a:gd name="connsiteY1886" fmla="*/ 1136333 h 1744979"/>
                  <a:gd name="connsiteX1887" fmla="*/ 905828 w 1969770"/>
                  <a:gd name="connsiteY1887" fmla="*/ 1140143 h 1744979"/>
                  <a:gd name="connsiteX1888" fmla="*/ 915353 w 1969770"/>
                  <a:gd name="connsiteY1888" fmla="*/ 1147763 h 1744979"/>
                  <a:gd name="connsiteX1889" fmla="*/ 924878 w 1969770"/>
                  <a:gd name="connsiteY1889" fmla="*/ 1154430 h 1744979"/>
                  <a:gd name="connsiteX1890" fmla="*/ 934403 w 1969770"/>
                  <a:gd name="connsiteY1890" fmla="*/ 1161098 h 1744979"/>
                  <a:gd name="connsiteX1891" fmla="*/ 942975 w 1969770"/>
                  <a:gd name="connsiteY1891" fmla="*/ 1167765 h 1744979"/>
                  <a:gd name="connsiteX1892" fmla="*/ 942975 w 1969770"/>
                  <a:gd name="connsiteY1892" fmla="*/ 1159193 h 1744979"/>
                  <a:gd name="connsiteX1893" fmla="*/ 942975 w 1969770"/>
                  <a:gd name="connsiteY1893" fmla="*/ 1150620 h 1744979"/>
                  <a:gd name="connsiteX1894" fmla="*/ 942975 w 1969770"/>
                  <a:gd name="connsiteY1894" fmla="*/ 1142048 h 1744979"/>
                  <a:gd name="connsiteX1895" fmla="*/ 942975 w 1969770"/>
                  <a:gd name="connsiteY1895" fmla="*/ 1133475 h 1744979"/>
                  <a:gd name="connsiteX1896" fmla="*/ 942975 w 1969770"/>
                  <a:gd name="connsiteY1896" fmla="*/ 1124903 h 1744979"/>
                  <a:gd name="connsiteX1897" fmla="*/ 942975 w 1969770"/>
                  <a:gd name="connsiteY1897" fmla="*/ 1116330 h 1744979"/>
                  <a:gd name="connsiteX1898" fmla="*/ 942975 w 1969770"/>
                  <a:gd name="connsiteY1898" fmla="*/ 1107758 h 1744979"/>
                  <a:gd name="connsiteX1899" fmla="*/ 942975 w 1969770"/>
                  <a:gd name="connsiteY1899" fmla="*/ 1099185 h 1744979"/>
                  <a:gd name="connsiteX1900" fmla="*/ 942975 w 1969770"/>
                  <a:gd name="connsiteY1900" fmla="*/ 1097280 h 1744979"/>
                  <a:gd name="connsiteX1901" fmla="*/ 942975 w 1969770"/>
                  <a:gd name="connsiteY1901" fmla="*/ 1095375 h 1744979"/>
                  <a:gd name="connsiteX1902" fmla="*/ 943928 w 1969770"/>
                  <a:gd name="connsiteY1902" fmla="*/ 1093470 h 1744979"/>
                  <a:gd name="connsiteX1903" fmla="*/ 944880 w 1969770"/>
                  <a:gd name="connsiteY1903" fmla="*/ 1091565 h 1744979"/>
                  <a:gd name="connsiteX1904" fmla="*/ 946785 w 1969770"/>
                  <a:gd name="connsiteY1904" fmla="*/ 1089660 h 1744979"/>
                  <a:gd name="connsiteX1905" fmla="*/ 947738 w 1969770"/>
                  <a:gd name="connsiteY1905" fmla="*/ 1087755 h 1744979"/>
                  <a:gd name="connsiteX1906" fmla="*/ 949643 w 1969770"/>
                  <a:gd name="connsiteY1906" fmla="*/ 1085850 h 1744979"/>
                  <a:gd name="connsiteX1907" fmla="*/ 951548 w 1969770"/>
                  <a:gd name="connsiteY1907" fmla="*/ 1083945 h 1744979"/>
                  <a:gd name="connsiteX1908" fmla="*/ 956310 w 1969770"/>
                  <a:gd name="connsiteY1908" fmla="*/ 1080135 h 1744979"/>
                  <a:gd name="connsiteX1909" fmla="*/ 962025 w 1969770"/>
                  <a:gd name="connsiteY1909" fmla="*/ 1077278 h 1744979"/>
                  <a:gd name="connsiteX1910" fmla="*/ 967740 w 1969770"/>
                  <a:gd name="connsiteY1910" fmla="*/ 1074420 h 1744979"/>
                  <a:gd name="connsiteX1911" fmla="*/ 974408 w 1969770"/>
                  <a:gd name="connsiteY1911" fmla="*/ 1071563 h 1744979"/>
                  <a:gd name="connsiteX1912" fmla="*/ 981075 w 1969770"/>
                  <a:gd name="connsiteY1912" fmla="*/ 1068705 h 1744979"/>
                  <a:gd name="connsiteX1913" fmla="*/ 988695 w 1969770"/>
                  <a:gd name="connsiteY1913" fmla="*/ 1065848 h 1744979"/>
                  <a:gd name="connsiteX1914" fmla="*/ 996315 w 1969770"/>
                  <a:gd name="connsiteY1914" fmla="*/ 1062990 h 1744979"/>
                  <a:gd name="connsiteX1915" fmla="*/ 1004888 w 1969770"/>
                  <a:gd name="connsiteY1915" fmla="*/ 1060133 h 1744979"/>
                  <a:gd name="connsiteX1916" fmla="*/ 1022033 w 1969770"/>
                  <a:gd name="connsiteY1916" fmla="*/ 1054418 h 1744979"/>
                  <a:gd name="connsiteX1917" fmla="*/ 1039178 w 1969770"/>
                  <a:gd name="connsiteY1917" fmla="*/ 1048703 h 1744979"/>
                  <a:gd name="connsiteX1918" fmla="*/ 1051560 w 1969770"/>
                  <a:gd name="connsiteY1918" fmla="*/ 1044893 h 1744979"/>
                  <a:gd name="connsiteX1919" fmla="*/ 1063943 w 1969770"/>
                  <a:gd name="connsiteY1919" fmla="*/ 1041083 h 1744979"/>
                  <a:gd name="connsiteX1920" fmla="*/ 1076325 w 1969770"/>
                  <a:gd name="connsiteY1920" fmla="*/ 1037273 h 1744979"/>
                  <a:gd name="connsiteX1921" fmla="*/ 1087755 w 1969770"/>
                  <a:gd name="connsiteY1921" fmla="*/ 1032510 h 1744979"/>
                  <a:gd name="connsiteX1922" fmla="*/ 1093470 w 1969770"/>
                  <a:gd name="connsiteY1922" fmla="*/ 1029653 h 1744979"/>
                  <a:gd name="connsiteX1923" fmla="*/ 1099185 w 1969770"/>
                  <a:gd name="connsiteY1923" fmla="*/ 1026795 h 1744979"/>
                  <a:gd name="connsiteX1924" fmla="*/ 1104900 w 1969770"/>
                  <a:gd name="connsiteY1924" fmla="*/ 1023938 h 1744979"/>
                  <a:gd name="connsiteX1925" fmla="*/ 1109663 w 1969770"/>
                  <a:gd name="connsiteY1925" fmla="*/ 1021080 h 1744979"/>
                  <a:gd name="connsiteX1926" fmla="*/ 1114425 w 1969770"/>
                  <a:gd name="connsiteY1926" fmla="*/ 1018223 h 1744979"/>
                  <a:gd name="connsiteX1927" fmla="*/ 1119188 w 1969770"/>
                  <a:gd name="connsiteY1927" fmla="*/ 1015365 h 1744979"/>
                  <a:gd name="connsiteX1928" fmla="*/ 1123950 w 1969770"/>
                  <a:gd name="connsiteY1928" fmla="*/ 1012508 h 1744979"/>
                  <a:gd name="connsiteX1929" fmla="*/ 1127760 w 1969770"/>
                  <a:gd name="connsiteY1929" fmla="*/ 1008698 h 1744979"/>
                  <a:gd name="connsiteX1930" fmla="*/ 1131570 w 1969770"/>
                  <a:gd name="connsiteY1930" fmla="*/ 1004888 h 1744979"/>
                  <a:gd name="connsiteX1931" fmla="*/ 1135380 w 1969770"/>
                  <a:gd name="connsiteY1931" fmla="*/ 1001078 h 1744979"/>
                  <a:gd name="connsiteX1932" fmla="*/ 1139190 w 1969770"/>
                  <a:gd name="connsiteY1932" fmla="*/ 997268 h 1744979"/>
                  <a:gd name="connsiteX1933" fmla="*/ 1142048 w 1969770"/>
                  <a:gd name="connsiteY1933" fmla="*/ 993458 h 1744979"/>
                  <a:gd name="connsiteX1934" fmla="*/ 1144905 w 1969770"/>
                  <a:gd name="connsiteY1934" fmla="*/ 989648 h 1744979"/>
                  <a:gd name="connsiteX1935" fmla="*/ 1147763 w 1969770"/>
                  <a:gd name="connsiteY1935" fmla="*/ 984885 h 1744979"/>
                  <a:gd name="connsiteX1936" fmla="*/ 1150620 w 1969770"/>
                  <a:gd name="connsiteY1936" fmla="*/ 980123 h 1744979"/>
                  <a:gd name="connsiteX1937" fmla="*/ 1152525 w 1969770"/>
                  <a:gd name="connsiteY1937" fmla="*/ 975360 h 1744979"/>
                  <a:gd name="connsiteX1938" fmla="*/ 1154430 w 1969770"/>
                  <a:gd name="connsiteY1938" fmla="*/ 969645 h 1744979"/>
                  <a:gd name="connsiteX1939" fmla="*/ 1156335 w 1969770"/>
                  <a:gd name="connsiteY1939" fmla="*/ 963930 h 1744979"/>
                  <a:gd name="connsiteX1940" fmla="*/ 1157288 w 1969770"/>
                  <a:gd name="connsiteY1940" fmla="*/ 958215 h 1744979"/>
                  <a:gd name="connsiteX1941" fmla="*/ 1158240 w 1969770"/>
                  <a:gd name="connsiteY1941" fmla="*/ 952500 h 1744979"/>
                  <a:gd name="connsiteX1942" fmla="*/ 1158240 w 1969770"/>
                  <a:gd name="connsiteY1942" fmla="*/ 946785 h 1744979"/>
                  <a:gd name="connsiteX1943" fmla="*/ 1158240 w 1969770"/>
                  <a:gd name="connsiteY1943" fmla="*/ 940118 h 1744979"/>
                  <a:gd name="connsiteX1944" fmla="*/ 1158240 w 1969770"/>
                  <a:gd name="connsiteY1944" fmla="*/ 934403 h 1744979"/>
                  <a:gd name="connsiteX1945" fmla="*/ 1157288 w 1969770"/>
                  <a:gd name="connsiteY1945" fmla="*/ 927735 h 1744979"/>
                  <a:gd name="connsiteX1946" fmla="*/ 1157288 w 1969770"/>
                  <a:gd name="connsiteY1946" fmla="*/ 922973 h 1744979"/>
                  <a:gd name="connsiteX1947" fmla="*/ 1156335 w 1969770"/>
                  <a:gd name="connsiteY1947" fmla="*/ 918210 h 1744979"/>
                  <a:gd name="connsiteX1948" fmla="*/ 1155383 w 1969770"/>
                  <a:gd name="connsiteY1948" fmla="*/ 913448 h 1744979"/>
                  <a:gd name="connsiteX1949" fmla="*/ 1154430 w 1969770"/>
                  <a:gd name="connsiteY1949" fmla="*/ 909638 h 1744979"/>
                  <a:gd name="connsiteX1950" fmla="*/ 1152525 w 1969770"/>
                  <a:gd name="connsiteY1950" fmla="*/ 905828 h 1744979"/>
                  <a:gd name="connsiteX1951" fmla="*/ 1150620 w 1969770"/>
                  <a:gd name="connsiteY1951" fmla="*/ 902018 h 1744979"/>
                  <a:gd name="connsiteX1952" fmla="*/ 1148715 w 1969770"/>
                  <a:gd name="connsiteY1952" fmla="*/ 898208 h 1744979"/>
                  <a:gd name="connsiteX1953" fmla="*/ 1146810 w 1969770"/>
                  <a:gd name="connsiteY1953" fmla="*/ 894398 h 1744979"/>
                  <a:gd name="connsiteX1954" fmla="*/ 1143953 w 1969770"/>
                  <a:gd name="connsiteY1954" fmla="*/ 890588 h 1744979"/>
                  <a:gd name="connsiteX1955" fmla="*/ 1141095 w 1969770"/>
                  <a:gd name="connsiteY1955" fmla="*/ 886778 h 1744979"/>
                  <a:gd name="connsiteX1956" fmla="*/ 1138238 w 1969770"/>
                  <a:gd name="connsiteY1956" fmla="*/ 882968 h 1744979"/>
                  <a:gd name="connsiteX1957" fmla="*/ 1135380 w 1969770"/>
                  <a:gd name="connsiteY1957" fmla="*/ 879158 h 1744979"/>
                  <a:gd name="connsiteX1958" fmla="*/ 1132523 w 1969770"/>
                  <a:gd name="connsiteY1958" fmla="*/ 875348 h 1744979"/>
                  <a:gd name="connsiteX1959" fmla="*/ 1128713 w 1969770"/>
                  <a:gd name="connsiteY1959" fmla="*/ 871538 h 1744979"/>
                  <a:gd name="connsiteX1960" fmla="*/ 1124903 w 1969770"/>
                  <a:gd name="connsiteY1960" fmla="*/ 868680 h 1744979"/>
                  <a:gd name="connsiteX1961" fmla="*/ 1121093 w 1969770"/>
                  <a:gd name="connsiteY1961" fmla="*/ 865823 h 1744979"/>
                  <a:gd name="connsiteX1962" fmla="*/ 1112520 w 1969770"/>
                  <a:gd name="connsiteY1962" fmla="*/ 860108 h 1744979"/>
                  <a:gd name="connsiteX1963" fmla="*/ 1103948 w 1969770"/>
                  <a:gd name="connsiteY1963" fmla="*/ 854393 h 1744979"/>
                  <a:gd name="connsiteX1964" fmla="*/ 1094423 w 1969770"/>
                  <a:gd name="connsiteY1964" fmla="*/ 848678 h 1744979"/>
                  <a:gd name="connsiteX1965" fmla="*/ 1084898 w 1969770"/>
                  <a:gd name="connsiteY1965" fmla="*/ 842963 h 1744979"/>
                  <a:gd name="connsiteX1966" fmla="*/ 1074420 w 1969770"/>
                  <a:gd name="connsiteY1966" fmla="*/ 838200 h 1744979"/>
                  <a:gd name="connsiteX1967" fmla="*/ 1063943 w 1969770"/>
                  <a:gd name="connsiteY1967" fmla="*/ 833438 h 1744979"/>
                  <a:gd name="connsiteX1968" fmla="*/ 1052513 w 1969770"/>
                  <a:gd name="connsiteY1968" fmla="*/ 828675 h 1744979"/>
                  <a:gd name="connsiteX1969" fmla="*/ 1035368 w 1969770"/>
                  <a:gd name="connsiteY1969" fmla="*/ 825818 h 1744979"/>
                  <a:gd name="connsiteX1970" fmla="*/ 1035368 w 1969770"/>
                  <a:gd name="connsiteY1970" fmla="*/ 825818 h 1744979"/>
                  <a:gd name="connsiteX1971" fmla="*/ 1046798 w 1969770"/>
                  <a:gd name="connsiteY1971" fmla="*/ 241935 h 1744979"/>
                  <a:gd name="connsiteX1972" fmla="*/ 1044893 w 1969770"/>
                  <a:gd name="connsiteY1972" fmla="*/ 278130 h 1744979"/>
                  <a:gd name="connsiteX1973" fmla="*/ 1044893 w 1969770"/>
                  <a:gd name="connsiteY1973" fmla="*/ 278130 h 1744979"/>
                  <a:gd name="connsiteX1974" fmla="*/ 1044893 w 1969770"/>
                  <a:gd name="connsiteY1974" fmla="*/ 285750 h 1744979"/>
                  <a:gd name="connsiteX1975" fmla="*/ 1042988 w 1969770"/>
                  <a:gd name="connsiteY1975" fmla="*/ 320040 h 1744979"/>
                  <a:gd name="connsiteX1976" fmla="*/ 1058228 w 1969770"/>
                  <a:gd name="connsiteY1976" fmla="*/ 322898 h 1744979"/>
                  <a:gd name="connsiteX1977" fmla="*/ 1072515 w 1969770"/>
                  <a:gd name="connsiteY1977" fmla="*/ 326708 h 1744979"/>
                  <a:gd name="connsiteX1978" fmla="*/ 1079183 w 1969770"/>
                  <a:gd name="connsiteY1978" fmla="*/ 328613 h 1744979"/>
                  <a:gd name="connsiteX1979" fmla="*/ 1085850 w 1969770"/>
                  <a:gd name="connsiteY1979" fmla="*/ 330518 h 1744979"/>
                  <a:gd name="connsiteX1980" fmla="*/ 1092518 w 1969770"/>
                  <a:gd name="connsiteY1980" fmla="*/ 332423 h 1744979"/>
                  <a:gd name="connsiteX1981" fmla="*/ 1098233 w 1969770"/>
                  <a:gd name="connsiteY1981" fmla="*/ 335280 h 1744979"/>
                  <a:gd name="connsiteX1982" fmla="*/ 1103948 w 1969770"/>
                  <a:gd name="connsiteY1982" fmla="*/ 338138 h 1744979"/>
                  <a:gd name="connsiteX1983" fmla="*/ 1109663 w 1969770"/>
                  <a:gd name="connsiteY1983" fmla="*/ 340995 h 1744979"/>
                  <a:gd name="connsiteX1984" fmla="*/ 1115378 w 1969770"/>
                  <a:gd name="connsiteY1984" fmla="*/ 343853 h 1744979"/>
                  <a:gd name="connsiteX1985" fmla="*/ 1121093 w 1969770"/>
                  <a:gd name="connsiteY1985" fmla="*/ 346710 h 1744979"/>
                  <a:gd name="connsiteX1986" fmla="*/ 1125855 w 1969770"/>
                  <a:gd name="connsiteY1986" fmla="*/ 349568 h 1744979"/>
                  <a:gd name="connsiteX1987" fmla="*/ 1130618 w 1969770"/>
                  <a:gd name="connsiteY1987" fmla="*/ 352425 h 1744979"/>
                  <a:gd name="connsiteX1988" fmla="*/ 1134428 w 1969770"/>
                  <a:gd name="connsiteY1988" fmla="*/ 355283 h 1744979"/>
                  <a:gd name="connsiteX1989" fmla="*/ 1138238 w 1969770"/>
                  <a:gd name="connsiteY1989" fmla="*/ 358140 h 1744979"/>
                  <a:gd name="connsiteX1990" fmla="*/ 1142048 w 1969770"/>
                  <a:gd name="connsiteY1990" fmla="*/ 361950 h 1744979"/>
                  <a:gd name="connsiteX1991" fmla="*/ 1145858 w 1969770"/>
                  <a:gd name="connsiteY1991" fmla="*/ 364808 h 1744979"/>
                  <a:gd name="connsiteX1992" fmla="*/ 1148715 w 1969770"/>
                  <a:gd name="connsiteY1992" fmla="*/ 368618 h 1744979"/>
                  <a:gd name="connsiteX1993" fmla="*/ 1151573 w 1969770"/>
                  <a:gd name="connsiteY1993" fmla="*/ 372428 h 1744979"/>
                  <a:gd name="connsiteX1994" fmla="*/ 1154430 w 1969770"/>
                  <a:gd name="connsiteY1994" fmla="*/ 376238 h 1744979"/>
                  <a:gd name="connsiteX1995" fmla="*/ 1157288 w 1969770"/>
                  <a:gd name="connsiteY1995" fmla="*/ 380048 h 1744979"/>
                  <a:gd name="connsiteX1996" fmla="*/ 1159193 w 1969770"/>
                  <a:gd name="connsiteY1996" fmla="*/ 383858 h 1744979"/>
                  <a:gd name="connsiteX1997" fmla="*/ 1161098 w 1969770"/>
                  <a:gd name="connsiteY1997" fmla="*/ 387668 h 1744979"/>
                  <a:gd name="connsiteX1998" fmla="*/ 1163003 w 1969770"/>
                  <a:gd name="connsiteY1998" fmla="*/ 391478 h 1744979"/>
                  <a:gd name="connsiteX1999" fmla="*/ 1163955 w 1969770"/>
                  <a:gd name="connsiteY1999" fmla="*/ 396240 h 1744979"/>
                  <a:gd name="connsiteX2000" fmla="*/ 1164908 w 1969770"/>
                  <a:gd name="connsiteY2000" fmla="*/ 401003 h 1744979"/>
                  <a:gd name="connsiteX2001" fmla="*/ 1165860 w 1969770"/>
                  <a:gd name="connsiteY2001" fmla="*/ 405765 h 1744979"/>
                  <a:gd name="connsiteX2002" fmla="*/ 1166813 w 1969770"/>
                  <a:gd name="connsiteY2002" fmla="*/ 410528 h 1744979"/>
                  <a:gd name="connsiteX2003" fmla="*/ 1166813 w 1969770"/>
                  <a:gd name="connsiteY2003" fmla="*/ 415290 h 1744979"/>
                  <a:gd name="connsiteX2004" fmla="*/ 1166813 w 1969770"/>
                  <a:gd name="connsiteY2004" fmla="*/ 420053 h 1744979"/>
                  <a:gd name="connsiteX2005" fmla="*/ 1166813 w 1969770"/>
                  <a:gd name="connsiteY2005" fmla="*/ 425768 h 1744979"/>
                  <a:gd name="connsiteX2006" fmla="*/ 1166813 w 1969770"/>
                  <a:gd name="connsiteY2006" fmla="*/ 432435 h 1744979"/>
                  <a:gd name="connsiteX2007" fmla="*/ 1165860 w 1969770"/>
                  <a:gd name="connsiteY2007" fmla="*/ 438150 h 1744979"/>
                  <a:gd name="connsiteX2008" fmla="*/ 1164908 w 1969770"/>
                  <a:gd name="connsiteY2008" fmla="*/ 443865 h 1744979"/>
                  <a:gd name="connsiteX2009" fmla="*/ 1163955 w 1969770"/>
                  <a:gd name="connsiteY2009" fmla="*/ 449580 h 1744979"/>
                  <a:gd name="connsiteX2010" fmla="*/ 1149668 w 1969770"/>
                  <a:gd name="connsiteY2010" fmla="*/ 442913 h 1744979"/>
                  <a:gd name="connsiteX2011" fmla="*/ 1135380 w 1969770"/>
                  <a:gd name="connsiteY2011" fmla="*/ 437198 h 1744979"/>
                  <a:gd name="connsiteX2012" fmla="*/ 1120140 w 1969770"/>
                  <a:gd name="connsiteY2012" fmla="*/ 431483 h 1744979"/>
                  <a:gd name="connsiteX2013" fmla="*/ 1105853 w 1969770"/>
                  <a:gd name="connsiteY2013" fmla="*/ 426720 h 1744979"/>
                  <a:gd name="connsiteX2014" fmla="*/ 1090613 w 1969770"/>
                  <a:gd name="connsiteY2014" fmla="*/ 422910 h 1744979"/>
                  <a:gd name="connsiteX2015" fmla="*/ 1075373 w 1969770"/>
                  <a:gd name="connsiteY2015" fmla="*/ 419100 h 1744979"/>
                  <a:gd name="connsiteX2016" fmla="*/ 1060133 w 1969770"/>
                  <a:gd name="connsiteY2016" fmla="*/ 416243 h 1744979"/>
                  <a:gd name="connsiteX2017" fmla="*/ 1044893 w 1969770"/>
                  <a:gd name="connsiteY2017" fmla="*/ 413385 h 1744979"/>
                  <a:gd name="connsiteX2018" fmla="*/ 1044893 w 1969770"/>
                  <a:gd name="connsiteY2018" fmla="*/ 436245 h 1744979"/>
                  <a:gd name="connsiteX2019" fmla="*/ 1060133 w 1969770"/>
                  <a:gd name="connsiteY2019" fmla="*/ 439103 h 1744979"/>
                  <a:gd name="connsiteX2020" fmla="*/ 1074420 w 1969770"/>
                  <a:gd name="connsiteY2020" fmla="*/ 441960 h 1744979"/>
                  <a:gd name="connsiteX2021" fmla="*/ 1088708 w 1969770"/>
                  <a:gd name="connsiteY2021" fmla="*/ 445770 h 1744979"/>
                  <a:gd name="connsiteX2022" fmla="*/ 1102995 w 1969770"/>
                  <a:gd name="connsiteY2022" fmla="*/ 449580 h 1744979"/>
                  <a:gd name="connsiteX2023" fmla="*/ 1116330 w 1969770"/>
                  <a:gd name="connsiteY2023" fmla="*/ 454343 h 1744979"/>
                  <a:gd name="connsiteX2024" fmla="*/ 1129665 w 1969770"/>
                  <a:gd name="connsiteY2024" fmla="*/ 459105 h 1744979"/>
                  <a:gd name="connsiteX2025" fmla="*/ 1143000 w 1969770"/>
                  <a:gd name="connsiteY2025" fmla="*/ 464820 h 1744979"/>
                  <a:gd name="connsiteX2026" fmla="*/ 1156335 w 1969770"/>
                  <a:gd name="connsiteY2026" fmla="*/ 470535 h 1744979"/>
                  <a:gd name="connsiteX2027" fmla="*/ 1153478 w 1969770"/>
                  <a:gd name="connsiteY2027" fmla="*/ 474345 h 1744979"/>
                  <a:gd name="connsiteX2028" fmla="*/ 1150620 w 1969770"/>
                  <a:gd name="connsiteY2028" fmla="*/ 478155 h 1744979"/>
                  <a:gd name="connsiteX2029" fmla="*/ 1147763 w 1969770"/>
                  <a:gd name="connsiteY2029" fmla="*/ 481965 h 1744979"/>
                  <a:gd name="connsiteX2030" fmla="*/ 1144905 w 1969770"/>
                  <a:gd name="connsiteY2030" fmla="*/ 485775 h 1744979"/>
                  <a:gd name="connsiteX2031" fmla="*/ 1142048 w 1969770"/>
                  <a:gd name="connsiteY2031" fmla="*/ 488633 h 1744979"/>
                  <a:gd name="connsiteX2032" fmla="*/ 1138238 w 1969770"/>
                  <a:gd name="connsiteY2032" fmla="*/ 491490 h 1744979"/>
                  <a:gd name="connsiteX2033" fmla="*/ 1134428 w 1969770"/>
                  <a:gd name="connsiteY2033" fmla="*/ 494348 h 1744979"/>
                  <a:gd name="connsiteX2034" fmla="*/ 1130618 w 1969770"/>
                  <a:gd name="connsiteY2034" fmla="*/ 497205 h 1744979"/>
                  <a:gd name="connsiteX2035" fmla="*/ 1126808 w 1969770"/>
                  <a:gd name="connsiteY2035" fmla="*/ 500063 h 1744979"/>
                  <a:gd name="connsiteX2036" fmla="*/ 1122045 w 1969770"/>
                  <a:gd name="connsiteY2036" fmla="*/ 502920 h 1744979"/>
                  <a:gd name="connsiteX2037" fmla="*/ 1118235 w 1969770"/>
                  <a:gd name="connsiteY2037" fmla="*/ 505778 h 1744979"/>
                  <a:gd name="connsiteX2038" fmla="*/ 1113473 w 1969770"/>
                  <a:gd name="connsiteY2038" fmla="*/ 508635 h 1744979"/>
                  <a:gd name="connsiteX2039" fmla="*/ 1103948 w 1969770"/>
                  <a:gd name="connsiteY2039" fmla="*/ 514350 h 1744979"/>
                  <a:gd name="connsiteX2040" fmla="*/ 1093470 w 1969770"/>
                  <a:gd name="connsiteY2040" fmla="*/ 519113 h 1744979"/>
                  <a:gd name="connsiteX2041" fmla="*/ 1082993 w 1969770"/>
                  <a:gd name="connsiteY2041" fmla="*/ 523875 h 1744979"/>
                  <a:gd name="connsiteX2042" fmla="*/ 1070610 w 1969770"/>
                  <a:gd name="connsiteY2042" fmla="*/ 527685 h 1744979"/>
                  <a:gd name="connsiteX2043" fmla="*/ 1058228 w 1969770"/>
                  <a:gd name="connsiteY2043" fmla="*/ 531495 h 1744979"/>
                  <a:gd name="connsiteX2044" fmla="*/ 1044893 w 1969770"/>
                  <a:gd name="connsiteY2044" fmla="*/ 535305 h 1744979"/>
                  <a:gd name="connsiteX2045" fmla="*/ 1031558 w 1969770"/>
                  <a:gd name="connsiteY2045" fmla="*/ 539115 h 1744979"/>
                  <a:gd name="connsiteX2046" fmla="*/ 1017270 w 1969770"/>
                  <a:gd name="connsiteY2046" fmla="*/ 542925 h 1744979"/>
                  <a:gd name="connsiteX2047" fmla="*/ 1002030 w 1969770"/>
                  <a:gd name="connsiteY2047" fmla="*/ 545783 h 1744979"/>
                  <a:gd name="connsiteX2048" fmla="*/ 986790 w 1969770"/>
                  <a:gd name="connsiteY2048" fmla="*/ 549593 h 1744979"/>
                  <a:gd name="connsiteX2049" fmla="*/ 969645 w 1969770"/>
                  <a:gd name="connsiteY2049" fmla="*/ 553403 h 1744979"/>
                  <a:gd name="connsiteX2050" fmla="*/ 952500 w 1969770"/>
                  <a:gd name="connsiteY2050" fmla="*/ 557213 h 1744979"/>
                  <a:gd name="connsiteX2051" fmla="*/ 942975 w 1969770"/>
                  <a:gd name="connsiteY2051" fmla="*/ 557213 h 1744979"/>
                  <a:gd name="connsiteX2052" fmla="*/ 933450 w 1969770"/>
                  <a:gd name="connsiteY2052" fmla="*/ 560070 h 1744979"/>
                  <a:gd name="connsiteX2053" fmla="*/ 923925 w 1969770"/>
                  <a:gd name="connsiteY2053" fmla="*/ 562928 h 1744979"/>
                  <a:gd name="connsiteX2054" fmla="*/ 915353 w 1969770"/>
                  <a:gd name="connsiteY2054" fmla="*/ 565785 h 1744979"/>
                  <a:gd name="connsiteX2055" fmla="*/ 906780 w 1969770"/>
                  <a:gd name="connsiteY2055" fmla="*/ 568643 h 1744979"/>
                  <a:gd name="connsiteX2056" fmla="*/ 898208 w 1969770"/>
                  <a:gd name="connsiteY2056" fmla="*/ 571500 h 1744979"/>
                  <a:gd name="connsiteX2057" fmla="*/ 889635 w 1969770"/>
                  <a:gd name="connsiteY2057" fmla="*/ 575310 h 1744979"/>
                  <a:gd name="connsiteX2058" fmla="*/ 881063 w 1969770"/>
                  <a:gd name="connsiteY2058" fmla="*/ 579120 h 1744979"/>
                  <a:gd name="connsiteX2059" fmla="*/ 872490 w 1969770"/>
                  <a:gd name="connsiteY2059" fmla="*/ 582930 h 1744979"/>
                  <a:gd name="connsiteX2060" fmla="*/ 863918 w 1969770"/>
                  <a:gd name="connsiteY2060" fmla="*/ 587693 h 1744979"/>
                  <a:gd name="connsiteX2061" fmla="*/ 855345 w 1969770"/>
                  <a:gd name="connsiteY2061" fmla="*/ 592455 h 1744979"/>
                  <a:gd name="connsiteX2062" fmla="*/ 847725 w 1969770"/>
                  <a:gd name="connsiteY2062" fmla="*/ 597218 h 1744979"/>
                  <a:gd name="connsiteX2063" fmla="*/ 840105 w 1969770"/>
                  <a:gd name="connsiteY2063" fmla="*/ 602933 h 1744979"/>
                  <a:gd name="connsiteX2064" fmla="*/ 833438 w 1969770"/>
                  <a:gd name="connsiteY2064" fmla="*/ 608648 h 1744979"/>
                  <a:gd name="connsiteX2065" fmla="*/ 826770 w 1969770"/>
                  <a:gd name="connsiteY2065" fmla="*/ 614363 h 1744979"/>
                  <a:gd name="connsiteX2066" fmla="*/ 820103 w 1969770"/>
                  <a:gd name="connsiteY2066" fmla="*/ 620078 h 1744979"/>
                  <a:gd name="connsiteX2067" fmla="*/ 814388 w 1969770"/>
                  <a:gd name="connsiteY2067" fmla="*/ 626745 h 1744979"/>
                  <a:gd name="connsiteX2068" fmla="*/ 809625 w 1969770"/>
                  <a:gd name="connsiteY2068" fmla="*/ 633413 h 1744979"/>
                  <a:gd name="connsiteX2069" fmla="*/ 803910 w 1969770"/>
                  <a:gd name="connsiteY2069" fmla="*/ 641033 h 1744979"/>
                  <a:gd name="connsiteX2070" fmla="*/ 799148 w 1969770"/>
                  <a:gd name="connsiteY2070" fmla="*/ 648653 h 1744979"/>
                  <a:gd name="connsiteX2071" fmla="*/ 795338 w 1969770"/>
                  <a:gd name="connsiteY2071" fmla="*/ 657225 h 1744979"/>
                  <a:gd name="connsiteX2072" fmla="*/ 791528 w 1969770"/>
                  <a:gd name="connsiteY2072" fmla="*/ 665798 h 1744979"/>
                  <a:gd name="connsiteX2073" fmla="*/ 788670 w 1969770"/>
                  <a:gd name="connsiteY2073" fmla="*/ 674370 h 1744979"/>
                  <a:gd name="connsiteX2074" fmla="*/ 785813 w 1969770"/>
                  <a:gd name="connsiteY2074" fmla="*/ 683895 h 1744979"/>
                  <a:gd name="connsiteX2075" fmla="*/ 783908 w 1969770"/>
                  <a:gd name="connsiteY2075" fmla="*/ 693420 h 1744979"/>
                  <a:gd name="connsiteX2076" fmla="*/ 782955 w 1969770"/>
                  <a:gd name="connsiteY2076" fmla="*/ 702945 h 1744979"/>
                  <a:gd name="connsiteX2077" fmla="*/ 782955 w 1969770"/>
                  <a:gd name="connsiteY2077" fmla="*/ 713423 h 1744979"/>
                  <a:gd name="connsiteX2078" fmla="*/ 782955 w 1969770"/>
                  <a:gd name="connsiteY2078" fmla="*/ 723900 h 1744979"/>
                  <a:gd name="connsiteX2079" fmla="*/ 783908 w 1969770"/>
                  <a:gd name="connsiteY2079" fmla="*/ 733425 h 1744979"/>
                  <a:gd name="connsiteX2080" fmla="*/ 784860 w 1969770"/>
                  <a:gd name="connsiteY2080" fmla="*/ 741998 h 1744979"/>
                  <a:gd name="connsiteX2081" fmla="*/ 786765 w 1969770"/>
                  <a:gd name="connsiteY2081" fmla="*/ 750570 h 1744979"/>
                  <a:gd name="connsiteX2082" fmla="*/ 788670 w 1969770"/>
                  <a:gd name="connsiteY2082" fmla="*/ 759143 h 1744979"/>
                  <a:gd name="connsiteX2083" fmla="*/ 791528 w 1969770"/>
                  <a:gd name="connsiteY2083" fmla="*/ 766763 h 1744979"/>
                  <a:gd name="connsiteX2084" fmla="*/ 794385 w 1969770"/>
                  <a:gd name="connsiteY2084" fmla="*/ 774383 h 1744979"/>
                  <a:gd name="connsiteX2085" fmla="*/ 798195 w 1969770"/>
                  <a:gd name="connsiteY2085" fmla="*/ 781050 h 1744979"/>
                  <a:gd name="connsiteX2086" fmla="*/ 802005 w 1969770"/>
                  <a:gd name="connsiteY2086" fmla="*/ 787718 h 1744979"/>
                  <a:gd name="connsiteX2087" fmla="*/ 805815 w 1969770"/>
                  <a:gd name="connsiteY2087" fmla="*/ 794385 h 1744979"/>
                  <a:gd name="connsiteX2088" fmla="*/ 810578 w 1969770"/>
                  <a:gd name="connsiteY2088" fmla="*/ 800100 h 1744979"/>
                  <a:gd name="connsiteX2089" fmla="*/ 815340 w 1969770"/>
                  <a:gd name="connsiteY2089" fmla="*/ 805815 h 1744979"/>
                  <a:gd name="connsiteX2090" fmla="*/ 820103 w 1969770"/>
                  <a:gd name="connsiteY2090" fmla="*/ 811530 h 1744979"/>
                  <a:gd name="connsiteX2091" fmla="*/ 824865 w 1969770"/>
                  <a:gd name="connsiteY2091" fmla="*/ 817245 h 1744979"/>
                  <a:gd name="connsiteX2092" fmla="*/ 830580 w 1969770"/>
                  <a:gd name="connsiteY2092" fmla="*/ 822008 h 1744979"/>
                  <a:gd name="connsiteX2093" fmla="*/ 836295 w 1969770"/>
                  <a:gd name="connsiteY2093" fmla="*/ 826770 h 1744979"/>
                  <a:gd name="connsiteX2094" fmla="*/ 842010 w 1969770"/>
                  <a:gd name="connsiteY2094" fmla="*/ 831533 h 1744979"/>
                  <a:gd name="connsiteX2095" fmla="*/ 847725 w 1969770"/>
                  <a:gd name="connsiteY2095" fmla="*/ 835343 h 1744979"/>
                  <a:gd name="connsiteX2096" fmla="*/ 853440 w 1969770"/>
                  <a:gd name="connsiteY2096" fmla="*/ 839153 h 1744979"/>
                  <a:gd name="connsiteX2097" fmla="*/ 859155 w 1969770"/>
                  <a:gd name="connsiteY2097" fmla="*/ 842963 h 1744979"/>
                  <a:gd name="connsiteX2098" fmla="*/ 864870 w 1969770"/>
                  <a:gd name="connsiteY2098" fmla="*/ 846773 h 1744979"/>
                  <a:gd name="connsiteX2099" fmla="*/ 871538 w 1969770"/>
                  <a:gd name="connsiteY2099" fmla="*/ 849630 h 1744979"/>
                  <a:gd name="connsiteX2100" fmla="*/ 877253 w 1969770"/>
                  <a:gd name="connsiteY2100" fmla="*/ 852488 h 1744979"/>
                  <a:gd name="connsiteX2101" fmla="*/ 882968 w 1969770"/>
                  <a:gd name="connsiteY2101" fmla="*/ 855345 h 1744979"/>
                  <a:gd name="connsiteX2102" fmla="*/ 889635 w 1969770"/>
                  <a:gd name="connsiteY2102" fmla="*/ 858203 h 1744979"/>
                  <a:gd name="connsiteX2103" fmla="*/ 902018 w 1969770"/>
                  <a:gd name="connsiteY2103" fmla="*/ 862965 h 1744979"/>
                  <a:gd name="connsiteX2104" fmla="*/ 913448 w 1969770"/>
                  <a:gd name="connsiteY2104" fmla="*/ 866775 h 1744979"/>
                  <a:gd name="connsiteX2105" fmla="*/ 923925 w 1969770"/>
                  <a:gd name="connsiteY2105" fmla="*/ 869633 h 1744979"/>
                  <a:gd name="connsiteX2106" fmla="*/ 933450 w 1969770"/>
                  <a:gd name="connsiteY2106" fmla="*/ 872490 h 1744979"/>
                  <a:gd name="connsiteX2107" fmla="*/ 933450 w 1969770"/>
                  <a:gd name="connsiteY2107" fmla="*/ 862013 h 1744979"/>
                  <a:gd name="connsiteX2108" fmla="*/ 933450 w 1969770"/>
                  <a:gd name="connsiteY2108" fmla="*/ 851535 h 1744979"/>
                  <a:gd name="connsiteX2109" fmla="*/ 933450 w 1969770"/>
                  <a:gd name="connsiteY2109" fmla="*/ 841058 h 1744979"/>
                  <a:gd name="connsiteX2110" fmla="*/ 933450 w 1969770"/>
                  <a:gd name="connsiteY2110" fmla="*/ 830580 h 1744979"/>
                  <a:gd name="connsiteX2111" fmla="*/ 933450 w 1969770"/>
                  <a:gd name="connsiteY2111" fmla="*/ 820103 h 1744979"/>
                  <a:gd name="connsiteX2112" fmla="*/ 933450 w 1969770"/>
                  <a:gd name="connsiteY2112" fmla="*/ 808673 h 1744979"/>
                  <a:gd name="connsiteX2113" fmla="*/ 933450 w 1969770"/>
                  <a:gd name="connsiteY2113" fmla="*/ 798195 h 1744979"/>
                  <a:gd name="connsiteX2114" fmla="*/ 933450 w 1969770"/>
                  <a:gd name="connsiteY2114" fmla="*/ 787718 h 1744979"/>
                  <a:gd name="connsiteX2115" fmla="*/ 927735 w 1969770"/>
                  <a:gd name="connsiteY2115" fmla="*/ 784860 h 1744979"/>
                  <a:gd name="connsiteX2116" fmla="*/ 922020 w 1969770"/>
                  <a:gd name="connsiteY2116" fmla="*/ 782003 h 1744979"/>
                  <a:gd name="connsiteX2117" fmla="*/ 915353 w 1969770"/>
                  <a:gd name="connsiteY2117" fmla="*/ 781050 h 1744979"/>
                  <a:gd name="connsiteX2118" fmla="*/ 909638 w 1969770"/>
                  <a:gd name="connsiteY2118" fmla="*/ 778193 h 1744979"/>
                  <a:gd name="connsiteX2119" fmla="*/ 904875 w 1969770"/>
                  <a:gd name="connsiteY2119" fmla="*/ 774383 h 1744979"/>
                  <a:gd name="connsiteX2120" fmla="*/ 900113 w 1969770"/>
                  <a:gd name="connsiteY2120" fmla="*/ 770573 h 1744979"/>
                  <a:gd name="connsiteX2121" fmla="*/ 895350 w 1969770"/>
                  <a:gd name="connsiteY2121" fmla="*/ 766763 h 1744979"/>
                  <a:gd name="connsiteX2122" fmla="*/ 892493 w 1969770"/>
                  <a:gd name="connsiteY2122" fmla="*/ 762000 h 1744979"/>
                  <a:gd name="connsiteX2123" fmla="*/ 888683 w 1969770"/>
                  <a:gd name="connsiteY2123" fmla="*/ 757238 h 1744979"/>
                  <a:gd name="connsiteX2124" fmla="*/ 885825 w 1969770"/>
                  <a:gd name="connsiteY2124" fmla="*/ 752475 h 1744979"/>
                  <a:gd name="connsiteX2125" fmla="*/ 882968 w 1969770"/>
                  <a:gd name="connsiteY2125" fmla="*/ 746760 h 1744979"/>
                  <a:gd name="connsiteX2126" fmla="*/ 881063 w 1969770"/>
                  <a:gd name="connsiteY2126" fmla="*/ 740093 h 1744979"/>
                  <a:gd name="connsiteX2127" fmla="*/ 880110 w 1969770"/>
                  <a:gd name="connsiteY2127" fmla="*/ 737235 h 1744979"/>
                  <a:gd name="connsiteX2128" fmla="*/ 879158 w 1969770"/>
                  <a:gd name="connsiteY2128" fmla="*/ 734378 h 1744979"/>
                  <a:gd name="connsiteX2129" fmla="*/ 878205 w 1969770"/>
                  <a:gd name="connsiteY2129" fmla="*/ 730568 h 1744979"/>
                  <a:gd name="connsiteX2130" fmla="*/ 878205 w 1969770"/>
                  <a:gd name="connsiteY2130" fmla="*/ 726758 h 1744979"/>
                  <a:gd name="connsiteX2131" fmla="*/ 878205 w 1969770"/>
                  <a:gd name="connsiteY2131" fmla="*/ 722948 h 1744979"/>
                  <a:gd name="connsiteX2132" fmla="*/ 878205 w 1969770"/>
                  <a:gd name="connsiteY2132" fmla="*/ 719138 h 1744979"/>
                  <a:gd name="connsiteX2133" fmla="*/ 878205 w 1969770"/>
                  <a:gd name="connsiteY2133" fmla="*/ 715328 h 1744979"/>
                  <a:gd name="connsiteX2134" fmla="*/ 878205 w 1969770"/>
                  <a:gd name="connsiteY2134" fmla="*/ 711518 h 1744979"/>
                  <a:gd name="connsiteX2135" fmla="*/ 879158 w 1969770"/>
                  <a:gd name="connsiteY2135" fmla="*/ 705803 h 1744979"/>
                  <a:gd name="connsiteX2136" fmla="*/ 880110 w 1969770"/>
                  <a:gd name="connsiteY2136" fmla="*/ 701040 h 1744979"/>
                  <a:gd name="connsiteX2137" fmla="*/ 882015 w 1969770"/>
                  <a:gd name="connsiteY2137" fmla="*/ 695325 h 1744979"/>
                  <a:gd name="connsiteX2138" fmla="*/ 884873 w 1969770"/>
                  <a:gd name="connsiteY2138" fmla="*/ 690563 h 1744979"/>
                  <a:gd name="connsiteX2139" fmla="*/ 887730 w 1969770"/>
                  <a:gd name="connsiteY2139" fmla="*/ 685800 h 1744979"/>
                  <a:gd name="connsiteX2140" fmla="*/ 891540 w 1969770"/>
                  <a:gd name="connsiteY2140" fmla="*/ 681038 h 1744979"/>
                  <a:gd name="connsiteX2141" fmla="*/ 895350 w 1969770"/>
                  <a:gd name="connsiteY2141" fmla="*/ 677228 h 1744979"/>
                  <a:gd name="connsiteX2142" fmla="*/ 900113 w 1969770"/>
                  <a:gd name="connsiteY2142" fmla="*/ 673418 h 1744979"/>
                  <a:gd name="connsiteX2143" fmla="*/ 904875 w 1969770"/>
                  <a:gd name="connsiteY2143" fmla="*/ 669608 h 1744979"/>
                  <a:gd name="connsiteX2144" fmla="*/ 910590 w 1969770"/>
                  <a:gd name="connsiteY2144" fmla="*/ 665798 h 1744979"/>
                  <a:gd name="connsiteX2145" fmla="*/ 916305 w 1969770"/>
                  <a:gd name="connsiteY2145" fmla="*/ 661988 h 1744979"/>
                  <a:gd name="connsiteX2146" fmla="*/ 922973 w 1969770"/>
                  <a:gd name="connsiteY2146" fmla="*/ 659130 h 1744979"/>
                  <a:gd name="connsiteX2147" fmla="*/ 929640 w 1969770"/>
                  <a:gd name="connsiteY2147" fmla="*/ 655320 h 1744979"/>
                  <a:gd name="connsiteX2148" fmla="*/ 936308 w 1969770"/>
                  <a:gd name="connsiteY2148" fmla="*/ 652463 h 1744979"/>
                  <a:gd name="connsiteX2149" fmla="*/ 942975 w 1969770"/>
                  <a:gd name="connsiteY2149" fmla="*/ 647700 h 1744979"/>
                  <a:gd name="connsiteX2150" fmla="*/ 950595 w 1969770"/>
                  <a:gd name="connsiteY2150" fmla="*/ 644843 h 1744979"/>
                  <a:gd name="connsiteX2151" fmla="*/ 966788 w 1969770"/>
                  <a:gd name="connsiteY2151" fmla="*/ 639128 h 1744979"/>
                  <a:gd name="connsiteX2152" fmla="*/ 982980 w 1969770"/>
                  <a:gd name="connsiteY2152" fmla="*/ 634365 h 1744979"/>
                  <a:gd name="connsiteX2153" fmla="*/ 1000125 w 1969770"/>
                  <a:gd name="connsiteY2153" fmla="*/ 629603 h 1744979"/>
                  <a:gd name="connsiteX2154" fmla="*/ 1018223 w 1969770"/>
                  <a:gd name="connsiteY2154" fmla="*/ 624840 h 1744979"/>
                  <a:gd name="connsiteX2155" fmla="*/ 1054418 w 1969770"/>
                  <a:gd name="connsiteY2155" fmla="*/ 615315 h 1744979"/>
                  <a:gd name="connsiteX2156" fmla="*/ 1090613 w 1969770"/>
                  <a:gd name="connsiteY2156" fmla="*/ 605790 h 1744979"/>
                  <a:gd name="connsiteX2157" fmla="*/ 1104900 w 1969770"/>
                  <a:gd name="connsiteY2157" fmla="*/ 601028 h 1744979"/>
                  <a:gd name="connsiteX2158" fmla="*/ 1118235 w 1969770"/>
                  <a:gd name="connsiteY2158" fmla="*/ 596265 h 1744979"/>
                  <a:gd name="connsiteX2159" fmla="*/ 1130618 w 1969770"/>
                  <a:gd name="connsiteY2159" fmla="*/ 591503 h 1744979"/>
                  <a:gd name="connsiteX2160" fmla="*/ 1142048 w 1969770"/>
                  <a:gd name="connsiteY2160" fmla="*/ 586740 h 1744979"/>
                  <a:gd name="connsiteX2161" fmla="*/ 1153478 w 1969770"/>
                  <a:gd name="connsiteY2161" fmla="*/ 581978 h 1744979"/>
                  <a:gd name="connsiteX2162" fmla="*/ 1163955 w 1969770"/>
                  <a:gd name="connsiteY2162" fmla="*/ 577215 h 1744979"/>
                  <a:gd name="connsiteX2163" fmla="*/ 1173480 w 1969770"/>
                  <a:gd name="connsiteY2163" fmla="*/ 572453 h 1744979"/>
                  <a:gd name="connsiteX2164" fmla="*/ 1182053 w 1969770"/>
                  <a:gd name="connsiteY2164" fmla="*/ 567690 h 1744979"/>
                  <a:gd name="connsiteX2165" fmla="*/ 1190625 w 1969770"/>
                  <a:gd name="connsiteY2165" fmla="*/ 561975 h 1744979"/>
                  <a:gd name="connsiteX2166" fmla="*/ 1198245 w 1969770"/>
                  <a:gd name="connsiteY2166" fmla="*/ 557213 h 1744979"/>
                  <a:gd name="connsiteX2167" fmla="*/ 1204913 w 1969770"/>
                  <a:gd name="connsiteY2167" fmla="*/ 551498 h 1744979"/>
                  <a:gd name="connsiteX2168" fmla="*/ 1211580 w 1969770"/>
                  <a:gd name="connsiteY2168" fmla="*/ 545783 h 1744979"/>
                  <a:gd name="connsiteX2169" fmla="*/ 1217295 w 1969770"/>
                  <a:gd name="connsiteY2169" fmla="*/ 540068 h 1744979"/>
                  <a:gd name="connsiteX2170" fmla="*/ 1223010 w 1969770"/>
                  <a:gd name="connsiteY2170" fmla="*/ 534353 h 1744979"/>
                  <a:gd name="connsiteX2171" fmla="*/ 1227773 w 1969770"/>
                  <a:gd name="connsiteY2171" fmla="*/ 528638 h 1744979"/>
                  <a:gd name="connsiteX2172" fmla="*/ 1232535 w 1969770"/>
                  <a:gd name="connsiteY2172" fmla="*/ 521970 h 1744979"/>
                  <a:gd name="connsiteX2173" fmla="*/ 1236345 w 1969770"/>
                  <a:gd name="connsiteY2173" fmla="*/ 525780 h 1744979"/>
                  <a:gd name="connsiteX2174" fmla="*/ 1241108 w 1969770"/>
                  <a:gd name="connsiteY2174" fmla="*/ 529590 h 1744979"/>
                  <a:gd name="connsiteX2175" fmla="*/ 1244918 w 1969770"/>
                  <a:gd name="connsiteY2175" fmla="*/ 533400 h 1744979"/>
                  <a:gd name="connsiteX2176" fmla="*/ 1248728 w 1969770"/>
                  <a:gd name="connsiteY2176" fmla="*/ 537210 h 1744979"/>
                  <a:gd name="connsiteX2177" fmla="*/ 1247775 w 1969770"/>
                  <a:gd name="connsiteY2177" fmla="*/ 538163 h 1744979"/>
                  <a:gd name="connsiteX2178" fmla="*/ 1247775 w 1969770"/>
                  <a:gd name="connsiteY2178" fmla="*/ 538163 h 1744979"/>
                  <a:gd name="connsiteX2179" fmla="*/ 1248728 w 1969770"/>
                  <a:gd name="connsiteY2179" fmla="*/ 538163 h 1744979"/>
                  <a:gd name="connsiteX2180" fmla="*/ 1252538 w 1969770"/>
                  <a:gd name="connsiteY2180" fmla="*/ 541973 h 1744979"/>
                  <a:gd name="connsiteX2181" fmla="*/ 1173480 w 1969770"/>
                  <a:gd name="connsiteY2181" fmla="*/ 621030 h 1744979"/>
                  <a:gd name="connsiteX2182" fmla="*/ 1167765 w 1969770"/>
                  <a:gd name="connsiteY2182" fmla="*/ 616268 h 1744979"/>
                  <a:gd name="connsiteX2183" fmla="*/ 1162050 w 1969770"/>
                  <a:gd name="connsiteY2183" fmla="*/ 611505 h 1744979"/>
                  <a:gd name="connsiteX2184" fmla="*/ 1156335 w 1969770"/>
                  <a:gd name="connsiteY2184" fmla="*/ 606743 h 1744979"/>
                  <a:gd name="connsiteX2185" fmla="*/ 1150620 w 1969770"/>
                  <a:gd name="connsiteY2185" fmla="*/ 602933 h 1744979"/>
                  <a:gd name="connsiteX2186" fmla="*/ 1125855 w 1969770"/>
                  <a:gd name="connsiteY2186" fmla="*/ 610553 h 1744979"/>
                  <a:gd name="connsiteX2187" fmla="*/ 1134428 w 1969770"/>
                  <a:gd name="connsiteY2187" fmla="*/ 616268 h 1744979"/>
                  <a:gd name="connsiteX2188" fmla="*/ 1142048 w 1969770"/>
                  <a:gd name="connsiteY2188" fmla="*/ 622935 h 1744979"/>
                  <a:gd name="connsiteX2189" fmla="*/ 1152525 w 1969770"/>
                  <a:gd name="connsiteY2189" fmla="*/ 628650 h 1744979"/>
                  <a:gd name="connsiteX2190" fmla="*/ 1160145 w 1969770"/>
                  <a:gd name="connsiteY2190" fmla="*/ 635318 h 1744979"/>
                  <a:gd name="connsiteX2191" fmla="*/ 1129665 w 1969770"/>
                  <a:gd name="connsiteY2191" fmla="*/ 666750 h 1744979"/>
                  <a:gd name="connsiteX2192" fmla="*/ 1127760 w 1969770"/>
                  <a:gd name="connsiteY2192" fmla="*/ 664845 h 1744979"/>
                  <a:gd name="connsiteX2193" fmla="*/ 1093470 w 1969770"/>
                  <a:gd name="connsiteY2193" fmla="*/ 670560 h 1744979"/>
                  <a:gd name="connsiteX2194" fmla="*/ 1087755 w 1969770"/>
                  <a:gd name="connsiteY2194" fmla="*/ 679133 h 1744979"/>
                  <a:gd name="connsiteX2195" fmla="*/ 1080135 w 1969770"/>
                  <a:gd name="connsiteY2195" fmla="*/ 679133 h 1744979"/>
                  <a:gd name="connsiteX2196" fmla="*/ 1098233 w 1969770"/>
                  <a:gd name="connsiteY2196" fmla="*/ 661035 h 1744979"/>
                  <a:gd name="connsiteX2197" fmla="*/ 1093470 w 1969770"/>
                  <a:gd name="connsiteY2197" fmla="*/ 658178 h 1744979"/>
                  <a:gd name="connsiteX2198" fmla="*/ 1075373 w 1969770"/>
                  <a:gd name="connsiteY2198" fmla="*/ 681990 h 1744979"/>
                  <a:gd name="connsiteX2199" fmla="*/ 1080135 w 1969770"/>
                  <a:gd name="connsiteY2199" fmla="*/ 681990 h 1744979"/>
                  <a:gd name="connsiteX2200" fmla="*/ 1080135 w 1969770"/>
                  <a:gd name="connsiteY2200" fmla="*/ 690563 h 1744979"/>
                  <a:gd name="connsiteX2201" fmla="*/ 1085850 w 1969770"/>
                  <a:gd name="connsiteY2201" fmla="*/ 693420 h 1744979"/>
                  <a:gd name="connsiteX2202" fmla="*/ 1088708 w 1969770"/>
                  <a:gd name="connsiteY2202" fmla="*/ 701993 h 1744979"/>
                  <a:gd name="connsiteX2203" fmla="*/ 1076325 w 1969770"/>
                  <a:gd name="connsiteY2203" fmla="*/ 701993 h 1744979"/>
                  <a:gd name="connsiteX2204" fmla="*/ 1064895 w 1969770"/>
                  <a:gd name="connsiteY2204" fmla="*/ 701993 h 1744979"/>
                  <a:gd name="connsiteX2205" fmla="*/ 1036320 w 1969770"/>
                  <a:gd name="connsiteY2205" fmla="*/ 687705 h 1744979"/>
                  <a:gd name="connsiteX2206" fmla="*/ 1033463 w 1969770"/>
                  <a:gd name="connsiteY2206" fmla="*/ 803910 h 1744979"/>
                  <a:gd name="connsiteX2207" fmla="*/ 1059180 w 1969770"/>
                  <a:gd name="connsiteY2207" fmla="*/ 812483 h 1744979"/>
                  <a:gd name="connsiteX2208" fmla="*/ 1084898 w 1969770"/>
                  <a:gd name="connsiteY2208" fmla="*/ 823913 h 1744979"/>
                  <a:gd name="connsiteX2209" fmla="*/ 1107758 w 1969770"/>
                  <a:gd name="connsiteY2209" fmla="*/ 835343 h 1744979"/>
                  <a:gd name="connsiteX2210" fmla="*/ 1127760 w 1969770"/>
                  <a:gd name="connsiteY2210" fmla="*/ 852488 h 1744979"/>
                  <a:gd name="connsiteX2211" fmla="*/ 1147763 w 1969770"/>
                  <a:gd name="connsiteY2211" fmla="*/ 869633 h 1744979"/>
                  <a:gd name="connsiteX2212" fmla="*/ 1162050 w 1969770"/>
                  <a:gd name="connsiteY2212" fmla="*/ 892493 h 1744979"/>
                  <a:gd name="connsiteX2213" fmla="*/ 1170623 w 1969770"/>
                  <a:gd name="connsiteY2213" fmla="*/ 918210 h 1744979"/>
                  <a:gd name="connsiteX2214" fmla="*/ 1173480 w 1969770"/>
                  <a:gd name="connsiteY2214" fmla="*/ 932498 h 1744979"/>
                  <a:gd name="connsiteX2215" fmla="*/ 1173480 w 1969770"/>
                  <a:gd name="connsiteY2215" fmla="*/ 946785 h 1744979"/>
                  <a:gd name="connsiteX2216" fmla="*/ 1170623 w 1969770"/>
                  <a:gd name="connsiteY2216" fmla="*/ 975360 h 1744979"/>
                  <a:gd name="connsiteX2217" fmla="*/ 1162050 w 1969770"/>
                  <a:gd name="connsiteY2217" fmla="*/ 998220 h 1744979"/>
                  <a:gd name="connsiteX2218" fmla="*/ 1144905 w 1969770"/>
                  <a:gd name="connsiteY2218" fmla="*/ 1021080 h 1744979"/>
                  <a:gd name="connsiteX2219" fmla="*/ 1124903 w 1969770"/>
                  <a:gd name="connsiteY2219" fmla="*/ 1038225 h 1744979"/>
                  <a:gd name="connsiteX2220" fmla="*/ 1122045 w 1969770"/>
                  <a:gd name="connsiteY2220" fmla="*/ 1041083 h 1744979"/>
                  <a:gd name="connsiteX2221" fmla="*/ 1111568 w 1969770"/>
                  <a:gd name="connsiteY2221" fmla="*/ 1047750 h 1744979"/>
                  <a:gd name="connsiteX2222" fmla="*/ 1104900 w 1969770"/>
                  <a:gd name="connsiteY2222" fmla="*/ 1051560 h 1744979"/>
                  <a:gd name="connsiteX2223" fmla="*/ 1098233 w 1969770"/>
                  <a:gd name="connsiteY2223" fmla="*/ 1055370 h 1744979"/>
                  <a:gd name="connsiteX2224" fmla="*/ 1091565 w 1969770"/>
                  <a:gd name="connsiteY2224" fmla="*/ 1058228 h 1744979"/>
                  <a:gd name="connsiteX2225" fmla="*/ 1083945 w 1969770"/>
                  <a:gd name="connsiteY2225" fmla="*/ 1061085 h 1744979"/>
                  <a:gd name="connsiteX2226" fmla="*/ 1077278 w 1969770"/>
                  <a:gd name="connsiteY2226" fmla="*/ 1063943 h 1744979"/>
                  <a:gd name="connsiteX2227" fmla="*/ 1039178 w 1969770"/>
                  <a:gd name="connsiteY2227" fmla="*/ 1075373 h 1744979"/>
                  <a:gd name="connsiteX2228" fmla="*/ 1035368 w 1969770"/>
                  <a:gd name="connsiteY2228" fmla="*/ 1076325 h 1744979"/>
                  <a:gd name="connsiteX2229" fmla="*/ 1030605 w 1969770"/>
                  <a:gd name="connsiteY2229" fmla="*/ 1077278 h 1744979"/>
                  <a:gd name="connsiteX2230" fmla="*/ 1030605 w 1969770"/>
                  <a:gd name="connsiteY2230" fmla="*/ 1079183 h 1744979"/>
                  <a:gd name="connsiteX2231" fmla="*/ 1029653 w 1969770"/>
                  <a:gd name="connsiteY2231" fmla="*/ 1079183 h 1744979"/>
                  <a:gd name="connsiteX2232" fmla="*/ 1026795 w 1969770"/>
                  <a:gd name="connsiteY2232" fmla="*/ 1141095 h 1744979"/>
                  <a:gd name="connsiteX2233" fmla="*/ 1046798 w 1969770"/>
                  <a:gd name="connsiteY2233" fmla="*/ 1149668 h 1744979"/>
                  <a:gd name="connsiteX2234" fmla="*/ 1066800 w 1969770"/>
                  <a:gd name="connsiteY2234" fmla="*/ 1161098 h 1744979"/>
                  <a:gd name="connsiteX2235" fmla="*/ 1083945 w 1969770"/>
                  <a:gd name="connsiteY2235" fmla="*/ 1175385 h 1744979"/>
                  <a:gd name="connsiteX2236" fmla="*/ 1101090 w 1969770"/>
                  <a:gd name="connsiteY2236" fmla="*/ 1192530 h 1744979"/>
                  <a:gd name="connsiteX2237" fmla="*/ 1105853 w 1969770"/>
                  <a:gd name="connsiteY2237" fmla="*/ 1200150 h 1744979"/>
                  <a:gd name="connsiteX2238" fmla="*/ 1115378 w 1969770"/>
                  <a:gd name="connsiteY2238" fmla="*/ 1218248 h 1744979"/>
                  <a:gd name="connsiteX2239" fmla="*/ 1123950 w 1969770"/>
                  <a:gd name="connsiteY2239" fmla="*/ 1238250 h 1744979"/>
                  <a:gd name="connsiteX2240" fmla="*/ 1129665 w 1969770"/>
                  <a:gd name="connsiteY2240" fmla="*/ 1266825 h 1744979"/>
                  <a:gd name="connsiteX2241" fmla="*/ 1129665 w 1969770"/>
                  <a:gd name="connsiteY2241" fmla="*/ 1301115 h 1744979"/>
                  <a:gd name="connsiteX2242" fmla="*/ 1129665 w 1969770"/>
                  <a:gd name="connsiteY2242" fmla="*/ 1318260 h 1744979"/>
                  <a:gd name="connsiteX2243" fmla="*/ 1124903 w 1969770"/>
                  <a:gd name="connsiteY2243" fmla="*/ 1326833 h 1744979"/>
                  <a:gd name="connsiteX2244" fmla="*/ 1119188 w 1969770"/>
                  <a:gd name="connsiteY2244" fmla="*/ 1332548 h 1744979"/>
                  <a:gd name="connsiteX2245" fmla="*/ 1119188 w 1969770"/>
                  <a:gd name="connsiteY2245" fmla="*/ 1332548 h 1744979"/>
                  <a:gd name="connsiteX2246" fmla="*/ 1120140 w 1969770"/>
                  <a:gd name="connsiteY2246" fmla="*/ 1333500 h 1744979"/>
                  <a:gd name="connsiteX2247" fmla="*/ 1107758 w 1969770"/>
                  <a:gd name="connsiteY2247" fmla="*/ 1336358 h 1744979"/>
                  <a:gd name="connsiteX2248" fmla="*/ 1096328 w 1969770"/>
                  <a:gd name="connsiteY2248" fmla="*/ 1339215 h 1744979"/>
                  <a:gd name="connsiteX2249" fmla="*/ 1083945 w 1969770"/>
                  <a:gd name="connsiteY2249" fmla="*/ 1341120 h 1744979"/>
                  <a:gd name="connsiteX2250" fmla="*/ 1071563 w 1969770"/>
                  <a:gd name="connsiteY2250" fmla="*/ 1343025 h 1744979"/>
                  <a:gd name="connsiteX2251" fmla="*/ 1057275 w 1969770"/>
                  <a:gd name="connsiteY2251" fmla="*/ 1343025 h 1744979"/>
                  <a:gd name="connsiteX2252" fmla="*/ 1044893 w 1969770"/>
                  <a:gd name="connsiteY2252" fmla="*/ 1344930 h 1744979"/>
                  <a:gd name="connsiteX2253" fmla="*/ 1032510 w 1969770"/>
                  <a:gd name="connsiteY2253" fmla="*/ 1345883 h 1744979"/>
                  <a:gd name="connsiteX2254" fmla="*/ 1020128 w 1969770"/>
                  <a:gd name="connsiteY2254" fmla="*/ 1346835 h 1744979"/>
                  <a:gd name="connsiteX2255" fmla="*/ 1019175 w 1969770"/>
                  <a:gd name="connsiteY2255" fmla="*/ 1370648 h 1744979"/>
                  <a:gd name="connsiteX2256" fmla="*/ 1031558 w 1969770"/>
                  <a:gd name="connsiteY2256" fmla="*/ 1369695 h 1744979"/>
                  <a:gd name="connsiteX2257" fmla="*/ 1043940 w 1969770"/>
                  <a:gd name="connsiteY2257" fmla="*/ 1368743 h 1744979"/>
                  <a:gd name="connsiteX2258" fmla="*/ 1056323 w 1969770"/>
                  <a:gd name="connsiteY2258" fmla="*/ 1366838 h 1744979"/>
                  <a:gd name="connsiteX2259" fmla="*/ 1068705 w 1969770"/>
                  <a:gd name="connsiteY2259" fmla="*/ 1364933 h 1744979"/>
                  <a:gd name="connsiteX2260" fmla="*/ 1081088 w 1969770"/>
                  <a:gd name="connsiteY2260" fmla="*/ 1363028 h 1744979"/>
                  <a:gd name="connsiteX2261" fmla="*/ 1093470 w 1969770"/>
                  <a:gd name="connsiteY2261" fmla="*/ 1360170 h 1744979"/>
                  <a:gd name="connsiteX2262" fmla="*/ 1105853 w 1969770"/>
                  <a:gd name="connsiteY2262" fmla="*/ 1357313 h 1744979"/>
                  <a:gd name="connsiteX2263" fmla="*/ 1118235 w 1969770"/>
                  <a:gd name="connsiteY2263" fmla="*/ 1354455 h 1744979"/>
                  <a:gd name="connsiteX2264" fmla="*/ 1129665 w 1969770"/>
                  <a:gd name="connsiteY2264" fmla="*/ 1351598 h 1744979"/>
                  <a:gd name="connsiteX2265" fmla="*/ 1142048 w 1969770"/>
                  <a:gd name="connsiteY2265" fmla="*/ 1348740 h 1744979"/>
                  <a:gd name="connsiteX2266" fmla="*/ 1153478 w 1969770"/>
                  <a:gd name="connsiteY2266" fmla="*/ 1344930 h 1744979"/>
                  <a:gd name="connsiteX2267" fmla="*/ 1164908 w 1969770"/>
                  <a:gd name="connsiteY2267" fmla="*/ 1341120 h 1744979"/>
                  <a:gd name="connsiteX2268" fmla="*/ 1176338 w 1969770"/>
                  <a:gd name="connsiteY2268" fmla="*/ 1337310 h 1744979"/>
                  <a:gd name="connsiteX2269" fmla="*/ 1187768 w 1969770"/>
                  <a:gd name="connsiteY2269" fmla="*/ 1333500 h 1744979"/>
                  <a:gd name="connsiteX2270" fmla="*/ 1199198 w 1969770"/>
                  <a:gd name="connsiteY2270" fmla="*/ 1328738 h 1744979"/>
                  <a:gd name="connsiteX2271" fmla="*/ 1209675 w 1969770"/>
                  <a:gd name="connsiteY2271" fmla="*/ 1323975 h 1744979"/>
                  <a:gd name="connsiteX2272" fmla="*/ 1220153 w 1969770"/>
                  <a:gd name="connsiteY2272" fmla="*/ 1319213 h 1744979"/>
                  <a:gd name="connsiteX2273" fmla="*/ 1230630 w 1969770"/>
                  <a:gd name="connsiteY2273" fmla="*/ 1313498 h 1744979"/>
                  <a:gd name="connsiteX2274" fmla="*/ 1241108 w 1969770"/>
                  <a:gd name="connsiteY2274" fmla="*/ 1307783 h 1744979"/>
                  <a:gd name="connsiteX2275" fmla="*/ 1251585 w 1969770"/>
                  <a:gd name="connsiteY2275" fmla="*/ 1302068 h 1744979"/>
                  <a:gd name="connsiteX2276" fmla="*/ 1262063 w 1969770"/>
                  <a:gd name="connsiteY2276" fmla="*/ 1296353 h 1744979"/>
                  <a:gd name="connsiteX2277" fmla="*/ 1272540 w 1969770"/>
                  <a:gd name="connsiteY2277" fmla="*/ 1289685 h 1744979"/>
                  <a:gd name="connsiteX2278" fmla="*/ 1282065 w 1969770"/>
                  <a:gd name="connsiteY2278" fmla="*/ 1283018 h 1744979"/>
                  <a:gd name="connsiteX2279" fmla="*/ 1292543 w 1969770"/>
                  <a:gd name="connsiteY2279" fmla="*/ 1276350 h 1744979"/>
                  <a:gd name="connsiteX2280" fmla="*/ 1302068 w 1969770"/>
                  <a:gd name="connsiteY2280" fmla="*/ 1269683 h 1744979"/>
                  <a:gd name="connsiteX2281" fmla="*/ 1311593 w 1969770"/>
                  <a:gd name="connsiteY2281" fmla="*/ 1263015 h 1744979"/>
                  <a:gd name="connsiteX2282" fmla="*/ 1321118 w 1969770"/>
                  <a:gd name="connsiteY2282" fmla="*/ 1256348 h 1744979"/>
                  <a:gd name="connsiteX2283" fmla="*/ 1330643 w 1969770"/>
                  <a:gd name="connsiteY2283" fmla="*/ 1248728 h 1744979"/>
                  <a:gd name="connsiteX2284" fmla="*/ 1340168 w 1969770"/>
                  <a:gd name="connsiteY2284" fmla="*/ 1241108 h 1744979"/>
                  <a:gd name="connsiteX2285" fmla="*/ 1349693 w 1969770"/>
                  <a:gd name="connsiteY2285" fmla="*/ 1233488 h 1744979"/>
                  <a:gd name="connsiteX2286" fmla="*/ 1358265 w 1969770"/>
                  <a:gd name="connsiteY2286" fmla="*/ 1225868 h 1744979"/>
                  <a:gd name="connsiteX2287" fmla="*/ 1366838 w 1969770"/>
                  <a:gd name="connsiteY2287" fmla="*/ 1217295 h 1744979"/>
                  <a:gd name="connsiteX2288" fmla="*/ 1444943 w 1969770"/>
                  <a:gd name="connsiteY2288" fmla="*/ 1295400 h 1744979"/>
                  <a:gd name="connsiteX2289" fmla="*/ 1433513 w 1969770"/>
                  <a:gd name="connsiteY2289" fmla="*/ 1305878 h 1744979"/>
                  <a:gd name="connsiteX2290" fmla="*/ 1422083 w 1969770"/>
                  <a:gd name="connsiteY2290" fmla="*/ 1316355 h 1744979"/>
                  <a:gd name="connsiteX2291" fmla="*/ 1410653 w 1969770"/>
                  <a:gd name="connsiteY2291" fmla="*/ 1326833 h 1744979"/>
                  <a:gd name="connsiteX2292" fmla="*/ 1398270 w 1969770"/>
                  <a:gd name="connsiteY2292" fmla="*/ 1336358 h 1744979"/>
                  <a:gd name="connsiteX2293" fmla="*/ 1385888 w 1969770"/>
                  <a:gd name="connsiteY2293" fmla="*/ 1345883 h 1744979"/>
                  <a:gd name="connsiteX2294" fmla="*/ 1373505 w 1969770"/>
                  <a:gd name="connsiteY2294" fmla="*/ 1355408 h 1744979"/>
                  <a:gd name="connsiteX2295" fmla="*/ 1361123 w 1969770"/>
                  <a:gd name="connsiteY2295" fmla="*/ 1364933 h 1744979"/>
                  <a:gd name="connsiteX2296" fmla="*/ 1348740 w 1969770"/>
                  <a:gd name="connsiteY2296" fmla="*/ 1373505 h 1744979"/>
                  <a:gd name="connsiteX2297" fmla="*/ 1335405 w 1969770"/>
                  <a:gd name="connsiteY2297" fmla="*/ 1382078 h 1744979"/>
                  <a:gd name="connsiteX2298" fmla="*/ 1322070 w 1969770"/>
                  <a:gd name="connsiteY2298" fmla="*/ 1389698 h 1744979"/>
                  <a:gd name="connsiteX2299" fmla="*/ 1308735 w 1969770"/>
                  <a:gd name="connsiteY2299" fmla="*/ 1397318 h 1744979"/>
                  <a:gd name="connsiteX2300" fmla="*/ 1295400 w 1969770"/>
                  <a:gd name="connsiteY2300" fmla="*/ 1404938 h 1744979"/>
                  <a:gd name="connsiteX2301" fmla="*/ 1281113 w 1969770"/>
                  <a:gd name="connsiteY2301" fmla="*/ 1411605 h 1744979"/>
                  <a:gd name="connsiteX2302" fmla="*/ 1266825 w 1969770"/>
                  <a:gd name="connsiteY2302" fmla="*/ 1418273 h 1744979"/>
                  <a:gd name="connsiteX2303" fmla="*/ 1252538 w 1969770"/>
                  <a:gd name="connsiteY2303" fmla="*/ 1424940 h 1744979"/>
                  <a:gd name="connsiteX2304" fmla="*/ 1238250 w 1969770"/>
                  <a:gd name="connsiteY2304" fmla="*/ 1430655 h 1744979"/>
                  <a:gd name="connsiteX2305" fmla="*/ 1223963 w 1969770"/>
                  <a:gd name="connsiteY2305" fmla="*/ 1436370 h 1744979"/>
                  <a:gd name="connsiteX2306" fmla="*/ 1209675 w 1969770"/>
                  <a:gd name="connsiteY2306" fmla="*/ 1442085 h 1744979"/>
                  <a:gd name="connsiteX2307" fmla="*/ 1194435 w 1969770"/>
                  <a:gd name="connsiteY2307" fmla="*/ 1447800 h 1744979"/>
                  <a:gd name="connsiteX2308" fmla="*/ 1179195 w 1969770"/>
                  <a:gd name="connsiteY2308" fmla="*/ 1452563 h 1744979"/>
                  <a:gd name="connsiteX2309" fmla="*/ 1163955 w 1969770"/>
                  <a:gd name="connsiteY2309" fmla="*/ 1456373 h 1744979"/>
                  <a:gd name="connsiteX2310" fmla="*/ 1148715 w 1969770"/>
                  <a:gd name="connsiteY2310" fmla="*/ 1460183 h 1744979"/>
                  <a:gd name="connsiteX2311" fmla="*/ 1133475 w 1969770"/>
                  <a:gd name="connsiteY2311" fmla="*/ 1463993 h 1744979"/>
                  <a:gd name="connsiteX2312" fmla="*/ 1117283 w 1969770"/>
                  <a:gd name="connsiteY2312" fmla="*/ 1466850 h 1744979"/>
                  <a:gd name="connsiteX2313" fmla="*/ 1101090 w 1969770"/>
                  <a:gd name="connsiteY2313" fmla="*/ 1469708 h 1744979"/>
                  <a:gd name="connsiteX2314" fmla="*/ 1084898 w 1969770"/>
                  <a:gd name="connsiteY2314" fmla="*/ 1472565 h 1744979"/>
                  <a:gd name="connsiteX2315" fmla="*/ 1068705 w 1969770"/>
                  <a:gd name="connsiteY2315" fmla="*/ 1474470 h 1744979"/>
                  <a:gd name="connsiteX2316" fmla="*/ 1052513 w 1969770"/>
                  <a:gd name="connsiteY2316" fmla="*/ 1476375 h 1744979"/>
                  <a:gd name="connsiteX2317" fmla="*/ 1036320 w 1969770"/>
                  <a:gd name="connsiteY2317" fmla="*/ 1478280 h 1744979"/>
                  <a:gd name="connsiteX2318" fmla="*/ 1020128 w 1969770"/>
                  <a:gd name="connsiteY2318" fmla="*/ 1479233 h 1744979"/>
                  <a:gd name="connsiteX2319" fmla="*/ 1003935 w 1969770"/>
                  <a:gd name="connsiteY2319" fmla="*/ 1480185 h 1744979"/>
                  <a:gd name="connsiteX2320" fmla="*/ 986790 w 1969770"/>
                  <a:gd name="connsiteY2320" fmla="*/ 1480185 h 1744979"/>
                  <a:gd name="connsiteX2321" fmla="*/ 970598 w 1969770"/>
                  <a:gd name="connsiteY2321" fmla="*/ 1480185 h 1744979"/>
                  <a:gd name="connsiteX2322" fmla="*/ 954405 w 1969770"/>
                  <a:gd name="connsiteY2322" fmla="*/ 1479233 h 1744979"/>
                  <a:gd name="connsiteX2323" fmla="*/ 938213 w 1969770"/>
                  <a:gd name="connsiteY2323" fmla="*/ 1478280 h 1744979"/>
                  <a:gd name="connsiteX2324" fmla="*/ 922020 w 1969770"/>
                  <a:gd name="connsiteY2324" fmla="*/ 1477328 h 1744979"/>
                  <a:gd name="connsiteX2325" fmla="*/ 905828 w 1969770"/>
                  <a:gd name="connsiteY2325" fmla="*/ 1475423 h 1744979"/>
                  <a:gd name="connsiteX2326" fmla="*/ 889635 w 1969770"/>
                  <a:gd name="connsiteY2326" fmla="*/ 1472565 h 1744979"/>
                  <a:gd name="connsiteX2327" fmla="*/ 873443 w 1969770"/>
                  <a:gd name="connsiteY2327" fmla="*/ 1469708 h 1744979"/>
                  <a:gd name="connsiteX2328" fmla="*/ 858203 w 1969770"/>
                  <a:gd name="connsiteY2328" fmla="*/ 1466850 h 1744979"/>
                  <a:gd name="connsiteX2329" fmla="*/ 842010 w 1969770"/>
                  <a:gd name="connsiteY2329" fmla="*/ 1463040 h 1744979"/>
                  <a:gd name="connsiteX2330" fmla="*/ 826770 w 1969770"/>
                  <a:gd name="connsiteY2330" fmla="*/ 1459230 h 1744979"/>
                  <a:gd name="connsiteX2331" fmla="*/ 811530 w 1969770"/>
                  <a:gd name="connsiteY2331" fmla="*/ 1455420 h 1744979"/>
                  <a:gd name="connsiteX2332" fmla="*/ 796290 w 1969770"/>
                  <a:gd name="connsiteY2332" fmla="*/ 1451610 h 1744979"/>
                  <a:gd name="connsiteX2333" fmla="*/ 782003 w 1969770"/>
                  <a:gd name="connsiteY2333" fmla="*/ 1446848 h 1744979"/>
                  <a:gd name="connsiteX2334" fmla="*/ 766763 w 1969770"/>
                  <a:gd name="connsiteY2334" fmla="*/ 1441133 h 1744979"/>
                  <a:gd name="connsiteX2335" fmla="*/ 751523 w 1969770"/>
                  <a:gd name="connsiteY2335" fmla="*/ 1435418 h 1744979"/>
                  <a:gd name="connsiteX2336" fmla="*/ 737235 w 1969770"/>
                  <a:gd name="connsiteY2336" fmla="*/ 1429703 h 1744979"/>
                  <a:gd name="connsiteX2337" fmla="*/ 722948 w 1969770"/>
                  <a:gd name="connsiteY2337" fmla="*/ 1423988 h 1744979"/>
                  <a:gd name="connsiteX2338" fmla="*/ 708660 w 1969770"/>
                  <a:gd name="connsiteY2338" fmla="*/ 1417320 h 1744979"/>
                  <a:gd name="connsiteX2339" fmla="*/ 694373 w 1969770"/>
                  <a:gd name="connsiteY2339" fmla="*/ 1410653 h 1744979"/>
                  <a:gd name="connsiteX2340" fmla="*/ 681038 w 1969770"/>
                  <a:gd name="connsiteY2340" fmla="*/ 1403985 h 1744979"/>
                  <a:gd name="connsiteX2341" fmla="*/ 667703 w 1969770"/>
                  <a:gd name="connsiteY2341" fmla="*/ 1396365 h 1744979"/>
                  <a:gd name="connsiteX2342" fmla="*/ 654368 w 1969770"/>
                  <a:gd name="connsiteY2342" fmla="*/ 1388745 h 1744979"/>
                  <a:gd name="connsiteX2343" fmla="*/ 641033 w 1969770"/>
                  <a:gd name="connsiteY2343" fmla="*/ 1381125 h 1744979"/>
                  <a:gd name="connsiteX2344" fmla="*/ 627698 w 1969770"/>
                  <a:gd name="connsiteY2344" fmla="*/ 1372553 h 1744979"/>
                  <a:gd name="connsiteX2345" fmla="*/ 614363 w 1969770"/>
                  <a:gd name="connsiteY2345" fmla="*/ 1363980 h 1744979"/>
                  <a:gd name="connsiteX2346" fmla="*/ 601980 w 1969770"/>
                  <a:gd name="connsiteY2346" fmla="*/ 1355408 h 1744979"/>
                  <a:gd name="connsiteX2347" fmla="*/ 589598 w 1969770"/>
                  <a:gd name="connsiteY2347" fmla="*/ 1345883 h 1744979"/>
                  <a:gd name="connsiteX2348" fmla="*/ 577215 w 1969770"/>
                  <a:gd name="connsiteY2348" fmla="*/ 1336358 h 1744979"/>
                  <a:gd name="connsiteX2349" fmla="*/ 564833 w 1969770"/>
                  <a:gd name="connsiteY2349" fmla="*/ 1326833 h 1744979"/>
                  <a:gd name="connsiteX2350" fmla="*/ 552450 w 1969770"/>
                  <a:gd name="connsiteY2350" fmla="*/ 1317308 h 1744979"/>
                  <a:gd name="connsiteX2351" fmla="*/ 541020 w 1969770"/>
                  <a:gd name="connsiteY2351" fmla="*/ 1306830 h 1744979"/>
                  <a:gd name="connsiteX2352" fmla="*/ 529590 w 1969770"/>
                  <a:gd name="connsiteY2352" fmla="*/ 1296353 h 1744979"/>
                  <a:gd name="connsiteX2353" fmla="*/ 607695 w 1969770"/>
                  <a:gd name="connsiteY2353" fmla="*/ 1218248 h 1744979"/>
                  <a:gd name="connsiteX2354" fmla="*/ 616268 w 1969770"/>
                  <a:gd name="connsiteY2354" fmla="*/ 1225868 h 1744979"/>
                  <a:gd name="connsiteX2355" fmla="*/ 624840 w 1969770"/>
                  <a:gd name="connsiteY2355" fmla="*/ 1233488 h 1744979"/>
                  <a:gd name="connsiteX2356" fmla="*/ 633413 w 1969770"/>
                  <a:gd name="connsiteY2356" fmla="*/ 1241108 h 1744979"/>
                  <a:gd name="connsiteX2357" fmla="*/ 641985 w 1969770"/>
                  <a:gd name="connsiteY2357" fmla="*/ 1247775 h 1744979"/>
                  <a:gd name="connsiteX2358" fmla="*/ 650558 w 1969770"/>
                  <a:gd name="connsiteY2358" fmla="*/ 1254443 h 1744979"/>
                  <a:gd name="connsiteX2359" fmla="*/ 660083 w 1969770"/>
                  <a:gd name="connsiteY2359" fmla="*/ 1261110 h 1744979"/>
                  <a:gd name="connsiteX2360" fmla="*/ 668655 w 1969770"/>
                  <a:gd name="connsiteY2360" fmla="*/ 1267778 h 1744979"/>
                  <a:gd name="connsiteX2361" fmla="*/ 678180 w 1969770"/>
                  <a:gd name="connsiteY2361" fmla="*/ 1274445 h 1744979"/>
                  <a:gd name="connsiteX2362" fmla="*/ 687705 w 1969770"/>
                  <a:gd name="connsiteY2362" fmla="*/ 1281113 h 1744979"/>
                  <a:gd name="connsiteX2363" fmla="*/ 697230 w 1969770"/>
                  <a:gd name="connsiteY2363" fmla="*/ 1286828 h 1744979"/>
                  <a:gd name="connsiteX2364" fmla="*/ 706755 w 1969770"/>
                  <a:gd name="connsiteY2364" fmla="*/ 1292543 h 1744979"/>
                  <a:gd name="connsiteX2365" fmla="*/ 716280 w 1969770"/>
                  <a:gd name="connsiteY2365" fmla="*/ 1298258 h 1744979"/>
                  <a:gd name="connsiteX2366" fmla="*/ 725805 w 1969770"/>
                  <a:gd name="connsiteY2366" fmla="*/ 1303973 h 1744979"/>
                  <a:gd name="connsiteX2367" fmla="*/ 735330 w 1969770"/>
                  <a:gd name="connsiteY2367" fmla="*/ 1309688 h 1744979"/>
                  <a:gd name="connsiteX2368" fmla="*/ 745808 w 1969770"/>
                  <a:gd name="connsiteY2368" fmla="*/ 1314450 h 1744979"/>
                  <a:gd name="connsiteX2369" fmla="*/ 756285 w 1969770"/>
                  <a:gd name="connsiteY2369" fmla="*/ 1319213 h 1744979"/>
                  <a:gd name="connsiteX2370" fmla="*/ 766763 w 1969770"/>
                  <a:gd name="connsiteY2370" fmla="*/ 1323975 h 1744979"/>
                  <a:gd name="connsiteX2371" fmla="*/ 777240 w 1969770"/>
                  <a:gd name="connsiteY2371" fmla="*/ 1328738 h 1744979"/>
                  <a:gd name="connsiteX2372" fmla="*/ 787718 w 1969770"/>
                  <a:gd name="connsiteY2372" fmla="*/ 1332548 h 1744979"/>
                  <a:gd name="connsiteX2373" fmla="*/ 798195 w 1969770"/>
                  <a:gd name="connsiteY2373" fmla="*/ 1336358 h 1744979"/>
                  <a:gd name="connsiteX2374" fmla="*/ 809625 w 1969770"/>
                  <a:gd name="connsiteY2374" fmla="*/ 1343025 h 1744979"/>
                  <a:gd name="connsiteX2375" fmla="*/ 820103 w 1969770"/>
                  <a:gd name="connsiteY2375" fmla="*/ 1346835 h 1744979"/>
                  <a:gd name="connsiteX2376" fmla="*/ 830580 w 1969770"/>
                  <a:gd name="connsiteY2376" fmla="*/ 1350645 h 1744979"/>
                  <a:gd name="connsiteX2377" fmla="*/ 842010 w 1969770"/>
                  <a:gd name="connsiteY2377" fmla="*/ 1353503 h 1744979"/>
                  <a:gd name="connsiteX2378" fmla="*/ 853440 w 1969770"/>
                  <a:gd name="connsiteY2378" fmla="*/ 1356360 h 1744979"/>
                  <a:gd name="connsiteX2379" fmla="*/ 864870 w 1969770"/>
                  <a:gd name="connsiteY2379" fmla="*/ 1359218 h 1744979"/>
                  <a:gd name="connsiteX2380" fmla="*/ 876300 w 1969770"/>
                  <a:gd name="connsiteY2380" fmla="*/ 1362075 h 1744979"/>
                  <a:gd name="connsiteX2381" fmla="*/ 887730 w 1969770"/>
                  <a:gd name="connsiteY2381" fmla="*/ 1363980 h 1744979"/>
                  <a:gd name="connsiteX2382" fmla="*/ 899160 w 1969770"/>
                  <a:gd name="connsiteY2382" fmla="*/ 1365885 h 1744979"/>
                  <a:gd name="connsiteX2383" fmla="*/ 910590 w 1969770"/>
                  <a:gd name="connsiteY2383" fmla="*/ 1367790 h 1744979"/>
                  <a:gd name="connsiteX2384" fmla="*/ 922020 w 1969770"/>
                  <a:gd name="connsiteY2384" fmla="*/ 1369695 h 1744979"/>
                  <a:gd name="connsiteX2385" fmla="*/ 934403 w 1969770"/>
                  <a:gd name="connsiteY2385" fmla="*/ 1370648 h 1744979"/>
                  <a:gd name="connsiteX2386" fmla="*/ 934403 w 1969770"/>
                  <a:gd name="connsiteY2386" fmla="*/ 1346835 h 1744979"/>
                  <a:gd name="connsiteX2387" fmla="*/ 923925 w 1969770"/>
                  <a:gd name="connsiteY2387" fmla="*/ 1345883 h 1744979"/>
                  <a:gd name="connsiteX2388" fmla="*/ 912495 w 1969770"/>
                  <a:gd name="connsiteY2388" fmla="*/ 1343978 h 1744979"/>
                  <a:gd name="connsiteX2389" fmla="*/ 902018 w 1969770"/>
                  <a:gd name="connsiteY2389" fmla="*/ 1342073 h 1744979"/>
                  <a:gd name="connsiteX2390" fmla="*/ 890588 w 1969770"/>
                  <a:gd name="connsiteY2390" fmla="*/ 1340168 h 1744979"/>
                  <a:gd name="connsiteX2391" fmla="*/ 880110 w 1969770"/>
                  <a:gd name="connsiteY2391" fmla="*/ 1338263 h 1744979"/>
                  <a:gd name="connsiteX2392" fmla="*/ 869633 w 1969770"/>
                  <a:gd name="connsiteY2392" fmla="*/ 1336358 h 1744979"/>
                  <a:gd name="connsiteX2393" fmla="*/ 859155 w 1969770"/>
                  <a:gd name="connsiteY2393" fmla="*/ 1333500 h 1744979"/>
                  <a:gd name="connsiteX2394" fmla="*/ 848678 w 1969770"/>
                  <a:gd name="connsiteY2394" fmla="*/ 1330643 h 1744979"/>
                  <a:gd name="connsiteX2395" fmla="*/ 838200 w 1969770"/>
                  <a:gd name="connsiteY2395" fmla="*/ 1327785 h 1744979"/>
                  <a:gd name="connsiteX2396" fmla="*/ 827723 w 1969770"/>
                  <a:gd name="connsiteY2396" fmla="*/ 1324928 h 1744979"/>
                  <a:gd name="connsiteX2397" fmla="*/ 817245 w 1969770"/>
                  <a:gd name="connsiteY2397" fmla="*/ 1321118 h 1744979"/>
                  <a:gd name="connsiteX2398" fmla="*/ 806768 w 1969770"/>
                  <a:gd name="connsiteY2398" fmla="*/ 1317308 h 1744979"/>
                  <a:gd name="connsiteX2399" fmla="*/ 796290 w 1969770"/>
                  <a:gd name="connsiteY2399" fmla="*/ 1313498 h 1744979"/>
                  <a:gd name="connsiteX2400" fmla="*/ 785813 w 1969770"/>
                  <a:gd name="connsiteY2400" fmla="*/ 1309688 h 1744979"/>
                  <a:gd name="connsiteX2401" fmla="*/ 776288 w 1969770"/>
                  <a:gd name="connsiteY2401" fmla="*/ 1305878 h 1744979"/>
                  <a:gd name="connsiteX2402" fmla="*/ 766763 w 1969770"/>
                  <a:gd name="connsiteY2402" fmla="*/ 1301115 h 1744979"/>
                  <a:gd name="connsiteX2403" fmla="*/ 757238 w 1969770"/>
                  <a:gd name="connsiteY2403" fmla="*/ 1296353 h 1744979"/>
                  <a:gd name="connsiteX2404" fmla="*/ 747713 w 1969770"/>
                  <a:gd name="connsiteY2404" fmla="*/ 1291590 h 1744979"/>
                  <a:gd name="connsiteX2405" fmla="*/ 738188 w 1969770"/>
                  <a:gd name="connsiteY2405" fmla="*/ 1286828 h 1744979"/>
                  <a:gd name="connsiteX2406" fmla="*/ 728663 w 1969770"/>
                  <a:gd name="connsiteY2406" fmla="*/ 1281113 h 1744979"/>
                  <a:gd name="connsiteX2407" fmla="*/ 719138 w 1969770"/>
                  <a:gd name="connsiteY2407" fmla="*/ 1275398 h 1744979"/>
                  <a:gd name="connsiteX2408" fmla="*/ 709613 w 1969770"/>
                  <a:gd name="connsiteY2408" fmla="*/ 1269683 h 1744979"/>
                  <a:gd name="connsiteX2409" fmla="*/ 700088 w 1969770"/>
                  <a:gd name="connsiteY2409" fmla="*/ 1263968 h 1744979"/>
                  <a:gd name="connsiteX2410" fmla="*/ 691515 w 1969770"/>
                  <a:gd name="connsiteY2410" fmla="*/ 1258253 h 1744979"/>
                  <a:gd name="connsiteX2411" fmla="*/ 682943 w 1969770"/>
                  <a:gd name="connsiteY2411" fmla="*/ 1251585 h 1744979"/>
                  <a:gd name="connsiteX2412" fmla="*/ 674370 w 1969770"/>
                  <a:gd name="connsiteY2412" fmla="*/ 1245870 h 1744979"/>
                  <a:gd name="connsiteX2413" fmla="*/ 665798 w 1969770"/>
                  <a:gd name="connsiteY2413" fmla="*/ 1239203 h 1744979"/>
                  <a:gd name="connsiteX2414" fmla="*/ 657225 w 1969770"/>
                  <a:gd name="connsiteY2414" fmla="*/ 1232535 h 1744979"/>
                  <a:gd name="connsiteX2415" fmla="*/ 648653 w 1969770"/>
                  <a:gd name="connsiteY2415" fmla="*/ 1225868 h 1744979"/>
                  <a:gd name="connsiteX2416" fmla="*/ 640080 w 1969770"/>
                  <a:gd name="connsiteY2416" fmla="*/ 1219200 h 1744979"/>
                  <a:gd name="connsiteX2417" fmla="*/ 632460 w 1969770"/>
                  <a:gd name="connsiteY2417" fmla="*/ 1212533 h 1744979"/>
                  <a:gd name="connsiteX2418" fmla="*/ 624840 w 1969770"/>
                  <a:gd name="connsiteY2418" fmla="*/ 1205865 h 1744979"/>
                  <a:gd name="connsiteX2419" fmla="*/ 644843 w 1969770"/>
                  <a:gd name="connsiteY2419" fmla="*/ 1185863 h 1744979"/>
                  <a:gd name="connsiteX2420" fmla="*/ 645795 w 1969770"/>
                  <a:gd name="connsiteY2420" fmla="*/ 1186815 h 1744979"/>
                  <a:gd name="connsiteX2421" fmla="*/ 674370 w 1969770"/>
                  <a:gd name="connsiteY2421" fmla="*/ 1189673 h 1744979"/>
                  <a:gd name="connsiteX2422" fmla="*/ 688658 w 1969770"/>
                  <a:gd name="connsiteY2422" fmla="*/ 1172528 h 1744979"/>
                  <a:gd name="connsiteX2423" fmla="*/ 728663 w 1969770"/>
                  <a:gd name="connsiteY2423" fmla="*/ 1175385 h 1744979"/>
                  <a:gd name="connsiteX2424" fmla="*/ 734378 w 1969770"/>
                  <a:gd name="connsiteY2424" fmla="*/ 1161098 h 1744979"/>
                  <a:gd name="connsiteX2425" fmla="*/ 734378 w 1969770"/>
                  <a:gd name="connsiteY2425" fmla="*/ 1155383 h 1744979"/>
                  <a:gd name="connsiteX2426" fmla="*/ 735330 w 1969770"/>
                  <a:gd name="connsiteY2426" fmla="*/ 1156335 h 1744979"/>
                  <a:gd name="connsiteX2427" fmla="*/ 735330 w 1969770"/>
                  <a:gd name="connsiteY2427" fmla="*/ 1155383 h 1744979"/>
                  <a:gd name="connsiteX2428" fmla="*/ 735330 w 1969770"/>
                  <a:gd name="connsiteY2428" fmla="*/ 1155383 h 1744979"/>
                  <a:gd name="connsiteX2429" fmla="*/ 745808 w 1969770"/>
                  <a:gd name="connsiteY2429" fmla="*/ 1163003 h 1744979"/>
                  <a:gd name="connsiteX2430" fmla="*/ 756285 w 1969770"/>
                  <a:gd name="connsiteY2430" fmla="*/ 1170623 h 1744979"/>
                  <a:gd name="connsiteX2431" fmla="*/ 767715 w 1969770"/>
                  <a:gd name="connsiteY2431" fmla="*/ 1177290 h 1744979"/>
                  <a:gd name="connsiteX2432" fmla="*/ 779145 w 1969770"/>
                  <a:gd name="connsiteY2432" fmla="*/ 1183958 h 1744979"/>
                  <a:gd name="connsiteX2433" fmla="*/ 790575 w 1969770"/>
                  <a:gd name="connsiteY2433" fmla="*/ 1190625 h 1744979"/>
                  <a:gd name="connsiteX2434" fmla="*/ 802005 w 1969770"/>
                  <a:gd name="connsiteY2434" fmla="*/ 1197293 h 1744979"/>
                  <a:gd name="connsiteX2435" fmla="*/ 814388 w 1969770"/>
                  <a:gd name="connsiteY2435" fmla="*/ 1203008 h 1744979"/>
                  <a:gd name="connsiteX2436" fmla="*/ 826770 w 1969770"/>
                  <a:gd name="connsiteY2436" fmla="*/ 1207770 h 1744979"/>
                  <a:gd name="connsiteX2437" fmla="*/ 839153 w 1969770"/>
                  <a:gd name="connsiteY2437" fmla="*/ 1212533 h 1744979"/>
                  <a:gd name="connsiteX2438" fmla="*/ 851535 w 1969770"/>
                  <a:gd name="connsiteY2438" fmla="*/ 1217295 h 1744979"/>
                  <a:gd name="connsiteX2439" fmla="*/ 864870 w 1969770"/>
                  <a:gd name="connsiteY2439" fmla="*/ 1221105 h 1744979"/>
                  <a:gd name="connsiteX2440" fmla="*/ 877253 w 1969770"/>
                  <a:gd name="connsiteY2440" fmla="*/ 1224915 h 1744979"/>
                  <a:gd name="connsiteX2441" fmla="*/ 890588 w 1969770"/>
                  <a:gd name="connsiteY2441" fmla="*/ 1228725 h 1744979"/>
                  <a:gd name="connsiteX2442" fmla="*/ 903923 w 1969770"/>
                  <a:gd name="connsiteY2442" fmla="*/ 1231583 h 1744979"/>
                  <a:gd name="connsiteX2443" fmla="*/ 917258 w 1969770"/>
                  <a:gd name="connsiteY2443" fmla="*/ 1233488 h 1744979"/>
                  <a:gd name="connsiteX2444" fmla="*/ 931545 w 1969770"/>
                  <a:gd name="connsiteY2444" fmla="*/ 1235393 h 1744979"/>
                  <a:gd name="connsiteX2445" fmla="*/ 931545 w 1969770"/>
                  <a:gd name="connsiteY2445" fmla="*/ 1210628 h 1744979"/>
                  <a:gd name="connsiteX2446" fmla="*/ 916305 w 1969770"/>
                  <a:gd name="connsiteY2446" fmla="*/ 1207770 h 1744979"/>
                  <a:gd name="connsiteX2447" fmla="*/ 901065 w 1969770"/>
                  <a:gd name="connsiteY2447" fmla="*/ 1204913 h 1744979"/>
                  <a:gd name="connsiteX2448" fmla="*/ 885825 w 1969770"/>
                  <a:gd name="connsiteY2448" fmla="*/ 1201103 h 1744979"/>
                  <a:gd name="connsiteX2449" fmla="*/ 871538 w 1969770"/>
                  <a:gd name="connsiteY2449" fmla="*/ 1197293 h 1744979"/>
                  <a:gd name="connsiteX2450" fmla="*/ 857250 w 1969770"/>
                  <a:gd name="connsiteY2450" fmla="*/ 1192530 h 1744979"/>
                  <a:gd name="connsiteX2451" fmla="*/ 842963 w 1969770"/>
                  <a:gd name="connsiteY2451" fmla="*/ 1187768 h 1744979"/>
                  <a:gd name="connsiteX2452" fmla="*/ 828675 w 1969770"/>
                  <a:gd name="connsiteY2452" fmla="*/ 1182053 h 1744979"/>
                  <a:gd name="connsiteX2453" fmla="*/ 814388 w 1969770"/>
                  <a:gd name="connsiteY2453" fmla="*/ 1175385 h 1744979"/>
                  <a:gd name="connsiteX2454" fmla="*/ 801053 w 1969770"/>
                  <a:gd name="connsiteY2454" fmla="*/ 1168718 h 1744979"/>
                  <a:gd name="connsiteX2455" fmla="*/ 787718 w 1969770"/>
                  <a:gd name="connsiteY2455" fmla="*/ 1162050 h 1744979"/>
                  <a:gd name="connsiteX2456" fmla="*/ 775335 w 1969770"/>
                  <a:gd name="connsiteY2456" fmla="*/ 1154430 h 1744979"/>
                  <a:gd name="connsiteX2457" fmla="*/ 762953 w 1969770"/>
                  <a:gd name="connsiteY2457" fmla="*/ 1145858 h 1744979"/>
                  <a:gd name="connsiteX2458" fmla="*/ 750570 w 1969770"/>
                  <a:gd name="connsiteY2458" fmla="*/ 1137285 h 1744979"/>
                  <a:gd name="connsiteX2459" fmla="*/ 739140 w 1969770"/>
                  <a:gd name="connsiteY2459" fmla="*/ 1128713 h 1744979"/>
                  <a:gd name="connsiteX2460" fmla="*/ 727710 w 1969770"/>
                  <a:gd name="connsiteY2460" fmla="*/ 1119188 h 1744979"/>
                  <a:gd name="connsiteX2461" fmla="*/ 716280 w 1969770"/>
                  <a:gd name="connsiteY2461" fmla="*/ 1108710 h 1744979"/>
                  <a:gd name="connsiteX2462" fmla="*/ 795338 w 1969770"/>
                  <a:gd name="connsiteY2462" fmla="*/ 1029653 h 1744979"/>
                  <a:gd name="connsiteX2463" fmla="*/ 802005 w 1969770"/>
                  <a:gd name="connsiteY2463" fmla="*/ 1035368 h 1744979"/>
                  <a:gd name="connsiteX2464" fmla="*/ 809625 w 1969770"/>
                  <a:gd name="connsiteY2464" fmla="*/ 1042035 h 1744979"/>
                  <a:gd name="connsiteX2465" fmla="*/ 817245 w 1969770"/>
                  <a:gd name="connsiteY2465" fmla="*/ 1047750 h 1744979"/>
                  <a:gd name="connsiteX2466" fmla="*/ 824865 w 1969770"/>
                  <a:gd name="connsiteY2466" fmla="*/ 1053465 h 1744979"/>
                  <a:gd name="connsiteX2467" fmla="*/ 832485 w 1969770"/>
                  <a:gd name="connsiteY2467" fmla="*/ 1058228 h 1744979"/>
                  <a:gd name="connsiteX2468" fmla="*/ 841058 w 1969770"/>
                  <a:gd name="connsiteY2468" fmla="*/ 1062990 h 1744979"/>
                  <a:gd name="connsiteX2469" fmla="*/ 849630 w 1969770"/>
                  <a:gd name="connsiteY2469" fmla="*/ 1067753 h 1744979"/>
                  <a:gd name="connsiteX2470" fmla="*/ 858203 w 1969770"/>
                  <a:gd name="connsiteY2470" fmla="*/ 1072515 h 1744979"/>
                  <a:gd name="connsiteX2471" fmla="*/ 858203 w 1969770"/>
                  <a:gd name="connsiteY2471" fmla="*/ 1071563 h 1744979"/>
                  <a:gd name="connsiteX2472" fmla="*/ 861060 w 1969770"/>
                  <a:gd name="connsiteY2472" fmla="*/ 1060133 h 1744979"/>
                  <a:gd name="connsiteX2473" fmla="*/ 864870 w 1969770"/>
                  <a:gd name="connsiteY2473" fmla="*/ 1052513 h 1744979"/>
                  <a:gd name="connsiteX2474" fmla="*/ 857250 w 1969770"/>
                  <a:gd name="connsiteY2474" fmla="*/ 1048703 h 1744979"/>
                  <a:gd name="connsiteX2475" fmla="*/ 849630 w 1969770"/>
                  <a:gd name="connsiteY2475" fmla="*/ 1044893 h 1744979"/>
                  <a:gd name="connsiteX2476" fmla="*/ 842963 w 1969770"/>
                  <a:gd name="connsiteY2476" fmla="*/ 1041083 h 1744979"/>
                  <a:gd name="connsiteX2477" fmla="*/ 836295 w 1969770"/>
                  <a:gd name="connsiteY2477" fmla="*/ 1036320 h 1744979"/>
                  <a:gd name="connsiteX2478" fmla="*/ 829628 w 1969770"/>
                  <a:gd name="connsiteY2478" fmla="*/ 1031558 h 1744979"/>
                  <a:gd name="connsiteX2479" fmla="*/ 822960 w 1969770"/>
                  <a:gd name="connsiteY2479" fmla="*/ 1025843 h 1744979"/>
                  <a:gd name="connsiteX2480" fmla="*/ 816293 w 1969770"/>
                  <a:gd name="connsiteY2480" fmla="*/ 1021080 h 1744979"/>
                  <a:gd name="connsiteX2481" fmla="*/ 809625 w 1969770"/>
                  <a:gd name="connsiteY2481" fmla="*/ 1015365 h 1744979"/>
                  <a:gd name="connsiteX2482" fmla="*/ 889635 w 1969770"/>
                  <a:gd name="connsiteY2482" fmla="*/ 935355 h 1744979"/>
                  <a:gd name="connsiteX2483" fmla="*/ 894398 w 1969770"/>
                  <a:gd name="connsiteY2483" fmla="*/ 939165 h 1744979"/>
                  <a:gd name="connsiteX2484" fmla="*/ 899160 w 1969770"/>
                  <a:gd name="connsiteY2484" fmla="*/ 942975 h 1744979"/>
                  <a:gd name="connsiteX2485" fmla="*/ 904875 w 1969770"/>
                  <a:gd name="connsiteY2485" fmla="*/ 945833 h 1744979"/>
                  <a:gd name="connsiteX2486" fmla="*/ 909638 w 1969770"/>
                  <a:gd name="connsiteY2486" fmla="*/ 948690 h 1744979"/>
                  <a:gd name="connsiteX2487" fmla="*/ 915353 w 1969770"/>
                  <a:gd name="connsiteY2487" fmla="*/ 951548 h 1744979"/>
                  <a:gd name="connsiteX2488" fmla="*/ 920115 w 1969770"/>
                  <a:gd name="connsiteY2488" fmla="*/ 954405 h 1744979"/>
                  <a:gd name="connsiteX2489" fmla="*/ 925830 w 1969770"/>
                  <a:gd name="connsiteY2489" fmla="*/ 957263 h 1744979"/>
                  <a:gd name="connsiteX2490" fmla="*/ 931545 w 1969770"/>
                  <a:gd name="connsiteY2490" fmla="*/ 959168 h 1744979"/>
                  <a:gd name="connsiteX2491" fmla="*/ 931545 w 1969770"/>
                  <a:gd name="connsiteY2491" fmla="*/ 935355 h 1744979"/>
                  <a:gd name="connsiteX2492" fmla="*/ 924878 w 1969770"/>
                  <a:gd name="connsiteY2492" fmla="*/ 932498 h 1744979"/>
                  <a:gd name="connsiteX2493" fmla="*/ 918210 w 1969770"/>
                  <a:gd name="connsiteY2493" fmla="*/ 928688 h 1744979"/>
                  <a:gd name="connsiteX2494" fmla="*/ 911543 w 1969770"/>
                  <a:gd name="connsiteY2494" fmla="*/ 924878 h 1744979"/>
                  <a:gd name="connsiteX2495" fmla="*/ 905828 w 1969770"/>
                  <a:gd name="connsiteY2495" fmla="*/ 920115 h 1744979"/>
                  <a:gd name="connsiteX2496" fmla="*/ 929640 w 1969770"/>
                  <a:gd name="connsiteY2496" fmla="*/ 896303 h 1744979"/>
                  <a:gd name="connsiteX2497" fmla="*/ 908685 w 1969770"/>
                  <a:gd name="connsiteY2497" fmla="*/ 885825 h 1744979"/>
                  <a:gd name="connsiteX2498" fmla="*/ 892493 w 1969770"/>
                  <a:gd name="connsiteY2498" fmla="*/ 902018 h 1744979"/>
                  <a:gd name="connsiteX2499" fmla="*/ 887730 w 1969770"/>
                  <a:gd name="connsiteY2499" fmla="*/ 895350 h 1744979"/>
                  <a:gd name="connsiteX2500" fmla="*/ 882968 w 1969770"/>
                  <a:gd name="connsiteY2500" fmla="*/ 888683 h 1744979"/>
                  <a:gd name="connsiteX2501" fmla="*/ 879158 w 1969770"/>
                  <a:gd name="connsiteY2501" fmla="*/ 882015 h 1744979"/>
                  <a:gd name="connsiteX2502" fmla="*/ 875348 w 1969770"/>
                  <a:gd name="connsiteY2502" fmla="*/ 874395 h 1744979"/>
                  <a:gd name="connsiteX2503" fmla="*/ 859155 w 1969770"/>
                  <a:gd name="connsiteY2503" fmla="*/ 868680 h 1744979"/>
                  <a:gd name="connsiteX2504" fmla="*/ 856298 w 1969770"/>
                  <a:gd name="connsiteY2504" fmla="*/ 867728 h 1744979"/>
                  <a:gd name="connsiteX2505" fmla="*/ 855345 w 1969770"/>
                  <a:gd name="connsiteY2505" fmla="*/ 866775 h 1744979"/>
                  <a:gd name="connsiteX2506" fmla="*/ 835343 w 1969770"/>
                  <a:gd name="connsiteY2506" fmla="*/ 855345 h 1744979"/>
                  <a:gd name="connsiteX2507" fmla="*/ 818198 w 1969770"/>
                  <a:gd name="connsiteY2507" fmla="*/ 843915 h 1744979"/>
                  <a:gd name="connsiteX2508" fmla="*/ 803910 w 1969770"/>
                  <a:gd name="connsiteY2508" fmla="*/ 829628 h 1744979"/>
                  <a:gd name="connsiteX2509" fmla="*/ 789623 w 1969770"/>
                  <a:gd name="connsiteY2509" fmla="*/ 815340 h 1744979"/>
                  <a:gd name="connsiteX2510" fmla="*/ 781050 w 1969770"/>
                  <a:gd name="connsiteY2510" fmla="*/ 798195 h 1744979"/>
                  <a:gd name="connsiteX2511" fmla="*/ 772478 w 1969770"/>
                  <a:gd name="connsiteY2511" fmla="*/ 781050 h 1744979"/>
                  <a:gd name="connsiteX2512" fmla="*/ 766763 w 1969770"/>
                  <a:gd name="connsiteY2512" fmla="*/ 762000 h 1744979"/>
                  <a:gd name="connsiteX2513" fmla="*/ 761048 w 1969770"/>
                  <a:gd name="connsiteY2513" fmla="*/ 744855 h 1744979"/>
                  <a:gd name="connsiteX2514" fmla="*/ 761048 w 1969770"/>
                  <a:gd name="connsiteY2514" fmla="*/ 721043 h 1744979"/>
                  <a:gd name="connsiteX2515" fmla="*/ 762953 w 1969770"/>
                  <a:gd name="connsiteY2515" fmla="*/ 695325 h 1744979"/>
                  <a:gd name="connsiteX2516" fmla="*/ 767715 w 1969770"/>
                  <a:gd name="connsiteY2516" fmla="*/ 671513 h 1744979"/>
                  <a:gd name="connsiteX2517" fmla="*/ 769620 w 1969770"/>
                  <a:gd name="connsiteY2517" fmla="*/ 664845 h 1744979"/>
                  <a:gd name="connsiteX2518" fmla="*/ 782955 w 1969770"/>
                  <a:gd name="connsiteY2518" fmla="*/ 635318 h 1744979"/>
                  <a:gd name="connsiteX2519" fmla="*/ 787718 w 1969770"/>
                  <a:gd name="connsiteY2519" fmla="*/ 627698 h 1744979"/>
                  <a:gd name="connsiteX2520" fmla="*/ 785813 w 1969770"/>
                  <a:gd name="connsiteY2520" fmla="*/ 628650 h 1744979"/>
                  <a:gd name="connsiteX2521" fmla="*/ 786765 w 1969770"/>
                  <a:gd name="connsiteY2521" fmla="*/ 624840 h 1744979"/>
                  <a:gd name="connsiteX2522" fmla="*/ 796290 w 1969770"/>
                  <a:gd name="connsiteY2522" fmla="*/ 613410 h 1744979"/>
                  <a:gd name="connsiteX2523" fmla="*/ 720090 w 1969770"/>
                  <a:gd name="connsiteY2523" fmla="*/ 536258 h 1744979"/>
                  <a:gd name="connsiteX2524" fmla="*/ 730568 w 1969770"/>
                  <a:gd name="connsiteY2524" fmla="*/ 526733 h 1744979"/>
                  <a:gd name="connsiteX2525" fmla="*/ 741998 w 1969770"/>
                  <a:gd name="connsiteY2525" fmla="*/ 517208 h 1744979"/>
                  <a:gd name="connsiteX2526" fmla="*/ 753428 w 1969770"/>
                  <a:gd name="connsiteY2526" fmla="*/ 508635 h 1744979"/>
                  <a:gd name="connsiteX2527" fmla="*/ 765810 w 1969770"/>
                  <a:gd name="connsiteY2527" fmla="*/ 500063 h 1744979"/>
                  <a:gd name="connsiteX2528" fmla="*/ 778193 w 1969770"/>
                  <a:gd name="connsiteY2528" fmla="*/ 491490 h 1744979"/>
                  <a:gd name="connsiteX2529" fmla="*/ 790575 w 1969770"/>
                  <a:gd name="connsiteY2529" fmla="*/ 483870 h 1744979"/>
                  <a:gd name="connsiteX2530" fmla="*/ 802958 w 1969770"/>
                  <a:gd name="connsiteY2530" fmla="*/ 477203 h 1744979"/>
                  <a:gd name="connsiteX2531" fmla="*/ 815340 w 1969770"/>
                  <a:gd name="connsiteY2531" fmla="*/ 470535 h 1744979"/>
                  <a:gd name="connsiteX2532" fmla="*/ 828675 w 1969770"/>
                  <a:gd name="connsiteY2532" fmla="*/ 463868 h 1744979"/>
                  <a:gd name="connsiteX2533" fmla="*/ 842010 w 1969770"/>
                  <a:gd name="connsiteY2533" fmla="*/ 458153 h 1744979"/>
                  <a:gd name="connsiteX2534" fmla="*/ 855345 w 1969770"/>
                  <a:gd name="connsiteY2534" fmla="*/ 452438 h 1744979"/>
                  <a:gd name="connsiteX2535" fmla="*/ 869633 w 1969770"/>
                  <a:gd name="connsiteY2535" fmla="*/ 447675 h 1744979"/>
                  <a:gd name="connsiteX2536" fmla="*/ 883920 w 1969770"/>
                  <a:gd name="connsiteY2536" fmla="*/ 443865 h 1744979"/>
                  <a:gd name="connsiteX2537" fmla="*/ 898208 w 1969770"/>
                  <a:gd name="connsiteY2537" fmla="*/ 440055 h 1744979"/>
                  <a:gd name="connsiteX2538" fmla="*/ 912495 w 1969770"/>
                  <a:gd name="connsiteY2538" fmla="*/ 437198 h 1744979"/>
                  <a:gd name="connsiteX2539" fmla="*/ 927735 w 1969770"/>
                  <a:gd name="connsiteY2539" fmla="*/ 434340 h 1744979"/>
                  <a:gd name="connsiteX2540" fmla="*/ 927735 w 1969770"/>
                  <a:gd name="connsiteY2540" fmla="*/ 410528 h 1744979"/>
                  <a:gd name="connsiteX2541" fmla="*/ 911543 w 1969770"/>
                  <a:gd name="connsiteY2541" fmla="*/ 413385 h 1744979"/>
                  <a:gd name="connsiteX2542" fmla="*/ 895350 w 1969770"/>
                  <a:gd name="connsiteY2542" fmla="*/ 416243 h 1744979"/>
                  <a:gd name="connsiteX2543" fmla="*/ 880110 w 1969770"/>
                  <a:gd name="connsiteY2543" fmla="*/ 420053 h 1744979"/>
                  <a:gd name="connsiteX2544" fmla="*/ 864870 w 1969770"/>
                  <a:gd name="connsiteY2544" fmla="*/ 423863 h 1744979"/>
                  <a:gd name="connsiteX2545" fmla="*/ 849630 w 1969770"/>
                  <a:gd name="connsiteY2545" fmla="*/ 428625 h 1744979"/>
                  <a:gd name="connsiteX2546" fmla="*/ 835343 w 1969770"/>
                  <a:gd name="connsiteY2546" fmla="*/ 434340 h 1744979"/>
                  <a:gd name="connsiteX2547" fmla="*/ 819150 w 1969770"/>
                  <a:gd name="connsiteY2547" fmla="*/ 443865 h 1744979"/>
                  <a:gd name="connsiteX2548" fmla="*/ 804863 w 1969770"/>
                  <a:gd name="connsiteY2548" fmla="*/ 450533 h 1744979"/>
                  <a:gd name="connsiteX2549" fmla="*/ 791528 w 1969770"/>
                  <a:gd name="connsiteY2549" fmla="*/ 457200 h 1744979"/>
                  <a:gd name="connsiteX2550" fmla="*/ 778193 w 1969770"/>
                  <a:gd name="connsiteY2550" fmla="*/ 464820 h 1744979"/>
                  <a:gd name="connsiteX2551" fmla="*/ 764858 w 1969770"/>
                  <a:gd name="connsiteY2551" fmla="*/ 473393 h 1744979"/>
                  <a:gd name="connsiteX2552" fmla="*/ 751523 w 1969770"/>
                  <a:gd name="connsiteY2552" fmla="*/ 481965 h 1744979"/>
                  <a:gd name="connsiteX2553" fmla="*/ 739140 w 1969770"/>
                  <a:gd name="connsiteY2553" fmla="*/ 491490 h 1744979"/>
                  <a:gd name="connsiteX2554" fmla="*/ 726758 w 1969770"/>
                  <a:gd name="connsiteY2554" fmla="*/ 501015 h 1744979"/>
                  <a:gd name="connsiteX2555" fmla="*/ 714375 w 1969770"/>
                  <a:gd name="connsiteY2555" fmla="*/ 510540 h 1744979"/>
                  <a:gd name="connsiteX2556" fmla="*/ 702945 w 1969770"/>
                  <a:gd name="connsiteY2556" fmla="*/ 521018 h 1744979"/>
                  <a:gd name="connsiteX2557" fmla="*/ 691515 w 1969770"/>
                  <a:gd name="connsiteY2557" fmla="*/ 509588 h 1744979"/>
                  <a:gd name="connsiteX2558" fmla="*/ 680085 w 1969770"/>
                  <a:gd name="connsiteY2558" fmla="*/ 531495 h 1744979"/>
                  <a:gd name="connsiteX2559" fmla="*/ 686753 w 1969770"/>
                  <a:gd name="connsiteY2559" fmla="*/ 538163 h 1744979"/>
                  <a:gd name="connsiteX2560" fmla="*/ 680085 w 1969770"/>
                  <a:gd name="connsiteY2560" fmla="*/ 544830 h 1744979"/>
                  <a:gd name="connsiteX2561" fmla="*/ 674370 w 1969770"/>
                  <a:gd name="connsiteY2561" fmla="*/ 551498 h 1744979"/>
                  <a:gd name="connsiteX2562" fmla="*/ 668655 w 1969770"/>
                  <a:gd name="connsiteY2562" fmla="*/ 558165 h 1744979"/>
                  <a:gd name="connsiteX2563" fmla="*/ 662940 w 1969770"/>
                  <a:gd name="connsiteY2563" fmla="*/ 564833 h 1744979"/>
                  <a:gd name="connsiteX2564" fmla="*/ 657225 w 1969770"/>
                  <a:gd name="connsiteY2564" fmla="*/ 572453 h 1744979"/>
                  <a:gd name="connsiteX2565" fmla="*/ 651510 w 1969770"/>
                  <a:gd name="connsiteY2565" fmla="*/ 580073 h 1744979"/>
                  <a:gd name="connsiteX2566" fmla="*/ 646748 w 1969770"/>
                  <a:gd name="connsiteY2566" fmla="*/ 587693 h 1744979"/>
                  <a:gd name="connsiteX2567" fmla="*/ 641033 w 1969770"/>
                  <a:gd name="connsiteY2567" fmla="*/ 595313 h 1744979"/>
                  <a:gd name="connsiteX2568" fmla="*/ 636270 w 1969770"/>
                  <a:gd name="connsiteY2568" fmla="*/ 602933 h 1744979"/>
                  <a:gd name="connsiteX2569" fmla="*/ 631508 w 1969770"/>
                  <a:gd name="connsiteY2569" fmla="*/ 610553 h 1744979"/>
                  <a:gd name="connsiteX2570" fmla="*/ 625793 w 1969770"/>
                  <a:gd name="connsiteY2570" fmla="*/ 619125 h 1744979"/>
                  <a:gd name="connsiteX2571" fmla="*/ 621030 w 1969770"/>
                  <a:gd name="connsiteY2571" fmla="*/ 627698 h 1744979"/>
                  <a:gd name="connsiteX2572" fmla="*/ 617220 w 1969770"/>
                  <a:gd name="connsiteY2572" fmla="*/ 636270 h 1744979"/>
                  <a:gd name="connsiteX2573" fmla="*/ 613410 w 1969770"/>
                  <a:gd name="connsiteY2573" fmla="*/ 643890 h 1744979"/>
                  <a:gd name="connsiteX2574" fmla="*/ 609600 w 1969770"/>
                  <a:gd name="connsiteY2574" fmla="*/ 652463 h 1744979"/>
                  <a:gd name="connsiteX2575" fmla="*/ 605790 w 1969770"/>
                  <a:gd name="connsiteY2575" fmla="*/ 661035 h 1744979"/>
                  <a:gd name="connsiteX2576" fmla="*/ 601980 w 1969770"/>
                  <a:gd name="connsiteY2576" fmla="*/ 669608 h 1744979"/>
                  <a:gd name="connsiteX2577" fmla="*/ 598170 w 1969770"/>
                  <a:gd name="connsiteY2577" fmla="*/ 678180 h 1744979"/>
                  <a:gd name="connsiteX2578" fmla="*/ 595313 w 1969770"/>
                  <a:gd name="connsiteY2578" fmla="*/ 687705 h 1744979"/>
                  <a:gd name="connsiteX2579" fmla="*/ 592455 w 1969770"/>
                  <a:gd name="connsiteY2579" fmla="*/ 696278 h 1744979"/>
                  <a:gd name="connsiteX2580" fmla="*/ 589598 w 1969770"/>
                  <a:gd name="connsiteY2580" fmla="*/ 705803 h 1744979"/>
                  <a:gd name="connsiteX2581" fmla="*/ 586740 w 1969770"/>
                  <a:gd name="connsiteY2581" fmla="*/ 715328 h 1744979"/>
                  <a:gd name="connsiteX2582" fmla="*/ 583883 w 1969770"/>
                  <a:gd name="connsiteY2582" fmla="*/ 724853 h 1744979"/>
                  <a:gd name="connsiteX2583" fmla="*/ 581978 w 1969770"/>
                  <a:gd name="connsiteY2583" fmla="*/ 734378 h 1744979"/>
                  <a:gd name="connsiteX2584" fmla="*/ 580073 w 1969770"/>
                  <a:gd name="connsiteY2584" fmla="*/ 743903 h 1744979"/>
                  <a:gd name="connsiteX2585" fmla="*/ 578168 w 1969770"/>
                  <a:gd name="connsiteY2585" fmla="*/ 753428 h 1744979"/>
                  <a:gd name="connsiteX2586" fmla="*/ 577215 w 1969770"/>
                  <a:gd name="connsiteY2586" fmla="*/ 762953 h 1744979"/>
                  <a:gd name="connsiteX2587" fmla="*/ 576263 w 1969770"/>
                  <a:gd name="connsiteY2587" fmla="*/ 772478 h 1744979"/>
                  <a:gd name="connsiteX2588" fmla="*/ 575310 w 1969770"/>
                  <a:gd name="connsiteY2588" fmla="*/ 782003 h 1744979"/>
                  <a:gd name="connsiteX2589" fmla="*/ 574358 w 1969770"/>
                  <a:gd name="connsiteY2589" fmla="*/ 791528 h 1744979"/>
                  <a:gd name="connsiteX2590" fmla="*/ 573405 w 1969770"/>
                  <a:gd name="connsiteY2590" fmla="*/ 801053 h 1744979"/>
                  <a:gd name="connsiteX2591" fmla="*/ 573405 w 1969770"/>
                  <a:gd name="connsiteY2591" fmla="*/ 811530 h 1744979"/>
                  <a:gd name="connsiteX2592" fmla="*/ 461963 w 1969770"/>
                  <a:gd name="connsiteY2592" fmla="*/ 811530 h 1744979"/>
                  <a:gd name="connsiteX2593" fmla="*/ 461963 w 1969770"/>
                  <a:gd name="connsiteY2593" fmla="*/ 798195 h 1744979"/>
                  <a:gd name="connsiteX2594" fmla="*/ 462915 w 1969770"/>
                  <a:gd name="connsiteY2594" fmla="*/ 785813 h 1744979"/>
                  <a:gd name="connsiteX2595" fmla="*/ 463868 w 1969770"/>
                  <a:gd name="connsiteY2595" fmla="*/ 773430 h 1744979"/>
                  <a:gd name="connsiteX2596" fmla="*/ 465773 w 1969770"/>
                  <a:gd name="connsiteY2596" fmla="*/ 761048 h 1744979"/>
                  <a:gd name="connsiteX2597" fmla="*/ 466725 w 1969770"/>
                  <a:gd name="connsiteY2597" fmla="*/ 748665 h 1744979"/>
                  <a:gd name="connsiteX2598" fmla="*/ 468630 w 1969770"/>
                  <a:gd name="connsiteY2598" fmla="*/ 736283 h 1744979"/>
                  <a:gd name="connsiteX2599" fmla="*/ 470535 w 1969770"/>
                  <a:gd name="connsiteY2599" fmla="*/ 723900 h 1744979"/>
                  <a:gd name="connsiteX2600" fmla="*/ 473393 w 1969770"/>
                  <a:gd name="connsiteY2600" fmla="*/ 711518 h 1744979"/>
                  <a:gd name="connsiteX2601" fmla="*/ 476250 w 1969770"/>
                  <a:gd name="connsiteY2601" fmla="*/ 699135 h 1744979"/>
                  <a:gd name="connsiteX2602" fmla="*/ 479108 w 1969770"/>
                  <a:gd name="connsiteY2602" fmla="*/ 686753 h 1744979"/>
                  <a:gd name="connsiteX2603" fmla="*/ 481965 w 1969770"/>
                  <a:gd name="connsiteY2603" fmla="*/ 674370 h 1744979"/>
                  <a:gd name="connsiteX2604" fmla="*/ 485775 w 1969770"/>
                  <a:gd name="connsiteY2604" fmla="*/ 662940 h 1744979"/>
                  <a:gd name="connsiteX2605" fmla="*/ 489585 w 1969770"/>
                  <a:gd name="connsiteY2605" fmla="*/ 651510 h 1744979"/>
                  <a:gd name="connsiteX2606" fmla="*/ 493395 w 1969770"/>
                  <a:gd name="connsiteY2606" fmla="*/ 640080 h 1744979"/>
                  <a:gd name="connsiteX2607" fmla="*/ 497205 w 1969770"/>
                  <a:gd name="connsiteY2607" fmla="*/ 628650 h 1744979"/>
                  <a:gd name="connsiteX2608" fmla="*/ 501968 w 1969770"/>
                  <a:gd name="connsiteY2608" fmla="*/ 617220 h 1744979"/>
                  <a:gd name="connsiteX2609" fmla="*/ 506730 w 1969770"/>
                  <a:gd name="connsiteY2609" fmla="*/ 605790 h 1744979"/>
                  <a:gd name="connsiteX2610" fmla="*/ 511493 w 1969770"/>
                  <a:gd name="connsiteY2610" fmla="*/ 595313 h 1744979"/>
                  <a:gd name="connsiteX2611" fmla="*/ 517208 w 1969770"/>
                  <a:gd name="connsiteY2611" fmla="*/ 584835 h 1744979"/>
                  <a:gd name="connsiteX2612" fmla="*/ 522923 w 1969770"/>
                  <a:gd name="connsiteY2612" fmla="*/ 574358 h 1744979"/>
                  <a:gd name="connsiteX2613" fmla="*/ 528638 w 1969770"/>
                  <a:gd name="connsiteY2613" fmla="*/ 563880 h 1744979"/>
                  <a:gd name="connsiteX2614" fmla="*/ 534353 w 1969770"/>
                  <a:gd name="connsiteY2614" fmla="*/ 553403 h 1744979"/>
                  <a:gd name="connsiteX2615" fmla="*/ 541020 w 1969770"/>
                  <a:gd name="connsiteY2615" fmla="*/ 542925 h 1744979"/>
                  <a:gd name="connsiteX2616" fmla="*/ 547688 w 1969770"/>
                  <a:gd name="connsiteY2616" fmla="*/ 532448 h 1744979"/>
                  <a:gd name="connsiteX2617" fmla="*/ 554355 w 1969770"/>
                  <a:gd name="connsiteY2617" fmla="*/ 522923 h 1744979"/>
                  <a:gd name="connsiteX2618" fmla="*/ 561023 w 1969770"/>
                  <a:gd name="connsiteY2618" fmla="*/ 513398 h 1744979"/>
                  <a:gd name="connsiteX2619" fmla="*/ 567690 w 1969770"/>
                  <a:gd name="connsiteY2619" fmla="*/ 503873 h 1744979"/>
                  <a:gd name="connsiteX2620" fmla="*/ 575310 w 1969770"/>
                  <a:gd name="connsiteY2620" fmla="*/ 494348 h 1744979"/>
                  <a:gd name="connsiteX2621" fmla="*/ 582930 w 1969770"/>
                  <a:gd name="connsiteY2621" fmla="*/ 484823 h 1744979"/>
                  <a:gd name="connsiteX2622" fmla="*/ 590550 w 1969770"/>
                  <a:gd name="connsiteY2622" fmla="*/ 475298 h 1744979"/>
                  <a:gd name="connsiteX2623" fmla="*/ 598170 w 1969770"/>
                  <a:gd name="connsiteY2623" fmla="*/ 466725 h 1744979"/>
                  <a:gd name="connsiteX2624" fmla="*/ 606743 w 1969770"/>
                  <a:gd name="connsiteY2624" fmla="*/ 458153 h 1744979"/>
                  <a:gd name="connsiteX2625" fmla="*/ 641985 w 1969770"/>
                  <a:gd name="connsiteY2625" fmla="*/ 494348 h 1744979"/>
                  <a:gd name="connsiteX2626" fmla="*/ 667703 w 1969770"/>
                  <a:gd name="connsiteY2626" fmla="*/ 485775 h 1744979"/>
                  <a:gd name="connsiteX2627" fmla="*/ 623888 w 1969770"/>
                  <a:gd name="connsiteY2627" fmla="*/ 441960 h 1744979"/>
                  <a:gd name="connsiteX2628" fmla="*/ 633413 w 1969770"/>
                  <a:gd name="connsiteY2628" fmla="*/ 433388 h 1744979"/>
                  <a:gd name="connsiteX2629" fmla="*/ 642938 w 1969770"/>
                  <a:gd name="connsiteY2629" fmla="*/ 424815 h 1744979"/>
                  <a:gd name="connsiteX2630" fmla="*/ 652463 w 1969770"/>
                  <a:gd name="connsiteY2630" fmla="*/ 417195 h 1744979"/>
                  <a:gd name="connsiteX2631" fmla="*/ 662940 w 1969770"/>
                  <a:gd name="connsiteY2631" fmla="*/ 409575 h 1744979"/>
                  <a:gd name="connsiteX2632" fmla="*/ 673418 w 1969770"/>
                  <a:gd name="connsiteY2632" fmla="*/ 401955 h 1744979"/>
                  <a:gd name="connsiteX2633" fmla="*/ 683895 w 1969770"/>
                  <a:gd name="connsiteY2633" fmla="*/ 394335 h 1744979"/>
                  <a:gd name="connsiteX2634" fmla="*/ 694373 w 1969770"/>
                  <a:gd name="connsiteY2634" fmla="*/ 386715 h 1744979"/>
                  <a:gd name="connsiteX2635" fmla="*/ 704850 w 1969770"/>
                  <a:gd name="connsiteY2635" fmla="*/ 380048 h 1744979"/>
                  <a:gd name="connsiteX2636" fmla="*/ 722948 w 1969770"/>
                  <a:gd name="connsiteY2636" fmla="*/ 341948 h 1744979"/>
                  <a:gd name="connsiteX2637" fmla="*/ 706755 w 1969770"/>
                  <a:gd name="connsiteY2637" fmla="*/ 351473 h 1744979"/>
                  <a:gd name="connsiteX2638" fmla="*/ 691515 w 1969770"/>
                  <a:gd name="connsiteY2638" fmla="*/ 360998 h 1744979"/>
                  <a:gd name="connsiteX2639" fmla="*/ 676275 w 1969770"/>
                  <a:gd name="connsiteY2639" fmla="*/ 371475 h 1744979"/>
                  <a:gd name="connsiteX2640" fmla="*/ 661988 w 1969770"/>
                  <a:gd name="connsiteY2640" fmla="*/ 381953 h 1744979"/>
                  <a:gd name="connsiteX2641" fmla="*/ 648653 w 1969770"/>
                  <a:gd name="connsiteY2641" fmla="*/ 390525 h 1744979"/>
                  <a:gd name="connsiteX2642" fmla="*/ 634365 w 1969770"/>
                  <a:gd name="connsiteY2642" fmla="*/ 401955 h 1744979"/>
                  <a:gd name="connsiteX2643" fmla="*/ 621030 w 1969770"/>
                  <a:gd name="connsiteY2643" fmla="*/ 413385 h 1744979"/>
                  <a:gd name="connsiteX2644" fmla="*/ 607695 w 1969770"/>
                  <a:gd name="connsiteY2644" fmla="*/ 425768 h 1744979"/>
                  <a:gd name="connsiteX2645" fmla="*/ 529590 w 1969770"/>
                  <a:gd name="connsiteY2645" fmla="*/ 347663 h 1744979"/>
                  <a:gd name="connsiteX2646" fmla="*/ 539115 w 1969770"/>
                  <a:gd name="connsiteY2646" fmla="*/ 338138 h 1744979"/>
                  <a:gd name="connsiteX2647" fmla="*/ 549593 w 1969770"/>
                  <a:gd name="connsiteY2647" fmla="*/ 329565 h 1744979"/>
                  <a:gd name="connsiteX2648" fmla="*/ 559118 w 1969770"/>
                  <a:gd name="connsiteY2648" fmla="*/ 320993 h 1744979"/>
                  <a:gd name="connsiteX2649" fmla="*/ 569595 w 1969770"/>
                  <a:gd name="connsiteY2649" fmla="*/ 312420 h 1744979"/>
                  <a:gd name="connsiteX2650" fmla="*/ 580073 w 1969770"/>
                  <a:gd name="connsiteY2650" fmla="*/ 303848 h 1744979"/>
                  <a:gd name="connsiteX2651" fmla="*/ 590550 w 1969770"/>
                  <a:gd name="connsiteY2651" fmla="*/ 295275 h 1744979"/>
                  <a:gd name="connsiteX2652" fmla="*/ 601028 w 1969770"/>
                  <a:gd name="connsiteY2652" fmla="*/ 287655 h 1744979"/>
                  <a:gd name="connsiteX2653" fmla="*/ 611505 w 1969770"/>
                  <a:gd name="connsiteY2653" fmla="*/ 280035 h 1744979"/>
                  <a:gd name="connsiteX2654" fmla="*/ 621983 w 1969770"/>
                  <a:gd name="connsiteY2654" fmla="*/ 272415 h 1744979"/>
                  <a:gd name="connsiteX2655" fmla="*/ 633413 w 1969770"/>
                  <a:gd name="connsiteY2655" fmla="*/ 265748 h 1744979"/>
                  <a:gd name="connsiteX2656" fmla="*/ 644843 w 1969770"/>
                  <a:gd name="connsiteY2656" fmla="*/ 259080 h 1744979"/>
                  <a:gd name="connsiteX2657" fmla="*/ 656273 w 1969770"/>
                  <a:gd name="connsiteY2657" fmla="*/ 252413 h 1744979"/>
                  <a:gd name="connsiteX2658" fmla="*/ 668655 w 1969770"/>
                  <a:gd name="connsiteY2658" fmla="*/ 245745 h 1744979"/>
                  <a:gd name="connsiteX2659" fmla="*/ 680085 w 1969770"/>
                  <a:gd name="connsiteY2659" fmla="*/ 239078 h 1744979"/>
                  <a:gd name="connsiteX2660" fmla="*/ 692468 w 1969770"/>
                  <a:gd name="connsiteY2660" fmla="*/ 233363 h 1744979"/>
                  <a:gd name="connsiteX2661" fmla="*/ 704850 w 1969770"/>
                  <a:gd name="connsiteY2661" fmla="*/ 227648 h 1744979"/>
                  <a:gd name="connsiteX2662" fmla="*/ 717233 w 1969770"/>
                  <a:gd name="connsiteY2662" fmla="*/ 221933 h 1744979"/>
                  <a:gd name="connsiteX2663" fmla="*/ 729615 w 1969770"/>
                  <a:gd name="connsiteY2663" fmla="*/ 216218 h 1744979"/>
                  <a:gd name="connsiteX2664" fmla="*/ 741998 w 1969770"/>
                  <a:gd name="connsiteY2664" fmla="*/ 210503 h 1744979"/>
                  <a:gd name="connsiteX2665" fmla="*/ 754380 w 1969770"/>
                  <a:gd name="connsiteY2665" fmla="*/ 205740 h 1744979"/>
                  <a:gd name="connsiteX2666" fmla="*/ 766763 w 1969770"/>
                  <a:gd name="connsiteY2666" fmla="*/ 200978 h 1744979"/>
                  <a:gd name="connsiteX2667" fmla="*/ 780098 w 1969770"/>
                  <a:gd name="connsiteY2667" fmla="*/ 197168 h 1744979"/>
                  <a:gd name="connsiteX2668" fmla="*/ 793433 w 1969770"/>
                  <a:gd name="connsiteY2668" fmla="*/ 193358 h 1744979"/>
                  <a:gd name="connsiteX2669" fmla="*/ 806768 w 1969770"/>
                  <a:gd name="connsiteY2669" fmla="*/ 189548 h 1744979"/>
                  <a:gd name="connsiteX2670" fmla="*/ 820103 w 1969770"/>
                  <a:gd name="connsiteY2670" fmla="*/ 185738 h 1744979"/>
                  <a:gd name="connsiteX2671" fmla="*/ 833438 w 1969770"/>
                  <a:gd name="connsiteY2671" fmla="*/ 181928 h 1744979"/>
                  <a:gd name="connsiteX2672" fmla="*/ 846773 w 1969770"/>
                  <a:gd name="connsiteY2672" fmla="*/ 179070 h 1744979"/>
                  <a:gd name="connsiteX2673" fmla="*/ 860108 w 1969770"/>
                  <a:gd name="connsiteY2673" fmla="*/ 176213 h 1744979"/>
                  <a:gd name="connsiteX2674" fmla="*/ 873443 w 1969770"/>
                  <a:gd name="connsiteY2674" fmla="*/ 173355 h 1744979"/>
                  <a:gd name="connsiteX2675" fmla="*/ 886778 w 1969770"/>
                  <a:gd name="connsiteY2675" fmla="*/ 170498 h 1744979"/>
                  <a:gd name="connsiteX2676" fmla="*/ 901065 w 1969770"/>
                  <a:gd name="connsiteY2676" fmla="*/ 168593 h 1744979"/>
                  <a:gd name="connsiteX2677" fmla="*/ 915353 w 1969770"/>
                  <a:gd name="connsiteY2677" fmla="*/ 166688 h 1744979"/>
                  <a:gd name="connsiteX2678" fmla="*/ 915353 w 1969770"/>
                  <a:gd name="connsiteY2678" fmla="*/ 142875 h 1744979"/>
                  <a:gd name="connsiteX2679" fmla="*/ 882968 w 1969770"/>
                  <a:gd name="connsiteY2679" fmla="*/ 146685 h 1744979"/>
                  <a:gd name="connsiteX2680" fmla="*/ 852488 w 1969770"/>
                  <a:gd name="connsiteY2680" fmla="*/ 152400 h 1744979"/>
                  <a:gd name="connsiteX2681" fmla="*/ 821055 w 1969770"/>
                  <a:gd name="connsiteY2681" fmla="*/ 159068 h 1744979"/>
                  <a:gd name="connsiteX2682" fmla="*/ 790575 w 1969770"/>
                  <a:gd name="connsiteY2682" fmla="*/ 168593 h 1744979"/>
                  <a:gd name="connsiteX2683" fmla="*/ 761048 w 1969770"/>
                  <a:gd name="connsiteY2683" fmla="*/ 178118 h 1744979"/>
                  <a:gd name="connsiteX2684" fmla="*/ 731520 w 1969770"/>
                  <a:gd name="connsiteY2684" fmla="*/ 189548 h 1744979"/>
                  <a:gd name="connsiteX2685" fmla="*/ 702945 w 1969770"/>
                  <a:gd name="connsiteY2685" fmla="*/ 201930 h 1744979"/>
                  <a:gd name="connsiteX2686" fmla="*/ 675323 w 1969770"/>
                  <a:gd name="connsiteY2686" fmla="*/ 215265 h 1744979"/>
                  <a:gd name="connsiteX2687" fmla="*/ 647700 w 1969770"/>
                  <a:gd name="connsiteY2687" fmla="*/ 229553 h 1744979"/>
                  <a:gd name="connsiteX2688" fmla="*/ 621030 w 1969770"/>
                  <a:gd name="connsiteY2688" fmla="*/ 245745 h 1744979"/>
                  <a:gd name="connsiteX2689" fmla="*/ 595313 w 1969770"/>
                  <a:gd name="connsiteY2689" fmla="*/ 262890 h 1744979"/>
                  <a:gd name="connsiteX2690" fmla="*/ 570548 w 1969770"/>
                  <a:gd name="connsiteY2690" fmla="*/ 280988 h 1744979"/>
                  <a:gd name="connsiteX2691" fmla="*/ 546735 w 1969770"/>
                  <a:gd name="connsiteY2691" fmla="*/ 300038 h 1744979"/>
                  <a:gd name="connsiteX2692" fmla="*/ 523875 w 1969770"/>
                  <a:gd name="connsiteY2692" fmla="*/ 320040 h 1744979"/>
                  <a:gd name="connsiteX2693" fmla="*/ 501968 w 1969770"/>
                  <a:gd name="connsiteY2693" fmla="*/ 340995 h 1744979"/>
                  <a:gd name="connsiteX2694" fmla="*/ 481013 w 1969770"/>
                  <a:gd name="connsiteY2694" fmla="*/ 363855 h 1744979"/>
                  <a:gd name="connsiteX2695" fmla="*/ 461010 w 1969770"/>
                  <a:gd name="connsiteY2695" fmla="*/ 386715 h 1744979"/>
                  <a:gd name="connsiteX2696" fmla="*/ 441960 w 1969770"/>
                  <a:gd name="connsiteY2696" fmla="*/ 410528 h 1744979"/>
                  <a:gd name="connsiteX2697" fmla="*/ 423863 w 1969770"/>
                  <a:gd name="connsiteY2697" fmla="*/ 435293 h 1744979"/>
                  <a:gd name="connsiteX2698" fmla="*/ 406718 w 1969770"/>
                  <a:gd name="connsiteY2698" fmla="*/ 461010 h 1744979"/>
                  <a:gd name="connsiteX2699" fmla="*/ 390525 w 1969770"/>
                  <a:gd name="connsiteY2699" fmla="*/ 488633 h 1744979"/>
                  <a:gd name="connsiteX2700" fmla="*/ 376238 w 1969770"/>
                  <a:gd name="connsiteY2700" fmla="*/ 516255 h 1744979"/>
                  <a:gd name="connsiteX2701" fmla="*/ 362903 w 1969770"/>
                  <a:gd name="connsiteY2701" fmla="*/ 544830 h 1744979"/>
                  <a:gd name="connsiteX2702" fmla="*/ 350520 w 1969770"/>
                  <a:gd name="connsiteY2702" fmla="*/ 573405 h 1744979"/>
                  <a:gd name="connsiteX2703" fmla="*/ 340043 w 1969770"/>
                  <a:gd name="connsiteY2703" fmla="*/ 602933 h 1744979"/>
                  <a:gd name="connsiteX2704" fmla="*/ 330518 w 1969770"/>
                  <a:gd name="connsiteY2704" fmla="*/ 632460 h 1744979"/>
                  <a:gd name="connsiteX2705" fmla="*/ 321945 w 1969770"/>
                  <a:gd name="connsiteY2705" fmla="*/ 662940 h 1744979"/>
                  <a:gd name="connsiteX2706" fmla="*/ 315278 w 1969770"/>
                  <a:gd name="connsiteY2706" fmla="*/ 694373 h 1744979"/>
                  <a:gd name="connsiteX2707" fmla="*/ 309563 w 1969770"/>
                  <a:gd name="connsiteY2707" fmla="*/ 725805 h 1744979"/>
                  <a:gd name="connsiteX2708" fmla="*/ 305753 w 1969770"/>
                  <a:gd name="connsiteY2708" fmla="*/ 758190 h 1744979"/>
                  <a:gd name="connsiteX2709" fmla="*/ 304800 w 1969770"/>
                  <a:gd name="connsiteY2709" fmla="*/ 789623 h 1744979"/>
                  <a:gd name="connsiteX2710" fmla="*/ 303848 w 1969770"/>
                  <a:gd name="connsiteY2710" fmla="*/ 822008 h 1744979"/>
                  <a:gd name="connsiteX2711" fmla="*/ 304800 w 1969770"/>
                  <a:gd name="connsiteY2711" fmla="*/ 857250 h 1744979"/>
                  <a:gd name="connsiteX2712" fmla="*/ 307658 w 1969770"/>
                  <a:gd name="connsiteY2712" fmla="*/ 891540 h 1744979"/>
                  <a:gd name="connsiteX2713" fmla="*/ 312420 w 1969770"/>
                  <a:gd name="connsiteY2713" fmla="*/ 925830 h 1744979"/>
                  <a:gd name="connsiteX2714" fmla="*/ 318135 w 1969770"/>
                  <a:gd name="connsiteY2714" fmla="*/ 959168 h 1744979"/>
                  <a:gd name="connsiteX2715" fmla="*/ 325755 w 1969770"/>
                  <a:gd name="connsiteY2715" fmla="*/ 992505 h 1744979"/>
                  <a:gd name="connsiteX2716" fmla="*/ 335280 w 1969770"/>
                  <a:gd name="connsiteY2716" fmla="*/ 1024890 h 1744979"/>
                  <a:gd name="connsiteX2717" fmla="*/ 345758 w 1969770"/>
                  <a:gd name="connsiteY2717" fmla="*/ 1056323 h 1744979"/>
                  <a:gd name="connsiteX2718" fmla="*/ 358140 w 1969770"/>
                  <a:gd name="connsiteY2718" fmla="*/ 1086803 h 1744979"/>
                  <a:gd name="connsiteX2719" fmla="*/ 371475 w 1969770"/>
                  <a:gd name="connsiteY2719" fmla="*/ 1117283 h 1744979"/>
                  <a:gd name="connsiteX2720" fmla="*/ 386715 w 1969770"/>
                  <a:gd name="connsiteY2720" fmla="*/ 1146810 h 1744979"/>
                  <a:gd name="connsiteX2721" fmla="*/ 402908 w 1969770"/>
                  <a:gd name="connsiteY2721" fmla="*/ 1175385 h 1744979"/>
                  <a:gd name="connsiteX2722" fmla="*/ 420053 w 1969770"/>
                  <a:gd name="connsiteY2722" fmla="*/ 1203008 h 1744979"/>
                  <a:gd name="connsiteX2723" fmla="*/ 439103 w 1969770"/>
                  <a:gd name="connsiteY2723" fmla="*/ 1229678 h 1744979"/>
                  <a:gd name="connsiteX2724" fmla="*/ 459105 w 1969770"/>
                  <a:gd name="connsiteY2724" fmla="*/ 1255395 h 1744979"/>
                  <a:gd name="connsiteX2725" fmla="*/ 480060 w 1969770"/>
                  <a:gd name="connsiteY2725" fmla="*/ 1280160 h 1744979"/>
                  <a:gd name="connsiteX2726" fmla="*/ 502920 w 1969770"/>
                  <a:gd name="connsiteY2726" fmla="*/ 1303973 h 1744979"/>
                  <a:gd name="connsiteX2727" fmla="*/ 526733 w 1969770"/>
                  <a:gd name="connsiteY2727" fmla="*/ 1326833 h 1744979"/>
                  <a:gd name="connsiteX2728" fmla="*/ 551498 w 1969770"/>
                  <a:gd name="connsiteY2728" fmla="*/ 1348740 h 1744979"/>
                  <a:gd name="connsiteX2729" fmla="*/ 577215 w 1969770"/>
                  <a:gd name="connsiteY2729" fmla="*/ 1368743 h 1744979"/>
                  <a:gd name="connsiteX2730" fmla="*/ 603885 w 1969770"/>
                  <a:gd name="connsiteY2730" fmla="*/ 1387793 h 1744979"/>
                  <a:gd name="connsiteX2731" fmla="*/ 631508 w 1969770"/>
                  <a:gd name="connsiteY2731" fmla="*/ 1405890 h 1744979"/>
                  <a:gd name="connsiteX2732" fmla="*/ 660083 w 1969770"/>
                  <a:gd name="connsiteY2732" fmla="*/ 1422083 h 1744979"/>
                  <a:gd name="connsiteX2733" fmla="*/ 689610 w 1969770"/>
                  <a:gd name="connsiteY2733" fmla="*/ 1437323 h 1744979"/>
                  <a:gd name="connsiteX2734" fmla="*/ 720090 w 1969770"/>
                  <a:gd name="connsiteY2734" fmla="*/ 1450658 h 1744979"/>
                  <a:gd name="connsiteX2735" fmla="*/ 751523 w 1969770"/>
                  <a:gd name="connsiteY2735" fmla="*/ 1463040 h 1744979"/>
                  <a:gd name="connsiteX2736" fmla="*/ 782955 w 1969770"/>
                  <a:gd name="connsiteY2736" fmla="*/ 1473518 h 1744979"/>
                  <a:gd name="connsiteX2737" fmla="*/ 815340 w 1969770"/>
                  <a:gd name="connsiteY2737" fmla="*/ 1483043 h 1744979"/>
                  <a:gd name="connsiteX2738" fmla="*/ 848678 w 1969770"/>
                  <a:gd name="connsiteY2738" fmla="*/ 1490663 h 1744979"/>
                  <a:gd name="connsiteX2739" fmla="*/ 882015 w 1969770"/>
                  <a:gd name="connsiteY2739" fmla="*/ 1496378 h 1744979"/>
                  <a:gd name="connsiteX2740" fmla="*/ 916305 w 1969770"/>
                  <a:gd name="connsiteY2740" fmla="*/ 1500188 h 1744979"/>
                  <a:gd name="connsiteX2741" fmla="*/ 950595 w 1969770"/>
                  <a:gd name="connsiteY2741" fmla="*/ 1503045 h 1744979"/>
                  <a:gd name="connsiteX2742" fmla="*/ 985838 w 1969770"/>
                  <a:gd name="connsiteY2742" fmla="*/ 1503998 h 1744979"/>
                  <a:gd name="connsiteX2743" fmla="*/ 1021080 w 1969770"/>
                  <a:gd name="connsiteY2743" fmla="*/ 1503045 h 1744979"/>
                  <a:gd name="connsiteX2744" fmla="*/ 1055370 w 1969770"/>
                  <a:gd name="connsiteY2744" fmla="*/ 1500188 h 1744979"/>
                  <a:gd name="connsiteX2745" fmla="*/ 1089660 w 1969770"/>
                  <a:gd name="connsiteY2745" fmla="*/ 1496378 h 1744979"/>
                  <a:gd name="connsiteX2746" fmla="*/ 1122998 w 1969770"/>
                  <a:gd name="connsiteY2746" fmla="*/ 1490663 h 1744979"/>
                  <a:gd name="connsiteX2747" fmla="*/ 1156335 w 1969770"/>
                  <a:gd name="connsiteY2747" fmla="*/ 1483043 h 1744979"/>
                  <a:gd name="connsiteX2748" fmla="*/ 1188720 w 1969770"/>
                  <a:gd name="connsiteY2748" fmla="*/ 1473518 h 1744979"/>
                  <a:gd name="connsiteX2749" fmla="*/ 1221105 w 1969770"/>
                  <a:gd name="connsiteY2749" fmla="*/ 1463040 h 1744979"/>
                  <a:gd name="connsiteX2750" fmla="*/ 1252538 w 1969770"/>
                  <a:gd name="connsiteY2750" fmla="*/ 1450658 h 1744979"/>
                  <a:gd name="connsiteX2751" fmla="*/ 1283018 w 1969770"/>
                  <a:gd name="connsiteY2751" fmla="*/ 1437323 h 1744979"/>
                  <a:gd name="connsiteX2752" fmla="*/ 1312545 w 1969770"/>
                  <a:gd name="connsiteY2752" fmla="*/ 1422083 h 1744979"/>
                  <a:gd name="connsiteX2753" fmla="*/ 1341120 w 1969770"/>
                  <a:gd name="connsiteY2753" fmla="*/ 1405890 h 1744979"/>
                  <a:gd name="connsiteX2754" fmla="*/ 1368743 w 1969770"/>
                  <a:gd name="connsiteY2754" fmla="*/ 1387793 h 1744979"/>
                  <a:gd name="connsiteX2755" fmla="*/ 1395413 w 1969770"/>
                  <a:gd name="connsiteY2755" fmla="*/ 1368743 h 1744979"/>
                  <a:gd name="connsiteX2756" fmla="*/ 1421130 w 1969770"/>
                  <a:gd name="connsiteY2756" fmla="*/ 1348740 h 1744979"/>
                  <a:gd name="connsiteX2757" fmla="*/ 1445895 w 1969770"/>
                  <a:gd name="connsiteY2757" fmla="*/ 1326833 h 1744979"/>
                  <a:gd name="connsiteX2758" fmla="*/ 1469708 w 1969770"/>
                  <a:gd name="connsiteY2758" fmla="*/ 1303973 h 1744979"/>
                  <a:gd name="connsiteX2759" fmla="*/ 1492568 w 1969770"/>
                  <a:gd name="connsiteY2759" fmla="*/ 1280160 h 1744979"/>
                  <a:gd name="connsiteX2760" fmla="*/ 1514475 w 1969770"/>
                  <a:gd name="connsiteY2760" fmla="*/ 1255395 h 1744979"/>
                  <a:gd name="connsiteX2761" fmla="*/ 1534478 w 1969770"/>
                  <a:gd name="connsiteY2761" fmla="*/ 1229678 h 1744979"/>
                  <a:gd name="connsiteX2762" fmla="*/ 1553528 w 1969770"/>
                  <a:gd name="connsiteY2762" fmla="*/ 1203008 h 1744979"/>
                  <a:gd name="connsiteX2763" fmla="*/ 1571625 w 1969770"/>
                  <a:gd name="connsiteY2763" fmla="*/ 1175385 h 1744979"/>
                  <a:gd name="connsiteX2764" fmla="*/ 1587818 w 1969770"/>
                  <a:gd name="connsiteY2764" fmla="*/ 1146810 h 1744979"/>
                  <a:gd name="connsiteX2765" fmla="*/ 1603058 w 1969770"/>
                  <a:gd name="connsiteY2765" fmla="*/ 1117283 h 1744979"/>
                  <a:gd name="connsiteX2766" fmla="*/ 1616393 w 1969770"/>
                  <a:gd name="connsiteY2766" fmla="*/ 1086803 h 1744979"/>
                  <a:gd name="connsiteX2767" fmla="*/ 1628775 w 1969770"/>
                  <a:gd name="connsiteY2767" fmla="*/ 1056323 h 1744979"/>
                  <a:gd name="connsiteX2768" fmla="*/ 1639253 w 1969770"/>
                  <a:gd name="connsiteY2768" fmla="*/ 1024890 h 1744979"/>
                  <a:gd name="connsiteX2769" fmla="*/ 1648778 w 1969770"/>
                  <a:gd name="connsiteY2769" fmla="*/ 992505 h 1744979"/>
                  <a:gd name="connsiteX2770" fmla="*/ 1656398 w 1969770"/>
                  <a:gd name="connsiteY2770" fmla="*/ 959168 h 1744979"/>
                  <a:gd name="connsiteX2771" fmla="*/ 1662113 w 1969770"/>
                  <a:gd name="connsiteY2771" fmla="*/ 925830 h 1744979"/>
                  <a:gd name="connsiteX2772" fmla="*/ 1665923 w 1969770"/>
                  <a:gd name="connsiteY2772" fmla="*/ 891540 h 1744979"/>
                  <a:gd name="connsiteX2773" fmla="*/ 1668780 w 1969770"/>
                  <a:gd name="connsiteY2773" fmla="*/ 857250 h 1744979"/>
                  <a:gd name="connsiteX2774" fmla="*/ 1669733 w 1969770"/>
                  <a:gd name="connsiteY2774" fmla="*/ 822008 h 1744979"/>
                  <a:gd name="connsiteX2775" fmla="*/ 1668780 w 1969770"/>
                  <a:gd name="connsiteY2775" fmla="*/ 788670 h 1744979"/>
                  <a:gd name="connsiteX2776" fmla="*/ 1665923 w 1969770"/>
                  <a:gd name="connsiteY2776" fmla="*/ 756285 h 1744979"/>
                  <a:gd name="connsiteX2777" fmla="*/ 1662113 w 1969770"/>
                  <a:gd name="connsiteY2777" fmla="*/ 723900 h 1744979"/>
                  <a:gd name="connsiteX2778" fmla="*/ 1656398 w 1969770"/>
                  <a:gd name="connsiteY2778" fmla="*/ 692468 h 1744979"/>
                  <a:gd name="connsiteX2779" fmla="*/ 1649730 w 1969770"/>
                  <a:gd name="connsiteY2779" fmla="*/ 661035 h 1744979"/>
                  <a:gd name="connsiteX2780" fmla="*/ 1642110 w 1969770"/>
                  <a:gd name="connsiteY2780" fmla="*/ 630555 h 1744979"/>
                  <a:gd name="connsiteX2781" fmla="*/ 1632585 w 1969770"/>
                  <a:gd name="connsiteY2781" fmla="*/ 601028 h 1744979"/>
                  <a:gd name="connsiteX2782" fmla="*/ 1622108 w 1969770"/>
                  <a:gd name="connsiteY2782" fmla="*/ 571500 h 1744979"/>
                  <a:gd name="connsiteX2783" fmla="*/ 1609725 w 1969770"/>
                  <a:gd name="connsiteY2783" fmla="*/ 542925 h 1744979"/>
                  <a:gd name="connsiteX2784" fmla="*/ 1596390 w 1969770"/>
                  <a:gd name="connsiteY2784" fmla="*/ 514350 h 1744979"/>
                  <a:gd name="connsiteX2785" fmla="*/ 1582103 w 1969770"/>
                  <a:gd name="connsiteY2785" fmla="*/ 486728 h 1744979"/>
                  <a:gd name="connsiteX2786" fmla="*/ 1565910 w 1969770"/>
                  <a:gd name="connsiteY2786" fmla="*/ 460058 h 1744979"/>
                  <a:gd name="connsiteX2787" fmla="*/ 1548765 w 1969770"/>
                  <a:gd name="connsiteY2787" fmla="*/ 434340 h 1744979"/>
                  <a:gd name="connsiteX2788" fmla="*/ 1530668 w 1969770"/>
                  <a:gd name="connsiteY2788" fmla="*/ 409575 h 1744979"/>
                  <a:gd name="connsiteX2789" fmla="*/ 1511618 w 1969770"/>
                  <a:gd name="connsiteY2789" fmla="*/ 385763 h 1744979"/>
                  <a:gd name="connsiteX2790" fmla="*/ 1491615 w 1969770"/>
                  <a:gd name="connsiteY2790" fmla="*/ 362903 h 1744979"/>
                  <a:gd name="connsiteX2791" fmla="*/ 1470660 w 1969770"/>
                  <a:gd name="connsiteY2791" fmla="*/ 340043 h 1744979"/>
                  <a:gd name="connsiteX2792" fmla="*/ 1448753 w 1969770"/>
                  <a:gd name="connsiteY2792" fmla="*/ 319088 h 1744979"/>
                  <a:gd name="connsiteX2793" fmla="*/ 1425893 w 1969770"/>
                  <a:gd name="connsiteY2793" fmla="*/ 299085 h 1744979"/>
                  <a:gd name="connsiteX2794" fmla="*/ 1402080 w 1969770"/>
                  <a:gd name="connsiteY2794" fmla="*/ 280035 h 1744979"/>
                  <a:gd name="connsiteX2795" fmla="*/ 1377315 w 1969770"/>
                  <a:gd name="connsiteY2795" fmla="*/ 261938 h 1744979"/>
                  <a:gd name="connsiteX2796" fmla="*/ 1351598 w 1969770"/>
                  <a:gd name="connsiteY2796" fmla="*/ 244793 h 1744979"/>
                  <a:gd name="connsiteX2797" fmla="*/ 1323975 w 1969770"/>
                  <a:gd name="connsiteY2797" fmla="*/ 228600 h 1744979"/>
                  <a:gd name="connsiteX2798" fmla="*/ 1296353 w 1969770"/>
                  <a:gd name="connsiteY2798" fmla="*/ 214313 h 1744979"/>
                  <a:gd name="connsiteX2799" fmla="*/ 1267778 w 1969770"/>
                  <a:gd name="connsiteY2799" fmla="*/ 200978 h 1744979"/>
                  <a:gd name="connsiteX2800" fmla="*/ 1239203 w 1969770"/>
                  <a:gd name="connsiteY2800" fmla="*/ 188595 h 1744979"/>
                  <a:gd name="connsiteX2801" fmla="*/ 1209675 w 1969770"/>
                  <a:gd name="connsiteY2801" fmla="*/ 178118 h 1744979"/>
                  <a:gd name="connsiteX2802" fmla="*/ 1180148 w 1969770"/>
                  <a:gd name="connsiteY2802" fmla="*/ 168593 h 1744979"/>
                  <a:gd name="connsiteX2803" fmla="*/ 1149668 w 1969770"/>
                  <a:gd name="connsiteY2803" fmla="*/ 160973 h 1744979"/>
                  <a:gd name="connsiteX2804" fmla="*/ 1119188 w 1969770"/>
                  <a:gd name="connsiteY2804" fmla="*/ 154305 h 1744979"/>
                  <a:gd name="connsiteX2805" fmla="*/ 1086803 w 1969770"/>
                  <a:gd name="connsiteY2805" fmla="*/ 148590 h 1744979"/>
                  <a:gd name="connsiteX2806" fmla="*/ 1054418 w 1969770"/>
                  <a:gd name="connsiteY2806" fmla="*/ 144780 h 1744979"/>
                  <a:gd name="connsiteX2807" fmla="*/ 1054418 w 1969770"/>
                  <a:gd name="connsiteY2807" fmla="*/ 168593 h 1744979"/>
                  <a:gd name="connsiteX2808" fmla="*/ 1067753 w 1969770"/>
                  <a:gd name="connsiteY2808" fmla="*/ 169545 h 1744979"/>
                  <a:gd name="connsiteX2809" fmla="*/ 1082040 w 1969770"/>
                  <a:gd name="connsiteY2809" fmla="*/ 171450 h 1744979"/>
                  <a:gd name="connsiteX2810" fmla="*/ 1096328 w 1969770"/>
                  <a:gd name="connsiteY2810" fmla="*/ 173355 h 1744979"/>
                  <a:gd name="connsiteX2811" fmla="*/ 1110615 w 1969770"/>
                  <a:gd name="connsiteY2811" fmla="*/ 176213 h 1744979"/>
                  <a:gd name="connsiteX2812" fmla="*/ 1123950 w 1969770"/>
                  <a:gd name="connsiteY2812" fmla="*/ 179070 h 1744979"/>
                  <a:gd name="connsiteX2813" fmla="*/ 1137285 w 1969770"/>
                  <a:gd name="connsiteY2813" fmla="*/ 181928 h 1744979"/>
                  <a:gd name="connsiteX2814" fmla="*/ 1150620 w 1969770"/>
                  <a:gd name="connsiteY2814" fmla="*/ 184785 h 1744979"/>
                  <a:gd name="connsiteX2815" fmla="*/ 1163955 w 1969770"/>
                  <a:gd name="connsiteY2815" fmla="*/ 188595 h 1744979"/>
                  <a:gd name="connsiteX2816" fmla="*/ 1177290 w 1969770"/>
                  <a:gd name="connsiteY2816" fmla="*/ 192405 h 1744979"/>
                  <a:gd name="connsiteX2817" fmla="*/ 1190625 w 1969770"/>
                  <a:gd name="connsiteY2817" fmla="*/ 196215 h 1744979"/>
                  <a:gd name="connsiteX2818" fmla="*/ 1203960 w 1969770"/>
                  <a:gd name="connsiteY2818" fmla="*/ 200978 h 1744979"/>
                  <a:gd name="connsiteX2819" fmla="*/ 1217295 w 1969770"/>
                  <a:gd name="connsiteY2819" fmla="*/ 205740 h 1744979"/>
                  <a:gd name="connsiteX2820" fmla="*/ 1230630 w 1969770"/>
                  <a:gd name="connsiteY2820" fmla="*/ 210503 h 1744979"/>
                  <a:gd name="connsiteX2821" fmla="*/ 1243013 w 1969770"/>
                  <a:gd name="connsiteY2821" fmla="*/ 216218 h 1744979"/>
                  <a:gd name="connsiteX2822" fmla="*/ 1255395 w 1969770"/>
                  <a:gd name="connsiteY2822" fmla="*/ 221933 h 1744979"/>
                  <a:gd name="connsiteX2823" fmla="*/ 1267778 w 1969770"/>
                  <a:gd name="connsiteY2823" fmla="*/ 227648 h 1744979"/>
                  <a:gd name="connsiteX2824" fmla="*/ 1280160 w 1969770"/>
                  <a:gd name="connsiteY2824" fmla="*/ 233363 h 1744979"/>
                  <a:gd name="connsiteX2825" fmla="*/ 1292543 w 1969770"/>
                  <a:gd name="connsiteY2825" fmla="*/ 240030 h 1744979"/>
                  <a:gd name="connsiteX2826" fmla="*/ 1304925 w 1969770"/>
                  <a:gd name="connsiteY2826" fmla="*/ 246698 h 1744979"/>
                  <a:gd name="connsiteX2827" fmla="*/ 1317308 w 1969770"/>
                  <a:gd name="connsiteY2827" fmla="*/ 253365 h 1744979"/>
                  <a:gd name="connsiteX2828" fmla="*/ 1328738 w 1969770"/>
                  <a:gd name="connsiteY2828" fmla="*/ 260033 h 1744979"/>
                  <a:gd name="connsiteX2829" fmla="*/ 1340168 w 1969770"/>
                  <a:gd name="connsiteY2829" fmla="*/ 267653 h 1744979"/>
                  <a:gd name="connsiteX2830" fmla="*/ 1351598 w 1969770"/>
                  <a:gd name="connsiteY2830" fmla="*/ 275273 h 1744979"/>
                  <a:gd name="connsiteX2831" fmla="*/ 1363028 w 1969770"/>
                  <a:gd name="connsiteY2831" fmla="*/ 282893 h 1744979"/>
                  <a:gd name="connsiteX2832" fmla="*/ 1374458 w 1969770"/>
                  <a:gd name="connsiteY2832" fmla="*/ 290513 h 1744979"/>
                  <a:gd name="connsiteX2833" fmla="*/ 1384935 w 1969770"/>
                  <a:gd name="connsiteY2833" fmla="*/ 298133 h 1744979"/>
                  <a:gd name="connsiteX2834" fmla="*/ 1395413 w 1969770"/>
                  <a:gd name="connsiteY2834" fmla="*/ 306705 h 1744979"/>
                  <a:gd name="connsiteX2835" fmla="*/ 1405890 w 1969770"/>
                  <a:gd name="connsiteY2835" fmla="*/ 315278 h 1744979"/>
                  <a:gd name="connsiteX2836" fmla="*/ 1416368 w 1969770"/>
                  <a:gd name="connsiteY2836" fmla="*/ 323850 h 1744979"/>
                  <a:gd name="connsiteX2837" fmla="*/ 1426845 w 1969770"/>
                  <a:gd name="connsiteY2837" fmla="*/ 332423 h 1744979"/>
                  <a:gd name="connsiteX2838" fmla="*/ 1437323 w 1969770"/>
                  <a:gd name="connsiteY2838" fmla="*/ 341948 h 1744979"/>
                  <a:gd name="connsiteX2839" fmla="*/ 1446848 w 1969770"/>
                  <a:gd name="connsiteY2839" fmla="*/ 351473 h 1744979"/>
                  <a:gd name="connsiteX2840" fmla="*/ 1371600 w 1969770"/>
                  <a:gd name="connsiteY2840" fmla="*/ 426720 h 1744979"/>
                  <a:gd name="connsiteX2841" fmla="*/ 1374458 w 1969770"/>
                  <a:gd name="connsiteY2841" fmla="*/ 415290 h 1744979"/>
                  <a:gd name="connsiteX2842" fmla="*/ 1365885 w 1969770"/>
                  <a:gd name="connsiteY2842" fmla="*/ 412433 h 1744979"/>
                  <a:gd name="connsiteX2843" fmla="*/ 1351598 w 1969770"/>
                  <a:gd name="connsiteY2843" fmla="*/ 409575 h 1744979"/>
                  <a:gd name="connsiteX2844" fmla="*/ 1354455 w 1969770"/>
                  <a:gd name="connsiteY2844" fmla="*/ 401003 h 1744979"/>
                  <a:gd name="connsiteX2845" fmla="*/ 1345883 w 1969770"/>
                  <a:gd name="connsiteY2845" fmla="*/ 369570 h 1744979"/>
                  <a:gd name="connsiteX2846" fmla="*/ 1325880 w 1969770"/>
                  <a:gd name="connsiteY2846" fmla="*/ 349568 h 1744979"/>
                  <a:gd name="connsiteX2847" fmla="*/ 1268730 w 1969770"/>
                  <a:gd name="connsiteY2847" fmla="*/ 318135 h 1744979"/>
                  <a:gd name="connsiteX2848" fmla="*/ 1263015 w 1969770"/>
                  <a:gd name="connsiteY2848" fmla="*/ 323850 h 1744979"/>
                  <a:gd name="connsiteX2849" fmla="*/ 1251585 w 1969770"/>
                  <a:gd name="connsiteY2849" fmla="*/ 326708 h 1744979"/>
                  <a:gd name="connsiteX2850" fmla="*/ 1265873 w 1969770"/>
                  <a:gd name="connsiteY2850" fmla="*/ 349568 h 1744979"/>
                  <a:gd name="connsiteX2851" fmla="*/ 1266825 w 1969770"/>
                  <a:gd name="connsiteY2851" fmla="*/ 351473 h 1744979"/>
                  <a:gd name="connsiteX2852" fmla="*/ 1257300 w 1969770"/>
                  <a:gd name="connsiteY2852" fmla="*/ 345758 h 1744979"/>
                  <a:gd name="connsiteX2853" fmla="*/ 1247775 w 1969770"/>
                  <a:gd name="connsiteY2853" fmla="*/ 340995 h 1744979"/>
                  <a:gd name="connsiteX2854" fmla="*/ 1238250 w 1969770"/>
                  <a:gd name="connsiteY2854" fmla="*/ 335280 h 1744979"/>
                  <a:gd name="connsiteX2855" fmla="*/ 1228725 w 1969770"/>
                  <a:gd name="connsiteY2855" fmla="*/ 330518 h 1744979"/>
                  <a:gd name="connsiteX2856" fmla="*/ 1224915 w 1969770"/>
                  <a:gd name="connsiteY2856" fmla="*/ 325755 h 1744979"/>
                  <a:gd name="connsiteX2857" fmla="*/ 1221105 w 1969770"/>
                  <a:gd name="connsiteY2857" fmla="*/ 320993 h 1744979"/>
                  <a:gd name="connsiteX2858" fmla="*/ 1216343 w 1969770"/>
                  <a:gd name="connsiteY2858" fmla="*/ 316230 h 1744979"/>
                  <a:gd name="connsiteX2859" fmla="*/ 1212533 w 1969770"/>
                  <a:gd name="connsiteY2859" fmla="*/ 311468 h 1744979"/>
                  <a:gd name="connsiteX2860" fmla="*/ 1207770 w 1969770"/>
                  <a:gd name="connsiteY2860" fmla="*/ 307658 h 1744979"/>
                  <a:gd name="connsiteX2861" fmla="*/ 1203008 w 1969770"/>
                  <a:gd name="connsiteY2861" fmla="*/ 303848 h 1744979"/>
                  <a:gd name="connsiteX2862" fmla="*/ 1197293 w 1969770"/>
                  <a:gd name="connsiteY2862" fmla="*/ 300038 h 1744979"/>
                  <a:gd name="connsiteX2863" fmla="*/ 1192530 w 1969770"/>
                  <a:gd name="connsiteY2863" fmla="*/ 296228 h 1744979"/>
                  <a:gd name="connsiteX2864" fmla="*/ 1182053 w 1969770"/>
                  <a:gd name="connsiteY2864" fmla="*/ 288608 h 1744979"/>
                  <a:gd name="connsiteX2865" fmla="*/ 1170623 w 1969770"/>
                  <a:gd name="connsiteY2865" fmla="*/ 281940 h 1744979"/>
                  <a:gd name="connsiteX2866" fmla="*/ 1159193 w 1969770"/>
                  <a:gd name="connsiteY2866" fmla="*/ 275273 h 1744979"/>
                  <a:gd name="connsiteX2867" fmla="*/ 1146810 w 1969770"/>
                  <a:gd name="connsiteY2867" fmla="*/ 269558 h 1744979"/>
                  <a:gd name="connsiteX2868" fmla="*/ 1134428 w 1969770"/>
                  <a:gd name="connsiteY2868" fmla="*/ 263843 h 1744979"/>
                  <a:gd name="connsiteX2869" fmla="*/ 1122045 w 1969770"/>
                  <a:gd name="connsiteY2869" fmla="*/ 259080 h 1744979"/>
                  <a:gd name="connsiteX2870" fmla="*/ 1109663 w 1969770"/>
                  <a:gd name="connsiteY2870" fmla="*/ 255270 h 1744979"/>
                  <a:gd name="connsiteX2871" fmla="*/ 1097280 w 1969770"/>
                  <a:gd name="connsiteY2871" fmla="*/ 251460 h 1744979"/>
                  <a:gd name="connsiteX2872" fmla="*/ 1084898 w 1969770"/>
                  <a:gd name="connsiteY2872" fmla="*/ 248603 h 1744979"/>
                  <a:gd name="connsiteX2873" fmla="*/ 1072515 w 1969770"/>
                  <a:gd name="connsiteY2873" fmla="*/ 246698 h 1744979"/>
                  <a:gd name="connsiteX2874" fmla="*/ 1060133 w 1969770"/>
                  <a:gd name="connsiteY2874" fmla="*/ 244793 h 1744979"/>
                  <a:gd name="connsiteX2875" fmla="*/ 1046798 w 1969770"/>
                  <a:gd name="connsiteY2875" fmla="*/ 241935 h 1744979"/>
                  <a:gd name="connsiteX2876" fmla="*/ 1046798 w 1969770"/>
                  <a:gd name="connsiteY2876" fmla="*/ 241935 h 1744979"/>
                  <a:gd name="connsiteX2877" fmla="*/ 1245870 w 1969770"/>
                  <a:gd name="connsiteY2877" fmla="*/ 499110 h 1744979"/>
                  <a:gd name="connsiteX2878" fmla="*/ 1248728 w 1969770"/>
                  <a:gd name="connsiteY2878" fmla="*/ 491490 h 1744979"/>
                  <a:gd name="connsiteX2879" fmla="*/ 1251585 w 1969770"/>
                  <a:gd name="connsiteY2879" fmla="*/ 482918 h 1744979"/>
                  <a:gd name="connsiteX2880" fmla="*/ 1253490 w 1969770"/>
                  <a:gd name="connsiteY2880" fmla="*/ 474345 h 1744979"/>
                  <a:gd name="connsiteX2881" fmla="*/ 1255395 w 1969770"/>
                  <a:gd name="connsiteY2881" fmla="*/ 464820 h 1744979"/>
                  <a:gd name="connsiteX2882" fmla="*/ 1257300 w 1969770"/>
                  <a:gd name="connsiteY2882" fmla="*/ 455295 h 1744979"/>
                  <a:gd name="connsiteX2883" fmla="*/ 1258253 w 1969770"/>
                  <a:gd name="connsiteY2883" fmla="*/ 444818 h 1744979"/>
                  <a:gd name="connsiteX2884" fmla="*/ 1259205 w 1969770"/>
                  <a:gd name="connsiteY2884" fmla="*/ 434340 h 1744979"/>
                  <a:gd name="connsiteX2885" fmla="*/ 1259205 w 1969770"/>
                  <a:gd name="connsiteY2885" fmla="*/ 423863 h 1744979"/>
                  <a:gd name="connsiteX2886" fmla="*/ 1259205 w 1969770"/>
                  <a:gd name="connsiteY2886" fmla="*/ 416243 h 1744979"/>
                  <a:gd name="connsiteX2887" fmla="*/ 1259205 w 1969770"/>
                  <a:gd name="connsiteY2887" fmla="*/ 409575 h 1744979"/>
                  <a:gd name="connsiteX2888" fmla="*/ 1258253 w 1969770"/>
                  <a:gd name="connsiteY2888" fmla="*/ 402908 h 1744979"/>
                  <a:gd name="connsiteX2889" fmla="*/ 1257300 w 1969770"/>
                  <a:gd name="connsiteY2889" fmla="*/ 396240 h 1744979"/>
                  <a:gd name="connsiteX2890" fmla="*/ 1256348 w 1969770"/>
                  <a:gd name="connsiteY2890" fmla="*/ 389573 h 1744979"/>
                  <a:gd name="connsiteX2891" fmla="*/ 1254443 w 1969770"/>
                  <a:gd name="connsiteY2891" fmla="*/ 382905 h 1744979"/>
                  <a:gd name="connsiteX2892" fmla="*/ 1252538 w 1969770"/>
                  <a:gd name="connsiteY2892" fmla="*/ 376238 h 1744979"/>
                  <a:gd name="connsiteX2893" fmla="*/ 1250633 w 1969770"/>
                  <a:gd name="connsiteY2893" fmla="*/ 369570 h 1744979"/>
                  <a:gd name="connsiteX2894" fmla="*/ 1257300 w 1969770"/>
                  <a:gd name="connsiteY2894" fmla="*/ 373380 h 1744979"/>
                  <a:gd name="connsiteX2895" fmla="*/ 1263968 w 1969770"/>
                  <a:gd name="connsiteY2895" fmla="*/ 377190 h 1744979"/>
                  <a:gd name="connsiteX2896" fmla="*/ 1270635 w 1969770"/>
                  <a:gd name="connsiteY2896" fmla="*/ 381000 h 1744979"/>
                  <a:gd name="connsiteX2897" fmla="*/ 1277303 w 1969770"/>
                  <a:gd name="connsiteY2897" fmla="*/ 384810 h 1744979"/>
                  <a:gd name="connsiteX2898" fmla="*/ 1280160 w 1969770"/>
                  <a:gd name="connsiteY2898" fmla="*/ 399098 h 1744979"/>
                  <a:gd name="connsiteX2899" fmla="*/ 1283018 w 1969770"/>
                  <a:gd name="connsiteY2899" fmla="*/ 424815 h 1744979"/>
                  <a:gd name="connsiteX2900" fmla="*/ 1283018 w 1969770"/>
                  <a:gd name="connsiteY2900" fmla="*/ 439103 h 1744979"/>
                  <a:gd name="connsiteX2901" fmla="*/ 1311593 w 1969770"/>
                  <a:gd name="connsiteY2901" fmla="*/ 476250 h 1744979"/>
                  <a:gd name="connsiteX2902" fmla="*/ 1297305 w 1969770"/>
                  <a:gd name="connsiteY2902" fmla="*/ 479108 h 1744979"/>
                  <a:gd name="connsiteX2903" fmla="*/ 1306830 w 1969770"/>
                  <a:gd name="connsiteY2903" fmla="*/ 490538 h 1744979"/>
                  <a:gd name="connsiteX2904" fmla="*/ 1281113 w 1969770"/>
                  <a:gd name="connsiteY2904" fmla="*/ 515303 h 1744979"/>
                  <a:gd name="connsiteX2905" fmla="*/ 1271588 w 1969770"/>
                  <a:gd name="connsiteY2905" fmla="*/ 499110 h 1744979"/>
                  <a:gd name="connsiteX2906" fmla="*/ 1264920 w 1969770"/>
                  <a:gd name="connsiteY2906" fmla="*/ 515303 h 1744979"/>
                  <a:gd name="connsiteX2907" fmla="*/ 1260158 w 1969770"/>
                  <a:gd name="connsiteY2907" fmla="*/ 511493 h 1744979"/>
                  <a:gd name="connsiteX2908" fmla="*/ 1255395 w 1969770"/>
                  <a:gd name="connsiteY2908" fmla="*/ 507683 h 1744979"/>
                  <a:gd name="connsiteX2909" fmla="*/ 1250633 w 1969770"/>
                  <a:gd name="connsiteY2909" fmla="*/ 503873 h 1744979"/>
                  <a:gd name="connsiteX2910" fmla="*/ 1245870 w 1969770"/>
                  <a:gd name="connsiteY2910" fmla="*/ 499110 h 1744979"/>
                  <a:gd name="connsiteX2911" fmla="*/ 1245870 w 1969770"/>
                  <a:gd name="connsiteY2911" fmla="*/ 499110 h 1744979"/>
                  <a:gd name="connsiteX2912" fmla="*/ 920115 w 1969770"/>
                  <a:gd name="connsiteY2912" fmla="*/ 256223 h 1744979"/>
                  <a:gd name="connsiteX2913" fmla="*/ 911543 w 1969770"/>
                  <a:gd name="connsiteY2913" fmla="*/ 260033 h 1744979"/>
                  <a:gd name="connsiteX2914" fmla="*/ 902970 w 1969770"/>
                  <a:gd name="connsiteY2914" fmla="*/ 263843 h 1744979"/>
                  <a:gd name="connsiteX2915" fmla="*/ 894398 w 1969770"/>
                  <a:gd name="connsiteY2915" fmla="*/ 266700 h 1744979"/>
                  <a:gd name="connsiteX2916" fmla="*/ 885825 w 1969770"/>
                  <a:gd name="connsiteY2916" fmla="*/ 270510 h 1744979"/>
                  <a:gd name="connsiteX2917" fmla="*/ 877253 w 1969770"/>
                  <a:gd name="connsiteY2917" fmla="*/ 274320 h 1744979"/>
                  <a:gd name="connsiteX2918" fmla="*/ 868680 w 1969770"/>
                  <a:gd name="connsiteY2918" fmla="*/ 278130 h 1744979"/>
                  <a:gd name="connsiteX2919" fmla="*/ 860108 w 1969770"/>
                  <a:gd name="connsiteY2919" fmla="*/ 281940 h 1744979"/>
                  <a:gd name="connsiteX2920" fmla="*/ 851535 w 1969770"/>
                  <a:gd name="connsiteY2920" fmla="*/ 285750 h 1744979"/>
                  <a:gd name="connsiteX2921" fmla="*/ 843915 w 1969770"/>
                  <a:gd name="connsiteY2921" fmla="*/ 285750 h 1744979"/>
                  <a:gd name="connsiteX2922" fmla="*/ 836295 w 1969770"/>
                  <a:gd name="connsiteY2922" fmla="*/ 286703 h 1744979"/>
                  <a:gd name="connsiteX2923" fmla="*/ 829628 w 1969770"/>
                  <a:gd name="connsiteY2923" fmla="*/ 288608 h 1744979"/>
                  <a:gd name="connsiteX2924" fmla="*/ 822960 w 1969770"/>
                  <a:gd name="connsiteY2924" fmla="*/ 290513 h 1744979"/>
                  <a:gd name="connsiteX2925" fmla="*/ 816293 w 1969770"/>
                  <a:gd name="connsiteY2925" fmla="*/ 293370 h 1744979"/>
                  <a:gd name="connsiteX2926" fmla="*/ 810578 w 1969770"/>
                  <a:gd name="connsiteY2926" fmla="*/ 295275 h 1744979"/>
                  <a:gd name="connsiteX2927" fmla="*/ 803910 w 1969770"/>
                  <a:gd name="connsiteY2927" fmla="*/ 298133 h 1744979"/>
                  <a:gd name="connsiteX2928" fmla="*/ 797243 w 1969770"/>
                  <a:gd name="connsiteY2928" fmla="*/ 300990 h 1744979"/>
                  <a:gd name="connsiteX2929" fmla="*/ 791528 w 1969770"/>
                  <a:gd name="connsiteY2929" fmla="*/ 304800 h 1744979"/>
                  <a:gd name="connsiteX2930" fmla="*/ 785813 w 1969770"/>
                  <a:gd name="connsiteY2930" fmla="*/ 308610 h 1744979"/>
                  <a:gd name="connsiteX2931" fmla="*/ 780098 w 1969770"/>
                  <a:gd name="connsiteY2931" fmla="*/ 312420 h 1744979"/>
                  <a:gd name="connsiteX2932" fmla="*/ 774383 w 1969770"/>
                  <a:gd name="connsiteY2932" fmla="*/ 316230 h 1744979"/>
                  <a:gd name="connsiteX2933" fmla="*/ 769620 w 1969770"/>
                  <a:gd name="connsiteY2933" fmla="*/ 320993 h 1744979"/>
                  <a:gd name="connsiteX2934" fmla="*/ 764858 w 1969770"/>
                  <a:gd name="connsiteY2934" fmla="*/ 325755 h 1744979"/>
                  <a:gd name="connsiteX2935" fmla="*/ 760095 w 1969770"/>
                  <a:gd name="connsiteY2935" fmla="*/ 330518 h 1744979"/>
                  <a:gd name="connsiteX2936" fmla="*/ 755333 w 1969770"/>
                  <a:gd name="connsiteY2936" fmla="*/ 335280 h 1744979"/>
                  <a:gd name="connsiteX2937" fmla="*/ 750570 w 1969770"/>
                  <a:gd name="connsiteY2937" fmla="*/ 340043 h 1744979"/>
                  <a:gd name="connsiteX2938" fmla="*/ 745808 w 1969770"/>
                  <a:gd name="connsiteY2938" fmla="*/ 345758 h 1744979"/>
                  <a:gd name="connsiteX2939" fmla="*/ 741998 w 1969770"/>
                  <a:gd name="connsiteY2939" fmla="*/ 351473 h 1744979"/>
                  <a:gd name="connsiteX2940" fmla="*/ 738188 w 1969770"/>
                  <a:gd name="connsiteY2940" fmla="*/ 358140 h 1744979"/>
                  <a:gd name="connsiteX2941" fmla="*/ 733425 w 1969770"/>
                  <a:gd name="connsiteY2941" fmla="*/ 363855 h 1744979"/>
                  <a:gd name="connsiteX2942" fmla="*/ 729615 w 1969770"/>
                  <a:gd name="connsiteY2942" fmla="*/ 370523 h 1744979"/>
                  <a:gd name="connsiteX2943" fmla="*/ 725805 w 1969770"/>
                  <a:gd name="connsiteY2943" fmla="*/ 377190 h 1744979"/>
                  <a:gd name="connsiteX2944" fmla="*/ 721995 w 1969770"/>
                  <a:gd name="connsiteY2944" fmla="*/ 383858 h 1744979"/>
                  <a:gd name="connsiteX2945" fmla="*/ 719138 w 1969770"/>
                  <a:gd name="connsiteY2945" fmla="*/ 391478 h 1744979"/>
                  <a:gd name="connsiteX2946" fmla="*/ 716280 w 1969770"/>
                  <a:gd name="connsiteY2946" fmla="*/ 399098 h 1744979"/>
                  <a:gd name="connsiteX2947" fmla="*/ 713423 w 1969770"/>
                  <a:gd name="connsiteY2947" fmla="*/ 406718 h 1744979"/>
                  <a:gd name="connsiteX2948" fmla="*/ 710565 w 1969770"/>
                  <a:gd name="connsiteY2948" fmla="*/ 415290 h 1744979"/>
                  <a:gd name="connsiteX2949" fmla="*/ 707708 w 1969770"/>
                  <a:gd name="connsiteY2949" fmla="*/ 423863 h 1744979"/>
                  <a:gd name="connsiteX2950" fmla="*/ 704850 w 1969770"/>
                  <a:gd name="connsiteY2950" fmla="*/ 432435 h 1744979"/>
                  <a:gd name="connsiteX2951" fmla="*/ 702945 w 1969770"/>
                  <a:gd name="connsiteY2951" fmla="*/ 441008 h 1744979"/>
                  <a:gd name="connsiteX2952" fmla="*/ 701040 w 1969770"/>
                  <a:gd name="connsiteY2952" fmla="*/ 450533 h 1744979"/>
                  <a:gd name="connsiteX2953" fmla="*/ 701040 w 1969770"/>
                  <a:gd name="connsiteY2953" fmla="*/ 450533 h 1744979"/>
                  <a:gd name="connsiteX2954" fmla="*/ 701040 w 1969770"/>
                  <a:gd name="connsiteY2954" fmla="*/ 450533 h 1744979"/>
                  <a:gd name="connsiteX2955" fmla="*/ 701040 w 1969770"/>
                  <a:gd name="connsiteY2955" fmla="*/ 452438 h 1744979"/>
                  <a:gd name="connsiteX2956" fmla="*/ 701040 w 1969770"/>
                  <a:gd name="connsiteY2956" fmla="*/ 454343 h 1744979"/>
                  <a:gd name="connsiteX2957" fmla="*/ 700088 w 1969770"/>
                  <a:gd name="connsiteY2957" fmla="*/ 454343 h 1744979"/>
                  <a:gd name="connsiteX2958" fmla="*/ 698183 w 1969770"/>
                  <a:gd name="connsiteY2958" fmla="*/ 460058 h 1744979"/>
                  <a:gd name="connsiteX2959" fmla="*/ 696278 w 1969770"/>
                  <a:gd name="connsiteY2959" fmla="*/ 465773 h 1744979"/>
                  <a:gd name="connsiteX2960" fmla="*/ 694373 w 1969770"/>
                  <a:gd name="connsiteY2960" fmla="*/ 471488 h 1744979"/>
                  <a:gd name="connsiteX2961" fmla="*/ 691515 w 1969770"/>
                  <a:gd name="connsiteY2961" fmla="*/ 475298 h 1744979"/>
                  <a:gd name="connsiteX2962" fmla="*/ 688658 w 1969770"/>
                  <a:gd name="connsiteY2962" fmla="*/ 479108 h 1744979"/>
                  <a:gd name="connsiteX2963" fmla="*/ 685800 w 1969770"/>
                  <a:gd name="connsiteY2963" fmla="*/ 483870 h 1744979"/>
                  <a:gd name="connsiteX2964" fmla="*/ 681990 w 1969770"/>
                  <a:gd name="connsiteY2964" fmla="*/ 486728 h 1744979"/>
                  <a:gd name="connsiteX2965" fmla="*/ 678180 w 1969770"/>
                  <a:gd name="connsiteY2965" fmla="*/ 489585 h 1744979"/>
                  <a:gd name="connsiteX2966" fmla="*/ 674370 w 1969770"/>
                  <a:gd name="connsiteY2966" fmla="*/ 492443 h 1744979"/>
                  <a:gd name="connsiteX2967" fmla="*/ 670560 w 1969770"/>
                  <a:gd name="connsiteY2967" fmla="*/ 494348 h 1744979"/>
                  <a:gd name="connsiteX2968" fmla="*/ 665798 w 1969770"/>
                  <a:gd name="connsiteY2968" fmla="*/ 496253 h 1744979"/>
                  <a:gd name="connsiteX2969" fmla="*/ 661035 w 1969770"/>
                  <a:gd name="connsiteY2969" fmla="*/ 497205 h 1744979"/>
                  <a:gd name="connsiteX2970" fmla="*/ 656273 w 1969770"/>
                  <a:gd name="connsiteY2970" fmla="*/ 498158 h 1744979"/>
                  <a:gd name="connsiteX2971" fmla="*/ 650558 w 1969770"/>
                  <a:gd name="connsiteY2971" fmla="*/ 499110 h 1744979"/>
                  <a:gd name="connsiteX2972" fmla="*/ 644843 w 1969770"/>
                  <a:gd name="connsiteY2972" fmla="*/ 499110 h 1744979"/>
                  <a:gd name="connsiteX2973" fmla="*/ 639128 w 1969770"/>
                  <a:gd name="connsiteY2973" fmla="*/ 499110 h 1744979"/>
                  <a:gd name="connsiteX2974" fmla="*/ 641985 w 1969770"/>
                  <a:gd name="connsiteY2974" fmla="*/ 499110 h 1744979"/>
                  <a:gd name="connsiteX2975" fmla="*/ 645795 w 1969770"/>
                  <a:gd name="connsiteY2975" fmla="*/ 500063 h 1744979"/>
                  <a:gd name="connsiteX2976" fmla="*/ 649605 w 1969770"/>
                  <a:gd name="connsiteY2976" fmla="*/ 500063 h 1744979"/>
                  <a:gd name="connsiteX2977" fmla="*/ 654368 w 1969770"/>
                  <a:gd name="connsiteY2977" fmla="*/ 500063 h 1744979"/>
                  <a:gd name="connsiteX2978" fmla="*/ 659130 w 1969770"/>
                  <a:gd name="connsiteY2978" fmla="*/ 500063 h 1744979"/>
                  <a:gd name="connsiteX2979" fmla="*/ 664845 w 1969770"/>
                  <a:gd name="connsiteY2979" fmla="*/ 499110 h 1744979"/>
                  <a:gd name="connsiteX2980" fmla="*/ 670560 w 1969770"/>
                  <a:gd name="connsiteY2980" fmla="*/ 498158 h 1744979"/>
                  <a:gd name="connsiteX2981" fmla="*/ 677228 w 1969770"/>
                  <a:gd name="connsiteY2981" fmla="*/ 496253 h 1744979"/>
                  <a:gd name="connsiteX2982" fmla="*/ 676275 w 1969770"/>
                  <a:gd name="connsiteY2982" fmla="*/ 503873 h 1744979"/>
                  <a:gd name="connsiteX2983" fmla="*/ 673418 w 1969770"/>
                  <a:gd name="connsiteY2983" fmla="*/ 511493 h 1744979"/>
                  <a:gd name="connsiteX2984" fmla="*/ 673418 w 1969770"/>
                  <a:gd name="connsiteY2984" fmla="*/ 514350 h 1744979"/>
                  <a:gd name="connsiteX2985" fmla="*/ 672465 w 1969770"/>
                  <a:gd name="connsiteY2985" fmla="*/ 518160 h 1744979"/>
                  <a:gd name="connsiteX2986" fmla="*/ 671513 w 1969770"/>
                  <a:gd name="connsiteY2986" fmla="*/ 521970 h 1744979"/>
                  <a:gd name="connsiteX2987" fmla="*/ 671513 w 1969770"/>
                  <a:gd name="connsiteY2987" fmla="*/ 525780 h 1744979"/>
                  <a:gd name="connsiteX2988" fmla="*/ 673418 w 1969770"/>
                  <a:gd name="connsiteY2988" fmla="*/ 520065 h 1744979"/>
                  <a:gd name="connsiteX2989" fmla="*/ 676275 w 1969770"/>
                  <a:gd name="connsiteY2989" fmla="*/ 514350 h 1744979"/>
                  <a:gd name="connsiteX2990" fmla="*/ 678180 w 1969770"/>
                  <a:gd name="connsiteY2990" fmla="*/ 509588 h 1744979"/>
                  <a:gd name="connsiteX2991" fmla="*/ 681038 w 1969770"/>
                  <a:gd name="connsiteY2991" fmla="*/ 504825 h 1744979"/>
                  <a:gd name="connsiteX2992" fmla="*/ 683895 w 1969770"/>
                  <a:gd name="connsiteY2992" fmla="*/ 500063 h 1744979"/>
                  <a:gd name="connsiteX2993" fmla="*/ 685800 w 1969770"/>
                  <a:gd name="connsiteY2993" fmla="*/ 495300 h 1744979"/>
                  <a:gd name="connsiteX2994" fmla="*/ 688658 w 1969770"/>
                  <a:gd name="connsiteY2994" fmla="*/ 490538 h 1744979"/>
                  <a:gd name="connsiteX2995" fmla="*/ 691515 w 1969770"/>
                  <a:gd name="connsiteY2995" fmla="*/ 486728 h 1744979"/>
                  <a:gd name="connsiteX2996" fmla="*/ 694373 w 1969770"/>
                  <a:gd name="connsiteY2996" fmla="*/ 482918 h 1744979"/>
                  <a:gd name="connsiteX2997" fmla="*/ 697230 w 1969770"/>
                  <a:gd name="connsiteY2997" fmla="*/ 479108 h 1744979"/>
                  <a:gd name="connsiteX2998" fmla="*/ 700088 w 1969770"/>
                  <a:gd name="connsiteY2998" fmla="*/ 476250 h 1744979"/>
                  <a:gd name="connsiteX2999" fmla="*/ 702945 w 1969770"/>
                  <a:gd name="connsiteY2999" fmla="*/ 473393 h 1744979"/>
                  <a:gd name="connsiteX3000" fmla="*/ 706755 w 1969770"/>
                  <a:gd name="connsiteY3000" fmla="*/ 470535 h 1744979"/>
                  <a:gd name="connsiteX3001" fmla="*/ 710565 w 1969770"/>
                  <a:gd name="connsiteY3001" fmla="*/ 468630 h 1744979"/>
                  <a:gd name="connsiteX3002" fmla="*/ 714375 w 1969770"/>
                  <a:gd name="connsiteY3002" fmla="*/ 467678 h 1744979"/>
                  <a:gd name="connsiteX3003" fmla="*/ 718185 w 1969770"/>
                  <a:gd name="connsiteY3003" fmla="*/ 466725 h 1744979"/>
                  <a:gd name="connsiteX3004" fmla="*/ 720090 w 1969770"/>
                  <a:gd name="connsiteY3004" fmla="*/ 466725 h 1744979"/>
                  <a:gd name="connsiteX3005" fmla="*/ 745808 w 1969770"/>
                  <a:gd name="connsiteY3005" fmla="*/ 459105 h 1744979"/>
                  <a:gd name="connsiteX3006" fmla="*/ 755333 w 1969770"/>
                  <a:gd name="connsiteY3006" fmla="*/ 454343 h 1744979"/>
                  <a:gd name="connsiteX3007" fmla="*/ 764858 w 1969770"/>
                  <a:gd name="connsiteY3007" fmla="*/ 449580 h 1744979"/>
                  <a:gd name="connsiteX3008" fmla="*/ 774383 w 1969770"/>
                  <a:gd name="connsiteY3008" fmla="*/ 444818 h 1744979"/>
                  <a:gd name="connsiteX3009" fmla="*/ 782955 w 1969770"/>
                  <a:gd name="connsiteY3009" fmla="*/ 440055 h 1744979"/>
                  <a:gd name="connsiteX3010" fmla="*/ 791528 w 1969770"/>
                  <a:gd name="connsiteY3010" fmla="*/ 435293 h 1744979"/>
                  <a:gd name="connsiteX3011" fmla="*/ 800100 w 1969770"/>
                  <a:gd name="connsiteY3011" fmla="*/ 430530 h 1744979"/>
                  <a:gd name="connsiteX3012" fmla="*/ 808673 w 1969770"/>
                  <a:gd name="connsiteY3012" fmla="*/ 424815 h 1744979"/>
                  <a:gd name="connsiteX3013" fmla="*/ 817245 w 1969770"/>
                  <a:gd name="connsiteY3013" fmla="*/ 419100 h 1744979"/>
                  <a:gd name="connsiteX3014" fmla="*/ 825818 w 1969770"/>
                  <a:gd name="connsiteY3014" fmla="*/ 412433 h 1744979"/>
                  <a:gd name="connsiteX3015" fmla="*/ 833438 w 1969770"/>
                  <a:gd name="connsiteY3015" fmla="*/ 405765 h 1744979"/>
                  <a:gd name="connsiteX3016" fmla="*/ 841058 w 1969770"/>
                  <a:gd name="connsiteY3016" fmla="*/ 399098 h 1744979"/>
                  <a:gd name="connsiteX3017" fmla="*/ 848678 w 1969770"/>
                  <a:gd name="connsiteY3017" fmla="*/ 392430 h 1744979"/>
                  <a:gd name="connsiteX3018" fmla="*/ 856298 w 1969770"/>
                  <a:gd name="connsiteY3018" fmla="*/ 384810 h 1744979"/>
                  <a:gd name="connsiteX3019" fmla="*/ 863918 w 1969770"/>
                  <a:gd name="connsiteY3019" fmla="*/ 377190 h 1744979"/>
                  <a:gd name="connsiteX3020" fmla="*/ 870585 w 1969770"/>
                  <a:gd name="connsiteY3020" fmla="*/ 369570 h 1744979"/>
                  <a:gd name="connsiteX3021" fmla="*/ 877253 w 1969770"/>
                  <a:gd name="connsiteY3021" fmla="*/ 360998 h 1744979"/>
                  <a:gd name="connsiteX3022" fmla="*/ 923925 w 1969770"/>
                  <a:gd name="connsiteY3022" fmla="*/ 332423 h 1744979"/>
                  <a:gd name="connsiteX3023" fmla="*/ 920115 w 1969770"/>
                  <a:gd name="connsiteY3023" fmla="*/ 256223 h 1744979"/>
                  <a:gd name="connsiteX3024" fmla="*/ 920115 w 1969770"/>
                  <a:gd name="connsiteY3024" fmla="*/ 256223 h 1744979"/>
                  <a:gd name="connsiteX3025" fmla="*/ 768668 w 1969770"/>
                  <a:gd name="connsiteY3025" fmla="*/ 376238 h 1744979"/>
                  <a:gd name="connsiteX3026" fmla="*/ 779145 w 1969770"/>
                  <a:gd name="connsiteY3026" fmla="*/ 355283 h 1744979"/>
                  <a:gd name="connsiteX3027" fmla="*/ 795338 w 1969770"/>
                  <a:gd name="connsiteY3027" fmla="*/ 355283 h 1744979"/>
                  <a:gd name="connsiteX3028" fmla="*/ 785813 w 1969770"/>
                  <a:gd name="connsiteY3028" fmla="*/ 372428 h 1744979"/>
                  <a:gd name="connsiteX3029" fmla="*/ 768668 w 1969770"/>
                  <a:gd name="connsiteY3029" fmla="*/ 376238 h 1744979"/>
                  <a:gd name="connsiteX3030" fmla="*/ 768668 w 1969770"/>
                  <a:gd name="connsiteY3030" fmla="*/ 376238 h 1744979"/>
                  <a:gd name="connsiteX3031" fmla="*/ 985838 w 1969770"/>
                  <a:gd name="connsiteY3031" fmla="*/ 0 h 1744979"/>
                  <a:gd name="connsiteX3032" fmla="*/ 971550 w 1969770"/>
                  <a:gd name="connsiteY3032" fmla="*/ 0 h 1744979"/>
                  <a:gd name="connsiteX3033" fmla="*/ 957263 w 1969770"/>
                  <a:gd name="connsiteY3033" fmla="*/ 5715 h 1744979"/>
                  <a:gd name="connsiteX3034" fmla="*/ 948690 w 1969770"/>
                  <a:gd name="connsiteY3034" fmla="*/ 11430 h 1744979"/>
                  <a:gd name="connsiteX3035" fmla="*/ 940118 w 1969770"/>
                  <a:gd name="connsiteY3035" fmla="*/ 20003 h 1744979"/>
                  <a:gd name="connsiteX3036" fmla="*/ 934403 w 1969770"/>
                  <a:gd name="connsiteY3036" fmla="*/ 31433 h 1744979"/>
                  <a:gd name="connsiteX3037" fmla="*/ 931545 w 1969770"/>
                  <a:gd name="connsiteY3037" fmla="*/ 42863 h 1744979"/>
                  <a:gd name="connsiteX3038" fmla="*/ 928688 w 1969770"/>
                  <a:gd name="connsiteY3038" fmla="*/ 68580 h 1744979"/>
                  <a:gd name="connsiteX3039" fmla="*/ 928688 w 1969770"/>
                  <a:gd name="connsiteY3039" fmla="*/ 97155 h 1744979"/>
                  <a:gd name="connsiteX3040" fmla="*/ 934403 w 1969770"/>
                  <a:gd name="connsiteY3040" fmla="*/ 125730 h 1744979"/>
                  <a:gd name="connsiteX3041" fmla="*/ 942975 w 1969770"/>
                  <a:gd name="connsiteY3041" fmla="*/ 171450 h 1744979"/>
                  <a:gd name="connsiteX3042" fmla="*/ 951548 w 1969770"/>
                  <a:gd name="connsiteY3042" fmla="*/ 530543 h 1744979"/>
                  <a:gd name="connsiteX3043" fmla="*/ 988695 w 1969770"/>
                  <a:gd name="connsiteY3043" fmla="*/ 521970 h 1744979"/>
                  <a:gd name="connsiteX3044" fmla="*/ 1017270 w 1969770"/>
                  <a:gd name="connsiteY3044" fmla="*/ 516255 h 1744979"/>
                  <a:gd name="connsiteX3045" fmla="*/ 1025843 w 1969770"/>
                  <a:gd name="connsiteY3045" fmla="*/ 171450 h 1744979"/>
                  <a:gd name="connsiteX3046" fmla="*/ 1034415 w 1969770"/>
                  <a:gd name="connsiteY3046" fmla="*/ 125730 h 1744979"/>
                  <a:gd name="connsiteX3047" fmla="*/ 1037273 w 1969770"/>
                  <a:gd name="connsiteY3047" fmla="*/ 97155 h 1744979"/>
                  <a:gd name="connsiteX3048" fmla="*/ 1040130 w 1969770"/>
                  <a:gd name="connsiteY3048" fmla="*/ 68580 h 1744979"/>
                  <a:gd name="connsiteX3049" fmla="*/ 1040130 w 1969770"/>
                  <a:gd name="connsiteY3049" fmla="*/ 42863 h 1744979"/>
                  <a:gd name="connsiteX3050" fmla="*/ 1033463 w 1969770"/>
                  <a:gd name="connsiteY3050" fmla="*/ 28575 h 1744979"/>
                  <a:gd name="connsiteX3051" fmla="*/ 1030605 w 1969770"/>
                  <a:gd name="connsiteY3051" fmla="*/ 20003 h 1744979"/>
                  <a:gd name="connsiteX3052" fmla="*/ 1022033 w 1969770"/>
                  <a:gd name="connsiteY3052" fmla="*/ 11430 h 1744979"/>
                  <a:gd name="connsiteX3053" fmla="*/ 1013460 w 1969770"/>
                  <a:gd name="connsiteY3053" fmla="*/ 5715 h 1744979"/>
                  <a:gd name="connsiteX3054" fmla="*/ 1000125 w 1969770"/>
                  <a:gd name="connsiteY3054" fmla="*/ 0 h 1744979"/>
                  <a:gd name="connsiteX3055" fmla="*/ 985838 w 1969770"/>
                  <a:gd name="connsiteY3055" fmla="*/ 0 h 1744979"/>
                  <a:gd name="connsiteX3056" fmla="*/ 985838 w 1969770"/>
                  <a:gd name="connsiteY3056" fmla="*/ 0 h 1744979"/>
                  <a:gd name="connsiteX3057" fmla="*/ 1119188 w 1969770"/>
                  <a:gd name="connsiteY3057" fmla="*/ 225743 h 1744979"/>
                  <a:gd name="connsiteX3058" fmla="*/ 1124903 w 1969770"/>
                  <a:gd name="connsiteY3058" fmla="*/ 220028 h 1744979"/>
                  <a:gd name="connsiteX3059" fmla="*/ 1112520 w 1969770"/>
                  <a:gd name="connsiteY3059" fmla="*/ 214313 h 1744979"/>
                  <a:gd name="connsiteX3060" fmla="*/ 1077278 w 1969770"/>
                  <a:gd name="connsiteY3060" fmla="*/ 214313 h 1744979"/>
                  <a:gd name="connsiteX3061" fmla="*/ 1068705 w 1969770"/>
                  <a:gd name="connsiteY3061" fmla="*/ 220028 h 1744979"/>
                  <a:gd name="connsiteX3062" fmla="*/ 1047750 w 1969770"/>
                  <a:gd name="connsiteY3062" fmla="*/ 217170 h 1744979"/>
                  <a:gd name="connsiteX3063" fmla="*/ 1047750 w 1969770"/>
                  <a:gd name="connsiteY3063" fmla="*/ 222885 h 1744979"/>
                  <a:gd name="connsiteX3064" fmla="*/ 1082993 w 1969770"/>
                  <a:gd name="connsiteY3064" fmla="*/ 225743 h 1744979"/>
                  <a:gd name="connsiteX3065" fmla="*/ 1101090 w 1969770"/>
                  <a:gd name="connsiteY3065" fmla="*/ 225743 h 1744979"/>
                  <a:gd name="connsiteX3066" fmla="*/ 1119188 w 1969770"/>
                  <a:gd name="connsiteY3066" fmla="*/ 225743 h 1744979"/>
                  <a:gd name="connsiteX3067" fmla="*/ 1119188 w 1969770"/>
                  <a:gd name="connsiteY3067" fmla="*/ 225743 h 1744979"/>
                  <a:gd name="connsiteX3068" fmla="*/ 1051560 w 1969770"/>
                  <a:gd name="connsiteY3068" fmla="*/ 945833 h 1744979"/>
                  <a:gd name="connsiteX3069" fmla="*/ 1051560 w 1969770"/>
                  <a:gd name="connsiteY3069" fmla="*/ 942975 h 1744979"/>
                  <a:gd name="connsiteX3070" fmla="*/ 1045845 w 1969770"/>
                  <a:gd name="connsiteY3070" fmla="*/ 937260 h 1744979"/>
                  <a:gd name="connsiteX3071" fmla="*/ 1033463 w 1969770"/>
                  <a:gd name="connsiteY3071" fmla="*/ 928688 h 1744979"/>
                  <a:gd name="connsiteX3072" fmla="*/ 1030605 w 1969770"/>
                  <a:gd name="connsiteY3072" fmla="*/ 928688 h 1744979"/>
                  <a:gd name="connsiteX3073" fmla="*/ 1030605 w 1969770"/>
                  <a:gd name="connsiteY3073" fmla="*/ 968693 h 1744979"/>
                  <a:gd name="connsiteX3074" fmla="*/ 1045845 w 1969770"/>
                  <a:gd name="connsiteY3074" fmla="*/ 957263 h 1744979"/>
                  <a:gd name="connsiteX3075" fmla="*/ 1051560 w 1969770"/>
                  <a:gd name="connsiteY3075" fmla="*/ 951548 h 1744979"/>
                  <a:gd name="connsiteX3076" fmla="*/ 1051560 w 1969770"/>
                  <a:gd name="connsiteY3076" fmla="*/ 945833 h 1744979"/>
                  <a:gd name="connsiteX3077" fmla="*/ 1051560 w 1969770"/>
                  <a:gd name="connsiteY3077" fmla="*/ 945833 h 1744979"/>
                  <a:gd name="connsiteX3078" fmla="*/ 1476375 w 1969770"/>
                  <a:gd name="connsiteY3078" fmla="*/ 576263 h 1744979"/>
                  <a:gd name="connsiteX3079" fmla="*/ 1476375 w 1969770"/>
                  <a:gd name="connsiteY3079" fmla="*/ 576263 h 1744979"/>
                  <a:gd name="connsiteX3080" fmla="*/ 1481138 w 1969770"/>
                  <a:gd name="connsiteY3080" fmla="*/ 578168 h 1744979"/>
                  <a:gd name="connsiteX3081" fmla="*/ 1483995 w 1969770"/>
                  <a:gd name="connsiteY3081" fmla="*/ 572453 h 1744979"/>
                  <a:gd name="connsiteX3082" fmla="*/ 1463993 w 1969770"/>
                  <a:gd name="connsiteY3082" fmla="*/ 538163 h 1744979"/>
                  <a:gd name="connsiteX3083" fmla="*/ 1441133 w 1969770"/>
                  <a:gd name="connsiteY3083" fmla="*/ 503873 h 1744979"/>
                  <a:gd name="connsiteX3084" fmla="*/ 1422083 w 1969770"/>
                  <a:gd name="connsiteY3084" fmla="*/ 488633 h 1744979"/>
                  <a:gd name="connsiteX3085" fmla="*/ 1412558 w 1969770"/>
                  <a:gd name="connsiteY3085" fmla="*/ 477203 h 1744979"/>
                  <a:gd name="connsiteX3086" fmla="*/ 1403033 w 1969770"/>
                  <a:gd name="connsiteY3086" fmla="*/ 465773 h 1744979"/>
                  <a:gd name="connsiteX3087" fmla="*/ 1393508 w 1969770"/>
                  <a:gd name="connsiteY3087" fmla="*/ 455295 h 1744979"/>
                  <a:gd name="connsiteX3088" fmla="*/ 1383983 w 1969770"/>
                  <a:gd name="connsiteY3088" fmla="*/ 444818 h 1744979"/>
                  <a:gd name="connsiteX3089" fmla="*/ 1462088 w 1969770"/>
                  <a:gd name="connsiteY3089" fmla="*/ 366713 h 1744979"/>
                  <a:gd name="connsiteX3090" fmla="*/ 1472565 w 1969770"/>
                  <a:gd name="connsiteY3090" fmla="*/ 377190 h 1744979"/>
                  <a:gd name="connsiteX3091" fmla="*/ 1482090 w 1969770"/>
                  <a:gd name="connsiteY3091" fmla="*/ 388620 h 1744979"/>
                  <a:gd name="connsiteX3092" fmla="*/ 1491615 w 1969770"/>
                  <a:gd name="connsiteY3092" fmla="*/ 400050 h 1744979"/>
                  <a:gd name="connsiteX3093" fmla="*/ 1501140 w 1969770"/>
                  <a:gd name="connsiteY3093" fmla="*/ 411480 h 1744979"/>
                  <a:gd name="connsiteX3094" fmla="*/ 1510665 w 1969770"/>
                  <a:gd name="connsiteY3094" fmla="*/ 423863 h 1744979"/>
                  <a:gd name="connsiteX3095" fmla="*/ 1520190 w 1969770"/>
                  <a:gd name="connsiteY3095" fmla="*/ 436245 h 1744979"/>
                  <a:gd name="connsiteX3096" fmla="*/ 1528763 w 1969770"/>
                  <a:gd name="connsiteY3096" fmla="*/ 448628 h 1744979"/>
                  <a:gd name="connsiteX3097" fmla="*/ 1537335 w 1969770"/>
                  <a:gd name="connsiteY3097" fmla="*/ 461010 h 1744979"/>
                  <a:gd name="connsiteX3098" fmla="*/ 1544955 w 1969770"/>
                  <a:gd name="connsiteY3098" fmla="*/ 473393 h 1744979"/>
                  <a:gd name="connsiteX3099" fmla="*/ 1552575 w 1969770"/>
                  <a:gd name="connsiteY3099" fmla="*/ 486728 h 1744979"/>
                  <a:gd name="connsiteX3100" fmla="*/ 1560195 w 1969770"/>
                  <a:gd name="connsiteY3100" fmla="*/ 500063 h 1744979"/>
                  <a:gd name="connsiteX3101" fmla="*/ 1567815 w 1969770"/>
                  <a:gd name="connsiteY3101" fmla="*/ 513398 h 1744979"/>
                  <a:gd name="connsiteX3102" fmla="*/ 1574483 w 1969770"/>
                  <a:gd name="connsiteY3102" fmla="*/ 526733 h 1744979"/>
                  <a:gd name="connsiteX3103" fmla="*/ 1581150 w 1969770"/>
                  <a:gd name="connsiteY3103" fmla="*/ 540068 h 1744979"/>
                  <a:gd name="connsiteX3104" fmla="*/ 1587818 w 1969770"/>
                  <a:gd name="connsiteY3104" fmla="*/ 554355 h 1744979"/>
                  <a:gd name="connsiteX3105" fmla="*/ 1593533 w 1969770"/>
                  <a:gd name="connsiteY3105" fmla="*/ 567690 h 1744979"/>
                  <a:gd name="connsiteX3106" fmla="*/ 1599248 w 1969770"/>
                  <a:gd name="connsiteY3106" fmla="*/ 581978 h 1744979"/>
                  <a:gd name="connsiteX3107" fmla="*/ 1604963 w 1969770"/>
                  <a:gd name="connsiteY3107" fmla="*/ 596265 h 1744979"/>
                  <a:gd name="connsiteX3108" fmla="*/ 1609725 w 1969770"/>
                  <a:gd name="connsiteY3108" fmla="*/ 610553 h 1744979"/>
                  <a:gd name="connsiteX3109" fmla="*/ 1614488 w 1969770"/>
                  <a:gd name="connsiteY3109" fmla="*/ 624840 h 1744979"/>
                  <a:gd name="connsiteX3110" fmla="*/ 1619250 w 1969770"/>
                  <a:gd name="connsiteY3110" fmla="*/ 640080 h 1744979"/>
                  <a:gd name="connsiteX3111" fmla="*/ 1623060 w 1969770"/>
                  <a:gd name="connsiteY3111" fmla="*/ 654368 h 1744979"/>
                  <a:gd name="connsiteX3112" fmla="*/ 1626870 w 1969770"/>
                  <a:gd name="connsiteY3112" fmla="*/ 669608 h 1744979"/>
                  <a:gd name="connsiteX3113" fmla="*/ 1630680 w 1969770"/>
                  <a:gd name="connsiteY3113" fmla="*/ 684848 h 1744979"/>
                  <a:gd name="connsiteX3114" fmla="*/ 1633538 w 1969770"/>
                  <a:gd name="connsiteY3114" fmla="*/ 700088 h 1744979"/>
                  <a:gd name="connsiteX3115" fmla="*/ 1636395 w 1969770"/>
                  <a:gd name="connsiteY3115" fmla="*/ 715328 h 1744979"/>
                  <a:gd name="connsiteX3116" fmla="*/ 1639253 w 1969770"/>
                  <a:gd name="connsiteY3116" fmla="*/ 730568 h 1744979"/>
                  <a:gd name="connsiteX3117" fmla="*/ 1641158 w 1969770"/>
                  <a:gd name="connsiteY3117" fmla="*/ 746760 h 1744979"/>
                  <a:gd name="connsiteX3118" fmla="*/ 1643063 w 1969770"/>
                  <a:gd name="connsiteY3118" fmla="*/ 762953 h 1744979"/>
                  <a:gd name="connsiteX3119" fmla="*/ 1644015 w 1969770"/>
                  <a:gd name="connsiteY3119" fmla="*/ 779145 h 1744979"/>
                  <a:gd name="connsiteX3120" fmla="*/ 1644968 w 1969770"/>
                  <a:gd name="connsiteY3120" fmla="*/ 795338 h 1744979"/>
                  <a:gd name="connsiteX3121" fmla="*/ 1644968 w 1969770"/>
                  <a:gd name="connsiteY3121" fmla="*/ 811530 h 1744979"/>
                  <a:gd name="connsiteX3122" fmla="*/ 1534478 w 1969770"/>
                  <a:gd name="connsiteY3122" fmla="*/ 811530 h 1744979"/>
                  <a:gd name="connsiteX3123" fmla="*/ 1533525 w 1969770"/>
                  <a:gd name="connsiteY3123" fmla="*/ 795338 h 1744979"/>
                  <a:gd name="connsiteX3124" fmla="*/ 1532573 w 1969770"/>
                  <a:gd name="connsiteY3124" fmla="*/ 779145 h 1744979"/>
                  <a:gd name="connsiteX3125" fmla="*/ 1531620 w 1969770"/>
                  <a:gd name="connsiteY3125" fmla="*/ 763905 h 1744979"/>
                  <a:gd name="connsiteX3126" fmla="*/ 1529715 w 1969770"/>
                  <a:gd name="connsiteY3126" fmla="*/ 748665 h 1744979"/>
                  <a:gd name="connsiteX3127" fmla="*/ 1527810 w 1969770"/>
                  <a:gd name="connsiteY3127" fmla="*/ 733425 h 1744979"/>
                  <a:gd name="connsiteX3128" fmla="*/ 1524953 w 1969770"/>
                  <a:gd name="connsiteY3128" fmla="*/ 718185 h 1744979"/>
                  <a:gd name="connsiteX3129" fmla="*/ 1522095 w 1969770"/>
                  <a:gd name="connsiteY3129" fmla="*/ 702945 h 1744979"/>
                  <a:gd name="connsiteX3130" fmla="*/ 1518285 w 1969770"/>
                  <a:gd name="connsiteY3130" fmla="*/ 688658 h 1744979"/>
                  <a:gd name="connsiteX3131" fmla="*/ 1514475 w 1969770"/>
                  <a:gd name="connsiteY3131" fmla="*/ 673418 h 1744979"/>
                  <a:gd name="connsiteX3132" fmla="*/ 1510665 w 1969770"/>
                  <a:gd name="connsiteY3132" fmla="*/ 659130 h 1744979"/>
                  <a:gd name="connsiteX3133" fmla="*/ 1505903 w 1969770"/>
                  <a:gd name="connsiteY3133" fmla="*/ 644843 h 1744979"/>
                  <a:gd name="connsiteX3134" fmla="*/ 1500188 w 1969770"/>
                  <a:gd name="connsiteY3134" fmla="*/ 630555 h 1744979"/>
                  <a:gd name="connsiteX3135" fmla="*/ 1494473 w 1969770"/>
                  <a:gd name="connsiteY3135" fmla="*/ 616268 h 1744979"/>
                  <a:gd name="connsiteX3136" fmla="*/ 1488758 w 1969770"/>
                  <a:gd name="connsiteY3136" fmla="*/ 602933 h 1744979"/>
                  <a:gd name="connsiteX3137" fmla="*/ 1483043 w 1969770"/>
                  <a:gd name="connsiteY3137" fmla="*/ 589598 h 1744979"/>
                  <a:gd name="connsiteX3138" fmla="*/ 1476375 w 1969770"/>
                  <a:gd name="connsiteY3138" fmla="*/ 576263 h 1744979"/>
                  <a:gd name="connsiteX3139" fmla="*/ 1476375 w 1969770"/>
                  <a:gd name="connsiteY3139" fmla="*/ 576263 h 1744979"/>
                  <a:gd name="connsiteX3140" fmla="*/ 1319213 w 1969770"/>
                  <a:gd name="connsiteY3140" fmla="*/ 510540 h 1744979"/>
                  <a:gd name="connsiteX3141" fmla="*/ 1319213 w 1969770"/>
                  <a:gd name="connsiteY3141" fmla="*/ 510540 h 1744979"/>
                  <a:gd name="connsiteX3142" fmla="*/ 1319213 w 1969770"/>
                  <a:gd name="connsiteY3142" fmla="*/ 510540 h 1744979"/>
                  <a:gd name="connsiteX3143" fmla="*/ 1346835 w 1969770"/>
                  <a:gd name="connsiteY3143" fmla="*/ 514350 h 1744979"/>
                  <a:gd name="connsiteX3144" fmla="*/ 1352550 w 1969770"/>
                  <a:gd name="connsiteY3144" fmla="*/ 522923 h 1744979"/>
                  <a:gd name="connsiteX3145" fmla="*/ 1349693 w 1969770"/>
                  <a:gd name="connsiteY3145" fmla="*/ 534353 h 1744979"/>
                  <a:gd name="connsiteX3146" fmla="*/ 1386840 w 1969770"/>
                  <a:gd name="connsiteY3146" fmla="*/ 557213 h 1744979"/>
                  <a:gd name="connsiteX3147" fmla="*/ 1392555 w 1969770"/>
                  <a:gd name="connsiteY3147" fmla="*/ 554355 h 1744979"/>
                  <a:gd name="connsiteX3148" fmla="*/ 1440180 w 1969770"/>
                  <a:gd name="connsiteY3148" fmla="*/ 611505 h 1744979"/>
                  <a:gd name="connsiteX3149" fmla="*/ 1459230 w 1969770"/>
                  <a:gd name="connsiteY3149" fmla="*/ 603885 h 1744979"/>
                  <a:gd name="connsiteX3150" fmla="*/ 1460183 w 1969770"/>
                  <a:gd name="connsiteY3150" fmla="*/ 602933 h 1744979"/>
                  <a:gd name="connsiteX3151" fmla="*/ 1460183 w 1969770"/>
                  <a:gd name="connsiteY3151" fmla="*/ 601980 h 1744979"/>
                  <a:gd name="connsiteX3152" fmla="*/ 1465898 w 1969770"/>
                  <a:gd name="connsiteY3152" fmla="*/ 614363 h 1744979"/>
                  <a:gd name="connsiteX3153" fmla="*/ 1471613 w 1969770"/>
                  <a:gd name="connsiteY3153" fmla="*/ 626745 h 1744979"/>
                  <a:gd name="connsiteX3154" fmla="*/ 1476375 w 1969770"/>
                  <a:gd name="connsiteY3154" fmla="*/ 639128 h 1744979"/>
                  <a:gd name="connsiteX3155" fmla="*/ 1481138 w 1969770"/>
                  <a:gd name="connsiteY3155" fmla="*/ 651510 h 1744979"/>
                  <a:gd name="connsiteX3156" fmla="*/ 1484948 w 1969770"/>
                  <a:gd name="connsiteY3156" fmla="*/ 664845 h 1744979"/>
                  <a:gd name="connsiteX3157" fmla="*/ 1488758 w 1969770"/>
                  <a:gd name="connsiteY3157" fmla="*/ 677228 h 1744979"/>
                  <a:gd name="connsiteX3158" fmla="*/ 1492568 w 1969770"/>
                  <a:gd name="connsiteY3158" fmla="*/ 690563 h 1744979"/>
                  <a:gd name="connsiteX3159" fmla="*/ 1495425 w 1969770"/>
                  <a:gd name="connsiteY3159" fmla="*/ 703898 h 1744979"/>
                  <a:gd name="connsiteX3160" fmla="*/ 1498283 w 1969770"/>
                  <a:gd name="connsiteY3160" fmla="*/ 717233 h 1744979"/>
                  <a:gd name="connsiteX3161" fmla="*/ 1501140 w 1969770"/>
                  <a:gd name="connsiteY3161" fmla="*/ 730568 h 1744979"/>
                  <a:gd name="connsiteX3162" fmla="*/ 1503045 w 1969770"/>
                  <a:gd name="connsiteY3162" fmla="*/ 743903 h 1744979"/>
                  <a:gd name="connsiteX3163" fmla="*/ 1504950 w 1969770"/>
                  <a:gd name="connsiteY3163" fmla="*/ 757238 h 1744979"/>
                  <a:gd name="connsiteX3164" fmla="*/ 1505903 w 1969770"/>
                  <a:gd name="connsiteY3164" fmla="*/ 770573 h 1744979"/>
                  <a:gd name="connsiteX3165" fmla="*/ 1506855 w 1969770"/>
                  <a:gd name="connsiteY3165" fmla="*/ 784860 h 1744979"/>
                  <a:gd name="connsiteX3166" fmla="*/ 1507808 w 1969770"/>
                  <a:gd name="connsiteY3166" fmla="*/ 798195 h 1744979"/>
                  <a:gd name="connsiteX3167" fmla="*/ 1508760 w 1969770"/>
                  <a:gd name="connsiteY3167" fmla="*/ 812483 h 1744979"/>
                  <a:gd name="connsiteX3168" fmla="*/ 1398270 w 1969770"/>
                  <a:gd name="connsiteY3168" fmla="*/ 812483 h 1744979"/>
                  <a:gd name="connsiteX3169" fmla="*/ 1397318 w 1969770"/>
                  <a:gd name="connsiteY3169" fmla="*/ 802005 h 1744979"/>
                  <a:gd name="connsiteX3170" fmla="*/ 1396365 w 1969770"/>
                  <a:gd name="connsiteY3170" fmla="*/ 791528 h 1744979"/>
                  <a:gd name="connsiteX3171" fmla="*/ 1395413 w 1969770"/>
                  <a:gd name="connsiteY3171" fmla="*/ 781050 h 1744979"/>
                  <a:gd name="connsiteX3172" fmla="*/ 1394460 w 1969770"/>
                  <a:gd name="connsiteY3172" fmla="*/ 770573 h 1744979"/>
                  <a:gd name="connsiteX3173" fmla="*/ 1393508 w 1969770"/>
                  <a:gd name="connsiteY3173" fmla="*/ 760095 h 1744979"/>
                  <a:gd name="connsiteX3174" fmla="*/ 1391603 w 1969770"/>
                  <a:gd name="connsiteY3174" fmla="*/ 749618 h 1744979"/>
                  <a:gd name="connsiteX3175" fmla="*/ 1389698 w 1969770"/>
                  <a:gd name="connsiteY3175" fmla="*/ 739140 h 1744979"/>
                  <a:gd name="connsiteX3176" fmla="*/ 1386840 w 1969770"/>
                  <a:gd name="connsiteY3176" fmla="*/ 728663 h 1744979"/>
                  <a:gd name="connsiteX3177" fmla="*/ 1390650 w 1969770"/>
                  <a:gd name="connsiteY3177" fmla="*/ 725805 h 1744979"/>
                  <a:gd name="connsiteX3178" fmla="*/ 1396365 w 1969770"/>
                  <a:gd name="connsiteY3178" fmla="*/ 691515 h 1744979"/>
                  <a:gd name="connsiteX3179" fmla="*/ 1390650 w 1969770"/>
                  <a:gd name="connsiteY3179" fmla="*/ 651510 h 1744979"/>
                  <a:gd name="connsiteX3180" fmla="*/ 1379220 w 1969770"/>
                  <a:gd name="connsiteY3180" fmla="*/ 608648 h 1744979"/>
                  <a:gd name="connsiteX3181" fmla="*/ 1347788 w 1969770"/>
                  <a:gd name="connsiteY3181" fmla="*/ 562928 h 1744979"/>
                  <a:gd name="connsiteX3182" fmla="*/ 1353503 w 1969770"/>
                  <a:gd name="connsiteY3182" fmla="*/ 565785 h 1744979"/>
                  <a:gd name="connsiteX3183" fmla="*/ 1362075 w 1969770"/>
                  <a:gd name="connsiteY3183" fmla="*/ 561975 h 1744979"/>
                  <a:gd name="connsiteX3184" fmla="*/ 1336358 w 1969770"/>
                  <a:gd name="connsiteY3184" fmla="*/ 544830 h 1744979"/>
                  <a:gd name="connsiteX3185" fmla="*/ 1333500 w 1969770"/>
                  <a:gd name="connsiteY3185" fmla="*/ 550545 h 1744979"/>
                  <a:gd name="connsiteX3186" fmla="*/ 1359218 w 1969770"/>
                  <a:gd name="connsiteY3186" fmla="*/ 587693 h 1744979"/>
                  <a:gd name="connsiteX3187" fmla="*/ 1373505 w 1969770"/>
                  <a:gd name="connsiteY3187" fmla="*/ 616268 h 1744979"/>
                  <a:gd name="connsiteX3188" fmla="*/ 1384935 w 1969770"/>
                  <a:gd name="connsiteY3188" fmla="*/ 644843 h 1744979"/>
                  <a:gd name="connsiteX3189" fmla="*/ 1387793 w 1969770"/>
                  <a:gd name="connsiteY3189" fmla="*/ 664845 h 1744979"/>
                  <a:gd name="connsiteX3190" fmla="*/ 1393508 w 1969770"/>
                  <a:gd name="connsiteY3190" fmla="*/ 699135 h 1744979"/>
                  <a:gd name="connsiteX3191" fmla="*/ 1382078 w 1969770"/>
                  <a:gd name="connsiteY3191" fmla="*/ 699135 h 1744979"/>
                  <a:gd name="connsiteX3192" fmla="*/ 1379220 w 1969770"/>
                  <a:gd name="connsiteY3192" fmla="*/ 691515 h 1744979"/>
                  <a:gd name="connsiteX3193" fmla="*/ 1376363 w 1969770"/>
                  <a:gd name="connsiteY3193" fmla="*/ 683895 h 1744979"/>
                  <a:gd name="connsiteX3194" fmla="*/ 1373505 w 1969770"/>
                  <a:gd name="connsiteY3194" fmla="*/ 675323 h 1744979"/>
                  <a:gd name="connsiteX3195" fmla="*/ 1370648 w 1969770"/>
                  <a:gd name="connsiteY3195" fmla="*/ 667703 h 1744979"/>
                  <a:gd name="connsiteX3196" fmla="*/ 1373505 w 1969770"/>
                  <a:gd name="connsiteY3196" fmla="*/ 662940 h 1744979"/>
                  <a:gd name="connsiteX3197" fmla="*/ 1364933 w 1969770"/>
                  <a:gd name="connsiteY3197" fmla="*/ 651510 h 1744979"/>
                  <a:gd name="connsiteX3198" fmla="*/ 1364933 w 1969770"/>
                  <a:gd name="connsiteY3198" fmla="*/ 637223 h 1744979"/>
                  <a:gd name="connsiteX3199" fmla="*/ 1356360 w 1969770"/>
                  <a:gd name="connsiteY3199" fmla="*/ 628650 h 1744979"/>
                  <a:gd name="connsiteX3200" fmla="*/ 1352550 w 1969770"/>
                  <a:gd name="connsiteY3200" fmla="*/ 628650 h 1744979"/>
                  <a:gd name="connsiteX3201" fmla="*/ 1350645 w 1969770"/>
                  <a:gd name="connsiteY3201" fmla="*/ 624840 h 1744979"/>
                  <a:gd name="connsiteX3202" fmla="*/ 1348740 w 1969770"/>
                  <a:gd name="connsiteY3202" fmla="*/ 621030 h 1744979"/>
                  <a:gd name="connsiteX3203" fmla="*/ 1346835 w 1969770"/>
                  <a:gd name="connsiteY3203" fmla="*/ 617220 h 1744979"/>
                  <a:gd name="connsiteX3204" fmla="*/ 1344930 w 1969770"/>
                  <a:gd name="connsiteY3204" fmla="*/ 613410 h 1744979"/>
                  <a:gd name="connsiteX3205" fmla="*/ 1345883 w 1969770"/>
                  <a:gd name="connsiteY3205" fmla="*/ 613410 h 1744979"/>
                  <a:gd name="connsiteX3206" fmla="*/ 1347788 w 1969770"/>
                  <a:gd name="connsiteY3206" fmla="*/ 613410 h 1744979"/>
                  <a:gd name="connsiteX3207" fmla="*/ 1344930 w 1969770"/>
                  <a:gd name="connsiteY3207" fmla="*/ 604838 h 1744979"/>
                  <a:gd name="connsiteX3208" fmla="*/ 1350645 w 1969770"/>
                  <a:gd name="connsiteY3208" fmla="*/ 601980 h 1744979"/>
                  <a:gd name="connsiteX3209" fmla="*/ 1347788 w 1969770"/>
                  <a:gd name="connsiteY3209" fmla="*/ 596265 h 1744979"/>
                  <a:gd name="connsiteX3210" fmla="*/ 1337310 w 1969770"/>
                  <a:gd name="connsiteY3210" fmla="*/ 601980 h 1744979"/>
                  <a:gd name="connsiteX3211" fmla="*/ 1337310 w 1969770"/>
                  <a:gd name="connsiteY3211" fmla="*/ 601028 h 1744979"/>
                  <a:gd name="connsiteX3212" fmla="*/ 1343025 w 1969770"/>
                  <a:gd name="connsiteY3212" fmla="*/ 584835 h 1744979"/>
                  <a:gd name="connsiteX3213" fmla="*/ 1334453 w 1969770"/>
                  <a:gd name="connsiteY3213" fmla="*/ 581978 h 1744979"/>
                  <a:gd name="connsiteX3214" fmla="*/ 1330643 w 1969770"/>
                  <a:gd name="connsiteY3214" fmla="*/ 589598 h 1744979"/>
                  <a:gd name="connsiteX3215" fmla="*/ 1321118 w 1969770"/>
                  <a:gd name="connsiteY3215" fmla="*/ 576263 h 1744979"/>
                  <a:gd name="connsiteX3216" fmla="*/ 1311593 w 1969770"/>
                  <a:gd name="connsiteY3216" fmla="*/ 563880 h 1744979"/>
                  <a:gd name="connsiteX3217" fmla="*/ 1301115 w 1969770"/>
                  <a:gd name="connsiteY3217" fmla="*/ 551498 h 1744979"/>
                  <a:gd name="connsiteX3218" fmla="*/ 1290638 w 1969770"/>
                  <a:gd name="connsiteY3218" fmla="*/ 540068 h 1744979"/>
                  <a:gd name="connsiteX3219" fmla="*/ 1319213 w 1969770"/>
                  <a:gd name="connsiteY3219" fmla="*/ 510540 h 1744979"/>
                  <a:gd name="connsiteX3220" fmla="*/ 1319213 w 1969770"/>
                  <a:gd name="connsiteY3220" fmla="*/ 510540 h 1744979"/>
                  <a:gd name="connsiteX3221" fmla="*/ 1271588 w 1969770"/>
                  <a:gd name="connsiteY3221" fmla="*/ 557213 h 1744979"/>
                  <a:gd name="connsiteX3222" fmla="*/ 1272540 w 1969770"/>
                  <a:gd name="connsiteY3222" fmla="*/ 558165 h 1744979"/>
                  <a:gd name="connsiteX3223" fmla="*/ 1273493 w 1969770"/>
                  <a:gd name="connsiteY3223" fmla="*/ 557213 h 1744979"/>
                  <a:gd name="connsiteX3224" fmla="*/ 1287780 w 1969770"/>
                  <a:gd name="connsiteY3224" fmla="*/ 575310 h 1744979"/>
                  <a:gd name="connsiteX3225" fmla="*/ 1288733 w 1969770"/>
                  <a:gd name="connsiteY3225" fmla="*/ 574358 h 1744979"/>
                  <a:gd name="connsiteX3226" fmla="*/ 1298258 w 1969770"/>
                  <a:gd name="connsiteY3226" fmla="*/ 585788 h 1744979"/>
                  <a:gd name="connsiteX3227" fmla="*/ 1306830 w 1969770"/>
                  <a:gd name="connsiteY3227" fmla="*/ 598170 h 1744979"/>
                  <a:gd name="connsiteX3228" fmla="*/ 1314450 w 1969770"/>
                  <a:gd name="connsiteY3228" fmla="*/ 610553 h 1744979"/>
                  <a:gd name="connsiteX3229" fmla="*/ 1322070 w 1969770"/>
                  <a:gd name="connsiteY3229" fmla="*/ 622935 h 1744979"/>
                  <a:gd name="connsiteX3230" fmla="*/ 1321118 w 1969770"/>
                  <a:gd name="connsiteY3230" fmla="*/ 622935 h 1744979"/>
                  <a:gd name="connsiteX3231" fmla="*/ 1321118 w 1969770"/>
                  <a:gd name="connsiteY3231" fmla="*/ 622935 h 1744979"/>
                  <a:gd name="connsiteX3232" fmla="*/ 1309688 w 1969770"/>
                  <a:gd name="connsiteY3232" fmla="*/ 625793 h 1744979"/>
                  <a:gd name="connsiteX3233" fmla="*/ 1309688 w 1969770"/>
                  <a:gd name="connsiteY3233" fmla="*/ 642938 h 1744979"/>
                  <a:gd name="connsiteX3234" fmla="*/ 1341120 w 1969770"/>
                  <a:gd name="connsiteY3234" fmla="*/ 662940 h 1744979"/>
                  <a:gd name="connsiteX3235" fmla="*/ 1342073 w 1969770"/>
                  <a:gd name="connsiteY3235" fmla="*/ 662940 h 1744979"/>
                  <a:gd name="connsiteX3236" fmla="*/ 1343025 w 1969770"/>
                  <a:gd name="connsiteY3236" fmla="*/ 662940 h 1744979"/>
                  <a:gd name="connsiteX3237" fmla="*/ 1347788 w 1969770"/>
                  <a:gd name="connsiteY3237" fmla="*/ 674370 h 1744979"/>
                  <a:gd name="connsiteX3238" fmla="*/ 1352550 w 1969770"/>
                  <a:gd name="connsiteY3238" fmla="*/ 685800 h 1744979"/>
                  <a:gd name="connsiteX3239" fmla="*/ 1357313 w 1969770"/>
                  <a:gd name="connsiteY3239" fmla="*/ 697230 h 1744979"/>
                  <a:gd name="connsiteX3240" fmla="*/ 1361123 w 1969770"/>
                  <a:gd name="connsiteY3240" fmla="*/ 709613 h 1744979"/>
                  <a:gd name="connsiteX3241" fmla="*/ 1359218 w 1969770"/>
                  <a:gd name="connsiteY3241" fmla="*/ 710565 h 1744979"/>
                  <a:gd name="connsiteX3242" fmla="*/ 1359218 w 1969770"/>
                  <a:gd name="connsiteY3242" fmla="*/ 710565 h 1744979"/>
                  <a:gd name="connsiteX3243" fmla="*/ 1356360 w 1969770"/>
                  <a:gd name="connsiteY3243" fmla="*/ 719138 h 1744979"/>
                  <a:gd name="connsiteX3244" fmla="*/ 1344930 w 1969770"/>
                  <a:gd name="connsiteY3244" fmla="*/ 724853 h 1744979"/>
                  <a:gd name="connsiteX3245" fmla="*/ 1342073 w 1969770"/>
                  <a:gd name="connsiteY3245" fmla="*/ 741998 h 1744979"/>
                  <a:gd name="connsiteX3246" fmla="*/ 1333500 w 1969770"/>
                  <a:gd name="connsiteY3246" fmla="*/ 744855 h 1744979"/>
                  <a:gd name="connsiteX3247" fmla="*/ 1327785 w 1969770"/>
                  <a:gd name="connsiteY3247" fmla="*/ 753428 h 1744979"/>
                  <a:gd name="connsiteX3248" fmla="*/ 1322070 w 1969770"/>
                  <a:gd name="connsiteY3248" fmla="*/ 750570 h 1744979"/>
                  <a:gd name="connsiteX3249" fmla="*/ 1310640 w 1969770"/>
                  <a:gd name="connsiteY3249" fmla="*/ 750570 h 1744979"/>
                  <a:gd name="connsiteX3250" fmla="*/ 1316355 w 1969770"/>
                  <a:gd name="connsiteY3250" fmla="*/ 741998 h 1744979"/>
                  <a:gd name="connsiteX3251" fmla="*/ 1322070 w 1969770"/>
                  <a:gd name="connsiteY3251" fmla="*/ 719138 h 1744979"/>
                  <a:gd name="connsiteX3252" fmla="*/ 1330643 w 1969770"/>
                  <a:gd name="connsiteY3252" fmla="*/ 713423 h 1744979"/>
                  <a:gd name="connsiteX3253" fmla="*/ 1307783 w 1969770"/>
                  <a:gd name="connsiteY3253" fmla="*/ 693420 h 1744979"/>
                  <a:gd name="connsiteX3254" fmla="*/ 1290638 w 1969770"/>
                  <a:gd name="connsiteY3254" fmla="*/ 699135 h 1744979"/>
                  <a:gd name="connsiteX3255" fmla="*/ 1287780 w 1969770"/>
                  <a:gd name="connsiteY3255" fmla="*/ 713423 h 1744979"/>
                  <a:gd name="connsiteX3256" fmla="*/ 1279208 w 1969770"/>
                  <a:gd name="connsiteY3256" fmla="*/ 724853 h 1744979"/>
                  <a:gd name="connsiteX3257" fmla="*/ 1267778 w 1969770"/>
                  <a:gd name="connsiteY3257" fmla="*/ 716280 h 1744979"/>
                  <a:gd name="connsiteX3258" fmla="*/ 1264920 w 1969770"/>
                  <a:gd name="connsiteY3258" fmla="*/ 707708 h 1744979"/>
                  <a:gd name="connsiteX3259" fmla="*/ 1270635 w 1969770"/>
                  <a:gd name="connsiteY3259" fmla="*/ 704850 h 1744979"/>
                  <a:gd name="connsiteX3260" fmla="*/ 1273493 w 1969770"/>
                  <a:gd name="connsiteY3260" fmla="*/ 710565 h 1744979"/>
                  <a:gd name="connsiteX3261" fmla="*/ 1279208 w 1969770"/>
                  <a:gd name="connsiteY3261" fmla="*/ 707708 h 1744979"/>
                  <a:gd name="connsiteX3262" fmla="*/ 1276350 w 1969770"/>
                  <a:gd name="connsiteY3262" fmla="*/ 699135 h 1744979"/>
                  <a:gd name="connsiteX3263" fmla="*/ 1267778 w 1969770"/>
                  <a:gd name="connsiteY3263" fmla="*/ 699135 h 1744979"/>
                  <a:gd name="connsiteX3264" fmla="*/ 1267778 w 1969770"/>
                  <a:gd name="connsiteY3264" fmla="*/ 704850 h 1744979"/>
                  <a:gd name="connsiteX3265" fmla="*/ 1264920 w 1969770"/>
                  <a:gd name="connsiteY3265" fmla="*/ 704850 h 1744979"/>
                  <a:gd name="connsiteX3266" fmla="*/ 1239203 w 1969770"/>
                  <a:gd name="connsiteY3266" fmla="*/ 675323 h 1744979"/>
                  <a:gd name="connsiteX3267" fmla="*/ 1230630 w 1969770"/>
                  <a:gd name="connsiteY3267" fmla="*/ 669608 h 1744979"/>
                  <a:gd name="connsiteX3268" fmla="*/ 1233488 w 1969770"/>
                  <a:gd name="connsiteY3268" fmla="*/ 666750 h 1744979"/>
                  <a:gd name="connsiteX3269" fmla="*/ 1242060 w 1969770"/>
                  <a:gd name="connsiteY3269" fmla="*/ 663893 h 1744979"/>
                  <a:gd name="connsiteX3270" fmla="*/ 1233488 w 1969770"/>
                  <a:gd name="connsiteY3270" fmla="*/ 661035 h 1744979"/>
                  <a:gd name="connsiteX3271" fmla="*/ 1224915 w 1969770"/>
                  <a:gd name="connsiteY3271" fmla="*/ 663893 h 1744979"/>
                  <a:gd name="connsiteX3272" fmla="*/ 1230630 w 1969770"/>
                  <a:gd name="connsiteY3272" fmla="*/ 669608 h 1744979"/>
                  <a:gd name="connsiteX3273" fmla="*/ 1218248 w 1969770"/>
                  <a:gd name="connsiteY3273" fmla="*/ 669608 h 1744979"/>
                  <a:gd name="connsiteX3274" fmla="*/ 1212533 w 1969770"/>
                  <a:gd name="connsiteY3274" fmla="*/ 661035 h 1744979"/>
                  <a:gd name="connsiteX3275" fmla="*/ 1206818 w 1969770"/>
                  <a:gd name="connsiteY3275" fmla="*/ 652463 h 1744979"/>
                  <a:gd name="connsiteX3276" fmla="*/ 1200150 w 1969770"/>
                  <a:gd name="connsiteY3276" fmla="*/ 643890 h 1744979"/>
                  <a:gd name="connsiteX3277" fmla="*/ 1193483 w 1969770"/>
                  <a:gd name="connsiteY3277" fmla="*/ 636270 h 1744979"/>
                  <a:gd name="connsiteX3278" fmla="*/ 1271588 w 1969770"/>
                  <a:gd name="connsiteY3278" fmla="*/ 557213 h 1744979"/>
                  <a:gd name="connsiteX3279" fmla="*/ 1271588 w 1969770"/>
                  <a:gd name="connsiteY3279" fmla="*/ 557213 h 1744979"/>
                  <a:gd name="connsiteX3280" fmla="*/ 1198245 w 1969770"/>
                  <a:gd name="connsiteY3280" fmla="*/ 678180 h 1744979"/>
                  <a:gd name="connsiteX3281" fmla="*/ 1196340 w 1969770"/>
                  <a:gd name="connsiteY3281" fmla="*/ 678180 h 1744979"/>
                  <a:gd name="connsiteX3282" fmla="*/ 1196340 w 1969770"/>
                  <a:gd name="connsiteY3282" fmla="*/ 679133 h 1744979"/>
                  <a:gd name="connsiteX3283" fmla="*/ 1193483 w 1969770"/>
                  <a:gd name="connsiteY3283" fmla="*/ 693420 h 1744979"/>
                  <a:gd name="connsiteX3284" fmla="*/ 1182053 w 1969770"/>
                  <a:gd name="connsiteY3284" fmla="*/ 684848 h 1744979"/>
                  <a:gd name="connsiteX3285" fmla="*/ 1173480 w 1969770"/>
                  <a:gd name="connsiteY3285" fmla="*/ 687705 h 1744979"/>
                  <a:gd name="connsiteX3286" fmla="*/ 1179195 w 1969770"/>
                  <a:gd name="connsiteY3286" fmla="*/ 696278 h 1744979"/>
                  <a:gd name="connsiteX3287" fmla="*/ 1182053 w 1969770"/>
                  <a:gd name="connsiteY3287" fmla="*/ 696278 h 1744979"/>
                  <a:gd name="connsiteX3288" fmla="*/ 1179195 w 1969770"/>
                  <a:gd name="connsiteY3288" fmla="*/ 707708 h 1744979"/>
                  <a:gd name="connsiteX3289" fmla="*/ 1173480 w 1969770"/>
                  <a:gd name="connsiteY3289" fmla="*/ 701993 h 1744979"/>
                  <a:gd name="connsiteX3290" fmla="*/ 1162050 w 1969770"/>
                  <a:gd name="connsiteY3290" fmla="*/ 699135 h 1744979"/>
                  <a:gd name="connsiteX3291" fmla="*/ 1171575 w 1969770"/>
                  <a:gd name="connsiteY3291" fmla="*/ 695325 h 1744979"/>
                  <a:gd name="connsiteX3292" fmla="*/ 1171575 w 1969770"/>
                  <a:gd name="connsiteY3292" fmla="*/ 692468 h 1744979"/>
                  <a:gd name="connsiteX3293" fmla="*/ 1163003 w 1969770"/>
                  <a:gd name="connsiteY3293" fmla="*/ 686753 h 1744979"/>
                  <a:gd name="connsiteX3294" fmla="*/ 1165860 w 1969770"/>
                  <a:gd name="connsiteY3294" fmla="*/ 663893 h 1744979"/>
                  <a:gd name="connsiteX3295" fmla="*/ 1165860 w 1969770"/>
                  <a:gd name="connsiteY3295" fmla="*/ 663893 h 1744979"/>
                  <a:gd name="connsiteX3296" fmla="*/ 1178243 w 1969770"/>
                  <a:gd name="connsiteY3296" fmla="*/ 651510 h 1744979"/>
                  <a:gd name="connsiteX3297" fmla="*/ 1183958 w 1969770"/>
                  <a:gd name="connsiteY3297" fmla="*/ 657225 h 1744979"/>
                  <a:gd name="connsiteX3298" fmla="*/ 1188720 w 1969770"/>
                  <a:gd name="connsiteY3298" fmla="*/ 663893 h 1744979"/>
                  <a:gd name="connsiteX3299" fmla="*/ 1193483 w 1969770"/>
                  <a:gd name="connsiteY3299" fmla="*/ 670560 h 1744979"/>
                  <a:gd name="connsiteX3300" fmla="*/ 1198245 w 1969770"/>
                  <a:gd name="connsiteY3300" fmla="*/ 678180 h 1744979"/>
                  <a:gd name="connsiteX3301" fmla="*/ 1198245 w 1969770"/>
                  <a:gd name="connsiteY3301" fmla="*/ 678180 h 1744979"/>
                  <a:gd name="connsiteX3302" fmla="*/ 1248728 w 1969770"/>
                  <a:gd name="connsiteY3302" fmla="*/ 1278255 h 1744979"/>
                  <a:gd name="connsiteX3303" fmla="*/ 1259205 w 1969770"/>
                  <a:gd name="connsiteY3303" fmla="*/ 1257300 h 1744979"/>
                  <a:gd name="connsiteX3304" fmla="*/ 1253490 w 1969770"/>
                  <a:gd name="connsiteY3304" fmla="*/ 1245870 h 1744979"/>
                  <a:gd name="connsiteX3305" fmla="*/ 1270635 w 1969770"/>
                  <a:gd name="connsiteY3305" fmla="*/ 1231583 h 1744979"/>
                  <a:gd name="connsiteX3306" fmla="*/ 1270635 w 1969770"/>
                  <a:gd name="connsiteY3306" fmla="*/ 1223010 h 1744979"/>
                  <a:gd name="connsiteX3307" fmla="*/ 1256348 w 1969770"/>
                  <a:gd name="connsiteY3307" fmla="*/ 1214438 h 1744979"/>
                  <a:gd name="connsiteX3308" fmla="*/ 1267778 w 1969770"/>
                  <a:gd name="connsiteY3308" fmla="*/ 1194435 h 1744979"/>
                  <a:gd name="connsiteX3309" fmla="*/ 1284923 w 1969770"/>
                  <a:gd name="connsiteY3309" fmla="*/ 1171575 h 1744979"/>
                  <a:gd name="connsiteX3310" fmla="*/ 1267778 w 1969770"/>
                  <a:gd name="connsiteY3310" fmla="*/ 1154430 h 1744979"/>
                  <a:gd name="connsiteX3311" fmla="*/ 1256348 w 1969770"/>
                  <a:gd name="connsiteY3311" fmla="*/ 1154430 h 1744979"/>
                  <a:gd name="connsiteX3312" fmla="*/ 1248728 w 1969770"/>
                  <a:gd name="connsiteY3312" fmla="*/ 1143953 h 1744979"/>
                  <a:gd name="connsiteX3313" fmla="*/ 1254443 w 1969770"/>
                  <a:gd name="connsiteY3313" fmla="*/ 1139190 h 1744979"/>
                  <a:gd name="connsiteX3314" fmla="*/ 1260158 w 1969770"/>
                  <a:gd name="connsiteY3314" fmla="*/ 1133475 h 1744979"/>
                  <a:gd name="connsiteX3315" fmla="*/ 1265873 w 1969770"/>
                  <a:gd name="connsiteY3315" fmla="*/ 1128713 h 1744979"/>
                  <a:gd name="connsiteX3316" fmla="*/ 1271588 w 1969770"/>
                  <a:gd name="connsiteY3316" fmla="*/ 1122998 h 1744979"/>
                  <a:gd name="connsiteX3317" fmla="*/ 1311593 w 1969770"/>
                  <a:gd name="connsiteY3317" fmla="*/ 1163003 h 1744979"/>
                  <a:gd name="connsiteX3318" fmla="*/ 1311593 w 1969770"/>
                  <a:gd name="connsiteY3318" fmla="*/ 1169670 h 1744979"/>
                  <a:gd name="connsiteX3319" fmla="*/ 1311593 w 1969770"/>
                  <a:gd name="connsiteY3319" fmla="*/ 1169670 h 1744979"/>
                  <a:gd name="connsiteX3320" fmla="*/ 1319213 w 1969770"/>
                  <a:gd name="connsiteY3320" fmla="*/ 1170623 h 1744979"/>
                  <a:gd name="connsiteX3321" fmla="*/ 1349693 w 1969770"/>
                  <a:gd name="connsiteY3321" fmla="*/ 1201103 h 1744979"/>
                  <a:gd name="connsiteX3322" fmla="*/ 1338263 w 1969770"/>
                  <a:gd name="connsiteY3322" fmla="*/ 1211580 h 1744979"/>
                  <a:gd name="connsiteX3323" fmla="*/ 1326833 w 1969770"/>
                  <a:gd name="connsiteY3323" fmla="*/ 1222058 h 1744979"/>
                  <a:gd name="connsiteX3324" fmla="*/ 1314450 w 1969770"/>
                  <a:gd name="connsiteY3324" fmla="*/ 1232535 h 1744979"/>
                  <a:gd name="connsiteX3325" fmla="*/ 1302068 w 1969770"/>
                  <a:gd name="connsiteY3325" fmla="*/ 1242060 h 1744979"/>
                  <a:gd name="connsiteX3326" fmla="*/ 1288733 w 1969770"/>
                  <a:gd name="connsiteY3326" fmla="*/ 1251585 h 1744979"/>
                  <a:gd name="connsiteX3327" fmla="*/ 1275398 w 1969770"/>
                  <a:gd name="connsiteY3327" fmla="*/ 1261110 h 1744979"/>
                  <a:gd name="connsiteX3328" fmla="*/ 1262063 w 1969770"/>
                  <a:gd name="connsiteY3328" fmla="*/ 1269683 h 1744979"/>
                  <a:gd name="connsiteX3329" fmla="*/ 1248728 w 1969770"/>
                  <a:gd name="connsiteY3329" fmla="*/ 1278255 h 1744979"/>
                  <a:gd name="connsiteX3330" fmla="*/ 1248728 w 1969770"/>
                  <a:gd name="connsiteY3330" fmla="*/ 1278255 h 1744979"/>
                  <a:gd name="connsiteX3331" fmla="*/ 1258253 w 1969770"/>
                  <a:gd name="connsiteY3331" fmla="*/ 1076325 h 1744979"/>
                  <a:gd name="connsiteX3332" fmla="*/ 1262063 w 1969770"/>
                  <a:gd name="connsiteY3332" fmla="*/ 1065848 h 1744979"/>
                  <a:gd name="connsiteX3333" fmla="*/ 1250633 w 1969770"/>
                  <a:gd name="connsiteY3333" fmla="*/ 1031558 h 1744979"/>
                  <a:gd name="connsiteX3334" fmla="*/ 1237298 w 1969770"/>
                  <a:gd name="connsiteY3334" fmla="*/ 1054418 h 1744979"/>
                  <a:gd name="connsiteX3335" fmla="*/ 1226820 w 1969770"/>
                  <a:gd name="connsiteY3335" fmla="*/ 1043940 h 1744979"/>
                  <a:gd name="connsiteX3336" fmla="*/ 1231583 w 1969770"/>
                  <a:gd name="connsiteY3336" fmla="*/ 1037273 h 1744979"/>
                  <a:gd name="connsiteX3337" fmla="*/ 1243013 w 1969770"/>
                  <a:gd name="connsiteY3337" fmla="*/ 1017270 h 1744979"/>
                  <a:gd name="connsiteX3338" fmla="*/ 1237298 w 1969770"/>
                  <a:gd name="connsiteY3338" fmla="*/ 1011555 h 1744979"/>
                  <a:gd name="connsiteX3339" fmla="*/ 1245870 w 1969770"/>
                  <a:gd name="connsiteY3339" fmla="*/ 994410 h 1744979"/>
                  <a:gd name="connsiteX3340" fmla="*/ 1243013 w 1969770"/>
                  <a:gd name="connsiteY3340" fmla="*/ 980123 h 1744979"/>
                  <a:gd name="connsiteX3341" fmla="*/ 1240155 w 1969770"/>
                  <a:gd name="connsiteY3341" fmla="*/ 965835 h 1744979"/>
                  <a:gd name="connsiteX3342" fmla="*/ 1228725 w 1969770"/>
                  <a:gd name="connsiteY3342" fmla="*/ 962978 h 1744979"/>
                  <a:gd name="connsiteX3343" fmla="*/ 1225868 w 1969770"/>
                  <a:gd name="connsiteY3343" fmla="*/ 971550 h 1744979"/>
                  <a:gd name="connsiteX3344" fmla="*/ 1223010 w 1969770"/>
                  <a:gd name="connsiteY3344" fmla="*/ 970598 h 1744979"/>
                  <a:gd name="connsiteX3345" fmla="*/ 1228725 w 1969770"/>
                  <a:gd name="connsiteY3345" fmla="*/ 960120 h 1744979"/>
                  <a:gd name="connsiteX3346" fmla="*/ 1234440 w 1969770"/>
                  <a:gd name="connsiteY3346" fmla="*/ 949643 h 1744979"/>
                  <a:gd name="connsiteX3347" fmla="*/ 1239203 w 1969770"/>
                  <a:gd name="connsiteY3347" fmla="*/ 939165 h 1744979"/>
                  <a:gd name="connsiteX3348" fmla="*/ 1243965 w 1969770"/>
                  <a:gd name="connsiteY3348" fmla="*/ 928688 h 1744979"/>
                  <a:gd name="connsiteX3349" fmla="*/ 1253490 w 1969770"/>
                  <a:gd name="connsiteY3349" fmla="*/ 923925 h 1744979"/>
                  <a:gd name="connsiteX3350" fmla="*/ 1259205 w 1969770"/>
                  <a:gd name="connsiteY3350" fmla="*/ 918210 h 1744979"/>
                  <a:gd name="connsiteX3351" fmla="*/ 1262063 w 1969770"/>
                  <a:gd name="connsiteY3351" fmla="*/ 921068 h 1744979"/>
                  <a:gd name="connsiteX3352" fmla="*/ 1267778 w 1969770"/>
                  <a:gd name="connsiteY3352" fmla="*/ 912495 h 1744979"/>
                  <a:gd name="connsiteX3353" fmla="*/ 1262063 w 1969770"/>
                  <a:gd name="connsiteY3353" fmla="*/ 906780 h 1744979"/>
                  <a:gd name="connsiteX3354" fmla="*/ 1267778 w 1969770"/>
                  <a:gd name="connsiteY3354" fmla="*/ 903923 h 1744979"/>
                  <a:gd name="connsiteX3355" fmla="*/ 1276350 w 1969770"/>
                  <a:gd name="connsiteY3355" fmla="*/ 906780 h 1744979"/>
                  <a:gd name="connsiteX3356" fmla="*/ 1293495 w 1969770"/>
                  <a:gd name="connsiteY3356" fmla="*/ 906780 h 1744979"/>
                  <a:gd name="connsiteX3357" fmla="*/ 1304925 w 1969770"/>
                  <a:gd name="connsiteY3357" fmla="*/ 903923 h 1744979"/>
                  <a:gd name="connsiteX3358" fmla="*/ 1333500 w 1969770"/>
                  <a:gd name="connsiteY3358" fmla="*/ 895350 h 1744979"/>
                  <a:gd name="connsiteX3359" fmla="*/ 1327785 w 1969770"/>
                  <a:gd name="connsiteY3359" fmla="*/ 886778 h 1744979"/>
                  <a:gd name="connsiteX3360" fmla="*/ 1323975 w 1969770"/>
                  <a:gd name="connsiteY3360" fmla="*/ 876300 h 1744979"/>
                  <a:gd name="connsiteX3361" fmla="*/ 1338263 w 1969770"/>
                  <a:gd name="connsiteY3361" fmla="*/ 882015 h 1744979"/>
                  <a:gd name="connsiteX3362" fmla="*/ 1343978 w 1969770"/>
                  <a:gd name="connsiteY3362" fmla="*/ 879158 h 1744979"/>
                  <a:gd name="connsiteX3363" fmla="*/ 1341120 w 1969770"/>
                  <a:gd name="connsiteY3363" fmla="*/ 867728 h 1744979"/>
                  <a:gd name="connsiteX3364" fmla="*/ 1323975 w 1969770"/>
                  <a:gd name="connsiteY3364" fmla="*/ 873443 h 1744979"/>
                  <a:gd name="connsiteX3365" fmla="*/ 1303973 w 1969770"/>
                  <a:gd name="connsiteY3365" fmla="*/ 870585 h 1744979"/>
                  <a:gd name="connsiteX3366" fmla="*/ 1289685 w 1969770"/>
                  <a:gd name="connsiteY3366" fmla="*/ 839153 h 1744979"/>
                  <a:gd name="connsiteX3367" fmla="*/ 1290638 w 1969770"/>
                  <a:gd name="connsiteY3367" fmla="*/ 839153 h 1744979"/>
                  <a:gd name="connsiteX3368" fmla="*/ 1290638 w 1969770"/>
                  <a:gd name="connsiteY3368" fmla="*/ 839153 h 1744979"/>
                  <a:gd name="connsiteX3369" fmla="*/ 1288733 w 1969770"/>
                  <a:gd name="connsiteY3369" fmla="*/ 836295 h 1744979"/>
                  <a:gd name="connsiteX3370" fmla="*/ 1376363 w 1969770"/>
                  <a:gd name="connsiteY3370" fmla="*/ 836295 h 1744979"/>
                  <a:gd name="connsiteX3371" fmla="*/ 1376363 w 1969770"/>
                  <a:gd name="connsiteY3371" fmla="*/ 845820 h 1744979"/>
                  <a:gd name="connsiteX3372" fmla="*/ 1375410 w 1969770"/>
                  <a:gd name="connsiteY3372" fmla="*/ 855345 h 1744979"/>
                  <a:gd name="connsiteX3373" fmla="*/ 1374458 w 1969770"/>
                  <a:gd name="connsiteY3373" fmla="*/ 864870 h 1744979"/>
                  <a:gd name="connsiteX3374" fmla="*/ 1373505 w 1969770"/>
                  <a:gd name="connsiteY3374" fmla="*/ 874395 h 1744979"/>
                  <a:gd name="connsiteX3375" fmla="*/ 1372553 w 1969770"/>
                  <a:gd name="connsiteY3375" fmla="*/ 882968 h 1744979"/>
                  <a:gd name="connsiteX3376" fmla="*/ 1370648 w 1969770"/>
                  <a:gd name="connsiteY3376" fmla="*/ 891540 h 1744979"/>
                  <a:gd name="connsiteX3377" fmla="*/ 1368743 w 1969770"/>
                  <a:gd name="connsiteY3377" fmla="*/ 900113 h 1744979"/>
                  <a:gd name="connsiteX3378" fmla="*/ 1366838 w 1969770"/>
                  <a:gd name="connsiteY3378" fmla="*/ 908685 h 1744979"/>
                  <a:gd name="connsiteX3379" fmla="*/ 1364933 w 1969770"/>
                  <a:gd name="connsiteY3379" fmla="*/ 917258 h 1744979"/>
                  <a:gd name="connsiteX3380" fmla="*/ 1363028 w 1969770"/>
                  <a:gd name="connsiteY3380" fmla="*/ 925830 h 1744979"/>
                  <a:gd name="connsiteX3381" fmla="*/ 1360170 w 1969770"/>
                  <a:gd name="connsiteY3381" fmla="*/ 934403 h 1744979"/>
                  <a:gd name="connsiteX3382" fmla="*/ 1357313 w 1969770"/>
                  <a:gd name="connsiteY3382" fmla="*/ 942975 h 1744979"/>
                  <a:gd name="connsiteX3383" fmla="*/ 1354455 w 1969770"/>
                  <a:gd name="connsiteY3383" fmla="*/ 950595 h 1744979"/>
                  <a:gd name="connsiteX3384" fmla="*/ 1351598 w 1969770"/>
                  <a:gd name="connsiteY3384" fmla="*/ 959168 h 1744979"/>
                  <a:gd name="connsiteX3385" fmla="*/ 1348740 w 1969770"/>
                  <a:gd name="connsiteY3385" fmla="*/ 966788 h 1744979"/>
                  <a:gd name="connsiteX3386" fmla="*/ 1345883 w 1969770"/>
                  <a:gd name="connsiteY3386" fmla="*/ 974408 h 1744979"/>
                  <a:gd name="connsiteX3387" fmla="*/ 1342073 w 1969770"/>
                  <a:gd name="connsiteY3387" fmla="*/ 982028 h 1744979"/>
                  <a:gd name="connsiteX3388" fmla="*/ 1338263 w 1969770"/>
                  <a:gd name="connsiteY3388" fmla="*/ 989648 h 1744979"/>
                  <a:gd name="connsiteX3389" fmla="*/ 1334453 w 1969770"/>
                  <a:gd name="connsiteY3389" fmla="*/ 997268 h 1744979"/>
                  <a:gd name="connsiteX3390" fmla="*/ 1330643 w 1969770"/>
                  <a:gd name="connsiteY3390" fmla="*/ 1004888 h 1744979"/>
                  <a:gd name="connsiteX3391" fmla="*/ 1326833 w 1969770"/>
                  <a:gd name="connsiteY3391" fmla="*/ 1012508 h 1744979"/>
                  <a:gd name="connsiteX3392" fmla="*/ 1323023 w 1969770"/>
                  <a:gd name="connsiteY3392" fmla="*/ 1020128 h 1744979"/>
                  <a:gd name="connsiteX3393" fmla="*/ 1318260 w 1969770"/>
                  <a:gd name="connsiteY3393" fmla="*/ 1027748 h 1744979"/>
                  <a:gd name="connsiteX3394" fmla="*/ 1313498 w 1969770"/>
                  <a:gd name="connsiteY3394" fmla="*/ 1035368 h 1744979"/>
                  <a:gd name="connsiteX3395" fmla="*/ 1308735 w 1969770"/>
                  <a:gd name="connsiteY3395" fmla="*/ 1042035 h 1744979"/>
                  <a:gd name="connsiteX3396" fmla="*/ 1303973 w 1969770"/>
                  <a:gd name="connsiteY3396" fmla="*/ 1048703 h 1744979"/>
                  <a:gd name="connsiteX3397" fmla="*/ 1299210 w 1969770"/>
                  <a:gd name="connsiteY3397" fmla="*/ 1055370 h 1744979"/>
                  <a:gd name="connsiteX3398" fmla="*/ 1293495 w 1969770"/>
                  <a:gd name="connsiteY3398" fmla="*/ 1062038 h 1744979"/>
                  <a:gd name="connsiteX3399" fmla="*/ 1287780 w 1969770"/>
                  <a:gd name="connsiteY3399" fmla="*/ 1068705 h 1744979"/>
                  <a:gd name="connsiteX3400" fmla="*/ 1283018 w 1969770"/>
                  <a:gd name="connsiteY3400" fmla="*/ 1075373 h 1744979"/>
                  <a:gd name="connsiteX3401" fmla="*/ 1277303 w 1969770"/>
                  <a:gd name="connsiteY3401" fmla="*/ 1082040 h 1744979"/>
                  <a:gd name="connsiteX3402" fmla="*/ 1271588 w 1969770"/>
                  <a:gd name="connsiteY3402" fmla="*/ 1088708 h 1744979"/>
                  <a:gd name="connsiteX3403" fmla="*/ 1258253 w 1969770"/>
                  <a:gd name="connsiteY3403" fmla="*/ 1076325 h 1744979"/>
                  <a:gd name="connsiteX3404" fmla="*/ 1258253 w 1969770"/>
                  <a:gd name="connsiteY3404" fmla="*/ 1076325 h 1744979"/>
                  <a:gd name="connsiteX3405" fmla="*/ 1212533 w 1969770"/>
                  <a:gd name="connsiteY3405" fmla="*/ 1063943 h 1744979"/>
                  <a:gd name="connsiteX3406" fmla="*/ 1206818 w 1969770"/>
                  <a:gd name="connsiteY3406" fmla="*/ 1064895 h 1744979"/>
                  <a:gd name="connsiteX3407" fmla="*/ 1207770 w 1969770"/>
                  <a:gd name="connsiteY3407" fmla="*/ 1065848 h 1744979"/>
                  <a:gd name="connsiteX3408" fmla="*/ 1204913 w 1969770"/>
                  <a:gd name="connsiteY3408" fmla="*/ 1068705 h 1744979"/>
                  <a:gd name="connsiteX3409" fmla="*/ 1179195 w 1969770"/>
                  <a:gd name="connsiteY3409" fmla="*/ 1062990 h 1744979"/>
                  <a:gd name="connsiteX3410" fmla="*/ 1173480 w 1969770"/>
                  <a:gd name="connsiteY3410" fmla="*/ 1065848 h 1744979"/>
                  <a:gd name="connsiteX3411" fmla="*/ 1159193 w 1969770"/>
                  <a:gd name="connsiteY3411" fmla="*/ 1054418 h 1744979"/>
                  <a:gd name="connsiteX3412" fmla="*/ 1147763 w 1969770"/>
                  <a:gd name="connsiteY3412" fmla="*/ 1051560 h 1744979"/>
                  <a:gd name="connsiteX3413" fmla="*/ 1163955 w 1969770"/>
                  <a:gd name="connsiteY3413" fmla="*/ 1038225 h 1744979"/>
                  <a:gd name="connsiteX3414" fmla="*/ 1163955 w 1969770"/>
                  <a:gd name="connsiteY3414" fmla="*/ 1036320 h 1744979"/>
                  <a:gd name="connsiteX3415" fmla="*/ 1177290 w 1969770"/>
                  <a:gd name="connsiteY3415" fmla="*/ 1029653 h 1744979"/>
                  <a:gd name="connsiteX3416" fmla="*/ 1212533 w 1969770"/>
                  <a:gd name="connsiteY3416" fmla="*/ 1063943 h 1744979"/>
                  <a:gd name="connsiteX3417" fmla="*/ 1212533 w 1969770"/>
                  <a:gd name="connsiteY3417" fmla="*/ 1063943 h 1744979"/>
                  <a:gd name="connsiteX3418" fmla="*/ 1275398 w 1969770"/>
                  <a:gd name="connsiteY3418" fmla="*/ 811530 h 1744979"/>
                  <a:gd name="connsiteX3419" fmla="*/ 1275398 w 1969770"/>
                  <a:gd name="connsiteY3419" fmla="*/ 805815 h 1744979"/>
                  <a:gd name="connsiteX3420" fmla="*/ 1286828 w 1969770"/>
                  <a:gd name="connsiteY3420" fmla="*/ 797243 h 1744979"/>
                  <a:gd name="connsiteX3421" fmla="*/ 1286828 w 1969770"/>
                  <a:gd name="connsiteY3421" fmla="*/ 791528 h 1744979"/>
                  <a:gd name="connsiteX3422" fmla="*/ 1292543 w 1969770"/>
                  <a:gd name="connsiteY3422" fmla="*/ 788670 h 1744979"/>
                  <a:gd name="connsiteX3423" fmla="*/ 1306830 w 1969770"/>
                  <a:gd name="connsiteY3423" fmla="*/ 785813 h 1744979"/>
                  <a:gd name="connsiteX3424" fmla="*/ 1306830 w 1969770"/>
                  <a:gd name="connsiteY3424" fmla="*/ 781050 h 1744979"/>
                  <a:gd name="connsiteX3425" fmla="*/ 1295400 w 1969770"/>
                  <a:gd name="connsiteY3425" fmla="*/ 775335 h 1744979"/>
                  <a:gd name="connsiteX3426" fmla="*/ 1315403 w 1969770"/>
                  <a:gd name="connsiteY3426" fmla="*/ 763905 h 1744979"/>
                  <a:gd name="connsiteX3427" fmla="*/ 1335405 w 1969770"/>
                  <a:gd name="connsiteY3427" fmla="*/ 761048 h 1744979"/>
                  <a:gd name="connsiteX3428" fmla="*/ 1341120 w 1969770"/>
                  <a:gd name="connsiteY3428" fmla="*/ 749618 h 1744979"/>
                  <a:gd name="connsiteX3429" fmla="*/ 1352550 w 1969770"/>
                  <a:gd name="connsiteY3429" fmla="*/ 743903 h 1744979"/>
                  <a:gd name="connsiteX3430" fmla="*/ 1358265 w 1969770"/>
                  <a:gd name="connsiteY3430" fmla="*/ 732473 h 1744979"/>
                  <a:gd name="connsiteX3431" fmla="*/ 1361123 w 1969770"/>
                  <a:gd name="connsiteY3431" fmla="*/ 718185 h 1744979"/>
                  <a:gd name="connsiteX3432" fmla="*/ 1361123 w 1969770"/>
                  <a:gd name="connsiteY3432" fmla="*/ 719138 h 1744979"/>
                  <a:gd name="connsiteX3433" fmla="*/ 1361123 w 1969770"/>
                  <a:gd name="connsiteY3433" fmla="*/ 718185 h 1744979"/>
                  <a:gd name="connsiteX3434" fmla="*/ 1362075 w 1969770"/>
                  <a:gd name="connsiteY3434" fmla="*/ 717233 h 1744979"/>
                  <a:gd name="connsiteX3435" fmla="*/ 1363028 w 1969770"/>
                  <a:gd name="connsiteY3435" fmla="*/ 721043 h 1744979"/>
                  <a:gd name="connsiteX3436" fmla="*/ 1363980 w 1969770"/>
                  <a:gd name="connsiteY3436" fmla="*/ 724853 h 1744979"/>
                  <a:gd name="connsiteX3437" fmla="*/ 1364933 w 1969770"/>
                  <a:gd name="connsiteY3437" fmla="*/ 728663 h 1744979"/>
                  <a:gd name="connsiteX3438" fmla="*/ 1365885 w 1969770"/>
                  <a:gd name="connsiteY3438" fmla="*/ 732473 h 1744979"/>
                  <a:gd name="connsiteX3439" fmla="*/ 1363028 w 1969770"/>
                  <a:gd name="connsiteY3439" fmla="*/ 736283 h 1744979"/>
                  <a:gd name="connsiteX3440" fmla="*/ 1363028 w 1969770"/>
                  <a:gd name="connsiteY3440" fmla="*/ 736283 h 1744979"/>
                  <a:gd name="connsiteX3441" fmla="*/ 1354455 w 1969770"/>
                  <a:gd name="connsiteY3441" fmla="*/ 765810 h 1744979"/>
                  <a:gd name="connsiteX3442" fmla="*/ 1351598 w 1969770"/>
                  <a:gd name="connsiteY3442" fmla="*/ 777240 h 1744979"/>
                  <a:gd name="connsiteX3443" fmla="*/ 1364933 w 1969770"/>
                  <a:gd name="connsiteY3443" fmla="*/ 762953 h 1744979"/>
                  <a:gd name="connsiteX3444" fmla="*/ 1370648 w 1969770"/>
                  <a:gd name="connsiteY3444" fmla="*/ 754380 h 1744979"/>
                  <a:gd name="connsiteX3445" fmla="*/ 1371600 w 1969770"/>
                  <a:gd name="connsiteY3445" fmla="*/ 761048 h 1744979"/>
                  <a:gd name="connsiteX3446" fmla="*/ 1372553 w 1969770"/>
                  <a:gd name="connsiteY3446" fmla="*/ 767715 h 1744979"/>
                  <a:gd name="connsiteX3447" fmla="*/ 1373505 w 1969770"/>
                  <a:gd name="connsiteY3447" fmla="*/ 775335 h 1744979"/>
                  <a:gd name="connsiteX3448" fmla="*/ 1374458 w 1969770"/>
                  <a:gd name="connsiteY3448" fmla="*/ 782003 h 1744979"/>
                  <a:gd name="connsiteX3449" fmla="*/ 1375410 w 1969770"/>
                  <a:gd name="connsiteY3449" fmla="*/ 788670 h 1744979"/>
                  <a:gd name="connsiteX3450" fmla="*/ 1375410 w 1969770"/>
                  <a:gd name="connsiteY3450" fmla="*/ 795338 h 1744979"/>
                  <a:gd name="connsiteX3451" fmla="*/ 1375410 w 1969770"/>
                  <a:gd name="connsiteY3451" fmla="*/ 802958 h 1744979"/>
                  <a:gd name="connsiteX3452" fmla="*/ 1375410 w 1969770"/>
                  <a:gd name="connsiteY3452" fmla="*/ 810578 h 1744979"/>
                  <a:gd name="connsiteX3453" fmla="*/ 1275398 w 1969770"/>
                  <a:gd name="connsiteY3453" fmla="*/ 810578 h 1744979"/>
                  <a:gd name="connsiteX3454" fmla="*/ 1275398 w 1969770"/>
                  <a:gd name="connsiteY3454" fmla="*/ 811530 h 1744979"/>
                  <a:gd name="connsiteX3455" fmla="*/ 1143953 w 1969770"/>
                  <a:gd name="connsiteY3455" fmla="*/ 625793 h 1744979"/>
                  <a:gd name="connsiteX3456" fmla="*/ 1143000 w 1969770"/>
                  <a:gd name="connsiteY3456" fmla="*/ 626745 h 1744979"/>
                  <a:gd name="connsiteX3457" fmla="*/ 1134428 w 1969770"/>
                  <a:gd name="connsiteY3457" fmla="*/ 632460 h 1744979"/>
                  <a:gd name="connsiteX3458" fmla="*/ 1128713 w 1969770"/>
                  <a:gd name="connsiteY3458" fmla="*/ 641033 h 1744979"/>
                  <a:gd name="connsiteX3459" fmla="*/ 1122998 w 1969770"/>
                  <a:gd name="connsiteY3459" fmla="*/ 635318 h 1744979"/>
                  <a:gd name="connsiteX3460" fmla="*/ 1105853 w 1969770"/>
                  <a:gd name="connsiteY3460" fmla="*/ 641033 h 1744979"/>
                  <a:gd name="connsiteX3461" fmla="*/ 1111568 w 1969770"/>
                  <a:gd name="connsiteY3461" fmla="*/ 649605 h 1744979"/>
                  <a:gd name="connsiteX3462" fmla="*/ 1122998 w 1969770"/>
                  <a:gd name="connsiteY3462" fmla="*/ 643890 h 1744979"/>
                  <a:gd name="connsiteX3463" fmla="*/ 1131570 w 1969770"/>
                  <a:gd name="connsiteY3463" fmla="*/ 646748 h 1744979"/>
                  <a:gd name="connsiteX3464" fmla="*/ 1131570 w 1969770"/>
                  <a:gd name="connsiteY3464" fmla="*/ 641033 h 1744979"/>
                  <a:gd name="connsiteX3465" fmla="*/ 1137285 w 1969770"/>
                  <a:gd name="connsiteY3465" fmla="*/ 638175 h 1744979"/>
                  <a:gd name="connsiteX3466" fmla="*/ 1140143 w 1969770"/>
                  <a:gd name="connsiteY3466" fmla="*/ 635318 h 1744979"/>
                  <a:gd name="connsiteX3467" fmla="*/ 1148715 w 1969770"/>
                  <a:gd name="connsiteY3467" fmla="*/ 632460 h 1744979"/>
                  <a:gd name="connsiteX3468" fmla="*/ 1155383 w 1969770"/>
                  <a:gd name="connsiteY3468" fmla="*/ 632460 h 1744979"/>
                  <a:gd name="connsiteX3469" fmla="*/ 1143953 w 1969770"/>
                  <a:gd name="connsiteY3469" fmla="*/ 625793 h 1744979"/>
                  <a:gd name="connsiteX3470" fmla="*/ 1143953 w 1969770"/>
                  <a:gd name="connsiteY3470" fmla="*/ 625793 h 1744979"/>
                  <a:gd name="connsiteX3471" fmla="*/ 1351598 w 1969770"/>
                  <a:gd name="connsiteY3471" fmla="*/ 1168718 h 1744979"/>
                  <a:gd name="connsiteX3472" fmla="*/ 1356360 w 1969770"/>
                  <a:gd name="connsiteY3472" fmla="*/ 1162050 h 1744979"/>
                  <a:gd name="connsiteX3473" fmla="*/ 1347788 w 1969770"/>
                  <a:gd name="connsiteY3473" fmla="*/ 1119188 h 1744979"/>
                  <a:gd name="connsiteX3474" fmla="*/ 1342073 w 1969770"/>
                  <a:gd name="connsiteY3474" fmla="*/ 1116330 h 1744979"/>
                  <a:gd name="connsiteX3475" fmla="*/ 1344930 w 1969770"/>
                  <a:gd name="connsiteY3475" fmla="*/ 1110615 h 1744979"/>
                  <a:gd name="connsiteX3476" fmla="*/ 1327785 w 1969770"/>
                  <a:gd name="connsiteY3476" fmla="*/ 1104900 h 1744979"/>
                  <a:gd name="connsiteX3477" fmla="*/ 1322070 w 1969770"/>
                  <a:gd name="connsiteY3477" fmla="*/ 1119188 h 1744979"/>
                  <a:gd name="connsiteX3478" fmla="*/ 1322070 w 1969770"/>
                  <a:gd name="connsiteY3478" fmla="*/ 1139190 h 1744979"/>
                  <a:gd name="connsiteX3479" fmla="*/ 1288733 w 1969770"/>
                  <a:gd name="connsiteY3479" fmla="*/ 1105853 h 1744979"/>
                  <a:gd name="connsiteX3480" fmla="*/ 1294448 w 1969770"/>
                  <a:gd name="connsiteY3480" fmla="*/ 1099185 h 1744979"/>
                  <a:gd name="connsiteX3481" fmla="*/ 1301115 w 1969770"/>
                  <a:gd name="connsiteY3481" fmla="*/ 1092518 h 1744979"/>
                  <a:gd name="connsiteX3482" fmla="*/ 1306830 w 1969770"/>
                  <a:gd name="connsiteY3482" fmla="*/ 1085850 h 1744979"/>
                  <a:gd name="connsiteX3483" fmla="*/ 1312545 w 1969770"/>
                  <a:gd name="connsiteY3483" fmla="*/ 1078230 h 1744979"/>
                  <a:gd name="connsiteX3484" fmla="*/ 1318260 w 1969770"/>
                  <a:gd name="connsiteY3484" fmla="*/ 1071563 h 1744979"/>
                  <a:gd name="connsiteX3485" fmla="*/ 1323975 w 1969770"/>
                  <a:gd name="connsiteY3485" fmla="*/ 1063943 h 1744979"/>
                  <a:gd name="connsiteX3486" fmla="*/ 1329690 w 1969770"/>
                  <a:gd name="connsiteY3486" fmla="*/ 1056323 h 1744979"/>
                  <a:gd name="connsiteX3487" fmla="*/ 1335405 w 1969770"/>
                  <a:gd name="connsiteY3487" fmla="*/ 1048703 h 1744979"/>
                  <a:gd name="connsiteX3488" fmla="*/ 1340168 w 1969770"/>
                  <a:gd name="connsiteY3488" fmla="*/ 1041083 h 1744979"/>
                  <a:gd name="connsiteX3489" fmla="*/ 1344930 w 1969770"/>
                  <a:gd name="connsiteY3489" fmla="*/ 1033463 h 1744979"/>
                  <a:gd name="connsiteX3490" fmla="*/ 1349693 w 1969770"/>
                  <a:gd name="connsiteY3490" fmla="*/ 1025843 h 1744979"/>
                  <a:gd name="connsiteX3491" fmla="*/ 1354455 w 1969770"/>
                  <a:gd name="connsiteY3491" fmla="*/ 1018223 h 1744979"/>
                  <a:gd name="connsiteX3492" fmla="*/ 1358265 w 1969770"/>
                  <a:gd name="connsiteY3492" fmla="*/ 1009650 h 1744979"/>
                  <a:gd name="connsiteX3493" fmla="*/ 1362075 w 1969770"/>
                  <a:gd name="connsiteY3493" fmla="*/ 1001078 h 1744979"/>
                  <a:gd name="connsiteX3494" fmla="*/ 1365885 w 1969770"/>
                  <a:gd name="connsiteY3494" fmla="*/ 992505 h 1744979"/>
                  <a:gd name="connsiteX3495" fmla="*/ 1369695 w 1969770"/>
                  <a:gd name="connsiteY3495" fmla="*/ 983933 h 1744979"/>
                  <a:gd name="connsiteX3496" fmla="*/ 1373505 w 1969770"/>
                  <a:gd name="connsiteY3496" fmla="*/ 975360 h 1744979"/>
                  <a:gd name="connsiteX3497" fmla="*/ 1377315 w 1969770"/>
                  <a:gd name="connsiteY3497" fmla="*/ 966788 h 1744979"/>
                  <a:gd name="connsiteX3498" fmla="*/ 1380173 w 1969770"/>
                  <a:gd name="connsiteY3498" fmla="*/ 958215 h 1744979"/>
                  <a:gd name="connsiteX3499" fmla="*/ 1383030 w 1969770"/>
                  <a:gd name="connsiteY3499" fmla="*/ 949643 h 1744979"/>
                  <a:gd name="connsiteX3500" fmla="*/ 1385888 w 1969770"/>
                  <a:gd name="connsiteY3500" fmla="*/ 940118 h 1744979"/>
                  <a:gd name="connsiteX3501" fmla="*/ 1388745 w 1969770"/>
                  <a:gd name="connsiteY3501" fmla="*/ 930593 h 1744979"/>
                  <a:gd name="connsiteX3502" fmla="*/ 1391603 w 1969770"/>
                  <a:gd name="connsiteY3502" fmla="*/ 921068 h 1744979"/>
                  <a:gd name="connsiteX3503" fmla="*/ 1393508 w 1969770"/>
                  <a:gd name="connsiteY3503" fmla="*/ 911543 h 1744979"/>
                  <a:gd name="connsiteX3504" fmla="*/ 1395413 w 1969770"/>
                  <a:gd name="connsiteY3504" fmla="*/ 902018 h 1744979"/>
                  <a:gd name="connsiteX3505" fmla="*/ 1397318 w 1969770"/>
                  <a:gd name="connsiteY3505" fmla="*/ 892493 h 1744979"/>
                  <a:gd name="connsiteX3506" fmla="*/ 1398270 w 1969770"/>
                  <a:gd name="connsiteY3506" fmla="*/ 882968 h 1744979"/>
                  <a:gd name="connsiteX3507" fmla="*/ 1399223 w 1969770"/>
                  <a:gd name="connsiteY3507" fmla="*/ 873443 h 1744979"/>
                  <a:gd name="connsiteX3508" fmla="*/ 1400175 w 1969770"/>
                  <a:gd name="connsiteY3508" fmla="*/ 863918 h 1744979"/>
                  <a:gd name="connsiteX3509" fmla="*/ 1401128 w 1969770"/>
                  <a:gd name="connsiteY3509" fmla="*/ 854393 h 1744979"/>
                  <a:gd name="connsiteX3510" fmla="*/ 1401128 w 1969770"/>
                  <a:gd name="connsiteY3510" fmla="*/ 844868 h 1744979"/>
                  <a:gd name="connsiteX3511" fmla="*/ 1402080 w 1969770"/>
                  <a:gd name="connsiteY3511" fmla="*/ 835343 h 1744979"/>
                  <a:gd name="connsiteX3512" fmla="*/ 1512570 w 1969770"/>
                  <a:gd name="connsiteY3512" fmla="*/ 835343 h 1744979"/>
                  <a:gd name="connsiteX3513" fmla="*/ 1511618 w 1969770"/>
                  <a:gd name="connsiteY3513" fmla="*/ 847725 h 1744979"/>
                  <a:gd name="connsiteX3514" fmla="*/ 1510665 w 1969770"/>
                  <a:gd name="connsiteY3514" fmla="*/ 860108 h 1744979"/>
                  <a:gd name="connsiteX3515" fmla="*/ 1509713 w 1969770"/>
                  <a:gd name="connsiteY3515" fmla="*/ 872490 h 1744979"/>
                  <a:gd name="connsiteX3516" fmla="*/ 1508760 w 1969770"/>
                  <a:gd name="connsiteY3516" fmla="*/ 884873 h 1744979"/>
                  <a:gd name="connsiteX3517" fmla="*/ 1506855 w 1969770"/>
                  <a:gd name="connsiteY3517" fmla="*/ 897255 h 1744979"/>
                  <a:gd name="connsiteX3518" fmla="*/ 1504950 w 1969770"/>
                  <a:gd name="connsiteY3518" fmla="*/ 909638 h 1744979"/>
                  <a:gd name="connsiteX3519" fmla="*/ 1503045 w 1969770"/>
                  <a:gd name="connsiteY3519" fmla="*/ 922020 h 1744979"/>
                  <a:gd name="connsiteX3520" fmla="*/ 1500188 w 1969770"/>
                  <a:gd name="connsiteY3520" fmla="*/ 934403 h 1744979"/>
                  <a:gd name="connsiteX3521" fmla="*/ 1497330 w 1969770"/>
                  <a:gd name="connsiteY3521" fmla="*/ 946785 h 1744979"/>
                  <a:gd name="connsiteX3522" fmla="*/ 1494473 w 1969770"/>
                  <a:gd name="connsiteY3522" fmla="*/ 959168 h 1744979"/>
                  <a:gd name="connsiteX3523" fmla="*/ 1491615 w 1969770"/>
                  <a:gd name="connsiteY3523" fmla="*/ 970598 h 1744979"/>
                  <a:gd name="connsiteX3524" fmla="*/ 1487805 w 1969770"/>
                  <a:gd name="connsiteY3524" fmla="*/ 982028 h 1744979"/>
                  <a:gd name="connsiteX3525" fmla="*/ 1483995 w 1969770"/>
                  <a:gd name="connsiteY3525" fmla="*/ 993458 h 1744979"/>
                  <a:gd name="connsiteX3526" fmla="*/ 1480185 w 1969770"/>
                  <a:gd name="connsiteY3526" fmla="*/ 1004888 h 1744979"/>
                  <a:gd name="connsiteX3527" fmla="*/ 1476375 w 1969770"/>
                  <a:gd name="connsiteY3527" fmla="*/ 1016318 h 1744979"/>
                  <a:gd name="connsiteX3528" fmla="*/ 1471613 w 1969770"/>
                  <a:gd name="connsiteY3528" fmla="*/ 1027748 h 1744979"/>
                  <a:gd name="connsiteX3529" fmla="*/ 1466850 w 1969770"/>
                  <a:gd name="connsiteY3529" fmla="*/ 1038225 h 1744979"/>
                  <a:gd name="connsiteX3530" fmla="*/ 1461135 w 1969770"/>
                  <a:gd name="connsiteY3530" fmla="*/ 1048703 h 1744979"/>
                  <a:gd name="connsiteX3531" fmla="*/ 1455420 w 1969770"/>
                  <a:gd name="connsiteY3531" fmla="*/ 1059180 h 1744979"/>
                  <a:gd name="connsiteX3532" fmla="*/ 1449705 w 1969770"/>
                  <a:gd name="connsiteY3532" fmla="*/ 1069658 h 1744979"/>
                  <a:gd name="connsiteX3533" fmla="*/ 1443990 w 1969770"/>
                  <a:gd name="connsiteY3533" fmla="*/ 1080135 h 1744979"/>
                  <a:gd name="connsiteX3534" fmla="*/ 1438275 w 1969770"/>
                  <a:gd name="connsiteY3534" fmla="*/ 1090613 h 1744979"/>
                  <a:gd name="connsiteX3535" fmla="*/ 1431608 w 1969770"/>
                  <a:gd name="connsiteY3535" fmla="*/ 1101090 h 1744979"/>
                  <a:gd name="connsiteX3536" fmla="*/ 1424940 w 1969770"/>
                  <a:gd name="connsiteY3536" fmla="*/ 1110615 h 1744979"/>
                  <a:gd name="connsiteX3537" fmla="*/ 1418273 w 1969770"/>
                  <a:gd name="connsiteY3537" fmla="*/ 1120140 h 1744979"/>
                  <a:gd name="connsiteX3538" fmla="*/ 1411605 w 1969770"/>
                  <a:gd name="connsiteY3538" fmla="*/ 1129665 h 1744979"/>
                  <a:gd name="connsiteX3539" fmla="*/ 1403985 w 1969770"/>
                  <a:gd name="connsiteY3539" fmla="*/ 1139190 h 1744979"/>
                  <a:gd name="connsiteX3540" fmla="*/ 1397318 w 1969770"/>
                  <a:gd name="connsiteY3540" fmla="*/ 1148715 h 1744979"/>
                  <a:gd name="connsiteX3541" fmla="*/ 1389698 w 1969770"/>
                  <a:gd name="connsiteY3541" fmla="*/ 1158240 h 1744979"/>
                  <a:gd name="connsiteX3542" fmla="*/ 1382078 w 1969770"/>
                  <a:gd name="connsiteY3542" fmla="*/ 1166813 h 1744979"/>
                  <a:gd name="connsiteX3543" fmla="*/ 1374458 w 1969770"/>
                  <a:gd name="connsiteY3543" fmla="*/ 1176338 h 1744979"/>
                  <a:gd name="connsiteX3544" fmla="*/ 1366838 w 1969770"/>
                  <a:gd name="connsiteY3544" fmla="*/ 1184910 h 1744979"/>
                  <a:gd name="connsiteX3545" fmla="*/ 1351598 w 1969770"/>
                  <a:gd name="connsiteY3545" fmla="*/ 1168718 h 1744979"/>
                  <a:gd name="connsiteX3546" fmla="*/ 1351598 w 1969770"/>
                  <a:gd name="connsiteY3546" fmla="*/ 1168718 h 1744979"/>
                  <a:gd name="connsiteX3547" fmla="*/ 626745 w 1969770"/>
                  <a:gd name="connsiteY3547" fmla="*/ 837248 h 1744979"/>
                  <a:gd name="connsiteX3548" fmla="*/ 626745 w 1969770"/>
                  <a:gd name="connsiteY3548" fmla="*/ 837248 h 1744979"/>
                  <a:gd name="connsiteX3549" fmla="*/ 618173 w 1969770"/>
                  <a:gd name="connsiteY3549" fmla="*/ 865823 h 1744979"/>
                  <a:gd name="connsiteX3550" fmla="*/ 629603 w 1969770"/>
                  <a:gd name="connsiteY3550" fmla="*/ 874395 h 1744979"/>
                  <a:gd name="connsiteX3551" fmla="*/ 618173 w 1969770"/>
                  <a:gd name="connsiteY3551" fmla="*/ 891540 h 1744979"/>
                  <a:gd name="connsiteX3552" fmla="*/ 601028 w 1969770"/>
                  <a:gd name="connsiteY3552" fmla="*/ 891540 h 1744979"/>
                  <a:gd name="connsiteX3553" fmla="*/ 600075 w 1969770"/>
                  <a:gd name="connsiteY3553" fmla="*/ 884873 h 1744979"/>
                  <a:gd name="connsiteX3554" fmla="*/ 599123 w 1969770"/>
                  <a:gd name="connsiteY3554" fmla="*/ 878205 h 1744979"/>
                  <a:gd name="connsiteX3555" fmla="*/ 598170 w 1969770"/>
                  <a:gd name="connsiteY3555" fmla="*/ 871538 h 1744979"/>
                  <a:gd name="connsiteX3556" fmla="*/ 597218 w 1969770"/>
                  <a:gd name="connsiteY3556" fmla="*/ 864870 h 1744979"/>
                  <a:gd name="connsiteX3557" fmla="*/ 596265 w 1969770"/>
                  <a:gd name="connsiteY3557" fmla="*/ 857250 h 1744979"/>
                  <a:gd name="connsiteX3558" fmla="*/ 596265 w 1969770"/>
                  <a:gd name="connsiteY3558" fmla="*/ 850583 h 1744979"/>
                  <a:gd name="connsiteX3559" fmla="*/ 595313 w 1969770"/>
                  <a:gd name="connsiteY3559" fmla="*/ 843915 h 1744979"/>
                  <a:gd name="connsiteX3560" fmla="*/ 595313 w 1969770"/>
                  <a:gd name="connsiteY3560" fmla="*/ 836295 h 1744979"/>
                  <a:gd name="connsiteX3561" fmla="*/ 628650 w 1969770"/>
                  <a:gd name="connsiteY3561" fmla="*/ 836295 h 1744979"/>
                  <a:gd name="connsiteX3562" fmla="*/ 626745 w 1969770"/>
                  <a:gd name="connsiteY3562" fmla="*/ 837248 h 1744979"/>
                  <a:gd name="connsiteX3563" fmla="*/ 626745 w 1969770"/>
                  <a:gd name="connsiteY3563" fmla="*/ 837248 h 1744979"/>
                  <a:gd name="connsiteX3564" fmla="*/ 574358 w 1969770"/>
                  <a:gd name="connsiteY3564" fmla="*/ 870585 h 1744979"/>
                  <a:gd name="connsiteX3565" fmla="*/ 573405 w 1969770"/>
                  <a:gd name="connsiteY3565" fmla="*/ 870585 h 1744979"/>
                  <a:gd name="connsiteX3566" fmla="*/ 573405 w 1969770"/>
                  <a:gd name="connsiteY3566" fmla="*/ 871538 h 1744979"/>
                  <a:gd name="connsiteX3567" fmla="*/ 559118 w 1969770"/>
                  <a:gd name="connsiteY3567" fmla="*/ 874395 h 1744979"/>
                  <a:gd name="connsiteX3568" fmla="*/ 556260 w 1969770"/>
                  <a:gd name="connsiteY3568" fmla="*/ 888683 h 1744979"/>
                  <a:gd name="connsiteX3569" fmla="*/ 527685 w 1969770"/>
                  <a:gd name="connsiteY3569" fmla="*/ 922973 h 1744979"/>
                  <a:gd name="connsiteX3570" fmla="*/ 530543 w 1969770"/>
                  <a:gd name="connsiteY3570" fmla="*/ 974408 h 1744979"/>
                  <a:gd name="connsiteX3571" fmla="*/ 499110 w 1969770"/>
                  <a:gd name="connsiteY3571" fmla="*/ 982980 h 1744979"/>
                  <a:gd name="connsiteX3572" fmla="*/ 486728 w 1969770"/>
                  <a:gd name="connsiteY3572" fmla="*/ 982980 h 1744979"/>
                  <a:gd name="connsiteX3573" fmla="*/ 481013 w 1969770"/>
                  <a:gd name="connsiteY3573" fmla="*/ 964883 h 1744979"/>
                  <a:gd name="connsiteX3574" fmla="*/ 476250 w 1969770"/>
                  <a:gd name="connsiteY3574" fmla="*/ 946785 h 1744979"/>
                  <a:gd name="connsiteX3575" fmla="*/ 472440 w 1969770"/>
                  <a:gd name="connsiteY3575" fmla="*/ 928688 h 1744979"/>
                  <a:gd name="connsiteX3576" fmla="*/ 469583 w 1969770"/>
                  <a:gd name="connsiteY3576" fmla="*/ 909638 h 1744979"/>
                  <a:gd name="connsiteX3577" fmla="*/ 466725 w 1969770"/>
                  <a:gd name="connsiteY3577" fmla="*/ 890588 h 1744979"/>
                  <a:gd name="connsiteX3578" fmla="*/ 464820 w 1969770"/>
                  <a:gd name="connsiteY3578" fmla="*/ 871538 h 1744979"/>
                  <a:gd name="connsiteX3579" fmla="*/ 463868 w 1969770"/>
                  <a:gd name="connsiteY3579" fmla="*/ 862013 h 1744979"/>
                  <a:gd name="connsiteX3580" fmla="*/ 462915 w 1969770"/>
                  <a:gd name="connsiteY3580" fmla="*/ 852488 h 1744979"/>
                  <a:gd name="connsiteX3581" fmla="*/ 462915 w 1969770"/>
                  <a:gd name="connsiteY3581" fmla="*/ 842963 h 1744979"/>
                  <a:gd name="connsiteX3582" fmla="*/ 462915 w 1969770"/>
                  <a:gd name="connsiteY3582" fmla="*/ 833438 h 1744979"/>
                  <a:gd name="connsiteX3583" fmla="*/ 573405 w 1969770"/>
                  <a:gd name="connsiteY3583" fmla="*/ 833438 h 1744979"/>
                  <a:gd name="connsiteX3584" fmla="*/ 573405 w 1969770"/>
                  <a:gd name="connsiteY3584" fmla="*/ 842963 h 1744979"/>
                  <a:gd name="connsiteX3585" fmla="*/ 574358 w 1969770"/>
                  <a:gd name="connsiteY3585" fmla="*/ 851535 h 1744979"/>
                  <a:gd name="connsiteX3586" fmla="*/ 575310 w 1969770"/>
                  <a:gd name="connsiteY3586" fmla="*/ 861060 h 1744979"/>
                  <a:gd name="connsiteX3587" fmla="*/ 574358 w 1969770"/>
                  <a:gd name="connsiteY3587" fmla="*/ 870585 h 1744979"/>
                  <a:gd name="connsiteX3588" fmla="*/ 574358 w 1969770"/>
                  <a:gd name="connsiteY3588" fmla="*/ 870585 h 1744979"/>
                  <a:gd name="connsiteX3589" fmla="*/ 461963 w 1969770"/>
                  <a:gd name="connsiteY3589" fmla="*/ 982980 h 1744979"/>
                  <a:gd name="connsiteX3590" fmla="*/ 458153 w 1969770"/>
                  <a:gd name="connsiteY3590" fmla="*/ 982980 h 1744979"/>
                  <a:gd name="connsiteX3591" fmla="*/ 458153 w 1969770"/>
                  <a:gd name="connsiteY3591" fmla="*/ 982980 h 1744979"/>
                  <a:gd name="connsiteX3592" fmla="*/ 458153 w 1969770"/>
                  <a:gd name="connsiteY3592" fmla="*/ 983933 h 1744979"/>
                  <a:gd name="connsiteX3593" fmla="*/ 451485 w 1969770"/>
                  <a:gd name="connsiteY3593" fmla="*/ 983933 h 1744979"/>
                  <a:gd name="connsiteX3594" fmla="*/ 445770 w 1969770"/>
                  <a:gd name="connsiteY3594" fmla="*/ 975360 h 1744979"/>
                  <a:gd name="connsiteX3595" fmla="*/ 415290 w 1969770"/>
                  <a:gd name="connsiteY3595" fmla="*/ 972503 h 1744979"/>
                  <a:gd name="connsiteX3596" fmla="*/ 423863 w 1969770"/>
                  <a:gd name="connsiteY3596" fmla="*/ 986790 h 1744979"/>
                  <a:gd name="connsiteX3597" fmla="*/ 396240 w 1969770"/>
                  <a:gd name="connsiteY3597" fmla="*/ 981075 h 1744979"/>
                  <a:gd name="connsiteX3598" fmla="*/ 404813 w 1969770"/>
                  <a:gd name="connsiteY3598" fmla="*/ 972503 h 1744979"/>
                  <a:gd name="connsiteX3599" fmla="*/ 396240 w 1969770"/>
                  <a:gd name="connsiteY3599" fmla="*/ 966788 h 1744979"/>
                  <a:gd name="connsiteX3600" fmla="*/ 377190 w 1969770"/>
                  <a:gd name="connsiteY3600" fmla="*/ 975360 h 1744979"/>
                  <a:gd name="connsiteX3601" fmla="*/ 368618 w 1969770"/>
                  <a:gd name="connsiteY3601" fmla="*/ 989648 h 1744979"/>
                  <a:gd name="connsiteX3602" fmla="*/ 371475 w 1969770"/>
                  <a:gd name="connsiteY3602" fmla="*/ 1020128 h 1744979"/>
                  <a:gd name="connsiteX3603" fmla="*/ 396240 w 1969770"/>
                  <a:gd name="connsiteY3603" fmla="*/ 1078230 h 1744979"/>
                  <a:gd name="connsiteX3604" fmla="*/ 407670 w 1969770"/>
                  <a:gd name="connsiteY3604" fmla="*/ 1095375 h 1744979"/>
                  <a:gd name="connsiteX3605" fmla="*/ 413385 w 1969770"/>
                  <a:gd name="connsiteY3605" fmla="*/ 1098233 h 1744979"/>
                  <a:gd name="connsiteX3606" fmla="*/ 396240 w 1969770"/>
                  <a:gd name="connsiteY3606" fmla="*/ 1064895 h 1744979"/>
                  <a:gd name="connsiteX3607" fmla="*/ 390525 w 1969770"/>
                  <a:gd name="connsiteY3607" fmla="*/ 1047750 h 1744979"/>
                  <a:gd name="connsiteX3608" fmla="*/ 396240 w 1969770"/>
                  <a:gd name="connsiteY3608" fmla="*/ 1042035 h 1744979"/>
                  <a:gd name="connsiteX3609" fmla="*/ 393383 w 1969770"/>
                  <a:gd name="connsiteY3609" fmla="*/ 1033463 h 1744979"/>
                  <a:gd name="connsiteX3610" fmla="*/ 405765 w 1969770"/>
                  <a:gd name="connsiteY3610" fmla="*/ 1033463 h 1744979"/>
                  <a:gd name="connsiteX3611" fmla="*/ 421958 w 1969770"/>
                  <a:gd name="connsiteY3611" fmla="*/ 1058228 h 1744979"/>
                  <a:gd name="connsiteX3612" fmla="*/ 424815 w 1969770"/>
                  <a:gd name="connsiteY3612" fmla="*/ 1061085 h 1744979"/>
                  <a:gd name="connsiteX3613" fmla="*/ 424815 w 1969770"/>
                  <a:gd name="connsiteY3613" fmla="*/ 1042035 h 1744979"/>
                  <a:gd name="connsiteX3614" fmla="*/ 430530 w 1969770"/>
                  <a:gd name="connsiteY3614" fmla="*/ 1047750 h 1744979"/>
                  <a:gd name="connsiteX3615" fmla="*/ 433388 w 1969770"/>
                  <a:gd name="connsiteY3615" fmla="*/ 1056323 h 1744979"/>
                  <a:gd name="connsiteX3616" fmla="*/ 449580 w 1969770"/>
                  <a:gd name="connsiteY3616" fmla="*/ 1062038 h 1744979"/>
                  <a:gd name="connsiteX3617" fmla="*/ 458153 w 1969770"/>
                  <a:gd name="connsiteY3617" fmla="*/ 1056323 h 1744979"/>
                  <a:gd name="connsiteX3618" fmla="*/ 461963 w 1969770"/>
                  <a:gd name="connsiteY3618" fmla="*/ 1056323 h 1744979"/>
                  <a:gd name="connsiteX3619" fmla="*/ 461963 w 1969770"/>
                  <a:gd name="connsiteY3619" fmla="*/ 1071563 h 1744979"/>
                  <a:gd name="connsiteX3620" fmla="*/ 467678 w 1969770"/>
                  <a:gd name="connsiteY3620" fmla="*/ 1082993 h 1744979"/>
                  <a:gd name="connsiteX3621" fmla="*/ 479108 w 1969770"/>
                  <a:gd name="connsiteY3621" fmla="*/ 1082993 h 1744979"/>
                  <a:gd name="connsiteX3622" fmla="*/ 499110 w 1969770"/>
                  <a:gd name="connsiteY3622" fmla="*/ 1122045 h 1744979"/>
                  <a:gd name="connsiteX3623" fmla="*/ 510540 w 1969770"/>
                  <a:gd name="connsiteY3623" fmla="*/ 1124903 h 1744979"/>
                  <a:gd name="connsiteX3624" fmla="*/ 516255 w 1969770"/>
                  <a:gd name="connsiteY3624" fmla="*/ 1107758 h 1744979"/>
                  <a:gd name="connsiteX3625" fmla="*/ 516255 w 1969770"/>
                  <a:gd name="connsiteY3625" fmla="*/ 1105853 h 1744979"/>
                  <a:gd name="connsiteX3626" fmla="*/ 516255 w 1969770"/>
                  <a:gd name="connsiteY3626" fmla="*/ 1105853 h 1744979"/>
                  <a:gd name="connsiteX3627" fmla="*/ 516255 w 1969770"/>
                  <a:gd name="connsiteY3627" fmla="*/ 1104900 h 1744979"/>
                  <a:gd name="connsiteX3628" fmla="*/ 523875 w 1969770"/>
                  <a:gd name="connsiteY3628" fmla="*/ 1118235 h 1744979"/>
                  <a:gd name="connsiteX3629" fmla="*/ 532448 w 1969770"/>
                  <a:gd name="connsiteY3629" fmla="*/ 1131570 h 1744979"/>
                  <a:gd name="connsiteX3630" fmla="*/ 541020 w 1969770"/>
                  <a:gd name="connsiteY3630" fmla="*/ 1143953 h 1744979"/>
                  <a:gd name="connsiteX3631" fmla="*/ 550545 w 1969770"/>
                  <a:gd name="connsiteY3631" fmla="*/ 1156335 h 1744979"/>
                  <a:gd name="connsiteX3632" fmla="*/ 560070 w 1969770"/>
                  <a:gd name="connsiteY3632" fmla="*/ 1168718 h 1744979"/>
                  <a:gd name="connsiteX3633" fmla="*/ 569595 w 1969770"/>
                  <a:gd name="connsiteY3633" fmla="*/ 1180148 h 1744979"/>
                  <a:gd name="connsiteX3634" fmla="*/ 580073 w 1969770"/>
                  <a:gd name="connsiteY3634" fmla="*/ 1191578 h 1744979"/>
                  <a:gd name="connsiteX3635" fmla="*/ 590550 w 1969770"/>
                  <a:gd name="connsiteY3635" fmla="*/ 1203008 h 1744979"/>
                  <a:gd name="connsiteX3636" fmla="*/ 512445 w 1969770"/>
                  <a:gd name="connsiteY3636" fmla="*/ 1281113 h 1744979"/>
                  <a:gd name="connsiteX3637" fmla="*/ 501968 w 1969770"/>
                  <a:gd name="connsiteY3637" fmla="*/ 1270635 h 1744979"/>
                  <a:gd name="connsiteX3638" fmla="*/ 491490 w 1969770"/>
                  <a:gd name="connsiteY3638" fmla="*/ 1259205 h 1744979"/>
                  <a:gd name="connsiteX3639" fmla="*/ 481965 w 1969770"/>
                  <a:gd name="connsiteY3639" fmla="*/ 1247775 h 1744979"/>
                  <a:gd name="connsiteX3640" fmla="*/ 472440 w 1969770"/>
                  <a:gd name="connsiteY3640" fmla="*/ 1236345 h 1744979"/>
                  <a:gd name="connsiteX3641" fmla="*/ 462915 w 1969770"/>
                  <a:gd name="connsiteY3641" fmla="*/ 1223963 h 1744979"/>
                  <a:gd name="connsiteX3642" fmla="*/ 453390 w 1969770"/>
                  <a:gd name="connsiteY3642" fmla="*/ 1211580 h 1744979"/>
                  <a:gd name="connsiteX3643" fmla="*/ 444818 w 1969770"/>
                  <a:gd name="connsiteY3643" fmla="*/ 1199198 h 1744979"/>
                  <a:gd name="connsiteX3644" fmla="*/ 436245 w 1969770"/>
                  <a:gd name="connsiteY3644" fmla="*/ 1186815 h 1744979"/>
                  <a:gd name="connsiteX3645" fmla="*/ 427673 w 1969770"/>
                  <a:gd name="connsiteY3645" fmla="*/ 1174433 h 1744979"/>
                  <a:gd name="connsiteX3646" fmla="*/ 420053 w 1969770"/>
                  <a:gd name="connsiteY3646" fmla="*/ 1161098 h 1744979"/>
                  <a:gd name="connsiteX3647" fmla="*/ 412433 w 1969770"/>
                  <a:gd name="connsiteY3647" fmla="*/ 1147763 h 1744979"/>
                  <a:gd name="connsiteX3648" fmla="*/ 404813 w 1969770"/>
                  <a:gd name="connsiteY3648" fmla="*/ 1134428 h 1744979"/>
                  <a:gd name="connsiteX3649" fmla="*/ 398145 w 1969770"/>
                  <a:gd name="connsiteY3649" fmla="*/ 1121093 h 1744979"/>
                  <a:gd name="connsiteX3650" fmla="*/ 391478 w 1969770"/>
                  <a:gd name="connsiteY3650" fmla="*/ 1107758 h 1744979"/>
                  <a:gd name="connsiteX3651" fmla="*/ 384810 w 1969770"/>
                  <a:gd name="connsiteY3651" fmla="*/ 1094423 h 1744979"/>
                  <a:gd name="connsiteX3652" fmla="*/ 379095 w 1969770"/>
                  <a:gd name="connsiteY3652" fmla="*/ 1080135 h 1744979"/>
                  <a:gd name="connsiteX3653" fmla="*/ 373380 w 1969770"/>
                  <a:gd name="connsiteY3653" fmla="*/ 1065848 h 1744979"/>
                  <a:gd name="connsiteX3654" fmla="*/ 367665 w 1969770"/>
                  <a:gd name="connsiteY3654" fmla="*/ 1051560 h 1744979"/>
                  <a:gd name="connsiteX3655" fmla="*/ 362903 w 1969770"/>
                  <a:gd name="connsiteY3655" fmla="*/ 1037273 h 1744979"/>
                  <a:gd name="connsiteX3656" fmla="*/ 358140 w 1969770"/>
                  <a:gd name="connsiteY3656" fmla="*/ 1022985 h 1744979"/>
                  <a:gd name="connsiteX3657" fmla="*/ 353378 w 1969770"/>
                  <a:gd name="connsiteY3657" fmla="*/ 1007745 h 1744979"/>
                  <a:gd name="connsiteX3658" fmla="*/ 349568 w 1969770"/>
                  <a:gd name="connsiteY3658" fmla="*/ 993458 h 1744979"/>
                  <a:gd name="connsiteX3659" fmla="*/ 345758 w 1969770"/>
                  <a:gd name="connsiteY3659" fmla="*/ 978218 h 1744979"/>
                  <a:gd name="connsiteX3660" fmla="*/ 341948 w 1969770"/>
                  <a:gd name="connsiteY3660" fmla="*/ 962978 h 1744979"/>
                  <a:gd name="connsiteX3661" fmla="*/ 339090 w 1969770"/>
                  <a:gd name="connsiteY3661" fmla="*/ 947738 h 1744979"/>
                  <a:gd name="connsiteX3662" fmla="*/ 336233 w 1969770"/>
                  <a:gd name="connsiteY3662" fmla="*/ 932498 h 1744979"/>
                  <a:gd name="connsiteX3663" fmla="*/ 333375 w 1969770"/>
                  <a:gd name="connsiteY3663" fmla="*/ 916305 h 1744979"/>
                  <a:gd name="connsiteX3664" fmla="*/ 333375 w 1969770"/>
                  <a:gd name="connsiteY3664" fmla="*/ 900113 h 1744979"/>
                  <a:gd name="connsiteX3665" fmla="*/ 331470 w 1969770"/>
                  <a:gd name="connsiteY3665" fmla="*/ 883920 h 1744979"/>
                  <a:gd name="connsiteX3666" fmla="*/ 330518 w 1969770"/>
                  <a:gd name="connsiteY3666" fmla="*/ 867728 h 1744979"/>
                  <a:gd name="connsiteX3667" fmla="*/ 329565 w 1969770"/>
                  <a:gd name="connsiteY3667" fmla="*/ 851535 h 1744979"/>
                  <a:gd name="connsiteX3668" fmla="*/ 328613 w 1969770"/>
                  <a:gd name="connsiteY3668" fmla="*/ 835343 h 1744979"/>
                  <a:gd name="connsiteX3669" fmla="*/ 439103 w 1969770"/>
                  <a:gd name="connsiteY3669" fmla="*/ 835343 h 1744979"/>
                  <a:gd name="connsiteX3670" fmla="*/ 440055 w 1969770"/>
                  <a:gd name="connsiteY3670" fmla="*/ 854393 h 1744979"/>
                  <a:gd name="connsiteX3671" fmla="*/ 441960 w 1969770"/>
                  <a:gd name="connsiteY3671" fmla="*/ 873443 h 1744979"/>
                  <a:gd name="connsiteX3672" fmla="*/ 443865 w 1969770"/>
                  <a:gd name="connsiteY3672" fmla="*/ 892493 h 1744979"/>
                  <a:gd name="connsiteX3673" fmla="*/ 446723 w 1969770"/>
                  <a:gd name="connsiteY3673" fmla="*/ 910590 h 1744979"/>
                  <a:gd name="connsiteX3674" fmla="*/ 450533 w 1969770"/>
                  <a:gd name="connsiteY3674" fmla="*/ 928688 h 1744979"/>
                  <a:gd name="connsiteX3675" fmla="*/ 454343 w 1969770"/>
                  <a:gd name="connsiteY3675" fmla="*/ 946785 h 1744979"/>
                  <a:gd name="connsiteX3676" fmla="*/ 458153 w 1969770"/>
                  <a:gd name="connsiteY3676" fmla="*/ 964883 h 1744979"/>
                  <a:gd name="connsiteX3677" fmla="*/ 461963 w 1969770"/>
                  <a:gd name="connsiteY3677" fmla="*/ 982980 h 1744979"/>
                  <a:gd name="connsiteX3678" fmla="*/ 461963 w 1969770"/>
                  <a:gd name="connsiteY3678" fmla="*/ 982980 h 1744979"/>
                  <a:gd name="connsiteX3679" fmla="*/ 585788 w 1969770"/>
                  <a:gd name="connsiteY3679" fmla="*/ 1162050 h 1744979"/>
                  <a:gd name="connsiteX3680" fmla="*/ 596265 w 1969770"/>
                  <a:gd name="connsiteY3680" fmla="*/ 1154430 h 1744979"/>
                  <a:gd name="connsiteX3681" fmla="*/ 621983 w 1969770"/>
                  <a:gd name="connsiteY3681" fmla="*/ 1168718 h 1744979"/>
                  <a:gd name="connsiteX3682" fmla="*/ 625793 w 1969770"/>
                  <a:gd name="connsiteY3682" fmla="*/ 1170623 h 1744979"/>
                  <a:gd name="connsiteX3683" fmla="*/ 608648 w 1969770"/>
                  <a:gd name="connsiteY3683" fmla="*/ 1187768 h 1744979"/>
                  <a:gd name="connsiteX3684" fmla="*/ 602933 w 1969770"/>
                  <a:gd name="connsiteY3684" fmla="*/ 1181100 h 1744979"/>
                  <a:gd name="connsiteX3685" fmla="*/ 597218 w 1969770"/>
                  <a:gd name="connsiteY3685" fmla="*/ 1174433 h 1744979"/>
                  <a:gd name="connsiteX3686" fmla="*/ 591503 w 1969770"/>
                  <a:gd name="connsiteY3686" fmla="*/ 1167765 h 1744979"/>
                  <a:gd name="connsiteX3687" fmla="*/ 585788 w 1969770"/>
                  <a:gd name="connsiteY3687" fmla="*/ 1162050 h 1744979"/>
                  <a:gd name="connsiteX3688" fmla="*/ 585788 w 1969770"/>
                  <a:gd name="connsiteY3688" fmla="*/ 1162050 h 1744979"/>
                  <a:gd name="connsiteX3689" fmla="*/ 681038 w 1969770"/>
                  <a:gd name="connsiteY3689" fmla="*/ 1067753 h 1744979"/>
                  <a:gd name="connsiteX3690" fmla="*/ 683895 w 1969770"/>
                  <a:gd name="connsiteY3690" fmla="*/ 1041083 h 1744979"/>
                  <a:gd name="connsiteX3691" fmla="*/ 672465 w 1969770"/>
                  <a:gd name="connsiteY3691" fmla="*/ 1015365 h 1744979"/>
                  <a:gd name="connsiteX3692" fmla="*/ 669608 w 1969770"/>
                  <a:gd name="connsiteY3692" fmla="*/ 972503 h 1744979"/>
                  <a:gd name="connsiteX3693" fmla="*/ 655320 w 1969770"/>
                  <a:gd name="connsiteY3693" fmla="*/ 946785 h 1744979"/>
                  <a:gd name="connsiteX3694" fmla="*/ 658178 w 1969770"/>
                  <a:gd name="connsiteY3694" fmla="*/ 929640 h 1744979"/>
                  <a:gd name="connsiteX3695" fmla="*/ 641033 w 1969770"/>
                  <a:gd name="connsiteY3695" fmla="*/ 898208 h 1744979"/>
                  <a:gd name="connsiteX3696" fmla="*/ 626745 w 1969770"/>
                  <a:gd name="connsiteY3696" fmla="*/ 892493 h 1744979"/>
                  <a:gd name="connsiteX3697" fmla="*/ 632460 w 1969770"/>
                  <a:gd name="connsiteY3697" fmla="*/ 875348 h 1744979"/>
                  <a:gd name="connsiteX3698" fmla="*/ 626745 w 1969770"/>
                  <a:gd name="connsiteY3698" fmla="*/ 861060 h 1744979"/>
                  <a:gd name="connsiteX3699" fmla="*/ 632460 w 1969770"/>
                  <a:gd name="connsiteY3699" fmla="*/ 846773 h 1744979"/>
                  <a:gd name="connsiteX3700" fmla="*/ 649605 w 1969770"/>
                  <a:gd name="connsiteY3700" fmla="*/ 846773 h 1744979"/>
                  <a:gd name="connsiteX3701" fmla="*/ 655320 w 1969770"/>
                  <a:gd name="connsiteY3701" fmla="*/ 839153 h 1744979"/>
                  <a:gd name="connsiteX3702" fmla="*/ 655320 w 1969770"/>
                  <a:gd name="connsiteY3702" fmla="*/ 838200 h 1744979"/>
                  <a:gd name="connsiteX3703" fmla="*/ 656273 w 1969770"/>
                  <a:gd name="connsiteY3703" fmla="*/ 834390 h 1744979"/>
                  <a:gd name="connsiteX3704" fmla="*/ 679133 w 1969770"/>
                  <a:gd name="connsiteY3704" fmla="*/ 834390 h 1744979"/>
                  <a:gd name="connsiteX3705" fmla="*/ 681990 w 1969770"/>
                  <a:gd name="connsiteY3705" fmla="*/ 837248 h 1744979"/>
                  <a:gd name="connsiteX3706" fmla="*/ 681990 w 1969770"/>
                  <a:gd name="connsiteY3706" fmla="*/ 837248 h 1744979"/>
                  <a:gd name="connsiteX3707" fmla="*/ 681990 w 1969770"/>
                  <a:gd name="connsiteY3707" fmla="*/ 837248 h 1744979"/>
                  <a:gd name="connsiteX3708" fmla="*/ 681990 w 1969770"/>
                  <a:gd name="connsiteY3708" fmla="*/ 837248 h 1744979"/>
                  <a:gd name="connsiteX3709" fmla="*/ 681990 w 1969770"/>
                  <a:gd name="connsiteY3709" fmla="*/ 837248 h 1744979"/>
                  <a:gd name="connsiteX3710" fmla="*/ 684848 w 1969770"/>
                  <a:gd name="connsiteY3710" fmla="*/ 845820 h 1744979"/>
                  <a:gd name="connsiteX3711" fmla="*/ 681990 w 1969770"/>
                  <a:gd name="connsiteY3711" fmla="*/ 871538 h 1744979"/>
                  <a:gd name="connsiteX3712" fmla="*/ 676275 w 1969770"/>
                  <a:gd name="connsiteY3712" fmla="*/ 878205 h 1744979"/>
                  <a:gd name="connsiteX3713" fmla="*/ 686753 w 1969770"/>
                  <a:gd name="connsiteY3713" fmla="*/ 898208 h 1744979"/>
                  <a:gd name="connsiteX3714" fmla="*/ 681990 w 1969770"/>
                  <a:gd name="connsiteY3714" fmla="*/ 903923 h 1744979"/>
                  <a:gd name="connsiteX3715" fmla="*/ 676275 w 1969770"/>
                  <a:gd name="connsiteY3715" fmla="*/ 898208 h 1744979"/>
                  <a:gd name="connsiteX3716" fmla="*/ 673418 w 1969770"/>
                  <a:gd name="connsiteY3716" fmla="*/ 898208 h 1744979"/>
                  <a:gd name="connsiteX3717" fmla="*/ 679133 w 1969770"/>
                  <a:gd name="connsiteY3717" fmla="*/ 912495 h 1744979"/>
                  <a:gd name="connsiteX3718" fmla="*/ 686753 w 1969770"/>
                  <a:gd name="connsiteY3718" fmla="*/ 926783 h 1744979"/>
                  <a:gd name="connsiteX3719" fmla="*/ 689610 w 1969770"/>
                  <a:gd name="connsiteY3719" fmla="*/ 926783 h 1744979"/>
                  <a:gd name="connsiteX3720" fmla="*/ 692468 w 1969770"/>
                  <a:gd name="connsiteY3720" fmla="*/ 912495 h 1744979"/>
                  <a:gd name="connsiteX3721" fmla="*/ 687705 w 1969770"/>
                  <a:gd name="connsiteY3721" fmla="*/ 909638 h 1744979"/>
                  <a:gd name="connsiteX3722" fmla="*/ 687705 w 1969770"/>
                  <a:gd name="connsiteY3722" fmla="*/ 900113 h 1744979"/>
                  <a:gd name="connsiteX3723" fmla="*/ 687705 w 1969770"/>
                  <a:gd name="connsiteY3723" fmla="*/ 882015 h 1744979"/>
                  <a:gd name="connsiteX3724" fmla="*/ 693420 w 1969770"/>
                  <a:gd name="connsiteY3724" fmla="*/ 847725 h 1744979"/>
                  <a:gd name="connsiteX3725" fmla="*/ 691515 w 1969770"/>
                  <a:gd name="connsiteY3725" fmla="*/ 843915 h 1744979"/>
                  <a:gd name="connsiteX3726" fmla="*/ 686753 w 1969770"/>
                  <a:gd name="connsiteY3726" fmla="*/ 837248 h 1744979"/>
                  <a:gd name="connsiteX3727" fmla="*/ 688658 w 1969770"/>
                  <a:gd name="connsiteY3727" fmla="*/ 837248 h 1744979"/>
                  <a:gd name="connsiteX3728" fmla="*/ 687705 w 1969770"/>
                  <a:gd name="connsiteY3728" fmla="*/ 834390 h 1744979"/>
                  <a:gd name="connsiteX3729" fmla="*/ 709613 w 1969770"/>
                  <a:gd name="connsiteY3729" fmla="*/ 834390 h 1744979"/>
                  <a:gd name="connsiteX3730" fmla="*/ 710565 w 1969770"/>
                  <a:gd name="connsiteY3730" fmla="*/ 847725 h 1744979"/>
                  <a:gd name="connsiteX3731" fmla="*/ 711518 w 1969770"/>
                  <a:gd name="connsiteY3731" fmla="*/ 860108 h 1744979"/>
                  <a:gd name="connsiteX3732" fmla="*/ 713423 w 1969770"/>
                  <a:gd name="connsiteY3732" fmla="*/ 872490 h 1744979"/>
                  <a:gd name="connsiteX3733" fmla="*/ 716280 w 1969770"/>
                  <a:gd name="connsiteY3733" fmla="*/ 884873 h 1744979"/>
                  <a:gd name="connsiteX3734" fmla="*/ 719138 w 1969770"/>
                  <a:gd name="connsiteY3734" fmla="*/ 897255 h 1744979"/>
                  <a:gd name="connsiteX3735" fmla="*/ 722948 w 1969770"/>
                  <a:gd name="connsiteY3735" fmla="*/ 909638 h 1744979"/>
                  <a:gd name="connsiteX3736" fmla="*/ 726758 w 1969770"/>
                  <a:gd name="connsiteY3736" fmla="*/ 921068 h 1744979"/>
                  <a:gd name="connsiteX3737" fmla="*/ 731520 w 1969770"/>
                  <a:gd name="connsiteY3737" fmla="*/ 932498 h 1744979"/>
                  <a:gd name="connsiteX3738" fmla="*/ 736283 w 1969770"/>
                  <a:gd name="connsiteY3738" fmla="*/ 943928 h 1744979"/>
                  <a:gd name="connsiteX3739" fmla="*/ 741998 w 1969770"/>
                  <a:gd name="connsiteY3739" fmla="*/ 954405 h 1744979"/>
                  <a:gd name="connsiteX3740" fmla="*/ 747713 w 1969770"/>
                  <a:gd name="connsiteY3740" fmla="*/ 964883 h 1744979"/>
                  <a:gd name="connsiteX3741" fmla="*/ 754380 w 1969770"/>
                  <a:gd name="connsiteY3741" fmla="*/ 975360 h 1744979"/>
                  <a:gd name="connsiteX3742" fmla="*/ 761048 w 1969770"/>
                  <a:gd name="connsiteY3742" fmla="*/ 984885 h 1744979"/>
                  <a:gd name="connsiteX3743" fmla="*/ 768668 w 1969770"/>
                  <a:gd name="connsiteY3743" fmla="*/ 994410 h 1744979"/>
                  <a:gd name="connsiteX3744" fmla="*/ 776288 w 1969770"/>
                  <a:gd name="connsiteY3744" fmla="*/ 1003935 h 1744979"/>
                  <a:gd name="connsiteX3745" fmla="*/ 783908 w 1969770"/>
                  <a:gd name="connsiteY3745" fmla="*/ 1012508 h 1744979"/>
                  <a:gd name="connsiteX3746" fmla="*/ 703898 w 1969770"/>
                  <a:gd name="connsiteY3746" fmla="*/ 1092518 h 1744979"/>
                  <a:gd name="connsiteX3747" fmla="*/ 698183 w 1969770"/>
                  <a:gd name="connsiteY3747" fmla="*/ 1085850 h 1744979"/>
                  <a:gd name="connsiteX3748" fmla="*/ 692468 w 1969770"/>
                  <a:gd name="connsiteY3748" fmla="*/ 1079183 h 1744979"/>
                  <a:gd name="connsiteX3749" fmla="*/ 686753 w 1969770"/>
                  <a:gd name="connsiteY3749" fmla="*/ 1072515 h 1744979"/>
                  <a:gd name="connsiteX3750" fmla="*/ 681038 w 1969770"/>
                  <a:gd name="connsiteY3750" fmla="*/ 1067753 h 1744979"/>
                  <a:gd name="connsiteX3751" fmla="*/ 681038 w 1969770"/>
                  <a:gd name="connsiteY3751" fmla="*/ 1067753 h 1744979"/>
                  <a:gd name="connsiteX3752" fmla="*/ 676275 w 1969770"/>
                  <a:gd name="connsiteY3752" fmla="*/ 811530 h 1744979"/>
                  <a:gd name="connsiteX3753" fmla="*/ 666750 w 1969770"/>
                  <a:gd name="connsiteY3753" fmla="*/ 798195 h 1744979"/>
                  <a:gd name="connsiteX3754" fmla="*/ 666750 w 1969770"/>
                  <a:gd name="connsiteY3754" fmla="*/ 778193 h 1744979"/>
                  <a:gd name="connsiteX3755" fmla="*/ 681038 w 1969770"/>
                  <a:gd name="connsiteY3755" fmla="*/ 769620 h 1744979"/>
                  <a:gd name="connsiteX3756" fmla="*/ 703898 w 1969770"/>
                  <a:gd name="connsiteY3756" fmla="*/ 772478 h 1744979"/>
                  <a:gd name="connsiteX3757" fmla="*/ 709613 w 1969770"/>
                  <a:gd name="connsiteY3757" fmla="*/ 778193 h 1744979"/>
                  <a:gd name="connsiteX3758" fmla="*/ 709613 w 1969770"/>
                  <a:gd name="connsiteY3758" fmla="*/ 780098 h 1744979"/>
                  <a:gd name="connsiteX3759" fmla="*/ 711518 w 1969770"/>
                  <a:gd name="connsiteY3759" fmla="*/ 785813 h 1744979"/>
                  <a:gd name="connsiteX3760" fmla="*/ 710565 w 1969770"/>
                  <a:gd name="connsiteY3760" fmla="*/ 792480 h 1744979"/>
                  <a:gd name="connsiteX3761" fmla="*/ 710565 w 1969770"/>
                  <a:gd name="connsiteY3761" fmla="*/ 799148 h 1744979"/>
                  <a:gd name="connsiteX3762" fmla="*/ 709613 w 1969770"/>
                  <a:gd name="connsiteY3762" fmla="*/ 805815 h 1744979"/>
                  <a:gd name="connsiteX3763" fmla="*/ 709613 w 1969770"/>
                  <a:gd name="connsiteY3763" fmla="*/ 812483 h 1744979"/>
                  <a:gd name="connsiteX3764" fmla="*/ 676275 w 1969770"/>
                  <a:gd name="connsiteY3764" fmla="*/ 812483 h 1744979"/>
                  <a:gd name="connsiteX3765" fmla="*/ 676275 w 1969770"/>
                  <a:gd name="connsiteY3765" fmla="*/ 811530 h 1744979"/>
                  <a:gd name="connsiteX3766" fmla="*/ 731520 w 1969770"/>
                  <a:gd name="connsiteY3766" fmla="*/ 854393 h 1744979"/>
                  <a:gd name="connsiteX3767" fmla="*/ 733425 w 1969770"/>
                  <a:gd name="connsiteY3767" fmla="*/ 857250 h 1744979"/>
                  <a:gd name="connsiteX3768" fmla="*/ 743903 w 1969770"/>
                  <a:gd name="connsiteY3768" fmla="*/ 869633 h 1744979"/>
                  <a:gd name="connsiteX3769" fmla="*/ 761048 w 1969770"/>
                  <a:gd name="connsiteY3769" fmla="*/ 869633 h 1744979"/>
                  <a:gd name="connsiteX3770" fmla="*/ 781050 w 1969770"/>
                  <a:gd name="connsiteY3770" fmla="*/ 883920 h 1744979"/>
                  <a:gd name="connsiteX3771" fmla="*/ 786765 w 1969770"/>
                  <a:gd name="connsiteY3771" fmla="*/ 881063 h 1744979"/>
                  <a:gd name="connsiteX3772" fmla="*/ 801053 w 1969770"/>
                  <a:gd name="connsiteY3772" fmla="*/ 892493 h 1744979"/>
                  <a:gd name="connsiteX3773" fmla="*/ 792480 w 1969770"/>
                  <a:gd name="connsiteY3773" fmla="*/ 898208 h 1744979"/>
                  <a:gd name="connsiteX3774" fmla="*/ 809625 w 1969770"/>
                  <a:gd name="connsiteY3774" fmla="*/ 906780 h 1744979"/>
                  <a:gd name="connsiteX3775" fmla="*/ 809625 w 1969770"/>
                  <a:gd name="connsiteY3775" fmla="*/ 895350 h 1744979"/>
                  <a:gd name="connsiteX3776" fmla="*/ 818198 w 1969770"/>
                  <a:gd name="connsiteY3776" fmla="*/ 881063 h 1744979"/>
                  <a:gd name="connsiteX3777" fmla="*/ 826770 w 1969770"/>
                  <a:gd name="connsiteY3777" fmla="*/ 892493 h 1744979"/>
                  <a:gd name="connsiteX3778" fmla="*/ 838200 w 1969770"/>
                  <a:gd name="connsiteY3778" fmla="*/ 903923 h 1744979"/>
                  <a:gd name="connsiteX3779" fmla="*/ 821055 w 1969770"/>
                  <a:gd name="connsiteY3779" fmla="*/ 909638 h 1744979"/>
                  <a:gd name="connsiteX3780" fmla="*/ 826770 w 1969770"/>
                  <a:gd name="connsiteY3780" fmla="*/ 923925 h 1744979"/>
                  <a:gd name="connsiteX3781" fmla="*/ 838200 w 1969770"/>
                  <a:gd name="connsiteY3781" fmla="*/ 918210 h 1744979"/>
                  <a:gd name="connsiteX3782" fmla="*/ 838200 w 1969770"/>
                  <a:gd name="connsiteY3782" fmla="*/ 912495 h 1744979"/>
                  <a:gd name="connsiteX3783" fmla="*/ 846773 w 1969770"/>
                  <a:gd name="connsiteY3783" fmla="*/ 906780 h 1744979"/>
                  <a:gd name="connsiteX3784" fmla="*/ 852488 w 1969770"/>
                  <a:gd name="connsiteY3784" fmla="*/ 881063 h 1744979"/>
                  <a:gd name="connsiteX3785" fmla="*/ 853440 w 1969770"/>
                  <a:gd name="connsiteY3785" fmla="*/ 882968 h 1744979"/>
                  <a:gd name="connsiteX3786" fmla="*/ 853440 w 1969770"/>
                  <a:gd name="connsiteY3786" fmla="*/ 880110 h 1744979"/>
                  <a:gd name="connsiteX3787" fmla="*/ 855345 w 1969770"/>
                  <a:gd name="connsiteY3787" fmla="*/ 878205 h 1744979"/>
                  <a:gd name="connsiteX3788" fmla="*/ 858203 w 1969770"/>
                  <a:gd name="connsiteY3788" fmla="*/ 883920 h 1744979"/>
                  <a:gd name="connsiteX3789" fmla="*/ 861060 w 1969770"/>
                  <a:gd name="connsiteY3789" fmla="*/ 889635 h 1744979"/>
                  <a:gd name="connsiteX3790" fmla="*/ 863918 w 1969770"/>
                  <a:gd name="connsiteY3790" fmla="*/ 894398 h 1744979"/>
                  <a:gd name="connsiteX3791" fmla="*/ 866775 w 1969770"/>
                  <a:gd name="connsiteY3791" fmla="*/ 899160 h 1744979"/>
                  <a:gd name="connsiteX3792" fmla="*/ 869633 w 1969770"/>
                  <a:gd name="connsiteY3792" fmla="*/ 903923 h 1744979"/>
                  <a:gd name="connsiteX3793" fmla="*/ 873443 w 1969770"/>
                  <a:gd name="connsiteY3793" fmla="*/ 908685 h 1744979"/>
                  <a:gd name="connsiteX3794" fmla="*/ 877253 w 1969770"/>
                  <a:gd name="connsiteY3794" fmla="*/ 912495 h 1744979"/>
                  <a:gd name="connsiteX3795" fmla="*/ 881063 w 1969770"/>
                  <a:gd name="connsiteY3795" fmla="*/ 917258 h 1744979"/>
                  <a:gd name="connsiteX3796" fmla="*/ 801053 w 1969770"/>
                  <a:gd name="connsiteY3796" fmla="*/ 997268 h 1744979"/>
                  <a:gd name="connsiteX3797" fmla="*/ 794385 w 1969770"/>
                  <a:gd name="connsiteY3797" fmla="*/ 989648 h 1744979"/>
                  <a:gd name="connsiteX3798" fmla="*/ 787718 w 1969770"/>
                  <a:gd name="connsiteY3798" fmla="*/ 982028 h 1744979"/>
                  <a:gd name="connsiteX3799" fmla="*/ 782003 w 1969770"/>
                  <a:gd name="connsiteY3799" fmla="*/ 974408 h 1744979"/>
                  <a:gd name="connsiteX3800" fmla="*/ 776288 w 1969770"/>
                  <a:gd name="connsiteY3800" fmla="*/ 965835 h 1744979"/>
                  <a:gd name="connsiteX3801" fmla="*/ 771525 w 1969770"/>
                  <a:gd name="connsiteY3801" fmla="*/ 957263 h 1744979"/>
                  <a:gd name="connsiteX3802" fmla="*/ 765810 w 1969770"/>
                  <a:gd name="connsiteY3802" fmla="*/ 948690 h 1744979"/>
                  <a:gd name="connsiteX3803" fmla="*/ 761048 w 1969770"/>
                  <a:gd name="connsiteY3803" fmla="*/ 940118 h 1744979"/>
                  <a:gd name="connsiteX3804" fmla="*/ 756285 w 1969770"/>
                  <a:gd name="connsiteY3804" fmla="*/ 931545 h 1744979"/>
                  <a:gd name="connsiteX3805" fmla="*/ 752475 w 1969770"/>
                  <a:gd name="connsiteY3805" fmla="*/ 922020 h 1744979"/>
                  <a:gd name="connsiteX3806" fmla="*/ 748665 w 1969770"/>
                  <a:gd name="connsiteY3806" fmla="*/ 912495 h 1744979"/>
                  <a:gd name="connsiteX3807" fmla="*/ 744855 w 1969770"/>
                  <a:gd name="connsiteY3807" fmla="*/ 902970 h 1744979"/>
                  <a:gd name="connsiteX3808" fmla="*/ 741998 w 1969770"/>
                  <a:gd name="connsiteY3808" fmla="*/ 893445 h 1744979"/>
                  <a:gd name="connsiteX3809" fmla="*/ 739140 w 1969770"/>
                  <a:gd name="connsiteY3809" fmla="*/ 883920 h 1744979"/>
                  <a:gd name="connsiteX3810" fmla="*/ 737235 w 1969770"/>
                  <a:gd name="connsiteY3810" fmla="*/ 874395 h 1744979"/>
                  <a:gd name="connsiteX3811" fmla="*/ 733425 w 1969770"/>
                  <a:gd name="connsiteY3811" fmla="*/ 864870 h 1744979"/>
                  <a:gd name="connsiteX3812" fmla="*/ 731520 w 1969770"/>
                  <a:gd name="connsiteY3812" fmla="*/ 854393 h 1744979"/>
                  <a:gd name="connsiteX3813" fmla="*/ 731520 w 1969770"/>
                  <a:gd name="connsiteY3813" fmla="*/ 854393 h 1744979"/>
                  <a:gd name="connsiteX3814" fmla="*/ 781050 w 1969770"/>
                  <a:gd name="connsiteY3814" fmla="*/ 633413 h 1744979"/>
                  <a:gd name="connsiteX3815" fmla="*/ 777240 w 1969770"/>
                  <a:gd name="connsiteY3815" fmla="*/ 636270 h 1744979"/>
                  <a:gd name="connsiteX3816" fmla="*/ 777240 w 1969770"/>
                  <a:gd name="connsiteY3816" fmla="*/ 636270 h 1744979"/>
                  <a:gd name="connsiteX3817" fmla="*/ 754380 w 1969770"/>
                  <a:gd name="connsiteY3817" fmla="*/ 664845 h 1744979"/>
                  <a:gd name="connsiteX3818" fmla="*/ 735330 w 1969770"/>
                  <a:gd name="connsiteY3818" fmla="*/ 695325 h 1744979"/>
                  <a:gd name="connsiteX3819" fmla="*/ 728663 w 1969770"/>
                  <a:gd name="connsiteY3819" fmla="*/ 695325 h 1744979"/>
                  <a:gd name="connsiteX3820" fmla="*/ 718185 w 1969770"/>
                  <a:gd name="connsiteY3820" fmla="*/ 698183 h 1744979"/>
                  <a:gd name="connsiteX3821" fmla="*/ 713423 w 1969770"/>
                  <a:gd name="connsiteY3821" fmla="*/ 698183 h 1744979"/>
                  <a:gd name="connsiteX3822" fmla="*/ 702945 w 1969770"/>
                  <a:gd name="connsiteY3822" fmla="*/ 709613 h 1744979"/>
                  <a:gd name="connsiteX3823" fmla="*/ 716280 w 1969770"/>
                  <a:gd name="connsiteY3823" fmla="*/ 706755 h 1744979"/>
                  <a:gd name="connsiteX3824" fmla="*/ 730568 w 1969770"/>
                  <a:gd name="connsiteY3824" fmla="*/ 703898 h 1744979"/>
                  <a:gd name="connsiteX3825" fmla="*/ 727710 w 1969770"/>
                  <a:gd name="connsiteY3825" fmla="*/ 709613 h 1744979"/>
                  <a:gd name="connsiteX3826" fmla="*/ 717233 w 1969770"/>
                  <a:gd name="connsiteY3826" fmla="*/ 715328 h 1744979"/>
                  <a:gd name="connsiteX3827" fmla="*/ 711518 w 1969770"/>
                  <a:gd name="connsiteY3827" fmla="*/ 715328 h 1744979"/>
                  <a:gd name="connsiteX3828" fmla="*/ 694373 w 1969770"/>
                  <a:gd name="connsiteY3828" fmla="*/ 728663 h 1744979"/>
                  <a:gd name="connsiteX3829" fmla="*/ 678180 w 1969770"/>
                  <a:gd name="connsiteY3829" fmla="*/ 725805 h 1744979"/>
                  <a:gd name="connsiteX3830" fmla="*/ 653415 w 1969770"/>
                  <a:gd name="connsiteY3830" fmla="*/ 770573 h 1744979"/>
                  <a:gd name="connsiteX3831" fmla="*/ 659130 w 1969770"/>
                  <a:gd name="connsiteY3831" fmla="*/ 781050 h 1744979"/>
                  <a:gd name="connsiteX3832" fmla="*/ 644843 w 1969770"/>
                  <a:gd name="connsiteY3832" fmla="*/ 795338 h 1744979"/>
                  <a:gd name="connsiteX3833" fmla="*/ 644843 w 1969770"/>
                  <a:gd name="connsiteY3833" fmla="*/ 811530 h 1744979"/>
                  <a:gd name="connsiteX3834" fmla="*/ 596265 w 1969770"/>
                  <a:gd name="connsiteY3834" fmla="*/ 811530 h 1744979"/>
                  <a:gd name="connsiteX3835" fmla="*/ 596265 w 1969770"/>
                  <a:gd name="connsiteY3835" fmla="*/ 802005 h 1744979"/>
                  <a:gd name="connsiteX3836" fmla="*/ 597218 w 1969770"/>
                  <a:gd name="connsiteY3836" fmla="*/ 792480 h 1744979"/>
                  <a:gd name="connsiteX3837" fmla="*/ 598170 w 1969770"/>
                  <a:gd name="connsiteY3837" fmla="*/ 782955 h 1744979"/>
                  <a:gd name="connsiteX3838" fmla="*/ 599123 w 1969770"/>
                  <a:gd name="connsiteY3838" fmla="*/ 773430 h 1744979"/>
                  <a:gd name="connsiteX3839" fmla="*/ 600075 w 1969770"/>
                  <a:gd name="connsiteY3839" fmla="*/ 764858 h 1744979"/>
                  <a:gd name="connsiteX3840" fmla="*/ 601028 w 1969770"/>
                  <a:gd name="connsiteY3840" fmla="*/ 755333 h 1744979"/>
                  <a:gd name="connsiteX3841" fmla="*/ 601980 w 1969770"/>
                  <a:gd name="connsiteY3841" fmla="*/ 746760 h 1744979"/>
                  <a:gd name="connsiteX3842" fmla="*/ 603885 w 1969770"/>
                  <a:gd name="connsiteY3842" fmla="*/ 737235 h 1744979"/>
                  <a:gd name="connsiteX3843" fmla="*/ 605790 w 1969770"/>
                  <a:gd name="connsiteY3843" fmla="*/ 728663 h 1744979"/>
                  <a:gd name="connsiteX3844" fmla="*/ 608648 w 1969770"/>
                  <a:gd name="connsiteY3844" fmla="*/ 720090 h 1744979"/>
                  <a:gd name="connsiteX3845" fmla="*/ 611505 w 1969770"/>
                  <a:gd name="connsiteY3845" fmla="*/ 711518 h 1744979"/>
                  <a:gd name="connsiteX3846" fmla="*/ 614363 w 1969770"/>
                  <a:gd name="connsiteY3846" fmla="*/ 702945 h 1744979"/>
                  <a:gd name="connsiteX3847" fmla="*/ 617220 w 1969770"/>
                  <a:gd name="connsiteY3847" fmla="*/ 694373 h 1744979"/>
                  <a:gd name="connsiteX3848" fmla="*/ 620078 w 1969770"/>
                  <a:gd name="connsiteY3848" fmla="*/ 686753 h 1744979"/>
                  <a:gd name="connsiteX3849" fmla="*/ 622935 w 1969770"/>
                  <a:gd name="connsiteY3849" fmla="*/ 678180 h 1744979"/>
                  <a:gd name="connsiteX3850" fmla="*/ 625793 w 1969770"/>
                  <a:gd name="connsiteY3850" fmla="*/ 670560 h 1744979"/>
                  <a:gd name="connsiteX3851" fmla="*/ 629603 w 1969770"/>
                  <a:gd name="connsiteY3851" fmla="*/ 662940 h 1744979"/>
                  <a:gd name="connsiteX3852" fmla="*/ 633413 w 1969770"/>
                  <a:gd name="connsiteY3852" fmla="*/ 655320 h 1744979"/>
                  <a:gd name="connsiteX3853" fmla="*/ 637223 w 1969770"/>
                  <a:gd name="connsiteY3853" fmla="*/ 647700 h 1744979"/>
                  <a:gd name="connsiteX3854" fmla="*/ 641033 w 1969770"/>
                  <a:gd name="connsiteY3854" fmla="*/ 640080 h 1744979"/>
                  <a:gd name="connsiteX3855" fmla="*/ 644843 w 1969770"/>
                  <a:gd name="connsiteY3855" fmla="*/ 632460 h 1744979"/>
                  <a:gd name="connsiteX3856" fmla="*/ 648653 w 1969770"/>
                  <a:gd name="connsiteY3856" fmla="*/ 624840 h 1744979"/>
                  <a:gd name="connsiteX3857" fmla="*/ 653415 w 1969770"/>
                  <a:gd name="connsiteY3857" fmla="*/ 617220 h 1744979"/>
                  <a:gd name="connsiteX3858" fmla="*/ 658178 w 1969770"/>
                  <a:gd name="connsiteY3858" fmla="*/ 609600 h 1744979"/>
                  <a:gd name="connsiteX3859" fmla="*/ 662940 w 1969770"/>
                  <a:gd name="connsiteY3859" fmla="*/ 601980 h 1744979"/>
                  <a:gd name="connsiteX3860" fmla="*/ 667703 w 1969770"/>
                  <a:gd name="connsiteY3860" fmla="*/ 595313 h 1744979"/>
                  <a:gd name="connsiteX3861" fmla="*/ 673418 w 1969770"/>
                  <a:gd name="connsiteY3861" fmla="*/ 588645 h 1744979"/>
                  <a:gd name="connsiteX3862" fmla="*/ 678180 w 1969770"/>
                  <a:gd name="connsiteY3862" fmla="*/ 581978 h 1744979"/>
                  <a:gd name="connsiteX3863" fmla="*/ 683895 w 1969770"/>
                  <a:gd name="connsiteY3863" fmla="*/ 575310 h 1744979"/>
                  <a:gd name="connsiteX3864" fmla="*/ 689610 w 1969770"/>
                  <a:gd name="connsiteY3864" fmla="*/ 568643 h 1744979"/>
                  <a:gd name="connsiteX3865" fmla="*/ 695325 w 1969770"/>
                  <a:gd name="connsiteY3865" fmla="*/ 561975 h 1744979"/>
                  <a:gd name="connsiteX3866" fmla="*/ 701040 w 1969770"/>
                  <a:gd name="connsiteY3866" fmla="*/ 555308 h 1744979"/>
                  <a:gd name="connsiteX3867" fmla="*/ 781050 w 1969770"/>
                  <a:gd name="connsiteY3867" fmla="*/ 633413 h 1744979"/>
                  <a:gd name="connsiteX3868" fmla="*/ 781050 w 1969770"/>
                  <a:gd name="connsiteY3868" fmla="*/ 633413 h 1744979"/>
                  <a:gd name="connsiteX3869" fmla="*/ 1319213 w 1969770"/>
                  <a:gd name="connsiteY3869" fmla="*/ 325755 h 1744979"/>
                  <a:gd name="connsiteX3870" fmla="*/ 1313498 w 1969770"/>
                  <a:gd name="connsiteY3870" fmla="*/ 314325 h 1744979"/>
                  <a:gd name="connsiteX3871" fmla="*/ 1299210 w 1969770"/>
                  <a:gd name="connsiteY3871" fmla="*/ 305753 h 1744979"/>
                  <a:gd name="connsiteX3872" fmla="*/ 1287780 w 1969770"/>
                  <a:gd name="connsiteY3872" fmla="*/ 317183 h 1744979"/>
                  <a:gd name="connsiteX3873" fmla="*/ 1302068 w 1969770"/>
                  <a:gd name="connsiteY3873" fmla="*/ 322898 h 1744979"/>
                  <a:gd name="connsiteX3874" fmla="*/ 1319213 w 1969770"/>
                  <a:gd name="connsiteY3874" fmla="*/ 334328 h 1744979"/>
                  <a:gd name="connsiteX3875" fmla="*/ 1319213 w 1969770"/>
                  <a:gd name="connsiteY3875" fmla="*/ 325755 h 1744979"/>
                  <a:gd name="connsiteX3876" fmla="*/ 1319213 w 1969770"/>
                  <a:gd name="connsiteY3876" fmla="*/ 325755 h 1744979"/>
                  <a:gd name="connsiteX3877" fmla="*/ 1253490 w 1969770"/>
                  <a:gd name="connsiteY3877" fmla="*/ 641985 h 1744979"/>
                  <a:gd name="connsiteX3878" fmla="*/ 1253490 w 1969770"/>
                  <a:gd name="connsiteY3878" fmla="*/ 650558 h 1744979"/>
                  <a:gd name="connsiteX3879" fmla="*/ 1273493 w 1969770"/>
                  <a:gd name="connsiteY3879" fmla="*/ 644843 h 1744979"/>
                  <a:gd name="connsiteX3880" fmla="*/ 1279208 w 1969770"/>
                  <a:gd name="connsiteY3880" fmla="*/ 633413 h 1744979"/>
                  <a:gd name="connsiteX3881" fmla="*/ 1264920 w 1969770"/>
                  <a:gd name="connsiteY3881" fmla="*/ 616268 h 1744979"/>
                  <a:gd name="connsiteX3882" fmla="*/ 1270635 w 1969770"/>
                  <a:gd name="connsiteY3882" fmla="*/ 604838 h 1744979"/>
                  <a:gd name="connsiteX3883" fmla="*/ 1290638 w 1969770"/>
                  <a:gd name="connsiteY3883" fmla="*/ 616268 h 1744979"/>
                  <a:gd name="connsiteX3884" fmla="*/ 1293495 w 1969770"/>
                  <a:gd name="connsiteY3884" fmla="*/ 613410 h 1744979"/>
                  <a:gd name="connsiteX3885" fmla="*/ 1290638 w 1969770"/>
                  <a:gd name="connsiteY3885" fmla="*/ 613410 h 1744979"/>
                  <a:gd name="connsiteX3886" fmla="*/ 1284923 w 1969770"/>
                  <a:gd name="connsiteY3886" fmla="*/ 604838 h 1744979"/>
                  <a:gd name="connsiteX3887" fmla="*/ 1293495 w 1969770"/>
                  <a:gd name="connsiteY3887" fmla="*/ 599123 h 1744979"/>
                  <a:gd name="connsiteX3888" fmla="*/ 1284923 w 1969770"/>
                  <a:gd name="connsiteY3888" fmla="*/ 590550 h 1744979"/>
                  <a:gd name="connsiteX3889" fmla="*/ 1267778 w 1969770"/>
                  <a:gd name="connsiteY3889" fmla="*/ 599123 h 1744979"/>
                  <a:gd name="connsiteX3890" fmla="*/ 1262063 w 1969770"/>
                  <a:gd name="connsiteY3890" fmla="*/ 610553 h 1744979"/>
                  <a:gd name="connsiteX3891" fmla="*/ 1259205 w 1969770"/>
                  <a:gd name="connsiteY3891" fmla="*/ 619125 h 1744979"/>
                  <a:gd name="connsiteX3892" fmla="*/ 1267778 w 1969770"/>
                  <a:gd name="connsiteY3892" fmla="*/ 630555 h 1744979"/>
                  <a:gd name="connsiteX3893" fmla="*/ 1264920 w 1969770"/>
                  <a:gd name="connsiteY3893" fmla="*/ 636270 h 1744979"/>
                  <a:gd name="connsiteX3894" fmla="*/ 1253490 w 1969770"/>
                  <a:gd name="connsiteY3894" fmla="*/ 641985 h 1744979"/>
                  <a:gd name="connsiteX3895" fmla="*/ 1253490 w 1969770"/>
                  <a:gd name="connsiteY3895" fmla="*/ 641985 h 1744979"/>
                  <a:gd name="connsiteX3896" fmla="*/ 441960 w 1969770"/>
                  <a:gd name="connsiteY3896" fmla="*/ 1145858 h 1744979"/>
                  <a:gd name="connsiteX3897" fmla="*/ 441960 w 1969770"/>
                  <a:gd name="connsiteY3897" fmla="*/ 1140143 h 1744979"/>
                  <a:gd name="connsiteX3898" fmla="*/ 433388 w 1969770"/>
                  <a:gd name="connsiteY3898" fmla="*/ 1117283 h 1744979"/>
                  <a:gd name="connsiteX3899" fmla="*/ 421958 w 1969770"/>
                  <a:gd name="connsiteY3899" fmla="*/ 1114425 h 1744979"/>
                  <a:gd name="connsiteX3900" fmla="*/ 441960 w 1969770"/>
                  <a:gd name="connsiteY3900" fmla="*/ 1145858 h 1744979"/>
                  <a:gd name="connsiteX3901" fmla="*/ 441960 w 1969770"/>
                  <a:gd name="connsiteY3901" fmla="*/ 1145858 h 1744979"/>
                  <a:gd name="connsiteX3902" fmla="*/ 900113 w 1969770"/>
                  <a:gd name="connsiteY3902" fmla="*/ 723900 h 1744979"/>
                  <a:gd name="connsiteX3903" fmla="*/ 902970 w 1969770"/>
                  <a:gd name="connsiteY3903" fmla="*/ 735330 h 1744979"/>
                  <a:gd name="connsiteX3904" fmla="*/ 908685 w 1969770"/>
                  <a:gd name="connsiteY3904" fmla="*/ 746760 h 1744979"/>
                  <a:gd name="connsiteX3905" fmla="*/ 917258 w 1969770"/>
                  <a:gd name="connsiteY3905" fmla="*/ 758190 h 1744979"/>
                  <a:gd name="connsiteX3906" fmla="*/ 931545 w 1969770"/>
                  <a:gd name="connsiteY3906" fmla="*/ 766763 h 1744979"/>
                  <a:gd name="connsiteX3907" fmla="*/ 931545 w 1969770"/>
                  <a:gd name="connsiteY3907" fmla="*/ 758190 h 1744979"/>
                  <a:gd name="connsiteX3908" fmla="*/ 920115 w 1969770"/>
                  <a:gd name="connsiteY3908" fmla="*/ 743903 h 1744979"/>
                  <a:gd name="connsiteX3909" fmla="*/ 925830 w 1969770"/>
                  <a:gd name="connsiteY3909" fmla="*/ 732473 h 1744979"/>
                  <a:gd name="connsiteX3910" fmla="*/ 931545 w 1969770"/>
                  <a:gd name="connsiteY3910" fmla="*/ 729615 h 1744979"/>
                  <a:gd name="connsiteX3911" fmla="*/ 931545 w 1969770"/>
                  <a:gd name="connsiteY3911" fmla="*/ 681038 h 1744979"/>
                  <a:gd name="connsiteX3912" fmla="*/ 928688 w 1969770"/>
                  <a:gd name="connsiteY3912" fmla="*/ 681038 h 1744979"/>
                  <a:gd name="connsiteX3913" fmla="*/ 917258 w 1969770"/>
                  <a:gd name="connsiteY3913" fmla="*/ 689610 h 1744979"/>
                  <a:gd name="connsiteX3914" fmla="*/ 908685 w 1969770"/>
                  <a:gd name="connsiteY3914" fmla="*/ 698183 h 1744979"/>
                  <a:gd name="connsiteX3915" fmla="*/ 902970 w 1969770"/>
                  <a:gd name="connsiteY3915" fmla="*/ 709613 h 1744979"/>
                  <a:gd name="connsiteX3916" fmla="*/ 900113 w 1969770"/>
                  <a:gd name="connsiteY3916" fmla="*/ 723900 h 1744979"/>
                  <a:gd name="connsiteX3917" fmla="*/ 900113 w 1969770"/>
                  <a:gd name="connsiteY3917" fmla="*/ 723900 h 1744979"/>
                  <a:gd name="connsiteX3918" fmla="*/ 663893 w 1969770"/>
                  <a:gd name="connsiteY3918" fmla="*/ 515303 h 1744979"/>
                  <a:gd name="connsiteX3919" fmla="*/ 656273 w 1969770"/>
                  <a:gd name="connsiteY3919" fmla="*/ 506730 h 1744979"/>
                  <a:gd name="connsiteX3920" fmla="*/ 672465 w 1969770"/>
                  <a:gd name="connsiteY3920" fmla="*/ 503873 h 1744979"/>
                  <a:gd name="connsiteX3921" fmla="*/ 663893 w 1969770"/>
                  <a:gd name="connsiteY3921" fmla="*/ 515303 h 1744979"/>
                  <a:gd name="connsiteX3922" fmla="*/ 663893 w 1969770"/>
                  <a:gd name="connsiteY3922" fmla="*/ 515303 h 1744979"/>
                  <a:gd name="connsiteX3923" fmla="*/ 1644968 w 1969770"/>
                  <a:gd name="connsiteY3923" fmla="*/ 835343 h 1744979"/>
                  <a:gd name="connsiteX3924" fmla="*/ 1534478 w 1969770"/>
                  <a:gd name="connsiteY3924" fmla="*/ 835343 h 1744979"/>
                  <a:gd name="connsiteX3925" fmla="*/ 1533525 w 1969770"/>
                  <a:gd name="connsiteY3925" fmla="*/ 848678 h 1744979"/>
                  <a:gd name="connsiteX3926" fmla="*/ 1532573 w 1969770"/>
                  <a:gd name="connsiteY3926" fmla="*/ 862013 h 1744979"/>
                  <a:gd name="connsiteX3927" fmla="*/ 1531620 w 1969770"/>
                  <a:gd name="connsiteY3927" fmla="*/ 875348 h 1744979"/>
                  <a:gd name="connsiteX3928" fmla="*/ 1529715 w 1969770"/>
                  <a:gd name="connsiteY3928" fmla="*/ 888683 h 1744979"/>
                  <a:gd name="connsiteX3929" fmla="*/ 1527810 w 1969770"/>
                  <a:gd name="connsiteY3929" fmla="*/ 901065 h 1744979"/>
                  <a:gd name="connsiteX3930" fmla="*/ 1525905 w 1969770"/>
                  <a:gd name="connsiteY3930" fmla="*/ 914400 h 1744979"/>
                  <a:gd name="connsiteX3931" fmla="*/ 1523048 w 1969770"/>
                  <a:gd name="connsiteY3931" fmla="*/ 926783 h 1744979"/>
                  <a:gd name="connsiteX3932" fmla="*/ 1520190 w 1969770"/>
                  <a:gd name="connsiteY3932" fmla="*/ 939165 h 1744979"/>
                  <a:gd name="connsiteX3933" fmla="*/ 1517333 w 1969770"/>
                  <a:gd name="connsiteY3933" fmla="*/ 951548 h 1744979"/>
                  <a:gd name="connsiteX3934" fmla="*/ 1514475 w 1969770"/>
                  <a:gd name="connsiteY3934" fmla="*/ 963930 h 1744979"/>
                  <a:gd name="connsiteX3935" fmla="*/ 1510665 w 1969770"/>
                  <a:gd name="connsiteY3935" fmla="*/ 976313 h 1744979"/>
                  <a:gd name="connsiteX3936" fmla="*/ 1506855 w 1969770"/>
                  <a:gd name="connsiteY3936" fmla="*/ 988695 h 1744979"/>
                  <a:gd name="connsiteX3937" fmla="*/ 1503045 w 1969770"/>
                  <a:gd name="connsiteY3937" fmla="*/ 1001078 h 1744979"/>
                  <a:gd name="connsiteX3938" fmla="*/ 1499235 w 1969770"/>
                  <a:gd name="connsiteY3938" fmla="*/ 1012508 h 1744979"/>
                  <a:gd name="connsiteX3939" fmla="*/ 1494473 w 1969770"/>
                  <a:gd name="connsiteY3939" fmla="*/ 1024890 h 1744979"/>
                  <a:gd name="connsiteX3940" fmla="*/ 1489710 w 1969770"/>
                  <a:gd name="connsiteY3940" fmla="*/ 1036320 h 1744979"/>
                  <a:gd name="connsiteX3941" fmla="*/ 1484948 w 1969770"/>
                  <a:gd name="connsiteY3941" fmla="*/ 1047750 h 1744979"/>
                  <a:gd name="connsiteX3942" fmla="*/ 1479233 w 1969770"/>
                  <a:gd name="connsiteY3942" fmla="*/ 1059180 h 1744979"/>
                  <a:gd name="connsiteX3943" fmla="*/ 1473518 w 1969770"/>
                  <a:gd name="connsiteY3943" fmla="*/ 1070610 h 1744979"/>
                  <a:gd name="connsiteX3944" fmla="*/ 1467803 w 1969770"/>
                  <a:gd name="connsiteY3944" fmla="*/ 1082040 h 1744979"/>
                  <a:gd name="connsiteX3945" fmla="*/ 1462088 w 1969770"/>
                  <a:gd name="connsiteY3945" fmla="*/ 1092518 h 1744979"/>
                  <a:gd name="connsiteX3946" fmla="*/ 1455420 w 1969770"/>
                  <a:gd name="connsiteY3946" fmla="*/ 1102995 h 1744979"/>
                  <a:gd name="connsiteX3947" fmla="*/ 1448753 w 1969770"/>
                  <a:gd name="connsiteY3947" fmla="*/ 1113473 h 1744979"/>
                  <a:gd name="connsiteX3948" fmla="*/ 1442085 w 1969770"/>
                  <a:gd name="connsiteY3948" fmla="*/ 1123950 h 1744979"/>
                  <a:gd name="connsiteX3949" fmla="*/ 1438275 w 1969770"/>
                  <a:gd name="connsiteY3949" fmla="*/ 1133475 h 1744979"/>
                  <a:gd name="connsiteX3950" fmla="*/ 1430655 w 1969770"/>
                  <a:gd name="connsiteY3950" fmla="*/ 1143953 h 1744979"/>
                  <a:gd name="connsiteX3951" fmla="*/ 1423035 w 1969770"/>
                  <a:gd name="connsiteY3951" fmla="*/ 1153478 h 1744979"/>
                  <a:gd name="connsiteX3952" fmla="*/ 1415415 w 1969770"/>
                  <a:gd name="connsiteY3952" fmla="*/ 1163003 h 1744979"/>
                  <a:gd name="connsiteX3953" fmla="*/ 1407795 w 1969770"/>
                  <a:gd name="connsiteY3953" fmla="*/ 1172528 h 1744979"/>
                  <a:gd name="connsiteX3954" fmla="*/ 1400175 w 1969770"/>
                  <a:gd name="connsiteY3954" fmla="*/ 1182053 h 1744979"/>
                  <a:gd name="connsiteX3955" fmla="*/ 1391603 w 1969770"/>
                  <a:gd name="connsiteY3955" fmla="*/ 1191578 h 1744979"/>
                  <a:gd name="connsiteX3956" fmla="*/ 1385888 w 1969770"/>
                  <a:gd name="connsiteY3956" fmla="*/ 1201103 h 1744979"/>
                  <a:gd name="connsiteX3957" fmla="*/ 1461135 w 1969770"/>
                  <a:gd name="connsiteY3957" fmla="*/ 1278255 h 1744979"/>
                  <a:gd name="connsiteX3958" fmla="*/ 1471613 w 1969770"/>
                  <a:gd name="connsiteY3958" fmla="*/ 1267778 h 1744979"/>
                  <a:gd name="connsiteX3959" fmla="*/ 1481138 w 1969770"/>
                  <a:gd name="connsiteY3959" fmla="*/ 1256348 h 1744979"/>
                  <a:gd name="connsiteX3960" fmla="*/ 1490663 w 1969770"/>
                  <a:gd name="connsiteY3960" fmla="*/ 1244918 h 1744979"/>
                  <a:gd name="connsiteX3961" fmla="*/ 1500188 w 1969770"/>
                  <a:gd name="connsiteY3961" fmla="*/ 1233488 h 1744979"/>
                  <a:gd name="connsiteX3962" fmla="*/ 1509713 w 1969770"/>
                  <a:gd name="connsiteY3962" fmla="*/ 1222058 h 1744979"/>
                  <a:gd name="connsiteX3963" fmla="*/ 1518285 w 1969770"/>
                  <a:gd name="connsiteY3963" fmla="*/ 1209675 h 1744979"/>
                  <a:gd name="connsiteX3964" fmla="*/ 1526858 w 1969770"/>
                  <a:gd name="connsiteY3964" fmla="*/ 1197293 h 1744979"/>
                  <a:gd name="connsiteX3965" fmla="*/ 1535430 w 1969770"/>
                  <a:gd name="connsiteY3965" fmla="*/ 1184910 h 1744979"/>
                  <a:gd name="connsiteX3966" fmla="*/ 1543050 w 1969770"/>
                  <a:gd name="connsiteY3966" fmla="*/ 1171575 h 1744979"/>
                  <a:gd name="connsiteX3967" fmla="*/ 1550670 w 1969770"/>
                  <a:gd name="connsiteY3967" fmla="*/ 1159193 h 1744979"/>
                  <a:gd name="connsiteX3968" fmla="*/ 1558290 w 1969770"/>
                  <a:gd name="connsiteY3968" fmla="*/ 1145858 h 1744979"/>
                  <a:gd name="connsiteX3969" fmla="*/ 1564958 w 1969770"/>
                  <a:gd name="connsiteY3969" fmla="*/ 1132523 h 1744979"/>
                  <a:gd name="connsiteX3970" fmla="*/ 1571625 w 1969770"/>
                  <a:gd name="connsiteY3970" fmla="*/ 1119188 h 1744979"/>
                  <a:gd name="connsiteX3971" fmla="*/ 1578293 w 1969770"/>
                  <a:gd name="connsiteY3971" fmla="*/ 1105853 h 1744979"/>
                  <a:gd name="connsiteX3972" fmla="*/ 1584960 w 1969770"/>
                  <a:gd name="connsiteY3972" fmla="*/ 1091565 h 1744979"/>
                  <a:gd name="connsiteX3973" fmla="*/ 1590675 w 1969770"/>
                  <a:gd name="connsiteY3973" fmla="*/ 1077278 h 1744979"/>
                  <a:gd name="connsiteX3974" fmla="*/ 1596390 w 1969770"/>
                  <a:gd name="connsiteY3974" fmla="*/ 1062990 h 1744979"/>
                  <a:gd name="connsiteX3975" fmla="*/ 1602105 w 1969770"/>
                  <a:gd name="connsiteY3975" fmla="*/ 1048703 h 1744979"/>
                  <a:gd name="connsiteX3976" fmla="*/ 1606868 w 1969770"/>
                  <a:gd name="connsiteY3976" fmla="*/ 1034415 h 1744979"/>
                  <a:gd name="connsiteX3977" fmla="*/ 1611630 w 1969770"/>
                  <a:gd name="connsiteY3977" fmla="*/ 1020128 h 1744979"/>
                  <a:gd name="connsiteX3978" fmla="*/ 1616393 w 1969770"/>
                  <a:gd name="connsiteY3978" fmla="*/ 1004888 h 1744979"/>
                  <a:gd name="connsiteX3979" fmla="*/ 1620203 w 1969770"/>
                  <a:gd name="connsiteY3979" fmla="*/ 989648 h 1744979"/>
                  <a:gd name="connsiteX3980" fmla="*/ 1624013 w 1969770"/>
                  <a:gd name="connsiteY3980" fmla="*/ 974408 h 1744979"/>
                  <a:gd name="connsiteX3981" fmla="*/ 1627823 w 1969770"/>
                  <a:gd name="connsiteY3981" fmla="*/ 959168 h 1744979"/>
                  <a:gd name="connsiteX3982" fmla="*/ 1630680 w 1969770"/>
                  <a:gd name="connsiteY3982" fmla="*/ 943928 h 1744979"/>
                  <a:gd name="connsiteX3983" fmla="*/ 1633538 w 1969770"/>
                  <a:gd name="connsiteY3983" fmla="*/ 928688 h 1744979"/>
                  <a:gd name="connsiteX3984" fmla="*/ 1635443 w 1969770"/>
                  <a:gd name="connsiteY3984" fmla="*/ 912495 h 1744979"/>
                  <a:gd name="connsiteX3985" fmla="*/ 1637348 w 1969770"/>
                  <a:gd name="connsiteY3985" fmla="*/ 897255 h 1744979"/>
                  <a:gd name="connsiteX3986" fmla="*/ 1639253 w 1969770"/>
                  <a:gd name="connsiteY3986" fmla="*/ 881063 h 1744979"/>
                  <a:gd name="connsiteX3987" fmla="*/ 1640205 w 1969770"/>
                  <a:gd name="connsiteY3987" fmla="*/ 864870 h 1744979"/>
                  <a:gd name="connsiteX3988" fmla="*/ 1641158 w 1969770"/>
                  <a:gd name="connsiteY3988" fmla="*/ 848678 h 1744979"/>
                  <a:gd name="connsiteX3989" fmla="*/ 1644968 w 1969770"/>
                  <a:gd name="connsiteY3989" fmla="*/ 835343 h 1744979"/>
                  <a:gd name="connsiteX3990" fmla="*/ 1644968 w 1969770"/>
                  <a:gd name="connsiteY3990" fmla="*/ 835343 h 1744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</a:cxnLst>
                <a:rect l="l" t="t" r="r" b="b"/>
                <a:pathLst>
                  <a:path w="1969770" h="1744979">
                    <a:moveTo>
                      <a:pt x="327660" y="811530"/>
                    </a:moveTo>
                    <a:lnTo>
                      <a:pt x="433388" y="811530"/>
                    </a:lnTo>
                    <a:lnTo>
                      <a:pt x="438150" y="798195"/>
                    </a:lnTo>
                    <a:lnTo>
                      <a:pt x="439103" y="784860"/>
                    </a:lnTo>
                    <a:lnTo>
                      <a:pt x="440055" y="771525"/>
                    </a:lnTo>
                    <a:lnTo>
                      <a:pt x="441008" y="758190"/>
                    </a:lnTo>
                    <a:lnTo>
                      <a:pt x="442913" y="744855"/>
                    </a:lnTo>
                    <a:lnTo>
                      <a:pt x="444818" y="732473"/>
                    </a:lnTo>
                    <a:lnTo>
                      <a:pt x="447675" y="719138"/>
                    </a:lnTo>
                    <a:lnTo>
                      <a:pt x="450533" y="706755"/>
                    </a:lnTo>
                    <a:lnTo>
                      <a:pt x="453390" y="694373"/>
                    </a:lnTo>
                    <a:lnTo>
                      <a:pt x="456248" y="681990"/>
                    </a:lnTo>
                    <a:lnTo>
                      <a:pt x="459105" y="669608"/>
                    </a:lnTo>
                    <a:lnTo>
                      <a:pt x="466725" y="644843"/>
                    </a:lnTo>
                    <a:lnTo>
                      <a:pt x="471488" y="632460"/>
                    </a:lnTo>
                    <a:lnTo>
                      <a:pt x="476250" y="620078"/>
                    </a:lnTo>
                    <a:lnTo>
                      <a:pt x="481013" y="608648"/>
                    </a:lnTo>
                    <a:lnTo>
                      <a:pt x="486728" y="597218"/>
                    </a:lnTo>
                    <a:lnTo>
                      <a:pt x="492443" y="585788"/>
                    </a:lnTo>
                    <a:lnTo>
                      <a:pt x="498158" y="574358"/>
                    </a:lnTo>
                    <a:lnTo>
                      <a:pt x="503873" y="562928"/>
                    </a:lnTo>
                    <a:lnTo>
                      <a:pt x="510540" y="551498"/>
                    </a:lnTo>
                    <a:lnTo>
                      <a:pt x="517208" y="541020"/>
                    </a:lnTo>
                    <a:lnTo>
                      <a:pt x="523875" y="530543"/>
                    </a:lnTo>
                    <a:lnTo>
                      <a:pt x="530543" y="520065"/>
                    </a:lnTo>
                    <a:lnTo>
                      <a:pt x="537210" y="509588"/>
                    </a:lnTo>
                    <a:lnTo>
                      <a:pt x="544830" y="499110"/>
                    </a:lnTo>
                    <a:lnTo>
                      <a:pt x="552450" y="489585"/>
                    </a:lnTo>
                    <a:lnTo>
                      <a:pt x="560070" y="479108"/>
                    </a:lnTo>
                    <a:lnTo>
                      <a:pt x="567690" y="469583"/>
                    </a:lnTo>
                    <a:lnTo>
                      <a:pt x="575310" y="460058"/>
                    </a:lnTo>
                    <a:lnTo>
                      <a:pt x="583883" y="450533"/>
                    </a:lnTo>
                    <a:lnTo>
                      <a:pt x="592455" y="441008"/>
                    </a:lnTo>
                    <a:lnTo>
                      <a:pt x="514350" y="362903"/>
                    </a:lnTo>
                    <a:lnTo>
                      <a:pt x="503873" y="373380"/>
                    </a:lnTo>
                    <a:lnTo>
                      <a:pt x="493395" y="384810"/>
                    </a:lnTo>
                    <a:lnTo>
                      <a:pt x="483870" y="396240"/>
                    </a:lnTo>
                    <a:lnTo>
                      <a:pt x="474345" y="407670"/>
                    </a:lnTo>
                    <a:lnTo>
                      <a:pt x="464820" y="420053"/>
                    </a:lnTo>
                    <a:lnTo>
                      <a:pt x="455295" y="432435"/>
                    </a:lnTo>
                    <a:lnTo>
                      <a:pt x="446723" y="444818"/>
                    </a:lnTo>
                    <a:lnTo>
                      <a:pt x="438150" y="457200"/>
                    </a:lnTo>
                    <a:lnTo>
                      <a:pt x="428625" y="471488"/>
                    </a:lnTo>
                    <a:lnTo>
                      <a:pt x="421005" y="484823"/>
                    </a:lnTo>
                    <a:lnTo>
                      <a:pt x="413385" y="498158"/>
                    </a:lnTo>
                    <a:lnTo>
                      <a:pt x="405765" y="511493"/>
                    </a:lnTo>
                    <a:lnTo>
                      <a:pt x="399098" y="524828"/>
                    </a:lnTo>
                    <a:lnTo>
                      <a:pt x="392430" y="538163"/>
                    </a:lnTo>
                    <a:lnTo>
                      <a:pt x="384810" y="552450"/>
                    </a:lnTo>
                    <a:lnTo>
                      <a:pt x="379095" y="566738"/>
                    </a:lnTo>
                    <a:lnTo>
                      <a:pt x="373380" y="581025"/>
                    </a:lnTo>
                    <a:lnTo>
                      <a:pt x="367665" y="595313"/>
                    </a:lnTo>
                    <a:lnTo>
                      <a:pt x="361950" y="609600"/>
                    </a:lnTo>
                    <a:lnTo>
                      <a:pt x="357188" y="623888"/>
                    </a:lnTo>
                    <a:lnTo>
                      <a:pt x="352425" y="639128"/>
                    </a:lnTo>
                    <a:lnTo>
                      <a:pt x="348615" y="654368"/>
                    </a:lnTo>
                    <a:lnTo>
                      <a:pt x="344805" y="669608"/>
                    </a:lnTo>
                    <a:lnTo>
                      <a:pt x="340995" y="684848"/>
                    </a:lnTo>
                    <a:lnTo>
                      <a:pt x="338138" y="700088"/>
                    </a:lnTo>
                    <a:lnTo>
                      <a:pt x="335280" y="716280"/>
                    </a:lnTo>
                    <a:lnTo>
                      <a:pt x="333375" y="731520"/>
                    </a:lnTo>
                    <a:lnTo>
                      <a:pt x="331470" y="747713"/>
                    </a:lnTo>
                    <a:lnTo>
                      <a:pt x="330518" y="763905"/>
                    </a:lnTo>
                    <a:lnTo>
                      <a:pt x="329565" y="780098"/>
                    </a:lnTo>
                    <a:lnTo>
                      <a:pt x="328613" y="796290"/>
                    </a:lnTo>
                    <a:lnTo>
                      <a:pt x="327660" y="811530"/>
                    </a:lnTo>
                    <a:lnTo>
                      <a:pt x="327660" y="811530"/>
                    </a:lnTo>
                    <a:close/>
                    <a:moveTo>
                      <a:pt x="991553" y="1088708"/>
                    </a:moveTo>
                    <a:lnTo>
                      <a:pt x="974408" y="1094423"/>
                    </a:lnTo>
                    <a:lnTo>
                      <a:pt x="965835" y="1097280"/>
                    </a:lnTo>
                    <a:lnTo>
                      <a:pt x="962978" y="1100138"/>
                    </a:lnTo>
                    <a:lnTo>
                      <a:pt x="965835" y="1404938"/>
                    </a:lnTo>
                    <a:lnTo>
                      <a:pt x="968693" y="1424940"/>
                    </a:lnTo>
                    <a:lnTo>
                      <a:pt x="971550" y="1439228"/>
                    </a:lnTo>
                    <a:lnTo>
                      <a:pt x="977265" y="1447800"/>
                    </a:lnTo>
                    <a:lnTo>
                      <a:pt x="982980" y="1450658"/>
                    </a:lnTo>
                    <a:lnTo>
                      <a:pt x="988695" y="1447800"/>
                    </a:lnTo>
                    <a:lnTo>
                      <a:pt x="994410" y="1439228"/>
                    </a:lnTo>
                    <a:lnTo>
                      <a:pt x="997268" y="1424940"/>
                    </a:lnTo>
                    <a:lnTo>
                      <a:pt x="997268" y="1404938"/>
                    </a:lnTo>
                    <a:lnTo>
                      <a:pt x="1005840" y="1082993"/>
                    </a:lnTo>
                    <a:lnTo>
                      <a:pt x="991553" y="1088708"/>
                    </a:lnTo>
                    <a:lnTo>
                      <a:pt x="991553" y="1088708"/>
                    </a:lnTo>
                    <a:close/>
                    <a:moveTo>
                      <a:pt x="960120" y="988695"/>
                    </a:moveTo>
                    <a:lnTo>
                      <a:pt x="988695" y="980123"/>
                    </a:lnTo>
                    <a:lnTo>
                      <a:pt x="1005840" y="974408"/>
                    </a:lnTo>
                    <a:lnTo>
                      <a:pt x="1014413" y="649605"/>
                    </a:lnTo>
                    <a:lnTo>
                      <a:pt x="980123" y="658178"/>
                    </a:lnTo>
                    <a:lnTo>
                      <a:pt x="954405" y="666750"/>
                    </a:lnTo>
                    <a:lnTo>
                      <a:pt x="960120" y="988695"/>
                    </a:lnTo>
                    <a:lnTo>
                      <a:pt x="960120" y="988695"/>
                    </a:lnTo>
                    <a:close/>
                    <a:moveTo>
                      <a:pt x="381000" y="301943"/>
                    </a:moveTo>
                    <a:lnTo>
                      <a:pt x="392430" y="283845"/>
                    </a:lnTo>
                    <a:lnTo>
                      <a:pt x="404813" y="264795"/>
                    </a:lnTo>
                    <a:lnTo>
                      <a:pt x="418148" y="245745"/>
                    </a:lnTo>
                    <a:lnTo>
                      <a:pt x="431483" y="226695"/>
                    </a:lnTo>
                    <a:lnTo>
                      <a:pt x="444818" y="208598"/>
                    </a:lnTo>
                    <a:lnTo>
                      <a:pt x="457200" y="192405"/>
                    </a:lnTo>
                    <a:lnTo>
                      <a:pt x="462915" y="185738"/>
                    </a:lnTo>
                    <a:lnTo>
                      <a:pt x="468630" y="179070"/>
                    </a:lnTo>
                    <a:lnTo>
                      <a:pt x="474345" y="173355"/>
                    </a:lnTo>
                    <a:lnTo>
                      <a:pt x="479108" y="168593"/>
                    </a:lnTo>
                    <a:lnTo>
                      <a:pt x="466725" y="170498"/>
                    </a:lnTo>
                    <a:lnTo>
                      <a:pt x="454343" y="174308"/>
                    </a:lnTo>
                    <a:lnTo>
                      <a:pt x="442913" y="178118"/>
                    </a:lnTo>
                    <a:lnTo>
                      <a:pt x="431483" y="181928"/>
                    </a:lnTo>
                    <a:lnTo>
                      <a:pt x="420053" y="186690"/>
                    </a:lnTo>
                    <a:lnTo>
                      <a:pt x="409575" y="192405"/>
                    </a:lnTo>
                    <a:lnTo>
                      <a:pt x="399098" y="198120"/>
                    </a:lnTo>
                    <a:lnTo>
                      <a:pt x="388620" y="203835"/>
                    </a:lnTo>
                    <a:lnTo>
                      <a:pt x="378143" y="210503"/>
                    </a:lnTo>
                    <a:lnTo>
                      <a:pt x="368618" y="217170"/>
                    </a:lnTo>
                    <a:lnTo>
                      <a:pt x="359093" y="223838"/>
                    </a:lnTo>
                    <a:lnTo>
                      <a:pt x="349568" y="231458"/>
                    </a:lnTo>
                    <a:lnTo>
                      <a:pt x="340043" y="239078"/>
                    </a:lnTo>
                    <a:lnTo>
                      <a:pt x="330518" y="246698"/>
                    </a:lnTo>
                    <a:lnTo>
                      <a:pt x="321945" y="257175"/>
                    </a:lnTo>
                    <a:lnTo>
                      <a:pt x="313373" y="265748"/>
                    </a:lnTo>
                    <a:lnTo>
                      <a:pt x="305753" y="275273"/>
                    </a:lnTo>
                    <a:lnTo>
                      <a:pt x="298133" y="284798"/>
                    </a:lnTo>
                    <a:lnTo>
                      <a:pt x="290513" y="294323"/>
                    </a:lnTo>
                    <a:lnTo>
                      <a:pt x="283845" y="304800"/>
                    </a:lnTo>
                    <a:lnTo>
                      <a:pt x="277178" y="314325"/>
                    </a:lnTo>
                    <a:lnTo>
                      <a:pt x="269558" y="323850"/>
                    </a:lnTo>
                    <a:lnTo>
                      <a:pt x="263843" y="334328"/>
                    </a:lnTo>
                    <a:lnTo>
                      <a:pt x="258128" y="344805"/>
                    </a:lnTo>
                    <a:lnTo>
                      <a:pt x="252413" y="355283"/>
                    </a:lnTo>
                    <a:lnTo>
                      <a:pt x="247650" y="367665"/>
                    </a:lnTo>
                    <a:lnTo>
                      <a:pt x="242888" y="379095"/>
                    </a:lnTo>
                    <a:lnTo>
                      <a:pt x="239078" y="390525"/>
                    </a:lnTo>
                    <a:lnTo>
                      <a:pt x="235268" y="401955"/>
                    </a:lnTo>
                    <a:lnTo>
                      <a:pt x="231458" y="414338"/>
                    </a:lnTo>
                    <a:lnTo>
                      <a:pt x="228600" y="425768"/>
                    </a:lnTo>
                    <a:lnTo>
                      <a:pt x="225743" y="438150"/>
                    </a:lnTo>
                    <a:lnTo>
                      <a:pt x="236220" y="427673"/>
                    </a:lnTo>
                    <a:lnTo>
                      <a:pt x="246698" y="418148"/>
                    </a:lnTo>
                    <a:lnTo>
                      <a:pt x="257175" y="408623"/>
                    </a:lnTo>
                    <a:lnTo>
                      <a:pt x="268605" y="400050"/>
                    </a:lnTo>
                    <a:lnTo>
                      <a:pt x="290513" y="382905"/>
                    </a:lnTo>
                    <a:lnTo>
                      <a:pt x="312420" y="366713"/>
                    </a:lnTo>
                    <a:lnTo>
                      <a:pt x="322898" y="359093"/>
                    </a:lnTo>
                    <a:lnTo>
                      <a:pt x="333375" y="351473"/>
                    </a:lnTo>
                    <a:lnTo>
                      <a:pt x="342900" y="343853"/>
                    </a:lnTo>
                    <a:lnTo>
                      <a:pt x="352425" y="336233"/>
                    </a:lnTo>
                    <a:lnTo>
                      <a:pt x="360998" y="328613"/>
                    </a:lnTo>
                    <a:lnTo>
                      <a:pt x="368618" y="320993"/>
                    </a:lnTo>
                    <a:lnTo>
                      <a:pt x="371475" y="314325"/>
                    </a:lnTo>
                    <a:lnTo>
                      <a:pt x="375285" y="310515"/>
                    </a:lnTo>
                    <a:lnTo>
                      <a:pt x="378143" y="306705"/>
                    </a:lnTo>
                    <a:lnTo>
                      <a:pt x="381000" y="301943"/>
                    </a:lnTo>
                    <a:lnTo>
                      <a:pt x="381000" y="301943"/>
                    </a:lnTo>
                    <a:close/>
                    <a:moveTo>
                      <a:pt x="316230" y="510540"/>
                    </a:moveTo>
                    <a:lnTo>
                      <a:pt x="312420" y="517208"/>
                    </a:lnTo>
                    <a:lnTo>
                      <a:pt x="306705" y="523875"/>
                    </a:lnTo>
                    <a:lnTo>
                      <a:pt x="300990" y="530543"/>
                    </a:lnTo>
                    <a:lnTo>
                      <a:pt x="295275" y="536258"/>
                    </a:lnTo>
                    <a:lnTo>
                      <a:pt x="288608" y="542925"/>
                    </a:lnTo>
                    <a:lnTo>
                      <a:pt x="281940" y="549593"/>
                    </a:lnTo>
                    <a:lnTo>
                      <a:pt x="273368" y="556260"/>
                    </a:lnTo>
                    <a:lnTo>
                      <a:pt x="264795" y="562928"/>
                    </a:lnTo>
                    <a:lnTo>
                      <a:pt x="247650" y="578168"/>
                    </a:lnTo>
                    <a:lnTo>
                      <a:pt x="229553" y="594360"/>
                    </a:lnTo>
                    <a:lnTo>
                      <a:pt x="220980" y="602933"/>
                    </a:lnTo>
                    <a:lnTo>
                      <a:pt x="211455" y="611505"/>
                    </a:lnTo>
                    <a:lnTo>
                      <a:pt x="201930" y="621030"/>
                    </a:lnTo>
                    <a:lnTo>
                      <a:pt x="192405" y="630555"/>
                    </a:lnTo>
                    <a:lnTo>
                      <a:pt x="187643" y="636270"/>
                    </a:lnTo>
                    <a:lnTo>
                      <a:pt x="182880" y="642938"/>
                    </a:lnTo>
                    <a:lnTo>
                      <a:pt x="178118" y="650558"/>
                    </a:lnTo>
                    <a:lnTo>
                      <a:pt x="173355" y="658178"/>
                    </a:lnTo>
                    <a:lnTo>
                      <a:pt x="168593" y="666750"/>
                    </a:lnTo>
                    <a:lnTo>
                      <a:pt x="163830" y="675323"/>
                    </a:lnTo>
                    <a:lnTo>
                      <a:pt x="160020" y="684848"/>
                    </a:lnTo>
                    <a:lnTo>
                      <a:pt x="156210" y="694373"/>
                    </a:lnTo>
                    <a:lnTo>
                      <a:pt x="152400" y="703898"/>
                    </a:lnTo>
                    <a:lnTo>
                      <a:pt x="148590" y="713423"/>
                    </a:lnTo>
                    <a:lnTo>
                      <a:pt x="144780" y="722948"/>
                    </a:lnTo>
                    <a:lnTo>
                      <a:pt x="141923" y="732473"/>
                    </a:lnTo>
                    <a:lnTo>
                      <a:pt x="139065" y="741998"/>
                    </a:lnTo>
                    <a:lnTo>
                      <a:pt x="136208" y="751523"/>
                    </a:lnTo>
                    <a:lnTo>
                      <a:pt x="133350" y="761048"/>
                    </a:lnTo>
                    <a:lnTo>
                      <a:pt x="130493" y="770573"/>
                    </a:lnTo>
                    <a:lnTo>
                      <a:pt x="121920" y="693420"/>
                    </a:lnTo>
                    <a:lnTo>
                      <a:pt x="119063" y="678180"/>
                    </a:lnTo>
                    <a:lnTo>
                      <a:pt x="116205" y="662940"/>
                    </a:lnTo>
                    <a:lnTo>
                      <a:pt x="113348" y="647700"/>
                    </a:lnTo>
                    <a:lnTo>
                      <a:pt x="110490" y="631508"/>
                    </a:lnTo>
                    <a:lnTo>
                      <a:pt x="107633" y="615315"/>
                    </a:lnTo>
                    <a:lnTo>
                      <a:pt x="105728" y="599123"/>
                    </a:lnTo>
                    <a:lnTo>
                      <a:pt x="104775" y="582930"/>
                    </a:lnTo>
                    <a:lnTo>
                      <a:pt x="103823" y="566738"/>
                    </a:lnTo>
                    <a:lnTo>
                      <a:pt x="102870" y="550545"/>
                    </a:lnTo>
                    <a:lnTo>
                      <a:pt x="102870" y="534353"/>
                    </a:lnTo>
                    <a:lnTo>
                      <a:pt x="102870" y="518160"/>
                    </a:lnTo>
                    <a:lnTo>
                      <a:pt x="103823" y="501968"/>
                    </a:lnTo>
                    <a:lnTo>
                      <a:pt x="103823" y="494348"/>
                    </a:lnTo>
                    <a:lnTo>
                      <a:pt x="104775" y="485775"/>
                    </a:lnTo>
                    <a:lnTo>
                      <a:pt x="105728" y="478155"/>
                    </a:lnTo>
                    <a:lnTo>
                      <a:pt x="106680" y="470535"/>
                    </a:lnTo>
                    <a:lnTo>
                      <a:pt x="107633" y="462915"/>
                    </a:lnTo>
                    <a:lnTo>
                      <a:pt x="109538" y="455295"/>
                    </a:lnTo>
                    <a:lnTo>
                      <a:pt x="111443" y="447675"/>
                    </a:lnTo>
                    <a:lnTo>
                      <a:pt x="113348" y="440055"/>
                    </a:lnTo>
                    <a:lnTo>
                      <a:pt x="100965" y="461010"/>
                    </a:lnTo>
                    <a:lnTo>
                      <a:pt x="89535" y="481965"/>
                    </a:lnTo>
                    <a:lnTo>
                      <a:pt x="83820" y="492443"/>
                    </a:lnTo>
                    <a:lnTo>
                      <a:pt x="78105" y="502920"/>
                    </a:lnTo>
                    <a:lnTo>
                      <a:pt x="72390" y="513398"/>
                    </a:lnTo>
                    <a:lnTo>
                      <a:pt x="68580" y="523875"/>
                    </a:lnTo>
                    <a:lnTo>
                      <a:pt x="63818" y="535305"/>
                    </a:lnTo>
                    <a:lnTo>
                      <a:pt x="60008" y="546735"/>
                    </a:lnTo>
                    <a:lnTo>
                      <a:pt x="56198" y="558165"/>
                    </a:lnTo>
                    <a:lnTo>
                      <a:pt x="53340" y="569595"/>
                    </a:lnTo>
                    <a:lnTo>
                      <a:pt x="50483" y="581025"/>
                    </a:lnTo>
                    <a:lnTo>
                      <a:pt x="48578" y="593408"/>
                    </a:lnTo>
                    <a:lnTo>
                      <a:pt x="47625" y="599123"/>
                    </a:lnTo>
                    <a:lnTo>
                      <a:pt x="47625" y="605790"/>
                    </a:lnTo>
                    <a:lnTo>
                      <a:pt x="47625" y="611505"/>
                    </a:lnTo>
                    <a:lnTo>
                      <a:pt x="47625" y="618173"/>
                    </a:lnTo>
                    <a:lnTo>
                      <a:pt x="47625" y="626745"/>
                    </a:lnTo>
                    <a:lnTo>
                      <a:pt x="48578" y="635318"/>
                    </a:lnTo>
                    <a:lnTo>
                      <a:pt x="49530" y="643890"/>
                    </a:lnTo>
                    <a:lnTo>
                      <a:pt x="50483" y="652463"/>
                    </a:lnTo>
                    <a:lnTo>
                      <a:pt x="51435" y="661035"/>
                    </a:lnTo>
                    <a:lnTo>
                      <a:pt x="52388" y="669608"/>
                    </a:lnTo>
                    <a:lnTo>
                      <a:pt x="54293" y="677228"/>
                    </a:lnTo>
                    <a:lnTo>
                      <a:pt x="56198" y="684848"/>
                    </a:lnTo>
                    <a:lnTo>
                      <a:pt x="58103" y="692468"/>
                    </a:lnTo>
                    <a:lnTo>
                      <a:pt x="60008" y="700088"/>
                    </a:lnTo>
                    <a:lnTo>
                      <a:pt x="62865" y="707708"/>
                    </a:lnTo>
                    <a:lnTo>
                      <a:pt x="65723" y="715328"/>
                    </a:lnTo>
                    <a:lnTo>
                      <a:pt x="71438" y="729615"/>
                    </a:lnTo>
                    <a:lnTo>
                      <a:pt x="77153" y="743903"/>
                    </a:lnTo>
                    <a:lnTo>
                      <a:pt x="89535" y="772478"/>
                    </a:lnTo>
                    <a:lnTo>
                      <a:pt x="102870" y="801053"/>
                    </a:lnTo>
                    <a:lnTo>
                      <a:pt x="109538" y="815340"/>
                    </a:lnTo>
                    <a:lnTo>
                      <a:pt x="115253" y="829628"/>
                    </a:lnTo>
                    <a:lnTo>
                      <a:pt x="120968" y="844868"/>
                    </a:lnTo>
                    <a:lnTo>
                      <a:pt x="125730" y="860108"/>
                    </a:lnTo>
                    <a:lnTo>
                      <a:pt x="126683" y="855345"/>
                    </a:lnTo>
                    <a:lnTo>
                      <a:pt x="127635" y="849630"/>
                    </a:lnTo>
                    <a:lnTo>
                      <a:pt x="128588" y="843915"/>
                    </a:lnTo>
                    <a:lnTo>
                      <a:pt x="130493" y="838200"/>
                    </a:lnTo>
                    <a:lnTo>
                      <a:pt x="132398" y="832485"/>
                    </a:lnTo>
                    <a:lnTo>
                      <a:pt x="134303" y="826770"/>
                    </a:lnTo>
                    <a:lnTo>
                      <a:pt x="137160" y="820103"/>
                    </a:lnTo>
                    <a:lnTo>
                      <a:pt x="140018" y="814388"/>
                    </a:lnTo>
                    <a:lnTo>
                      <a:pt x="145733" y="802005"/>
                    </a:lnTo>
                    <a:lnTo>
                      <a:pt x="152400" y="788670"/>
                    </a:lnTo>
                    <a:lnTo>
                      <a:pt x="160020" y="775335"/>
                    </a:lnTo>
                    <a:lnTo>
                      <a:pt x="168593" y="762000"/>
                    </a:lnTo>
                    <a:lnTo>
                      <a:pt x="177165" y="749618"/>
                    </a:lnTo>
                    <a:lnTo>
                      <a:pt x="185738" y="737235"/>
                    </a:lnTo>
                    <a:lnTo>
                      <a:pt x="194310" y="724853"/>
                    </a:lnTo>
                    <a:lnTo>
                      <a:pt x="201930" y="713423"/>
                    </a:lnTo>
                    <a:lnTo>
                      <a:pt x="210503" y="702945"/>
                    </a:lnTo>
                    <a:lnTo>
                      <a:pt x="218123" y="693420"/>
                    </a:lnTo>
                    <a:lnTo>
                      <a:pt x="224790" y="684848"/>
                    </a:lnTo>
                    <a:lnTo>
                      <a:pt x="231458" y="678180"/>
                    </a:lnTo>
                    <a:lnTo>
                      <a:pt x="240983" y="665798"/>
                    </a:lnTo>
                    <a:lnTo>
                      <a:pt x="249555" y="654368"/>
                    </a:lnTo>
                    <a:lnTo>
                      <a:pt x="257175" y="643890"/>
                    </a:lnTo>
                    <a:lnTo>
                      <a:pt x="263843" y="634365"/>
                    </a:lnTo>
                    <a:lnTo>
                      <a:pt x="269558" y="625793"/>
                    </a:lnTo>
                    <a:lnTo>
                      <a:pt x="274320" y="617220"/>
                    </a:lnTo>
                    <a:lnTo>
                      <a:pt x="278130" y="608648"/>
                    </a:lnTo>
                    <a:lnTo>
                      <a:pt x="281940" y="600075"/>
                    </a:lnTo>
                    <a:lnTo>
                      <a:pt x="285750" y="591503"/>
                    </a:lnTo>
                    <a:lnTo>
                      <a:pt x="289560" y="582930"/>
                    </a:lnTo>
                    <a:lnTo>
                      <a:pt x="293370" y="573405"/>
                    </a:lnTo>
                    <a:lnTo>
                      <a:pt x="297180" y="562928"/>
                    </a:lnTo>
                    <a:lnTo>
                      <a:pt x="305753" y="539115"/>
                    </a:lnTo>
                    <a:lnTo>
                      <a:pt x="316230" y="510540"/>
                    </a:lnTo>
                    <a:lnTo>
                      <a:pt x="316230" y="510540"/>
                    </a:lnTo>
                    <a:close/>
                    <a:moveTo>
                      <a:pt x="251460" y="711518"/>
                    </a:moveTo>
                    <a:lnTo>
                      <a:pt x="239078" y="727710"/>
                    </a:lnTo>
                    <a:lnTo>
                      <a:pt x="227648" y="743903"/>
                    </a:lnTo>
                    <a:lnTo>
                      <a:pt x="216218" y="759143"/>
                    </a:lnTo>
                    <a:lnTo>
                      <a:pt x="205740" y="774383"/>
                    </a:lnTo>
                    <a:lnTo>
                      <a:pt x="196215" y="788670"/>
                    </a:lnTo>
                    <a:lnTo>
                      <a:pt x="186690" y="803910"/>
                    </a:lnTo>
                    <a:lnTo>
                      <a:pt x="182880" y="811530"/>
                    </a:lnTo>
                    <a:lnTo>
                      <a:pt x="179070" y="819150"/>
                    </a:lnTo>
                    <a:lnTo>
                      <a:pt x="175260" y="826770"/>
                    </a:lnTo>
                    <a:lnTo>
                      <a:pt x="171450" y="835343"/>
                    </a:lnTo>
                    <a:lnTo>
                      <a:pt x="167640" y="842963"/>
                    </a:lnTo>
                    <a:lnTo>
                      <a:pt x="164783" y="850583"/>
                    </a:lnTo>
                    <a:lnTo>
                      <a:pt x="161925" y="859155"/>
                    </a:lnTo>
                    <a:lnTo>
                      <a:pt x="159068" y="867728"/>
                    </a:lnTo>
                    <a:lnTo>
                      <a:pt x="157163" y="876300"/>
                    </a:lnTo>
                    <a:lnTo>
                      <a:pt x="155258" y="884873"/>
                    </a:lnTo>
                    <a:lnTo>
                      <a:pt x="153353" y="893445"/>
                    </a:lnTo>
                    <a:lnTo>
                      <a:pt x="151448" y="902970"/>
                    </a:lnTo>
                    <a:lnTo>
                      <a:pt x="150495" y="912495"/>
                    </a:lnTo>
                    <a:lnTo>
                      <a:pt x="149543" y="922020"/>
                    </a:lnTo>
                    <a:lnTo>
                      <a:pt x="148590" y="931545"/>
                    </a:lnTo>
                    <a:lnTo>
                      <a:pt x="147638" y="942023"/>
                    </a:lnTo>
                    <a:lnTo>
                      <a:pt x="147638" y="952500"/>
                    </a:lnTo>
                    <a:lnTo>
                      <a:pt x="147638" y="962978"/>
                    </a:lnTo>
                    <a:lnTo>
                      <a:pt x="147638" y="974408"/>
                    </a:lnTo>
                    <a:lnTo>
                      <a:pt x="148590" y="985838"/>
                    </a:lnTo>
                    <a:lnTo>
                      <a:pt x="146685" y="976313"/>
                    </a:lnTo>
                    <a:lnTo>
                      <a:pt x="143828" y="965835"/>
                    </a:lnTo>
                    <a:lnTo>
                      <a:pt x="140970" y="956310"/>
                    </a:lnTo>
                    <a:lnTo>
                      <a:pt x="137160" y="945833"/>
                    </a:lnTo>
                    <a:lnTo>
                      <a:pt x="133350" y="936308"/>
                    </a:lnTo>
                    <a:lnTo>
                      <a:pt x="129540" y="925830"/>
                    </a:lnTo>
                    <a:lnTo>
                      <a:pt x="124778" y="916305"/>
                    </a:lnTo>
                    <a:lnTo>
                      <a:pt x="120968" y="906780"/>
                    </a:lnTo>
                    <a:lnTo>
                      <a:pt x="111443" y="886778"/>
                    </a:lnTo>
                    <a:lnTo>
                      <a:pt x="100013" y="866775"/>
                    </a:lnTo>
                    <a:lnTo>
                      <a:pt x="89535" y="846773"/>
                    </a:lnTo>
                    <a:lnTo>
                      <a:pt x="79058" y="827723"/>
                    </a:lnTo>
                    <a:lnTo>
                      <a:pt x="68580" y="808673"/>
                    </a:lnTo>
                    <a:lnTo>
                      <a:pt x="58103" y="789623"/>
                    </a:lnTo>
                    <a:lnTo>
                      <a:pt x="53340" y="780098"/>
                    </a:lnTo>
                    <a:lnTo>
                      <a:pt x="48578" y="770573"/>
                    </a:lnTo>
                    <a:lnTo>
                      <a:pt x="44768" y="761048"/>
                    </a:lnTo>
                    <a:lnTo>
                      <a:pt x="40958" y="751523"/>
                    </a:lnTo>
                    <a:lnTo>
                      <a:pt x="38100" y="742950"/>
                    </a:lnTo>
                    <a:lnTo>
                      <a:pt x="35243" y="733425"/>
                    </a:lnTo>
                    <a:lnTo>
                      <a:pt x="32385" y="723900"/>
                    </a:lnTo>
                    <a:lnTo>
                      <a:pt x="29528" y="714375"/>
                    </a:lnTo>
                    <a:lnTo>
                      <a:pt x="27623" y="705803"/>
                    </a:lnTo>
                    <a:lnTo>
                      <a:pt x="26670" y="697230"/>
                    </a:lnTo>
                    <a:lnTo>
                      <a:pt x="25718" y="688658"/>
                    </a:lnTo>
                    <a:lnTo>
                      <a:pt x="25718" y="680085"/>
                    </a:lnTo>
                    <a:lnTo>
                      <a:pt x="21908" y="699135"/>
                    </a:lnTo>
                    <a:lnTo>
                      <a:pt x="19050" y="717233"/>
                    </a:lnTo>
                    <a:lnTo>
                      <a:pt x="17145" y="734378"/>
                    </a:lnTo>
                    <a:lnTo>
                      <a:pt x="14288" y="752475"/>
                    </a:lnTo>
                    <a:lnTo>
                      <a:pt x="13335" y="768668"/>
                    </a:lnTo>
                    <a:lnTo>
                      <a:pt x="13335" y="783908"/>
                    </a:lnTo>
                    <a:lnTo>
                      <a:pt x="13335" y="798195"/>
                    </a:lnTo>
                    <a:lnTo>
                      <a:pt x="14288" y="811530"/>
                    </a:lnTo>
                    <a:lnTo>
                      <a:pt x="15240" y="824865"/>
                    </a:lnTo>
                    <a:lnTo>
                      <a:pt x="17145" y="837248"/>
                    </a:lnTo>
                    <a:lnTo>
                      <a:pt x="20003" y="848678"/>
                    </a:lnTo>
                    <a:lnTo>
                      <a:pt x="22860" y="860108"/>
                    </a:lnTo>
                    <a:lnTo>
                      <a:pt x="26670" y="871538"/>
                    </a:lnTo>
                    <a:lnTo>
                      <a:pt x="30480" y="882015"/>
                    </a:lnTo>
                    <a:lnTo>
                      <a:pt x="35243" y="892493"/>
                    </a:lnTo>
                    <a:lnTo>
                      <a:pt x="40005" y="902970"/>
                    </a:lnTo>
                    <a:lnTo>
                      <a:pt x="45720" y="913448"/>
                    </a:lnTo>
                    <a:lnTo>
                      <a:pt x="51435" y="922973"/>
                    </a:lnTo>
                    <a:lnTo>
                      <a:pt x="58103" y="932498"/>
                    </a:lnTo>
                    <a:lnTo>
                      <a:pt x="64770" y="942023"/>
                    </a:lnTo>
                    <a:lnTo>
                      <a:pt x="71438" y="951548"/>
                    </a:lnTo>
                    <a:lnTo>
                      <a:pt x="79058" y="961073"/>
                    </a:lnTo>
                    <a:lnTo>
                      <a:pt x="86678" y="970598"/>
                    </a:lnTo>
                    <a:lnTo>
                      <a:pt x="94298" y="981075"/>
                    </a:lnTo>
                    <a:lnTo>
                      <a:pt x="111443" y="1001078"/>
                    </a:lnTo>
                    <a:lnTo>
                      <a:pt x="129540" y="1022985"/>
                    </a:lnTo>
                    <a:lnTo>
                      <a:pt x="139065" y="1034415"/>
                    </a:lnTo>
                    <a:lnTo>
                      <a:pt x="148590" y="1045845"/>
                    </a:lnTo>
                    <a:lnTo>
                      <a:pt x="158115" y="1058228"/>
                    </a:lnTo>
                    <a:lnTo>
                      <a:pt x="167640" y="1071563"/>
                    </a:lnTo>
                    <a:lnTo>
                      <a:pt x="166688" y="1062038"/>
                    </a:lnTo>
                    <a:lnTo>
                      <a:pt x="166688" y="1052513"/>
                    </a:lnTo>
                    <a:lnTo>
                      <a:pt x="166688" y="1042988"/>
                    </a:lnTo>
                    <a:lnTo>
                      <a:pt x="167640" y="1033463"/>
                    </a:lnTo>
                    <a:lnTo>
                      <a:pt x="169545" y="1023938"/>
                    </a:lnTo>
                    <a:lnTo>
                      <a:pt x="171450" y="1014413"/>
                    </a:lnTo>
                    <a:lnTo>
                      <a:pt x="174308" y="1004888"/>
                    </a:lnTo>
                    <a:lnTo>
                      <a:pt x="177165" y="994410"/>
                    </a:lnTo>
                    <a:lnTo>
                      <a:pt x="180023" y="983933"/>
                    </a:lnTo>
                    <a:lnTo>
                      <a:pt x="183833" y="973455"/>
                    </a:lnTo>
                    <a:lnTo>
                      <a:pt x="187643" y="962978"/>
                    </a:lnTo>
                    <a:lnTo>
                      <a:pt x="191453" y="952500"/>
                    </a:lnTo>
                    <a:lnTo>
                      <a:pt x="200025" y="931545"/>
                    </a:lnTo>
                    <a:lnTo>
                      <a:pt x="208598" y="908685"/>
                    </a:lnTo>
                    <a:lnTo>
                      <a:pt x="218123" y="885825"/>
                    </a:lnTo>
                    <a:lnTo>
                      <a:pt x="226695" y="862965"/>
                    </a:lnTo>
                    <a:lnTo>
                      <a:pt x="230505" y="851535"/>
                    </a:lnTo>
                    <a:lnTo>
                      <a:pt x="234315" y="840105"/>
                    </a:lnTo>
                    <a:lnTo>
                      <a:pt x="238125" y="827723"/>
                    </a:lnTo>
                    <a:lnTo>
                      <a:pt x="240983" y="815340"/>
                    </a:lnTo>
                    <a:lnTo>
                      <a:pt x="243840" y="802958"/>
                    </a:lnTo>
                    <a:lnTo>
                      <a:pt x="246698" y="790575"/>
                    </a:lnTo>
                    <a:lnTo>
                      <a:pt x="248603" y="777240"/>
                    </a:lnTo>
                    <a:lnTo>
                      <a:pt x="250508" y="764858"/>
                    </a:lnTo>
                    <a:lnTo>
                      <a:pt x="251460" y="751523"/>
                    </a:lnTo>
                    <a:lnTo>
                      <a:pt x="252413" y="738188"/>
                    </a:lnTo>
                    <a:lnTo>
                      <a:pt x="252413" y="724853"/>
                    </a:lnTo>
                    <a:lnTo>
                      <a:pt x="251460" y="711518"/>
                    </a:lnTo>
                    <a:lnTo>
                      <a:pt x="251460" y="711518"/>
                    </a:lnTo>
                    <a:close/>
                    <a:moveTo>
                      <a:pt x="267653" y="1283018"/>
                    </a:moveTo>
                    <a:lnTo>
                      <a:pt x="264795" y="1272540"/>
                    </a:lnTo>
                    <a:lnTo>
                      <a:pt x="261938" y="1262063"/>
                    </a:lnTo>
                    <a:lnTo>
                      <a:pt x="260033" y="1251585"/>
                    </a:lnTo>
                    <a:lnTo>
                      <a:pt x="259080" y="1241108"/>
                    </a:lnTo>
                    <a:lnTo>
                      <a:pt x="258128" y="1230630"/>
                    </a:lnTo>
                    <a:lnTo>
                      <a:pt x="257175" y="1219200"/>
                    </a:lnTo>
                    <a:lnTo>
                      <a:pt x="257175" y="1207770"/>
                    </a:lnTo>
                    <a:lnTo>
                      <a:pt x="257175" y="1194435"/>
                    </a:lnTo>
                    <a:lnTo>
                      <a:pt x="257175" y="1183005"/>
                    </a:lnTo>
                    <a:lnTo>
                      <a:pt x="258128" y="1171575"/>
                    </a:lnTo>
                    <a:lnTo>
                      <a:pt x="259080" y="1159193"/>
                    </a:lnTo>
                    <a:lnTo>
                      <a:pt x="260033" y="1146810"/>
                    </a:lnTo>
                    <a:lnTo>
                      <a:pt x="261938" y="1122045"/>
                    </a:lnTo>
                    <a:lnTo>
                      <a:pt x="263843" y="1097280"/>
                    </a:lnTo>
                    <a:lnTo>
                      <a:pt x="265748" y="1071563"/>
                    </a:lnTo>
                    <a:lnTo>
                      <a:pt x="267653" y="1045845"/>
                    </a:lnTo>
                    <a:lnTo>
                      <a:pt x="267653" y="1032510"/>
                    </a:lnTo>
                    <a:lnTo>
                      <a:pt x="267653" y="1020128"/>
                    </a:lnTo>
                    <a:lnTo>
                      <a:pt x="267653" y="1007745"/>
                    </a:lnTo>
                    <a:lnTo>
                      <a:pt x="267653" y="995363"/>
                    </a:lnTo>
                    <a:lnTo>
                      <a:pt x="266700" y="982980"/>
                    </a:lnTo>
                    <a:lnTo>
                      <a:pt x="265748" y="970598"/>
                    </a:lnTo>
                    <a:lnTo>
                      <a:pt x="263843" y="958215"/>
                    </a:lnTo>
                    <a:lnTo>
                      <a:pt x="260985" y="945833"/>
                    </a:lnTo>
                    <a:lnTo>
                      <a:pt x="257175" y="933450"/>
                    </a:lnTo>
                    <a:lnTo>
                      <a:pt x="253365" y="922020"/>
                    </a:lnTo>
                    <a:lnTo>
                      <a:pt x="249555" y="910590"/>
                    </a:lnTo>
                    <a:lnTo>
                      <a:pt x="244793" y="899160"/>
                    </a:lnTo>
                    <a:lnTo>
                      <a:pt x="239078" y="917258"/>
                    </a:lnTo>
                    <a:lnTo>
                      <a:pt x="234315" y="933450"/>
                    </a:lnTo>
                    <a:lnTo>
                      <a:pt x="228600" y="950595"/>
                    </a:lnTo>
                    <a:lnTo>
                      <a:pt x="223838" y="967740"/>
                    </a:lnTo>
                    <a:lnTo>
                      <a:pt x="219075" y="984885"/>
                    </a:lnTo>
                    <a:lnTo>
                      <a:pt x="214313" y="1002030"/>
                    </a:lnTo>
                    <a:lnTo>
                      <a:pt x="210503" y="1019175"/>
                    </a:lnTo>
                    <a:lnTo>
                      <a:pt x="207645" y="1036320"/>
                    </a:lnTo>
                    <a:lnTo>
                      <a:pt x="206693" y="1044893"/>
                    </a:lnTo>
                    <a:lnTo>
                      <a:pt x="205740" y="1053465"/>
                    </a:lnTo>
                    <a:lnTo>
                      <a:pt x="204788" y="1062038"/>
                    </a:lnTo>
                    <a:lnTo>
                      <a:pt x="203835" y="1071563"/>
                    </a:lnTo>
                    <a:lnTo>
                      <a:pt x="203835" y="1080135"/>
                    </a:lnTo>
                    <a:lnTo>
                      <a:pt x="203835" y="1090613"/>
                    </a:lnTo>
                    <a:lnTo>
                      <a:pt x="203835" y="1100138"/>
                    </a:lnTo>
                    <a:lnTo>
                      <a:pt x="203835" y="1109663"/>
                    </a:lnTo>
                    <a:lnTo>
                      <a:pt x="204788" y="1120140"/>
                    </a:lnTo>
                    <a:lnTo>
                      <a:pt x="205740" y="1130618"/>
                    </a:lnTo>
                    <a:lnTo>
                      <a:pt x="206693" y="1141095"/>
                    </a:lnTo>
                    <a:lnTo>
                      <a:pt x="208598" y="1151573"/>
                    </a:lnTo>
                    <a:lnTo>
                      <a:pt x="210503" y="1162050"/>
                    </a:lnTo>
                    <a:lnTo>
                      <a:pt x="213360" y="1173480"/>
                    </a:lnTo>
                    <a:lnTo>
                      <a:pt x="216218" y="1184910"/>
                    </a:lnTo>
                    <a:lnTo>
                      <a:pt x="219075" y="1196340"/>
                    </a:lnTo>
                    <a:lnTo>
                      <a:pt x="215265" y="1189673"/>
                    </a:lnTo>
                    <a:lnTo>
                      <a:pt x="209550" y="1180148"/>
                    </a:lnTo>
                    <a:lnTo>
                      <a:pt x="201930" y="1167765"/>
                    </a:lnTo>
                    <a:lnTo>
                      <a:pt x="192405" y="1153478"/>
                    </a:lnTo>
                    <a:lnTo>
                      <a:pt x="181928" y="1137285"/>
                    </a:lnTo>
                    <a:lnTo>
                      <a:pt x="169545" y="1119188"/>
                    </a:lnTo>
                    <a:lnTo>
                      <a:pt x="162878" y="1110615"/>
                    </a:lnTo>
                    <a:lnTo>
                      <a:pt x="155258" y="1101090"/>
                    </a:lnTo>
                    <a:lnTo>
                      <a:pt x="147638" y="1091565"/>
                    </a:lnTo>
                    <a:lnTo>
                      <a:pt x="139065" y="1082040"/>
                    </a:lnTo>
                    <a:lnTo>
                      <a:pt x="120015" y="1059180"/>
                    </a:lnTo>
                    <a:lnTo>
                      <a:pt x="100013" y="1036320"/>
                    </a:lnTo>
                    <a:lnTo>
                      <a:pt x="80010" y="1013460"/>
                    </a:lnTo>
                    <a:lnTo>
                      <a:pt x="60960" y="990600"/>
                    </a:lnTo>
                    <a:lnTo>
                      <a:pt x="51435" y="979170"/>
                    </a:lnTo>
                    <a:lnTo>
                      <a:pt x="41910" y="967740"/>
                    </a:lnTo>
                    <a:lnTo>
                      <a:pt x="33338" y="956310"/>
                    </a:lnTo>
                    <a:lnTo>
                      <a:pt x="24765" y="944880"/>
                    </a:lnTo>
                    <a:lnTo>
                      <a:pt x="19050" y="938213"/>
                    </a:lnTo>
                    <a:lnTo>
                      <a:pt x="12383" y="927735"/>
                    </a:lnTo>
                    <a:lnTo>
                      <a:pt x="5715" y="917258"/>
                    </a:lnTo>
                    <a:lnTo>
                      <a:pt x="0" y="907733"/>
                    </a:lnTo>
                    <a:lnTo>
                      <a:pt x="0" y="931545"/>
                    </a:lnTo>
                    <a:lnTo>
                      <a:pt x="1905" y="954405"/>
                    </a:lnTo>
                    <a:lnTo>
                      <a:pt x="4763" y="976313"/>
                    </a:lnTo>
                    <a:lnTo>
                      <a:pt x="8573" y="996315"/>
                    </a:lnTo>
                    <a:lnTo>
                      <a:pt x="14288" y="1015365"/>
                    </a:lnTo>
                    <a:lnTo>
                      <a:pt x="20955" y="1034415"/>
                    </a:lnTo>
                    <a:lnTo>
                      <a:pt x="28575" y="1051560"/>
                    </a:lnTo>
                    <a:lnTo>
                      <a:pt x="37148" y="1067753"/>
                    </a:lnTo>
                    <a:lnTo>
                      <a:pt x="45720" y="1083945"/>
                    </a:lnTo>
                    <a:lnTo>
                      <a:pt x="55245" y="1099185"/>
                    </a:lnTo>
                    <a:lnTo>
                      <a:pt x="65723" y="1113473"/>
                    </a:lnTo>
                    <a:lnTo>
                      <a:pt x="76200" y="1126808"/>
                    </a:lnTo>
                    <a:lnTo>
                      <a:pt x="87630" y="1140143"/>
                    </a:lnTo>
                    <a:lnTo>
                      <a:pt x="99060" y="1152525"/>
                    </a:lnTo>
                    <a:lnTo>
                      <a:pt x="111443" y="1163955"/>
                    </a:lnTo>
                    <a:lnTo>
                      <a:pt x="123825" y="1174433"/>
                    </a:lnTo>
                    <a:lnTo>
                      <a:pt x="136208" y="1184910"/>
                    </a:lnTo>
                    <a:lnTo>
                      <a:pt x="148590" y="1194435"/>
                    </a:lnTo>
                    <a:lnTo>
                      <a:pt x="160973" y="1203008"/>
                    </a:lnTo>
                    <a:lnTo>
                      <a:pt x="173355" y="1211580"/>
                    </a:lnTo>
                    <a:lnTo>
                      <a:pt x="196215" y="1226820"/>
                    </a:lnTo>
                    <a:lnTo>
                      <a:pt x="217170" y="1241108"/>
                    </a:lnTo>
                    <a:lnTo>
                      <a:pt x="226695" y="1247775"/>
                    </a:lnTo>
                    <a:lnTo>
                      <a:pt x="235268" y="1253490"/>
                    </a:lnTo>
                    <a:lnTo>
                      <a:pt x="242888" y="1259205"/>
                    </a:lnTo>
                    <a:lnTo>
                      <a:pt x="249555" y="1264920"/>
                    </a:lnTo>
                    <a:lnTo>
                      <a:pt x="256223" y="1270635"/>
                    </a:lnTo>
                    <a:lnTo>
                      <a:pt x="261938" y="1275398"/>
                    </a:lnTo>
                    <a:lnTo>
                      <a:pt x="265748" y="1280160"/>
                    </a:lnTo>
                    <a:lnTo>
                      <a:pt x="267653" y="1283018"/>
                    </a:lnTo>
                    <a:lnTo>
                      <a:pt x="267653" y="1283018"/>
                    </a:lnTo>
                    <a:close/>
                    <a:moveTo>
                      <a:pt x="143828" y="656273"/>
                    </a:moveTo>
                    <a:lnTo>
                      <a:pt x="148590" y="642938"/>
                    </a:lnTo>
                    <a:lnTo>
                      <a:pt x="154305" y="630555"/>
                    </a:lnTo>
                    <a:lnTo>
                      <a:pt x="160020" y="618173"/>
                    </a:lnTo>
                    <a:lnTo>
                      <a:pt x="166688" y="607695"/>
                    </a:lnTo>
                    <a:lnTo>
                      <a:pt x="174308" y="597218"/>
                    </a:lnTo>
                    <a:lnTo>
                      <a:pt x="181928" y="586740"/>
                    </a:lnTo>
                    <a:lnTo>
                      <a:pt x="189548" y="577215"/>
                    </a:lnTo>
                    <a:lnTo>
                      <a:pt x="198120" y="567690"/>
                    </a:lnTo>
                    <a:lnTo>
                      <a:pt x="206693" y="559118"/>
                    </a:lnTo>
                    <a:lnTo>
                      <a:pt x="216218" y="550545"/>
                    </a:lnTo>
                    <a:lnTo>
                      <a:pt x="225743" y="541973"/>
                    </a:lnTo>
                    <a:lnTo>
                      <a:pt x="235268" y="534353"/>
                    </a:lnTo>
                    <a:lnTo>
                      <a:pt x="255270" y="518160"/>
                    </a:lnTo>
                    <a:lnTo>
                      <a:pt x="275273" y="502920"/>
                    </a:lnTo>
                    <a:lnTo>
                      <a:pt x="285750" y="495300"/>
                    </a:lnTo>
                    <a:lnTo>
                      <a:pt x="296228" y="487680"/>
                    </a:lnTo>
                    <a:lnTo>
                      <a:pt x="305753" y="480060"/>
                    </a:lnTo>
                    <a:lnTo>
                      <a:pt x="315278" y="471488"/>
                    </a:lnTo>
                    <a:lnTo>
                      <a:pt x="324803" y="462915"/>
                    </a:lnTo>
                    <a:lnTo>
                      <a:pt x="334328" y="454343"/>
                    </a:lnTo>
                    <a:lnTo>
                      <a:pt x="343853" y="445770"/>
                    </a:lnTo>
                    <a:lnTo>
                      <a:pt x="352425" y="436245"/>
                    </a:lnTo>
                    <a:lnTo>
                      <a:pt x="360045" y="426720"/>
                    </a:lnTo>
                    <a:lnTo>
                      <a:pt x="367665" y="416243"/>
                    </a:lnTo>
                    <a:lnTo>
                      <a:pt x="375285" y="405765"/>
                    </a:lnTo>
                    <a:lnTo>
                      <a:pt x="381953" y="394335"/>
                    </a:lnTo>
                    <a:lnTo>
                      <a:pt x="388620" y="381953"/>
                    </a:lnTo>
                    <a:lnTo>
                      <a:pt x="394335" y="369570"/>
                    </a:lnTo>
                    <a:lnTo>
                      <a:pt x="399098" y="356235"/>
                    </a:lnTo>
                    <a:lnTo>
                      <a:pt x="403860" y="341948"/>
                    </a:lnTo>
                    <a:lnTo>
                      <a:pt x="394335" y="351473"/>
                    </a:lnTo>
                    <a:lnTo>
                      <a:pt x="384810" y="360045"/>
                    </a:lnTo>
                    <a:lnTo>
                      <a:pt x="374333" y="368618"/>
                    </a:lnTo>
                    <a:lnTo>
                      <a:pt x="363855" y="376238"/>
                    </a:lnTo>
                    <a:lnTo>
                      <a:pt x="353378" y="383858"/>
                    </a:lnTo>
                    <a:lnTo>
                      <a:pt x="341948" y="390525"/>
                    </a:lnTo>
                    <a:lnTo>
                      <a:pt x="331470" y="397193"/>
                    </a:lnTo>
                    <a:lnTo>
                      <a:pt x="320040" y="404813"/>
                    </a:lnTo>
                    <a:lnTo>
                      <a:pt x="297180" y="419100"/>
                    </a:lnTo>
                    <a:lnTo>
                      <a:pt x="274320" y="434340"/>
                    </a:lnTo>
                    <a:lnTo>
                      <a:pt x="262890" y="441960"/>
                    </a:lnTo>
                    <a:lnTo>
                      <a:pt x="252413" y="450533"/>
                    </a:lnTo>
                    <a:lnTo>
                      <a:pt x="241935" y="460058"/>
                    </a:lnTo>
                    <a:lnTo>
                      <a:pt x="231458" y="469583"/>
                    </a:lnTo>
                    <a:lnTo>
                      <a:pt x="221933" y="479108"/>
                    </a:lnTo>
                    <a:lnTo>
                      <a:pt x="213360" y="488633"/>
                    </a:lnTo>
                    <a:lnTo>
                      <a:pt x="205740" y="498158"/>
                    </a:lnTo>
                    <a:lnTo>
                      <a:pt x="199073" y="508635"/>
                    </a:lnTo>
                    <a:lnTo>
                      <a:pt x="192405" y="519113"/>
                    </a:lnTo>
                    <a:lnTo>
                      <a:pt x="186690" y="529590"/>
                    </a:lnTo>
                    <a:lnTo>
                      <a:pt x="180975" y="540068"/>
                    </a:lnTo>
                    <a:lnTo>
                      <a:pt x="175260" y="551498"/>
                    </a:lnTo>
                    <a:lnTo>
                      <a:pt x="180023" y="534353"/>
                    </a:lnTo>
                    <a:lnTo>
                      <a:pt x="184785" y="517208"/>
                    </a:lnTo>
                    <a:lnTo>
                      <a:pt x="188595" y="500063"/>
                    </a:lnTo>
                    <a:lnTo>
                      <a:pt x="192405" y="482918"/>
                    </a:lnTo>
                    <a:lnTo>
                      <a:pt x="195263" y="465773"/>
                    </a:lnTo>
                    <a:lnTo>
                      <a:pt x="198120" y="449580"/>
                    </a:lnTo>
                    <a:lnTo>
                      <a:pt x="199073" y="441960"/>
                    </a:lnTo>
                    <a:lnTo>
                      <a:pt x="200025" y="434340"/>
                    </a:lnTo>
                    <a:lnTo>
                      <a:pt x="200025" y="426720"/>
                    </a:lnTo>
                    <a:lnTo>
                      <a:pt x="200025" y="419100"/>
                    </a:lnTo>
                    <a:lnTo>
                      <a:pt x="202883" y="398145"/>
                    </a:lnTo>
                    <a:lnTo>
                      <a:pt x="204788" y="382905"/>
                    </a:lnTo>
                    <a:lnTo>
                      <a:pt x="206693" y="370523"/>
                    </a:lnTo>
                    <a:lnTo>
                      <a:pt x="208598" y="360045"/>
                    </a:lnTo>
                    <a:lnTo>
                      <a:pt x="209550" y="355283"/>
                    </a:lnTo>
                    <a:lnTo>
                      <a:pt x="211455" y="350520"/>
                    </a:lnTo>
                    <a:lnTo>
                      <a:pt x="213360" y="344805"/>
                    </a:lnTo>
                    <a:lnTo>
                      <a:pt x="215265" y="339090"/>
                    </a:lnTo>
                    <a:lnTo>
                      <a:pt x="220980" y="324803"/>
                    </a:lnTo>
                    <a:lnTo>
                      <a:pt x="228600" y="305753"/>
                    </a:lnTo>
                    <a:lnTo>
                      <a:pt x="231458" y="300038"/>
                    </a:lnTo>
                    <a:lnTo>
                      <a:pt x="237173" y="292418"/>
                    </a:lnTo>
                    <a:lnTo>
                      <a:pt x="241935" y="284798"/>
                    </a:lnTo>
                    <a:lnTo>
                      <a:pt x="244793" y="279083"/>
                    </a:lnTo>
                    <a:lnTo>
                      <a:pt x="238125" y="285750"/>
                    </a:lnTo>
                    <a:lnTo>
                      <a:pt x="232410" y="290513"/>
                    </a:lnTo>
                    <a:lnTo>
                      <a:pt x="226695" y="294323"/>
                    </a:lnTo>
                    <a:lnTo>
                      <a:pt x="220980" y="299085"/>
                    </a:lnTo>
                    <a:lnTo>
                      <a:pt x="215265" y="303848"/>
                    </a:lnTo>
                    <a:lnTo>
                      <a:pt x="210503" y="308610"/>
                    </a:lnTo>
                    <a:lnTo>
                      <a:pt x="205740" y="313373"/>
                    </a:lnTo>
                    <a:lnTo>
                      <a:pt x="200978" y="318135"/>
                    </a:lnTo>
                    <a:lnTo>
                      <a:pt x="196215" y="322898"/>
                    </a:lnTo>
                    <a:lnTo>
                      <a:pt x="192405" y="328613"/>
                    </a:lnTo>
                    <a:lnTo>
                      <a:pt x="189548" y="333375"/>
                    </a:lnTo>
                    <a:lnTo>
                      <a:pt x="185738" y="339090"/>
                    </a:lnTo>
                    <a:lnTo>
                      <a:pt x="180975" y="343853"/>
                    </a:lnTo>
                    <a:lnTo>
                      <a:pt x="177165" y="349568"/>
                    </a:lnTo>
                    <a:lnTo>
                      <a:pt x="173355" y="355283"/>
                    </a:lnTo>
                    <a:lnTo>
                      <a:pt x="171450" y="360045"/>
                    </a:lnTo>
                    <a:lnTo>
                      <a:pt x="168593" y="365760"/>
                    </a:lnTo>
                    <a:lnTo>
                      <a:pt x="164783" y="371475"/>
                    </a:lnTo>
                    <a:lnTo>
                      <a:pt x="161925" y="377190"/>
                    </a:lnTo>
                    <a:lnTo>
                      <a:pt x="159068" y="382905"/>
                    </a:lnTo>
                    <a:lnTo>
                      <a:pt x="154305" y="395288"/>
                    </a:lnTo>
                    <a:lnTo>
                      <a:pt x="149543" y="407670"/>
                    </a:lnTo>
                    <a:lnTo>
                      <a:pt x="145733" y="421005"/>
                    </a:lnTo>
                    <a:lnTo>
                      <a:pt x="142875" y="435293"/>
                    </a:lnTo>
                    <a:lnTo>
                      <a:pt x="140018" y="449580"/>
                    </a:lnTo>
                    <a:lnTo>
                      <a:pt x="138113" y="463868"/>
                    </a:lnTo>
                    <a:lnTo>
                      <a:pt x="136208" y="476250"/>
                    </a:lnTo>
                    <a:lnTo>
                      <a:pt x="135255" y="488633"/>
                    </a:lnTo>
                    <a:lnTo>
                      <a:pt x="135255" y="501015"/>
                    </a:lnTo>
                    <a:lnTo>
                      <a:pt x="134303" y="512445"/>
                    </a:lnTo>
                    <a:lnTo>
                      <a:pt x="134303" y="523875"/>
                    </a:lnTo>
                    <a:lnTo>
                      <a:pt x="134303" y="535305"/>
                    </a:lnTo>
                    <a:lnTo>
                      <a:pt x="134303" y="546735"/>
                    </a:lnTo>
                    <a:lnTo>
                      <a:pt x="135255" y="558165"/>
                    </a:lnTo>
                    <a:lnTo>
                      <a:pt x="136208" y="581025"/>
                    </a:lnTo>
                    <a:lnTo>
                      <a:pt x="138113" y="604838"/>
                    </a:lnTo>
                    <a:lnTo>
                      <a:pt x="140970" y="629603"/>
                    </a:lnTo>
                    <a:lnTo>
                      <a:pt x="143828" y="656273"/>
                    </a:lnTo>
                    <a:lnTo>
                      <a:pt x="143828" y="656273"/>
                    </a:lnTo>
                    <a:close/>
                    <a:moveTo>
                      <a:pt x="419100" y="1446848"/>
                    </a:moveTo>
                    <a:lnTo>
                      <a:pt x="413385" y="1438275"/>
                    </a:lnTo>
                    <a:lnTo>
                      <a:pt x="407670" y="1428750"/>
                    </a:lnTo>
                    <a:lnTo>
                      <a:pt x="402908" y="1419225"/>
                    </a:lnTo>
                    <a:lnTo>
                      <a:pt x="399098" y="1409700"/>
                    </a:lnTo>
                    <a:lnTo>
                      <a:pt x="395288" y="1399223"/>
                    </a:lnTo>
                    <a:lnTo>
                      <a:pt x="391478" y="1388745"/>
                    </a:lnTo>
                    <a:lnTo>
                      <a:pt x="388620" y="1378268"/>
                    </a:lnTo>
                    <a:lnTo>
                      <a:pt x="385763" y="1367790"/>
                    </a:lnTo>
                    <a:lnTo>
                      <a:pt x="382905" y="1356360"/>
                    </a:lnTo>
                    <a:lnTo>
                      <a:pt x="380048" y="1344930"/>
                    </a:lnTo>
                    <a:lnTo>
                      <a:pt x="378143" y="1333500"/>
                    </a:lnTo>
                    <a:lnTo>
                      <a:pt x="375285" y="1322070"/>
                    </a:lnTo>
                    <a:lnTo>
                      <a:pt x="371475" y="1299210"/>
                    </a:lnTo>
                    <a:lnTo>
                      <a:pt x="366713" y="1275398"/>
                    </a:lnTo>
                    <a:lnTo>
                      <a:pt x="361950" y="1251585"/>
                    </a:lnTo>
                    <a:lnTo>
                      <a:pt x="356235" y="1227773"/>
                    </a:lnTo>
                    <a:lnTo>
                      <a:pt x="353378" y="1215390"/>
                    </a:lnTo>
                    <a:lnTo>
                      <a:pt x="350520" y="1203960"/>
                    </a:lnTo>
                    <a:lnTo>
                      <a:pt x="346710" y="1192530"/>
                    </a:lnTo>
                    <a:lnTo>
                      <a:pt x="342900" y="1181100"/>
                    </a:lnTo>
                    <a:lnTo>
                      <a:pt x="339090" y="1169670"/>
                    </a:lnTo>
                    <a:lnTo>
                      <a:pt x="334328" y="1158240"/>
                    </a:lnTo>
                    <a:lnTo>
                      <a:pt x="328613" y="1147763"/>
                    </a:lnTo>
                    <a:lnTo>
                      <a:pt x="322898" y="1137285"/>
                    </a:lnTo>
                    <a:lnTo>
                      <a:pt x="316230" y="1126808"/>
                    </a:lnTo>
                    <a:lnTo>
                      <a:pt x="309563" y="1116330"/>
                    </a:lnTo>
                    <a:lnTo>
                      <a:pt x="301943" y="1106805"/>
                    </a:lnTo>
                    <a:lnTo>
                      <a:pt x="294323" y="1097280"/>
                    </a:lnTo>
                    <a:lnTo>
                      <a:pt x="295275" y="1118235"/>
                    </a:lnTo>
                    <a:lnTo>
                      <a:pt x="295275" y="1138238"/>
                    </a:lnTo>
                    <a:lnTo>
                      <a:pt x="295275" y="1158240"/>
                    </a:lnTo>
                    <a:lnTo>
                      <a:pt x="295275" y="1177290"/>
                    </a:lnTo>
                    <a:lnTo>
                      <a:pt x="295275" y="1195388"/>
                    </a:lnTo>
                    <a:lnTo>
                      <a:pt x="295275" y="1212533"/>
                    </a:lnTo>
                    <a:lnTo>
                      <a:pt x="295275" y="1229678"/>
                    </a:lnTo>
                    <a:lnTo>
                      <a:pt x="295275" y="1245870"/>
                    </a:lnTo>
                    <a:lnTo>
                      <a:pt x="295275" y="1254443"/>
                    </a:lnTo>
                    <a:lnTo>
                      <a:pt x="296228" y="1262063"/>
                    </a:lnTo>
                    <a:lnTo>
                      <a:pt x="297180" y="1269683"/>
                    </a:lnTo>
                    <a:lnTo>
                      <a:pt x="298133" y="1277303"/>
                    </a:lnTo>
                    <a:lnTo>
                      <a:pt x="299085" y="1284923"/>
                    </a:lnTo>
                    <a:lnTo>
                      <a:pt x="300038" y="1292543"/>
                    </a:lnTo>
                    <a:lnTo>
                      <a:pt x="301943" y="1300163"/>
                    </a:lnTo>
                    <a:lnTo>
                      <a:pt x="303848" y="1307783"/>
                    </a:lnTo>
                    <a:lnTo>
                      <a:pt x="306705" y="1315403"/>
                    </a:lnTo>
                    <a:lnTo>
                      <a:pt x="309563" y="1323023"/>
                    </a:lnTo>
                    <a:lnTo>
                      <a:pt x="312420" y="1330643"/>
                    </a:lnTo>
                    <a:lnTo>
                      <a:pt x="316230" y="1338263"/>
                    </a:lnTo>
                    <a:lnTo>
                      <a:pt x="320040" y="1344930"/>
                    </a:lnTo>
                    <a:lnTo>
                      <a:pt x="324803" y="1352550"/>
                    </a:lnTo>
                    <a:lnTo>
                      <a:pt x="329565" y="1360170"/>
                    </a:lnTo>
                    <a:lnTo>
                      <a:pt x="335280" y="1366838"/>
                    </a:lnTo>
                    <a:lnTo>
                      <a:pt x="325755" y="1358265"/>
                    </a:lnTo>
                    <a:lnTo>
                      <a:pt x="315278" y="1348740"/>
                    </a:lnTo>
                    <a:lnTo>
                      <a:pt x="302895" y="1338263"/>
                    </a:lnTo>
                    <a:lnTo>
                      <a:pt x="288608" y="1327785"/>
                    </a:lnTo>
                    <a:lnTo>
                      <a:pt x="280988" y="1322070"/>
                    </a:lnTo>
                    <a:lnTo>
                      <a:pt x="273368" y="1316355"/>
                    </a:lnTo>
                    <a:lnTo>
                      <a:pt x="264795" y="1310640"/>
                    </a:lnTo>
                    <a:lnTo>
                      <a:pt x="255270" y="1304925"/>
                    </a:lnTo>
                    <a:lnTo>
                      <a:pt x="245745" y="1299210"/>
                    </a:lnTo>
                    <a:lnTo>
                      <a:pt x="235268" y="1294448"/>
                    </a:lnTo>
                    <a:lnTo>
                      <a:pt x="224790" y="1289685"/>
                    </a:lnTo>
                    <a:lnTo>
                      <a:pt x="213360" y="1284923"/>
                    </a:lnTo>
                    <a:lnTo>
                      <a:pt x="206693" y="1282065"/>
                    </a:lnTo>
                    <a:lnTo>
                      <a:pt x="200025" y="1279208"/>
                    </a:lnTo>
                    <a:lnTo>
                      <a:pt x="193358" y="1276350"/>
                    </a:lnTo>
                    <a:lnTo>
                      <a:pt x="186690" y="1272540"/>
                    </a:lnTo>
                    <a:lnTo>
                      <a:pt x="180023" y="1268730"/>
                    </a:lnTo>
                    <a:lnTo>
                      <a:pt x="174308" y="1264920"/>
                    </a:lnTo>
                    <a:lnTo>
                      <a:pt x="168593" y="1261110"/>
                    </a:lnTo>
                    <a:lnTo>
                      <a:pt x="161925" y="1257300"/>
                    </a:lnTo>
                    <a:lnTo>
                      <a:pt x="150495" y="1248728"/>
                    </a:lnTo>
                    <a:lnTo>
                      <a:pt x="140018" y="1240155"/>
                    </a:lnTo>
                    <a:lnTo>
                      <a:pt x="129540" y="1230630"/>
                    </a:lnTo>
                    <a:lnTo>
                      <a:pt x="119063" y="1221105"/>
                    </a:lnTo>
                    <a:lnTo>
                      <a:pt x="109538" y="1211580"/>
                    </a:lnTo>
                    <a:lnTo>
                      <a:pt x="100013" y="1202055"/>
                    </a:lnTo>
                    <a:lnTo>
                      <a:pt x="90488" y="1192530"/>
                    </a:lnTo>
                    <a:lnTo>
                      <a:pt x="80963" y="1183005"/>
                    </a:lnTo>
                    <a:lnTo>
                      <a:pt x="63818" y="1163955"/>
                    </a:lnTo>
                    <a:lnTo>
                      <a:pt x="47625" y="1146810"/>
                    </a:lnTo>
                    <a:lnTo>
                      <a:pt x="53340" y="1160145"/>
                    </a:lnTo>
                    <a:lnTo>
                      <a:pt x="60960" y="1184910"/>
                    </a:lnTo>
                    <a:lnTo>
                      <a:pt x="69533" y="1207770"/>
                    </a:lnTo>
                    <a:lnTo>
                      <a:pt x="79058" y="1228725"/>
                    </a:lnTo>
                    <a:lnTo>
                      <a:pt x="89535" y="1248728"/>
                    </a:lnTo>
                    <a:lnTo>
                      <a:pt x="100013" y="1266825"/>
                    </a:lnTo>
                    <a:lnTo>
                      <a:pt x="111443" y="1283970"/>
                    </a:lnTo>
                    <a:lnTo>
                      <a:pt x="123825" y="1299210"/>
                    </a:lnTo>
                    <a:lnTo>
                      <a:pt x="136208" y="1313498"/>
                    </a:lnTo>
                    <a:lnTo>
                      <a:pt x="149543" y="1326833"/>
                    </a:lnTo>
                    <a:lnTo>
                      <a:pt x="162878" y="1338263"/>
                    </a:lnTo>
                    <a:lnTo>
                      <a:pt x="176213" y="1348740"/>
                    </a:lnTo>
                    <a:lnTo>
                      <a:pt x="190500" y="1358265"/>
                    </a:lnTo>
                    <a:lnTo>
                      <a:pt x="204788" y="1366838"/>
                    </a:lnTo>
                    <a:lnTo>
                      <a:pt x="219075" y="1374458"/>
                    </a:lnTo>
                    <a:lnTo>
                      <a:pt x="233363" y="1381125"/>
                    </a:lnTo>
                    <a:lnTo>
                      <a:pt x="247650" y="1387793"/>
                    </a:lnTo>
                    <a:lnTo>
                      <a:pt x="261938" y="1393508"/>
                    </a:lnTo>
                    <a:lnTo>
                      <a:pt x="276225" y="1398270"/>
                    </a:lnTo>
                    <a:lnTo>
                      <a:pt x="290513" y="1403033"/>
                    </a:lnTo>
                    <a:lnTo>
                      <a:pt x="303848" y="1406843"/>
                    </a:lnTo>
                    <a:lnTo>
                      <a:pt x="330518" y="1413510"/>
                    </a:lnTo>
                    <a:lnTo>
                      <a:pt x="354330" y="1419225"/>
                    </a:lnTo>
                    <a:lnTo>
                      <a:pt x="365760" y="1422083"/>
                    </a:lnTo>
                    <a:lnTo>
                      <a:pt x="376238" y="1424940"/>
                    </a:lnTo>
                    <a:lnTo>
                      <a:pt x="385763" y="1427798"/>
                    </a:lnTo>
                    <a:lnTo>
                      <a:pt x="394335" y="1430655"/>
                    </a:lnTo>
                    <a:lnTo>
                      <a:pt x="402908" y="1434465"/>
                    </a:lnTo>
                    <a:lnTo>
                      <a:pt x="409575" y="1438275"/>
                    </a:lnTo>
                    <a:lnTo>
                      <a:pt x="416243" y="1442085"/>
                    </a:lnTo>
                    <a:lnTo>
                      <a:pt x="419100" y="1446848"/>
                    </a:lnTo>
                    <a:lnTo>
                      <a:pt x="419100" y="1446848"/>
                    </a:lnTo>
                    <a:close/>
                    <a:moveTo>
                      <a:pt x="598170" y="1568768"/>
                    </a:moveTo>
                    <a:lnTo>
                      <a:pt x="594360" y="1563053"/>
                    </a:lnTo>
                    <a:lnTo>
                      <a:pt x="590550" y="1556385"/>
                    </a:lnTo>
                    <a:lnTo>
                      <a:pt x="586740" y="1549718"/>
                    </a:lnTo>
                    <a:lnTo>
                      <a:pt x="582930" y="1543050"/>
                    </a:lnTo>
                    <a:lnTo>
                      <a:pt x="576263" y="1526858"/>
                    </a:lnTo>
                    <a:lnTo>
                      <a:pt x="568643" y="1509713"/>
                    </a:lnTo>
                    <a:lnTo>
                      <a:pt x="561023" y="1490663"/>
                    </a:lnTo>
                    <a:lnTo>
                      <a:pt x="553403" y="1470660"/>
                    </a:lnTo>
                    <a:lnTo>
                      <a:pt x="543878" y="1449705"/>
                    </a:lnTo>
                    <a:lnTo>
                      <a:pt x="534353" y="1428750"/>
                    </a:lnTo>
                    <a:lnTo>
                      <a:pt x="528638" y="1418273"/>
                    </a:lnTo>
                    <a:lnTo>
                      <a:pt x="522923" y="1407795"/>
                    </a:lnTo>
                    <a:lnTo>
                      <a:pt x="517208" y="1397318"/>
                    </a:lnTo>
                    <a:lnTo>
                      <a:pt x="510540" y="1386840"/>
                    </a:lnTo>
                    <a:lnTo>
                      <a:pt x="503873" y="1376363"/>
                    </a:lnTo>
                    <a:lnTo>
                      <a:pt x="497205" y="1365885"/>
                    </a:lnTo>
                    <a:lnTo>
                      <a:pt x="489585" y="1355408"/>
                    </a:lnTo>
                    <a:lnTo>
                      <a:pt x="481965" y="1345883"/>
                    </a:lnTo>
                    <a:lnTo>
                      <a:pt x="473393" y="1336358"/>
                    </a:lnTo>
                    <a:lnTo>
                      <a:pt x="464820" y="1326833"/>
                    </a:lnTo>
                    <a:lnTo>
                      <a:pt x="455295" y="1317308"/>
                    </a:lnTo>
                    <a:lnTo>
                      <a:pt x="445770" y="1308735"/>
                    </a:lnTo>
                    <a:lnTo>
                      <a:pt x="435293" y="1300163"/>
                    </a:lnTo>
                    <a:lnTo>
                      <a:pt x="424815" y="1291590"/>
                    </a:lnTo>
                    <a:lnTo>
                      <a:pt x="414338" y="1283970"/>
                    </a:lnTo>
                    <a:lnTo>
                      <a:pt x="402908" y="1277303"/>
                    </a:lnTo>
                    <a:lnTo>
                      <a:pt x="414338" y="1316355"/>
                    </a:lnTo>
                    <a:lnTo>
                      <a:pt x="423863" y="1352550"/>
                    </a:lnTo>
                    <a:lnTo>
                      <a:pt x="428625" y="1369695"/>
                    </a:lnTo>
                    <a:lnTo>
                      <a:pt x="433388" y="1385888"/>
                    </a:lnTo>
                    <a:lnTo>
                      <a:pt x="439103" y="1402080"/>
                    </a:lnTo>
                    <a:lnTo>
                      <a:pt x="444818" y="1417320"/>
                    </a:lnTo>
                    <a:lnTo>
                      <a:pt x="447675" y="1424940"/>
                    </a:lnTo>
                    <a:lnTo>
                      <a:pt x="450533" y="1431608"/>
                    </a:lnTo>
                    <a:lnTo>
                      <a:pt x="454343" y="1438275"/>
                    </a:lnTo>
                    <a:lnTo>
                      <a:pt x="458153" y="1444943"/>
                    </a:lnTo>
                    <a:lnTo>
                      <a:pt x="461963" y="1451610"/>
                    </a:lnTo>
                    <a:lnTo>
                      <a:pt x="465773" y="1458278"/>
                    </a:lnTo>
                    <a:lnTo>
                      <a:pt x="469583" y="1464945"/>
                    </a:lnTo>
                    <a:lnTo>
                      <a:pt x="474345" y="1471613"/>
                    </a:lnTo>
                    <a:lnTo>
                      <a:pt x="479108" y="1478280"/>
                    </a:lnTo>
                    <a:lnTo>
                      <a:pt x="484823" y="1484948"/>
                    </a:lnTo>
                    <a:lnTo>
                      <a:pt x="490538" y="1491615"/>
                    </a:lnTo>
                    <a:lnTo>
                      <a:pt x="496253" y="1498283"/>
                    </a:lnTo>
                    <a:lnTo>
                      <a:pt x="501968" y="1504950"/>
                    </a:lnTo>
                    <a:lnTo>
                      <a:pt x="508635" y="1510665"/>
                    </a:lnTo>
                    <a:lnTo>
                      <a:pt x="515303" y="1516380"/>
                    </a:lnTo>
                    <a:lnTo>
                      <a:pt x="522923" y="1523048"/>
                    </a:lnTo>
                    <a:lnTo>
                      <a:pt x="510540" y="1517333"/>
                    </a:lnTo>
                    <a:lnTo>
                      <a:pt x="494348" y="1510665"/>
                    </a:lnTo>
                    <a:lnTo>
                      <a:pt x="475298" y="1503045"/>
                    </a:lnTo>
                    <a:lnTo>
                      <a:pt x="454343" y="1495425"/>
                    </a:lnTo>
                    <a:lnTo>
                      <a:pt x="442913" y="1491615"/>
                    </a:lnTo>
                    <a:lnTo>
                      <a:pt x="430530" y="1487805"/>
                    </a:lnTo>
                    <a:lnTo>
                      <a:pt x="418148" y="1483995"/>
                    </a:lnTo>
                    <a:lnTo>
                      <a:pt x="405765" y="1481138"/>
                    </a:lnTo>
                    <a:lnTo>
                      <a:pt x="393383" y="1478280"/>
                    </a:lnTo>
                    <a:lnTo>
                      <a:pt x="381000" y="1475423"/>
                    </a:lnTo>
                    <a:lnTo>
                      <a:pt x="368618" y="1473518"/>
                    </a:lnTo>
                    <a:lnTo>
                      <a:pt x="356235" y="1471613"/>
                    </a:lnTo>
                    <a:lnTo>
                      <a:pt x="345758" y="1470660"/>
                    </a:lnTo>
                    <a:lnTo>
                      <a:pt x="335280" y="1468755"/>
                    </a:lnTo>
                    <a:lnTo>
                      <a:pt x="325755" y="1466850"/>
                    </a:lnTo>
                    <a:lnTo>
                      <a:pt x="316230" y="1464945"/>
                    </a:lnTo>
                    <a:lnTo>
                      <a:pt x="307658" y="1463040"/>
                    </a:lnTo>
                    <a:lnTo>
                      <a:pt x="300038" y="1461135"/>
                    </a:lnTo>
                    <a:lnTo>
                      <a:pt x="292418" y="1459230"/>
                    </a:lnTo>
                    <a:lnTo>
                      <a:pt x="284798" y="1457325"/>
                    </a:lnTo>
                    <a:lnTo>
                      <a:pt x="277178" y="1454468"/>
                    </a:lnTo>
                    <a:lnTo>
                      <a:pt x="270510" y="1451610"/>
                    </a:lnTo>
                    <a:lnTo>
                      <a:pt x="263843" y="1448753"/>
                    </a:lnTo>
                    <a:lnTo>
                      <a:pt x="257175" y="1445895"/>
                    </a:lnTo>
                    <a:lnTo>
                      <a:pt x="245745" y="1440180"/>
                    </a:lnTo>
                    <a:lnTo>
                      <a:pt x="235268" y="1434465"/>
                    </a:lnTo>
                    <a:lnTo>
                      <a:pt x="225743" y="1428750"/>
                    </a:lnTo>
                    <a:lnTo>
                      <a:pt x="216218" y="1423035"/>
                    </a:lnTo>
                    <a:lnTo>
                      <a:pt x="207645" y="1417320"/>
                    </a:lnTo>
                    <a:lnTo>
                      <a:pt x="199073" y="1411605"/>
                    </a:lnTo>
                    <a:lnTo>
                      <a:pt x="190500" y="1405890"/>
                    </a:lnTo>
                    <a:lnTo>
                      <a:pt x="181928" y="1400175"/>
                    </a:lnTo>
                    <a:lnTo>
                      <a:pt x="173355" y="1394460"/>
                    </a:lnTo>
                    <a:lnTo>
                      <a:pt x="163830" y="1388745"/>
                    </a:lnTo>
                    <a:lnTo>
                      <a:pt x="177165" y="1411605"/>
                    </a:lnTo>
                    <a:lnTo>
                      <a:pt x="190500" y="1432560"/>
                    </a:lnTo>
                    <a:lnTo>
                      <a:pt x="203835" y="1451610"/>
                    </a:lnTo>
                    <a:lnTo>
                      <a:pt x="218123" y="1468755"/>
                    </a:lnTo>
                    <a:lnTo>
                      <a:pt x="232410" y="1483995"/>
                    </a:lnTo>
                    <a:lnTo>
                      <a:pt x="247650" y="1497330"/>
                    </a:lnTo>
                    <a:lnTo>
                      <a:pt x="262890" y="1509713"/>
                    </a:lnTo>
                    <a:lnTo>
                      <a:pt x="278130" y="1520190"/>
                    </a:lnTo>
                    <a:lnTo>
                      <a:pt x="293370" y="1529715"/>
                    </a:lnTo>
                    <a:lnTo>
                      <a:pt x="309563" y="1537335"/>
                    </a:lnTo>
                    <a:lnTo>
                      <a:pt x="325755" y="1544003"/>
                    </a:lnTo>
                    <a:lnTo>
                      <a:pt x="341948" y="1549718"/>
                    </a:lnTo>
                    <a:lnTo>
                      <a:pt x="358140" y="1554480"/>
                    </a:lnTo>
                    <a:lnTo>
                      <a:pt x="374333" y="1558290"/>
                    </a:lnTo>
                    <a:lnTo>
                      <a:pt x="390525" y="1561148"/>
                    </a:lnTo>
                    <a:lnTo>
                      <a:pt x="406718" y="1563053"/>
                    </a:lnTo>
                    <a:lnTo>
                      <a:pt x="421958" y="1564005"/>
                    </a:lnTo>
                    <a:lnTo>
                      <a:pt x="437198" y="1564958"/>
                    </a:lnTo>
                    <a:lnTo>
                      <a:pt x="451485" y="1564958"/>
                    </a:lnTo>
                    <a:lnTo>
                      <a:pt x="465773" y="1564958"/>
                    </a:lnTo>
                    <a:lnTo>
                      <a:pt x="493395" y="1564005"/>
                    </a:lnTo>
                    <a:lnTo>
                      <a:pt x="519113" y="1563053"/>
                    </a:lnTo>
                    <a:lnTo>
                      <a:pt x="531495" y="1563053"/>
                    </a:lnTo>
                    <a:lnTo>
                      <a:pt x="542925" y="1563053"/>
                    </a:lnTo>
                    <a:lnTo>
                      <a:pt x="553403" y="1563053"/>
                    </a:lnTo>
                    <a:lnTo>
                      <a:pt x="563880" y="1563053"/>
                    </a:lnTo>
                    <a:lnTo>
                      <a:pt x="573405" y="1564005"/>
                    </a:lnTo>
                    <a:lnTo>
                      <a:pt x="581978" y="1564958"/>
                    </a:lnTo>
                    <a:lnTo>
                      <a:pt x="589598" y="1566863"/>
                    </a:lnTo>
                    <a:lnTo>
                      <a:pt x="598170" y="1568768"/>
                    </a:lnTo>
                    <a:lnTo>
                      <a:pt x="598170" y="1568768"/>
                    </a:lnTo>
                    <a:close/>
                    <a:moveTo>
                      <a:pt x="1590675" y="301943"/>
                    </a:moveTo>
                    <a:lnTo>
                      <a:pt x="1579245" y="283845"/>
                    </a:lnTo>
                    <a:lnTo>
                      <a:pt x="1566863" y="264795"/>
                    </a:lnTo>
                    <a:lnTo>
                      <a:pt x="1553528" y="245745"/>
                    </a:lnTo>
                    <a:lnTo>
                      <a:pt x="1540193" y="226695"/>
                    </a:lnTo>
                    <a:lnTo>
                      <a:pt x="1526858" y="208598"/>
                    </a:lnTo>
                    <a:lnTo>
                      <a:pt x="1514475" y="192405"/>
                    </a:lnTo>
                    <a:lnTo>
                      <a:pt x="1508760" y="185738"/>
                    </a:lnTo>
                    <a:lnTo>
                      <a:pt x="1503045" y="179070"/>
                    </a:lnTo>
                    <a:lnTo>
                      <a:pt x="1497330" y="173355"/>
                    </a:lnTo>
                    <a:lnTo>
                      <a:pt x="1492568" y="168593"/>
                    </a:lnTo>
                    <a:lnTo>
                      <a:pt x="1504950" y="171450"/>
                    </a:lnTo>
                    <a:lnTo>
                      <a:pt x="1517333" y="175260"/>
                    </a:lnTo>
                    <a:lnTo>
                      <a:pt x="1528763" y="179070"/>
                    </a:lnTo>
                    <a:lnTo>
                      <a:pt x="1540193" y="182880"/>
                    </a:lnTo>
                    <a:lnTo>
                      <a:pt x="1551623" y="187643"/>
                    </a:lnTo>
                    <a:lnTo>
                      <a:pt x="1563053" y="193358"/>
                    </a:lnTo>
                    <a:lnTo>
                      <a:pt x="1573530" y="199073"/>
                    </a:lnTo>
                    <a:lnTo>
                      <a:pt x="1584008" y="204788"/>
                    </a:lnTo>
                    <a:lnTo>
                      <a:pt x="1594485" y="211455"/>
                    </a:lnTo>
                    <a:lnTo>
                      <a:pt x="1604010" y="218123"/>
                    </a:lnTo>
                    <a:lnTo>
                      <a:pt x="1613535" y="224790"/>
                    </a:lnTo>
                    <a:lnTo>
                      <a:pt x="1623060" y="232410"/>
                    </a:lnTo>
                    <a:lnTo>
                      <a:pt x="1632585" y="240030"/>
                    </a:lnTo>
                    <a:lnTo>
                      <a:pt x="1641158" y="247650"/>
                    </a:lnTo>
                    <a:lnTo>
                      <a:pt x="1649730" y="256223"/>
                    </a:lnTo>
                    <a:lnTo>
                      <a:pt x="1657350" y="264795"/>
                    </a:lnTo>
                    <a:lnTo>
                      <a:pt x="1664970" y="274320"/>
                    </a:lnTo>
                    <a:lnTo>
                      <a:pt x="1672590" y="283845"/>
                    </a:lnTo>
                    <a:lnTo>
                      <a:pt x="1680210" y="293370"/>
                    </a:lnTo>
                    <a:lnTo>
                      <a:pt x="1686878" y="303848"/>
                    </a:lnTo>
                    <a:lnTo>
                      <a:pt x="1693545" y="313373"/>
                    </a:lnTo>
                    <a:lnTo>
                      <a:pt x="1700213" y="323850"/>
                    </a:lnTo>
                    <a:lnTo>
                      <a:pt x="1706880" y="334328"/>
                    </a:lnTo>
                    <a:lnTo>
                      <a:pt x="1712595" y="344805"/>
                    </a:lnTo>
                    <a:lnTo>
                      <a:pt x="1718310" y="355283"/>
                    </a:lnTo>
                    <a:lnTo>
                      <a:pt x="1724025" y="366713"/>
                    </a:lnTo>
                    <a:lnTo>
                      <a:pt x="1728788" y="378143"/>
                    </a:lnTo>
                    <a:lnTo>
                      <a:pt x="1732598" y="389573"/>
                    </a:lnTo>
                    <a:lnTo>
                      <a:pt x="1736408" y="401003"/>
                    </a:lnTo>
                    <a:lnTo>
                      <a:pt x="1740218" y="413385"/>
                    </a:lnTo>
                    <a:lnTo>
                      <a:pt x="1743075" y="425768"/>
                    </a:lnTo>
                    <a:lnTo>
                      <a:pt x="1745933" y="438150"/>
                    </a:lnTo>
                    <a:lnTo>
                      <a:pt x="1735455" y="427673"/>
                    </a:lnTo>
                    <a:lnTo>
                      <a:pt x="1724978" y="418148"/>
                    </a:lnTo>
                    <a:lnTo>
                      <a:pt x="1713548" y="408623"/>
                    </a:lnTo>
                    <a:lnTo>
                      <a:pt x="1703070" y="400050"/>
                    </a:lnTo>
                    <a:lnTo>
                      <a:pt x="1680210" y="382905"/>
                    </a:lnTo>
                    <a:lnTo>
                      <a:pt x="1658303" y="366713"/>
                    </a:lnTo>
                    <a:lnTo>
                      <a:pt x="1647825" y="359093"/>
                    </a:lnTo>
                    <a:lnTo>
                      <a:pt x="1637348" y="351473"/>
                    </a:lnTo>
                    <a:lnTo>
                      <a:pt x="1627823" y="343853"/>
                    </a:lnTo>
                    <a:lnTo>
                      <a:pt x="1618298" y="336233"/>
                    </a:lnTo>
                    <a:lnTo>
                      <a:pt x="1609725" y="328613"/>
                    </a:lnTo>
                    <a:lnTo>
                      <a:pt x="1602105" y="320993"/>
                    </a:lnTo>
                    <a:lnTo>
                      <a:pt x="1600200" y="314325"/>
                    </a:lnTo>
                    <a:lnTo>
                      <a:pt x="1597343" y="310515"/>
                    </a:lnTo>
                    <a:lnTo>
                      <a:pt x="1594485" y="306705"/>
                    </a:lnTo>
                    <a:lnTo>
                      <a:pt x="1590675" y="301943"/>
                    </a:lnTo>
                    <a:lnTo>
                      <a:pt x="1590675" y="301943"/>
                    </a:lnTo>
                    <a:close/>
                    <a:moveTo>
                      <a:pt x="1660208" y="511493"/>
                    </a:moveTo>
                    <a:lnTo>
                      <a:pt x="1664018" y="518160"/>
                    </a:lnTo>
                    <a:lnTo>
                      <a:pt x="1668780" y="524828"/>
                    </a:lnTo>
                    <a:lnTo>
                      <a:pt x="1674495" y="531495"/>
                    </a:lnTo>
                    <a:lnTo>
                      <a:pt x="1681163" y="538163"/>
                    </a:lnTo>
                    <a:lnTo>
                      <a:pt x="1687830" y="544830"/>
                    </a:lnTo>
                    <a:lnTo>
                      <a:pt x="1695450" y="551498"/>
                    </a:lnTo>
                    <a:lnTo>
                      <a:pt x="1703070" y="558165"/>
                    </a:lnTo>
                    <a:lnTo>
                      <a:pt x="1710690" y="564833"/>
                    </a:lnTo>
                    <a:lnTo>
                      <a:pt x="1727835" y="579120"/>
                    </a:lnTo>
                    <a:lnTo>
                      <a:pt x="1745933" y="595313"/>
                    </a:lnTo>
                    <a:lnTo>
                      <a:pt x="1754505" y="603885"/>
                    </a:lnTo>
                    <a:lnTo>
                      <a:pt x="1763078" y="612458"/>
                    </a:lnTo>
                    <a:lnTo>
                      <a:pt x="1771650" y="621983"/>
                    </a:lnTo>
                    <a:lnTo>
                      <a:pt x="1780223" y="631508"/>
                    </a:lnTo>
                    <a:lnTo>
                      <a:pt x="1784985" y="637223"/>
                    </a:lnTo>
                    <a:lnTo>
                      <a:pt x="1789748" y="643890"/>
                    </a:lnTo>
                    <a:lnTo>
                      <a:pt x="1794510" y="651510"/>
                    </a:lnTo>
                    <a:lnTo>
                      <a:pt x="1799273" y="659130"/>
                    </a:lnTo>
                    <a:lnTo>
                      <a:pt x="1804035" y="666750"/>
                    </a:lnTo>
                    <a:lnTo>
                      <a:pt x="1808798" y="675323"/>
                    </a:lnTo>
                    <a:lnTo>
                      <a:pt x="1813560" y="684848"/>
                    </a:lnTo>
                    <a:lnTo>
                      <a:pt x="1817370" y="694373"/>
                    </a:lnTo>
                    <a:lnTo>
                      <a:pt x="1821180" y="703898"/>
                    </a:lnTo>
                    <a:lnTo>
                      <a:pt x="1824990" y="713423"/>
                    </a:lnTo>
                    <a:lnTo>
                      <a:pt x="1828800" y="722948"/>
                    </a:lnTo>
                    <a:lnTo>
                      <a:pt x="1832610" y="732473"/>
                    </a:lnTo>
                    <a:lnTo>
                      <a:pt x="1835468" y="741998"/>
                    </a:lnTo>
                    <a:lnTo>
                      <a:pt x="1838325" y="751523"/>
                    </a:lnTo>
                    <a:lnTo>
                      <a:pt x="1841183" y="761048"/>
                    </a:lnTo>
                    <a:lnTo>
                      <a:pt x="1843088" y="770573"/>
                    </a:lnTo>
                    <a:lnTo>
                      <a:pt x="1851660" y="693420"/>
                    </a:lnTo>
                    <a:lnTo>
                      <a:pt x="1854518" y="678180"/>
                    </a:lnTo>
                    <a:lnTo>
                      <a:pt x="1857375" y="662940"/>
                    </a:lnTo>
                    <a:lnTo>
                      <a:pt x="1860233" y="647700"/>
                    </a:lnTo>
                    <a:lnTo>
                      <a:pt x="1863090" y="631508"/>
                    </a:lnTo>
                    <a:lnTo>
                      <a:pt x="1864995" y="615315"/>
                    </a:lnTo>
                    <a:lnTo>
                      <a:pt x="1866900" y="599123"/>
                    </a:lnTo>
                    <a:lnTo>
                      <a:pt x="1868805" y="582930"/>
                    </a:lnTo>
                    <a:lnTo>
                      <a:pt x="1869758" y="566738"/>
                    </a:lnTo>
                    <a:lnTo>
                      <a:pt x="1870710" y="550545"/>
                    </a:lnTo>
                    <a:lnTo>
                      <a:pt x="1871663" y="534353"/>
                    </a:lnTo>
                    <a:lnTo>
                      <a:pt x="1871663" y="518160"/>
                    </a:lnTo>
                    <a:lnTo>
                      <a:pt x="1870710" y="501968"/>
                    </a:lnTo>
                    <a:lnTo>
                      <a:pt x="1869758" y="494348"/>
                    </a:lnTo>
                    <a:lnTo>
                      <a:pt x="1868805" y="486728"/>
                    </a:lnTo>
                    <a:lnTo>
                      <a:pt x="1867853" y="479108"/>
                    </a:lnTo>
                    <a:lnTo>
                      <a:pt x="1866900" y="471488"/>
                    </a:lnTo>
                    <a:lnTo>
                      <a:pt x="1865948" y="463868"/>
                    </a:lnTo>
                    <a:lnTo>
                      <a:pt x="1864995" y="456248"/>
                    </a:lnTo>
                    <a:lnTo>
                      <a:pt x="1863090" y="448628"/>
                    </a:lnTo>
                    <a:lnTo>
                      <a:pt x="1861185" y="441008"/>
                    </a:lnTo>
                    <a:lnTo>
                      <a:pt x="1872615" y="461963"/>
                    </a:lnTo>
                    <a:lnTo>
                      <a:pt x="1884045" y="482918"/>
                    </a:lnTo>
                    <a:lnTo>
                      <a:pt x="1889760" y="493395"/>
                    </a:lnTo>
                    <a:lnTo>
                      <a:pt x="1895475" y="503873"/>
                    </a:lnTo>
                    <a:lnTo>
                      <a:pt x="1900238" y="514350"/>
                    </a:lnTo>
                    <a:lnTo>
                      <a:pt x="1905000" y="524828"/>
                    </a:lnTo>
                    <a:lnTo>
                      <a:pt x="1908810" y="535305"/>
                    </a:lnTo>
                    <a:lnTo>
                      <a:pt x="1912620" y="545783"/>
                    </a:lnTo>
                    <a:lnTo>
                      <a:pt x="1916430" y="557213"/>
                    </a:lnTo>
                    <a:lnTo>
                      <a:pt x="1919288" y="568643"/>
                    </a:lnTo>
                    <a:lnTo>
                      <a:pt x="1921193" y="580073"/>
                    </a:lnTo>
                    <a:lnTo>
                      <a:pt x="1923098" y="592455"/>
                    </a:lnTo>
                    <a:lnTo>
                      <a:pt x="1924050" y="598170"/>
                    </a:lnTo>
                    <a:lnTo>
                      <a:pt x="1925003" y="604838"/>
                    </a:lnTo>
                    <a:lnTo>
                      <a:pt x="1925003" y="610553"/>
                    </a:lnTo>
                    <a:lnTo>
                      <a:pt x="1925003" y="617220"/>
                    </a:lnTo>
                    <a:lnTo>
                      <a:pt x="1925003" y="625793"/>
                    </a:lnTo>
                    <a:lnTo>
                      <a:pt x="1925003" y="634365"/>
                    </a:lnTo>
                    <a:lnTo>
                      <a:pt x="1924050" y="642938"/>
                    </a:lnTo>
                    <a:lnTo>
                      <a:pt x="1923098" y="651510"/>
                    </a:lnTo>
                    <a:lnTo>
                      <a:pt x="1922145" y="659130"/>
                    </a:lnTo>
                    <a:lnTo>
                      <a:pt x="1921193" y="666750"/>
                    </a:lnTo>
                    <a:lnTo>
                      <a:pt x="1919288" y="674370"/>
                    </a:lnTo>
                    <a:lnTo>
                      <a:pt x="1917383" y="681990"/>
                    </a:lnTo>
                    <a:lnTo>
                      <a:pt x="1915478" y="689610"/>
                    </a:lnTo>
                    <a:lnTo>
                      <a:pt x="1912620" y="697230"/>
                    </a:lnTo>
                    <a:lnTo>
                      <a:pt x="1909763" y="704850"/>
                    </a:lnTo>
                    <a:lnTo>
                      <a:pt x="1906905" y="712470"/>
                    </a:lnTo>
                    <a:lnTo>
                      <a:pt x="1901190" y="726758"/>
                    </a:lnTo>
                    <a:lnTo>
                      <a:pt x="1895475" y="741045"/>
                    </a:lnTo>
                    <a:lnTo>
                      <a:pt x="1882140" y="769620"/>
                    </a:lnTo>
                    <a:lnTo>
                      <a:pt x="1869758" y="798195"/>
                    </a:lnTo>
                    <a:lnTo>
                      <a:pt x="1863090" y="812483"/>
                    </a:lnTo>
                    <a:lnTo>
                      <a:pt x="1857375" y="826770"/>
                    </a:lnTo>
                    <a:lnTo>
                      <a:pt x="1851660" y="841058"/>
                    </a:lnTo>
                    <a:lnTo>
                      <a:pt x="1845945" y="856298"/>
                    </a:lnTo>
                    <a:lnTo>
                      <a:pt x="1844993" y="851535"/>
                    </a:lnTo>
                    <a:lnTo>
                      <a:pt x="1844040" y="845820"/>
                    </a:lnTo>
                    <a:lnTo>
                      <a:pt x="1843088" y="840105"/>
                    </a:lnTo>
                    <a:lnTo>
                      <a:pt x="1841183" y="834390"/>
                    </a:lnTo>
                    <a:lnTo>
                      <a:pt x="1839278" y="828675"/>
                    </a:lnTo>
                    <a:lnTo>
                      <a:pt x="1836420" y="822960"/>
                    </a:lnTo>
                    <a:lnTo>
                      <a:pt x="1833563" y="816293"/>
                    </a:lnTo>
                    <a:lnTo>
                      <a:pt x="1830705" y="810578"/>
                    </a:lnTo>
                    <a:lnTo>
                      <a:pt x="1824038" y="798195"/>
                    </a:lnTo>
                    <a:lnTo>
                      <a:pt x="1817370" y="784860"/>
                    </a:lnTo>
                    <a:lnTo>
                      <a:pt x="1809750" y="771525"/>
                    </a:lnTo>
                    <a:lnTo>
                      <a:pt x="1802130" y="758190"/>
                    </a:lnTo>
                    <a:lnTo>
                      <a:pt x="1794510" y="745808"/>
                    </a:lnTo>
                    <a:lnTo>
                      <a:pt x="1785938" y="733425"/>
                    </a:lnTo>
                    <a:lnTo>
                      <a:pt x="1777365" y="721043"/>
                    </a:lnTo>
                    <a:lnTo>
                      <a:pt x="1768793" y="710565"/>
                    </a:lnTo>
                    <a:lnTo>
                      <a:pt x="1761173" y="700088"/>
                    </a:lnTo>
                    <a:lnTo>
                      <a:pt x="1753553" y="690563"/>
                    </a:lnTo>
                    <a:lnTo>
                      <a:pt x="1745933" y="682943"/>
                    </a:lnTo>
                    <a:lnTo>
                      <a:pt x="1739265" y="676275"/>
                    </a:lnTo>
                    <a:lnTo>
                      <a:pt x="1729740" y="663893"/>
                    </a:lnTo>
                    <a:lnTo>
                      <a:pt x="1721168" y="653415"/>
                    </a:lnTo>
                    <a:lnTo>
                      <a:pt x="1714500" y="642938"/>
                    </a:lnTo>
                    <a:lnTo>
                      <a:pt x="1707833" y="633413"/>
                    </a:lnTo>
                    <a:lnTo>
                      <a:pt x="1702118" y="624840"/>
                    </a:lnTo>
                    <a:lnTo>
                      <a:pt x="1697355" y="616268"/>
                    </a:lnTo>
                    <a:lnTo>
                      <a:pt x="1693545" y="608648"/>
                    </a:lnTo>
                    <a:lnTo>
                      <a:pt x="1689735" y="601028"/>
                    </a:lnTo>
                    <a:lnTo>
                      <a:pt x="1685925" y="592455"/>
                    </a:lnTo>
                    <a:lnTo>
                      <a:pt x="1683068" y="583883"/>
                    </a:lnTo>
                    <a:lnTo>
                      <a:pt x="1679258" y="574358"/>
                    </a:lnTo>
                    <a:lnTo>
                      <a:pt x="1675448" y="563880"/>
                    </a:lnTo>
                    <a:lnTo>
                      <a:pt x="1667828" y="541020"/>
                    </a:lnTo>
                    <a:lnTo>
                      <a:pt x="1660208" y="511493"/>
                    </a:lnTo>
                    <a:lnTo>
                      <a:pt x="1660208" y="511493"/>
                    </a:lnTo>
                    <a:close/>
                    <a:moveTo>
                      <a:pt x="1721168" y="711518"/>
                    </a:moveTo>
                    <a:lnTo>
                      <a:pt x="1733550" y="727710"/>
                    </a:lnTo>
                    <a:lnTo>
                      <a:pt x="1744980" y="743903"/>
                    </a:lnTo>
                    <a:lnTo>
                      <a:pt x="1756410" y="759143"/>
                    </a:lnTo>
                    <a:lnTo>
                      <a:pt x="1766888" y="774383"/>
                    </a:lnTo>
                    <a:lnTo>
                      <a:pt x="1776413" y="788670"/>
                    </a:lnTo>
                    <a:lnTo>
                      <a:pt x="1784985" y="803910"/>
                    </a:lnTo>
                    <a:lnTo>
                      <a:pt x="1788795" y="811530"/>
                    </a:lnTo>
                    <a:lnTo>
                      <a:pt x="1792605" y="819150"/>
                    </a:lnTo>
                    <a:lnTo>
                      <a:pt x="1796415" y="826770"/>
                    </a:lnTo>
                    <a:lnTo>
                      <a:pt x="1800225" y="834390"/>
                    </a:lnTo>
                    <a:lnTo>
                      <a:pt x="1803083" y="842010"/>
                    </a:lnTo>
                    <a:lnTo>
                      <a:pt x="1805940" y="849630"/>
                    </a:lnTo>
                    <a:lnTo>
                      <a:pt x="1808798" y="857250"/>
                    </a:lnTo>
                    <a:lnTo>
                      <a:pt x="1811655" y="865823"/>
                    </a:lnTo>
                    <a:lnTo>
                      <a:pt x="1814513" y="874395"/>
                    </a:lnTo>
                    <a:lnTo>
                      <a:pt x="1816418" y="882968"/>
                    </a:lnTo>
                    <a:lnTo>
                      <a:pt x="1818323" y="891540"/>
                    </a:lnTo>
                    <a:lnTo>
                      <a:pt x="1820228" y="901065"/>
                    </a:lnTo>
                    <a:lnTo>
                      <a:pt x="1821180" y="910590"/>
                    </a:lnTo>
                    <a:lnTo>
                      <a:pt x="1822133" y="920115"/>
                    </a:lnTo>
                    <a:lnTo>
                      <a:pt x="1823085" y="929640"/>
                    </a:lnTo>
                    <a:lnTo>
                      <a:pt x="1824038" y="940118"/>
                    </a:lnTo>
                    <a:lnTo>
                      <a:pt x="1824038" y="950595"/>
                    </a:lnTo>
                    <a:lnTo>
                      <a:pt x="1824038" y="961073"/>
                    </a:lnTo>
                    <a:lnTo>
                      <a:pt x="1824038" y="972503"/>
                    </a:lnTo>
                    <a:lnTo>
                      <a:pt x="1824038" y="983933"/>
                    </a:lnTo>
                    <a:lnTo>
                      <a:pt x="1825943" y="974408"/>
                    </a:lnTo>
                    <a:lnTo>
                      <a:pt x="1828800" y="963930"/>
                    </a:lnTo>
                    <a:lnTo>
                      <a:pt x="1831658" y="954405"/>
                    </a:lnTo>
                    <a:lnTo>
                      <a:pt x="1834515" y="943928"/>
                    </a:lnTo>
                    <a:lnTo>
                      <a:pt x="1838325" y="934403"/>
                    </a:lnTo>
                    <a:lnTo>
                      <a:pt x="1842135" y="923925"/>
                    </a:lnTo>
                    <a:lnTo>
                      <a:pt x="1845945" y="914400"/>
                    </a:lnTo>
                    <a:lnTo>
                      <a:pt x="1850708" y="904875"/>
                    </a:lnTo>
                    <a:lnTo>
                      <a:pt x="1860233" y="884873"/>
                    </a:lnTo>
                    <a:lnTo>
                      <a:pt x="1870710" y="864870"/>
                    </a:lnTo>
                    <a:lnTo>
                      <a:pt x="1881188" y="844868"/>
                    </a:lnTo>
                    <a:lnTo>
                      <a:pt x="1891665" y="825818"/>
                    </a:lnTo>
                    <a:lnTo>
                      <a:pt x="1902143" y="806768"/>
                    </a:lnTo>
                    <a:lnTo>
                      <a:pt x="1911668" y="787718"/>
                    </a:lnTo>
                    <a:lnTo>
                      <a:pt x="1916430" y="778193"/>
                    </a:lnTo>
                    <a:lnTo>
                      <a:pt x="1921193" y="768668"/>
                    </a:lnTo>
                    <a:lnTo>
                      <a:pt x="1925003" y="759143"/>
                    </a:lnTo>
                    <a:lnTo>
                      <a:pt x="1928813" y="749618"/>
                    </a:lnTo>
                    <a:lnTo>
                      <a:pt x="1932623" y="740093"/>
                    </a:lnTo>
                    <a:lnTo>
                      <a:pt x="1935480" y="730568"/>
                    </a:lnTo>
                    <a:lnTo>
                      <a:pt x="1938338" y="721043"/>
                    </a:lnTo>
                    <a:lnTo>
                      <a:pt x="1941195" y="711518"/>
                    </a:lnTo>
                    <a:lnTo>
                      <a:pt x="1943100" y="702945"/>
                    </a:lnTo>
                    <a:lnTo>
                      <a:pt x="1945005" y="694373"/>
                    </a:lnTo>
                    <a:lnTo>
                      <a:pt x="1945958" y="685800"/>
                    </a:lnTo>
                    <a:lnTo>
                      <a:pt x="1946910" y="677228"/>
                    </a:lnTo>
                    <a:lnTo>
                      <a:pt x="1950720" y="696278"/>
                    </a:lnTo>
                    <a:lnTo>
                      <a:pt x="1953578" y="714375"/>
                    </a:lnTo>
                    <a:lnTo>
                      <a:pt x="1956435" y="731520"/>
                    </a:lnTo>
                    <a:lnTo>
                      <a:pt x="1958340" y="747713"/>
                    </a:lnTo>
                    <a:lnTo>
                      <a:pt x="1959293" y="763905"/>
                    </a:lnTo>
                    <a:lnTo>
                      <a:pt x="1959293" y="779145"/>
                    </a:lnTo>
                    <a:lnTo>
                      <a:pt x="1959293" y="793433"/>
                    </a:lnTo>
                    <a:lnTo>
                      <a:pt x="1958340" y="806768"/>
                    </a:lnTo>
                    <a:lnTo>
                      <a:pt x="1956435" y="820103"/>
                    </a:lnTo>
                    <a:lnTo>
                      <a:pt x="1954530" y="832485"/>
                    </a:lnTo>
                    <a:lnTo>
                      <a:pt x="1951673" y="843915"/>
                    </a:lnTo>
                    <a:lnTo>
                      <a:pt x="1947863" y="855345"/>
                    </a:lnTo>
                    <a:lnTo>
                      <a:pt x="1944053" y="866775"/>
                    </a:lnTo>
                    <a:lnTo>
                      <a:pt x="1940243" y="877253"/>
                    </a:lnTo>
                    <a:lnTo>
                      <a:pt x="1935480" y="887730"/>
                    </a:lnTo>
                    <a:lnTo>
                      <a:pt x="1930718" y="898208"/>
                    </a:lnTo>
                    <a:lnTo>
                      <a:pt x="1925003" y="908685"/>
                    </a:lnTo>
                    <a:lnTo>
                      <a:pt x="1919288" y="918210"/>
                    </a:lnTo>
                    <a:lnTo>
                      <a:pt x="1912620" y="927735"/>
                    </a:lnTo>
                    <a:lnTo>
                      <a:pt x="1905953" y="937260"/>
                    </a:lnTo>
                    <a:lnTo>
                      <a:pt x="1899285" y="946785"/>
                    </a:lnTo>
                    <a:lnTo>
                      <a:pt x="1891665" y="956310"/>
                    </a:lnTo>
                    <a:lnTo>
                      <a:pt x="1884045" y="965835"/>
                    </a:lnTo>
                    <a:lnTo>
                      <a:pt x="1876425" y="981075"/>
                    </a:lnTo>
                    <a:lnTo>
                      <a:pt x="1859280" y="1001078"/>
                    </a:lnTo>
                    <a:lnTo>
                      <a:pt x="1841183" y="1022985"/>
                    </a:lnTo>
                    <a:lnTo>
                      <a:pt x="1831658" y="1034415"/>
                    </a:lnTo>
                    <a:lnTo>
                      <a:pt x="1822133" y="1045845"/>
                    </a:lnTo>
                    <a:lnTo>
                      <a:pt x="1812608" y="1058228"/>
                    </a:lnTo>
                    <a:lnTo>
                      <a:pt x="1803083" y="1071563"/>
                    </a:lnTo>
                    <a:lnTo>
                      <a:pt x="1804035" y="1062038"/>
                    </a:lnTo>
                    <a:lnTo>
                      <a:pt x="1804035" y="1052513"/>
                    </a:lnTo>
                    <a:lnTo>
                      <a:pt x="1804035" y="1042988"/>
                    </a:lnTo>
                    <a:lnTo>
                      <a:pt x="1803083" y="1033463"/>
                    </a:lnTo>
                    <a:lnTo>
                      <a:pt x="1802130" y="1023938"/>
                    </a:lnTo>
                    <a:lnTo>
                      <a:pt x="1800225" y="1014413"/>
                    </a:lnTo>
                    <a:lnTo>
                      <a:pt x="1798320" y="1004888"/>
                    </a:lnTo>
                    <a:lnTo>
                      <a:pt x="1795463" y="994410"/>
                    </a:lnTo>
                    <a:lnTo>
                      <a:pt x="1792605" y="983933"/>
                    </a:lnTo>
                    <a:lnTo>
                      <a:pt x="1788795" y="973455"/>
                    </a:lnTo>
                    <a:lnTo>
                      <a:pt x="1784985" y="962978"/>
                    </a:lnTo>
                    <a:lnTo>
                      <a:pt x="1781175" y="952500"/>
                    </a:lnTo>
                    <a:lnTo>
                      <a:pt x="1772603" y="931545"/>
                    </a:lnTo>
                    <a:lnTo>
                      <a:pt x="1763078" y="908685"/>
                    </a:lnTo>
                    <a:lnTo>
                      <a:pt x="1754505" y="886778"/>
                    </a:lnTo>
                    <a:lnTo>
                      <a:pt x="1745933" y="863918"/>
                    </a:lnTo>
                    <a:lnTo>
                      <a:pt x="1742123" y="852488"/>
                    </a:lnTo>
                    <a:lnTo>
                      <a:pt x="1738313" y="841058"/>
                    </a:lnTo>
                    <a:lnTo>
                      <a:pt x="1734503" y="828675"/>
                    </a:lnTo>
                    <a:lnTo>
                      <a:pt x="1730693" y="816293"/>
                    </a:lnTo>
                    <a:lnTo>
                      <a:pt x="1727835" y="803910"/>
                    </a:lnTo>
                    <a:lnTo>
                      <a:pt x="1724978" y="791528"/>
                    </a:lnTo>
                    <a:lnTo>
                      <a:pt x="1722120" y="778193"/>
                    </a:lnTo>
                    <a:lnTo>
                      <a:pt x="1721168" y="765810"/>
                    </a:lnTo>
                    <a:lnTo>
                      <a:pt x="1720215" y="752475"/>
                    </a:lnTo>
                    <a:lnTo>
                      <a:pt x="1720215" y="739140"/>
                    </a:lnTo>
                    <a:lnTo>
                      <a:pt x="1720215" y="725805"/>
                    </a:lnTo>
                    <a:lnTo>
                      <a:pt x="1721168" y="711518"/>
                    </a:lnTo>
                    <a:lnTo>
                      <a:pt x="1721168" y="711518"/>
                    </a:lnTo>
                    <a:close/>
                    <a:moveTo>
                      <a:pt x="1704023" y="1283018"/>
                    </a:moveTo>
                    <a:lnTo>
                      <a:pt x="1706880" y="1272540"/>
                    </a:lnTo>
                    <a:lnTo>
                      <a:pt x="1709738" y="1262063"/>
                    </a:lnTo>
                    <a:lnTo>
                      <a:pt x="1711643" y="1251585"/>
                    </a:lnTo>
                    <a:lnTo>
                      <a:pt x="1713548" y="1241108"/>
                    </a:lnTo>
                    <a:lnTo>
                      <a:pt x="1714500" y="1230630"/>
                    </a:lnTo>
                    <a:lnTo>
                      <a:pt x="1715453" y="1219200"/>
                    </a:lnTo>
                    <a:lnTo>
                      <a:pt x="1715453" y="1207770"/>
                    </a:lnTo>
                    <a:lnTo>
                      <a:pt x="1715453" y="1196340"/>
                    </a:lnTo>
                    <a:lnTo>
                      <a:pt x="1715453" y="1183958"/>
                    </a:lnTo>
                    <a:lnTo>
                      <a:pt x="1714500" y="1171575"/>
                    </a:lnTo>
                    <a:lnTo>
                      <a:pt x="1713548" y="1159193"/>
                    </a:lnTo>
                    <a:lnTo>
                      <a:pt x="1712595" y="1146810"/>
                    </a:lnTo>
                    <a:lnTo>
                      <a:pt x="1710690" y="1121093"/>
                    </a:lnTo>
                    <a:lnTo>
                      <a:pt x="1708785" y="1095375"/>
                    </a:lnTo>
                    <a:lnTo>
                      <a:pt x="1706880" y="1069658"/>
                    </a:lnTo>
                    <a:lnTo>
                      <a:pt x="1705928" y="1043940"/>
                    </a:lnTo>
                    <a:lnTo>
                      <a:pt x="1704975" y="1030605"/>
                    </a:lnTo>
                    <a:lnTo>
                      <a:pt x="1704975" y="1019175"/>
                    </a:lnTo>
                    <a:lnTo>
                      <a:pt x="1704975" y="1006793"/>
                    </a:lnTo>
                    <a:lnTo>
                      <a:pt x="1704975" y="994410"/>
                    </a:lnTo>
                    <a:lnTo>
                      <a:pt x="1705928" y="982028"/>
                    </a:lnTo>
                    <a:lnTo>
                      <a:pt x="1706880" y="969645"/>
                    </a:lnTo>
                    <a:lnTo>
                      <a:pt x="1708785" y="957263"/>
                    </a:lnTo>
                    <a:lnTo>
                      <a:pt x="1711643" y="944880"/>
                    </a:lnTo>
                    <a:lnTo>
                      <a:pt x="1714500" y="932498"/>
                    </a:lnTo>
                    <a:lnTo>
                      <a:pt x="1718310" y="921068"/>
                    </a:lnTo>
                    <a:lnTo>
                      <a:pt x="1722120" y="909638"/>
                    </a:lnTo>
                    <a:lnTo>
                      <a:pt x="1726883" y="898208"/>
                    </a:lnTo>
                    <a:lnTo>
                      <a:pt x="1732598" y="916305"/>
                    </a:lnTo>
                    <a:lnTo>
                      <a:pt x="1737360" y="933450"/>
                    </a:lnTo>
                    <a:lnTo>
                      <a:pt x="1742123" y="950595"/>
                    </a:lnTo>
                    <a:lnTo>
                      <a:pt x="1746885" y="967740"/>
                    </a:lnTo>
                    <a:lnTo>
                      <a:pt x="1751648" y="984885"/>
                    </a:lnTo>
                    <a:lnTo>
                      <a:pt x="1755458" y="1002030"/>
                    </a:lnTo>
                    <a:lnTo>
                      <a:pt x="1759268" y="1019175"/>
                    </a:lnTo>
                    <a:lnTo>
                      <a:pt x="1762125" y="1036320"/>
                    </a:lnTo>
                    <a:lnTo>
                      <a:pt x="1763078" y="1044893"/>
                    </a:lnTo>
                    <a:lnTo>
                      <a:pt x="1764030" y="1053465"/>
                    </a:lnTo>
                    <a:lnTo>
                      <a:pt x="1764983" y="1062038"/>
                    </a:lnTo>
                    <a:lnTo>
                      <a:pt x="1764983" y="1071563"/>
                    </a:lnTo>
                    <a:lnTo>
                      <a:pt x="1765935" y="1080135"/>
                    </a:lnTo>
                    <a:lnTo>
                      <a:pt x="1765935" y="1091565"/>
                    </a:lnTo>
                    <a:lnTo>
                      <a:pt x="1765935" y="1101090"/>
                    </a:lnTo>
                    <a:lnTo>
                      <a:pt x="1765935" y="1110615"/>
                    </a:lnTo>
                    <a:lnTo>
                      <a:pt x="1764983" y="1121093"/>
                    </a:lnTo>
                    <a:lnTo>
                      <a:pt x="1764030" y="1131570"/>
                    </a:lnTo>
                    <a:lnTo>
                      <a:pt x="1763078" y="1142048"/>
                    </a:lnTo>
                    <a:lnTo>
                      <a:pt x="1761173" y="1152525"/>
                    </a:lnTo>
                    <a:lnTo>
                      <a:pt x="1759268" y="1163003"/>
                    </a:lnTo>
                    <a:lnTo>
                      <a:pt x="1756410" y="1174433"/>
                    </a:lnTo>
                    <a:lnTo>
                      <a:pt x="1753553" y="1185863"/>
                    </a:lnTo>
                    <a:lnTo>
                      <a:pt x="1750695" y="1197293"/>
                    </a:lnTo>
                    <a:lnTo>
                      <a:pt x="1754505" y="1190625"/>
                    </a:lnTo>
                    <a:lnTo>
                      <a:pt x="1760220" y="1181100"/>
                    </a:lnTo>
                    <a:lnTo>
                      <a:pt x="1767840" y="1168718"/>
                    </a:lnTo>
                    <a:lnTo>
                      <a:pt x="1777365" y="1154430"/>
                    </a:lnTo>
                    <a:lnTo>
                      <a:pt x="1787843" y="1138238"/>
                    </a:lnTo>
                    <a:lnTo>
                      <a:pt x="1800225" y="1120140"/>
                    </a:lnTo>
                    <a:lnTo>
                      <a:pt x="1806893" y="1111568"/>
                    </a:lnTo>
                    <a:lnTo>
                      <a:pt x="1813560" y="1102043"/>
                    </a:lnTo>
                    <a:lnTo>
                      <a:pt x="1821180" y="1092518"/>
                    </a:lnTo>
                    <a:lnTo>
                      <a:pt x="1828800" y="1082993"/>
                    </a:lnTo>
                    <a:lnTo>
                      <a:pt x="1847850" y="1060133"/>
                    </a:lnTo>
                    <a:lnTo>
                      <a:pt x="1867853" y="1037273"/>
                    </a:lnTo>
                    <a:lnTo>
                      <a:pt x="1887855" y="1014413"/>
                    </a:lnTo>
                    <a:lnTo>
                      <a:pt x="1906905" y="991553"/>
                    </a:lnTo>
                    <a:lnTo>
                      <a:pt x="1916430" y="980123"/>
                    </a:lnTo>
                    <a:lnTo>
                      <a:pt x="1925955" y="968693"/>
                    </a:lnTo>
                    <a:lnTo>
                      <a:pt x="1934528" y="957263"/>
                    </a:lnTo>
                    <a:lnTo>
                      <a:pt x="1943100" y="945833"/>
                    </a:lnTo>
                    <a:lnTo>
                      <a:pt x="1950720" y="935355"/>
                    </a:lnTo>
                    <a:lnTo>
                      <a:pt x="1957388" y="924878"/>
                    </a:lnTo>
                    <a:lnTo>
                      <a:pt x="1964055" y="914400"/>
                    </a:lnTo>
                    <a:lnTo>
                      <a:pt x="1969770" y="904875"/>
                    </a:lnTo>
                    <a:lnTo>
                      <a:pt x="1969770" y="928688"/>
                    </a:lnTo>
                    <a:lnTo>
                      <a:pt x="1967865" y="951548"/>
                    </a:lnTo>
                    <a:lnTo>
                      <a:pt x="1965008" y="973455"/>
                    </a:lnTo>
                    <a:lnTo>
                      <a:pt x="1960245" y="993458"/>
                    </a:lnTo>
                    <a:lnTo>
                      <a:pt x="1954530" y="1012508"/>
                    </a:lnTo>
                    <a:lnTo>
                      <a:pt x="1947863" y="1031558"/>
                    </a:lnTo>
                    <a:lnTo>
                      <a:pt x="1940243" y="1048703"/>
                    </a:lnTo>
                    <a:lnTo>
                      <a:pt x="1933575" y="1066800"/>
                    </a:lnTo>
                    <a:lnTo>
                      <a:pt x="1924050" y="1082993"/>
                    </a:lnTo>
                    <a:lnTo>
                      <a:pt x="1914525" y="1098233"/>
                    </a:lnTo>
                    <a:lnTo>
                      <a:pt x="1904048" y="1112520"/>
                    </a:lnTo>
                    <a:lnTo>
                      <a:pt x="1893570" y="1125855"/>
                    </a:lnTo>
                    <a:lnTo>
                      <a:pt x="1882140" y="1139190"/>
                    </a:lnTo>
                    <a:lnTo>
                      <a:pt x="1870710" y="1151573"/>
                    </a:lnTo>
                    <a:lnTo>
                      <a:pt x="1859280" y="1163003"/>
                    </a:lnTo>
                    <a:lnTo>
                      <a:pt x="1846898" y="1173480"/>
                    </a:lnTo>
                    <a:lnTo>
                      <a:pt x="1834515" y="1183958"/>
                    </a:lnTo>
                    <a:lnTo>
                      <a:pt x="1822133" y="1193483"/>
                    </a:lnTo>
                    <a:lnTo>
                      <a:pt x="1810703" y="1202055"/>
                    </a:lnTo>
                    <a:lnTo>
                      <a:pt x="1799273" y="1210628"/>
                    </a:lnTo>
                    <a:lnTo>
                      <a:pt x="1776413" y="1225868"/>
                    </a:lnTo>
                    <a:lnTo>
                      <a:pt x="1755458" y="1240155"/>
                    </a:lnTo>
                    <a:lnTo>
                      <a:pt x="1745933" y="1246823"/>
                    </a:lnTo>
                    <a:lnTo>
                      <a:pt x="1737360" y="1252538"/>
                    </a:lnTo>
                    <a:lnTo>
                      <a:pt x="1729740" y="1258253"/>
                    </a:lnTo>
                    <a:lnTo>
                      <a:pt x="1722120" y="1263968"/>
                    </a:lnTo>
                    <a:lnTo>
                      <a:pt x="1715453" y="1269683"/>
                    </a:lnTo>
                    <a:lnTo>
                      <a:pt x="1710690" y="1274445"/>
                    </a:lnTo>
                    <a:lnTo>
                      <a:pt x="1706880" y="1279208"/>
                    </a:lnTo>
                    <a:lnTo>
                      <a:pt x="1704023" y="1283018"/>
                    </a:lnTo>
                    <a:lnTo>
                      <a:pt x="1704023" y="1283018"/>
                    </a:lnTo>
                    <a:close/>
                    <a:moveTo>
                      <a:pt x="1552575" y="1446848"/>
                    </a:moveTo>
                    <a:lnTo>
                      <a:pt x="1558290" y="1438275"/>
                    </a:lnTo>
                    <a:lnTo>
                      <a:pt x="1564005" y="1428750"/>
                    </a:lnTo>
                    <a:lnTo>
                      <a:pt x="1568768" y="1419225"/>
                    </a:lnTo>
                    <a:lnTo>
                      <a:pt x="1572578" y="1409700"/>
                    </a:lnTo>
                    <a:lnTo>
                      <a:pt x="1576388" y="1399223"/>
                    </a:lnTo>
                    <a:lnTo>
                      <a:pt x="1580198" y="1388745"/>
                    </a:lnTo>
                    <a:lnTo>
                      <a:pt x="1583055" y="1378268"/>
                    </a:lnTo>
                    <a:lnTo>
                      <a:pt x="1585913" y="1367790"/>
                    </a:lnTo>
                    <a:lnTo>
                      <a:pt x="1588770" y="1356360"/>
                    </a:lnTo>
                    <a:lnTo>
                      <a:pt x="1591628" y="1344930"/>
                    </a:lnTo>
                    <a:lnTo>
                      <a:pt x="1594485" y="1333500"/>
                    </a:lnTo>
                    <a:lnTo>
                      <a:pt x="1597343" y="1322070"/>
                    </a:lnTo>
                    <a:lnTo>
                      <a:pt x="1601153" y="1299210"/>
                    </a:lnTo>
                    <a:lnTo>
                      <a:pt x="1605915" y="1275398"/>
                    </a:lnTo>
                    <a:lnTo>
                      <a:pt x="1610678" y="1251585"/>
                    </a:lnTo>
                    <a:lnTo>
                      <a:pt x="1616393" y="1227773"/>
                    </a:lnTo>
                    <a:lnTo>
                      <a:pt x="1619250" y="1215390"/>
                    </a:lnTo>
                    <a:lnTo>
                      <a:pt x="1622108" y="1203960"/>
                    </a:lnTo>
                    <a:lnTo>
                      <a:pt x="1625918" y="1192530"/>
                    </a:lnTo>
                    <a:lnTo>
                      <a:pt x="1629728" y="1181100"/>
                    </a:lnTo>
                    <a:lnTo>
                      <a:pt x="1633538" y="1169670"/>
                    </a:lnTo>
                    <a:lnTo>
                      <a:pt x="1638300" y="1158240"/>
                    </a:lnTo>
                    <a:lnTo>
                      <a:pt x="1644015" y="1147763"/>
                    </a:lnTo>
                    <a:lnTo>
                      <a:pt x="1649730" y="1137285"/>
                    </a:lnTo>
                    <a:lnTo>
                      <a:pt x="1656398" y="1126808"/>
                    </a:lnTo>
                    <a:lnTo>
                      <a:pt x="1663065" y="1116330"/>
                    </a:lnTo>
                    <a:lnTo>
                      <a:pt x="1670685" y="1106805"/>
                    </a:lnTo>
                    <a:lnTo>
                      <a:pt x="1679258" y="1097280"/>
                    </a:lnTo>
                    <a:lnTo>
                      <a:pt x="1678305" y="1118235"/>
                    </a:lnTo>
                    <a:lnTo>
                      <a:pt x="1678305" y="1138238"/>
                    </a:lnTo>
                    <a:lnTo>
                      <a:pt x="1679258" y="1158240"/>
                    </a:lnTo>
                    <a:lnTo>
                      <a:pt x="1679258" y="1177290"/>
                    </a:lnTo>
                    <a:lnTo>
                      <a:pt x="1679258" y="1195388"/>
                    </a:lnTo>
                    <a:lnTo>
                      <a:pt x="1680210" y="1212533"/>
                    </a:lnTo>
                    <a:lnTo>
                      <a:pt x="1680210" y="1229678"/>
                    </a:lnTo>
                    <a:lnTo>
                      <a:pt x="1679258" y="1245870"/>
                    </a:lnTo>
                    <a:lnTo>
                      <a:pt x="1678305" y="1254443"/>
                    </a:lnTo>
                    <a:lnTo>
                      <a:pt x="1677353" y="1262063"/>
                    </a:lnTo>
                    <a:lnTo>
                      <a:pt x="1676400" y="1269683"/>
                    </a:lnTo>
                    <a:lnTo>
                      <a:pt x="1675448" y="1277303"/>
                    </a:lnTo>
                    <a:lnTo>
                      <a:pt x="1673543" y="1284923"/>
                    </a:lnTo>
                    <a:lnTo>
                      <a:pt x="1671638" y="1292543"/>
                    </a:lnTo>
                    <a:lnTo>
                      <a:pt x="1669733" y="1300163"/>
                    </a:lnTo>
                    <a:lnTo>
                      <a:pt x="1666875" y="1307783"/>
                    </a:lnTo>
                    <a:lnTo>
                      <a:pt x="1664018" y="1315403"/>
                    </a:lnTo>
                    <a:lnTo>
                      <a:pt x="1661160" y="1323023"/>
                    </a:lnTo>
                    <a:lnTo>
                      <a:pt x="1657350" y="1330643"/>
                    </a:lnTo>
                    <a:lnTo>
                      <a:pt x="1653540" y="1338263"/>
                    </a:lnTo>
                    <a:lnTo>
                      <a:pt x="1649730" y="1344930"/>
                    </a:lnTo>
                    <a:lnTo>
                      <a:pt x="1644968" y="1352550"/>
                    </a:lnTo>
                    <a:lnTo>
                      <a:pt x="1640205" y="1360170"/>
                    </a:lnTo>
                    <a:lnTo>
                      <a:pt x="1634490" y="1366838"/>
                    </a:lnTo>
                    <a:lnTo>
                      <a:pt x="1644015" y="1358265"/>
                    </a:lnTo>
                    <a:lnTo>
                      <a:pt x="1655445" y="1348740"/>
                    </a:lnTo>
                    <a:lnTo>
                      <a:pt x="1667828" y="1338263"/>
                    </a:lnTo>
                    <a:lnTo>
                      <a:pt x="1682115" y="1327785"/>
                    </a:lnTo>
                    <a:lnTo>
                      <a:pt x="1689735" y="1322070"/>
                    </a:lnTo>
                    <a:lnTo>
                      <a:pt x="1698308" y="1316355"/>
                    </a:lnTo>
                    <a:lnTo>
                      <a:pt x="1706880" y="1310640"/>
                    </a:lnTo>
                    <a:lnTo>
                      <a:pt x="1716405" y="1304925"/>
                    </a:lnTo>
                    <a:lnTo>
                      <a:pt x="1725930" y="1299210"/>
                    </a:lnTo>
                    <a:lnTo>
                      <a:pt x="1736408" y="1294448"/>
                    </a:lnTo>
                    <a:lnTo>
                      <a:pt x="1746885" y="1289685"/>
                    </a:lnTo>
                    <a:lnTo>
                      <a:pt x="1758315" y="1284923"/>
                    </a:lnTo>
                    <a:lnTo>
                      <a:pt x="1764983" y="1282065"/>
                    </a:lnTo>
                    <a:lnTo>
                      <a:pt x="1771650" y="1279208"/>
                    </a:lnTo>
                    <a:lnTo>
                      <a:pt x="1778318" y="1276350"/>
                    </a:lnTo>
                    <a:lnTo>
                      <a:pt x="1784033" y="1272540"/>
                    </a:lnTo>
                    <a:lnTo>
                      <a:pt x="1790700" y="1268730"/>
                    </a:lnTo>
                    <a:lnTo>
                      <a:pt x="1796415" y="1264920"/>
                    </a:lnTo>
                    <a:lnTo>
                      <a:pt x="1802130" y="1261110"/>
                    </a:lnTo>
                    <a:lnTo>
                      <a:pt x="1807845" y="1257300"/>
                    </a:lnTo>
                    <a:lnTo>
                      <a:pt x="1819275" y="1248728"/>
                    </a:lnTo>
                    <a:lnTo>
                      <a:pt x="1829753" y="1240155"/>
                    </a:lnTo>
                    <a:lnTo>
                      <a:pt x="1840230" y="1230630"/>
                    </a:lnTo>
                    <a:lnTo>
                      <a:pt x="1850708" y="1221105"/>
                    </a:lnTo>
                    <a:lnTo>
                      <a:pt x="1861185" y="1211580"/>
                    </a:lnTo>
                    <a:lnTo>
                      <a:pt x="1870710" y="1202055"/>
                    </a:lnTo>
                    <a:lnTo>
                      <a:pt x="1880235" y="1192530"/>
                    </a:lnTo>
                    <a:lnTo>
                      <a:pt x="1888808" y="1183005"/>
                    </a:lnTo>
                    <a:lnTo>
                      <a:pt x="1905953" y="1163955"/>
                    </a:lnTo>
                    <a:lnTo>
                      <a:pt x="1922145" y="1146810"/>
                    </a:lnTo>
                    <a:lnTo>
                      <a:pt x="1916430" y="1160145"/>
                    </a:lnTo>
                    <a:lnTo>
                      <a:pt x="1908810" y="1184910"/>
                    </a:lnTo>
                    <a:lnTo>
                      <a:pt x="1900238" y="1207770"/>
                    </a:lnTo>
                    <a:lnTo>
                      <a:pt x="1890713" y="1228725"/>
                    </a:lnTo>
                    <a:lnTo>
                      <a:pt x="1881188" y="1248728"/>
                    </a:lnTo>
                    <a:lnTo>
                      <a:pt x="1870710" y="1266825"/>
                    </a:lnTo>
                    <a:lnTo>
                      <a:pt x="1859280" y="1283970"/>
                    </a:lnTo>
                    <a:lnTo>
                      <a:pt x="1846898" y="1299210"/>
                    </a:lnTo>
                    <a:lnTo>
                      <a:pt x="1834515" y="1313498"/>
                    </a:lnTo>
                    <a:lnTo>
                      <a:pt x="1821180" y="1326833"/>
                    </a:lnTo>
                    <a:lnTo>
                      <a:pt x="1807845" y="1338263"/>
                    </a:lnTo>
                    <a:lnTo>
                      <a:pt x="1794510" y="1348740"/>
                    </a:lnTo>
                    <a:lnTo>
                      <a:pt x="1780223" y="1358265"/>
                    </a:lnTo>
                    <a:lnTo>
                      <a:pt x="1765935" y="1366838"/>
                    </a:lnTo>
                    <a:lnTo>
                      <a:pt x="1751648" y="1374458"/>
                    </a:lnTo>
                    <a:lnTo>
                      <a:pt x="1737360" y="1381125"/>
                    </a:lnTo>
                    <a:lnTo>
                      <a:pt x="1723073" y="1387793"/>
                    </a:lnTo>
                    <a:lnTo>
                      <a:pt x="1708785" y="1393508"/>
                    </a:lnTo>
                    <a:lnTo>
                      <a:pt x="1694498" y="1398270"/>
                    </a:lnTo>
                    <a:lnTo>
                      <a:pt x="1680210" y="1403033"/>
                    </a:lnTo>
                    <a:lnTo>
                      <a:pt x="1666875" y="1406843"/>
                    </a:lnTo>
                    <a:lnTo>
                      <a:pt x="1641158" y="1413510"/>
                    </a:lnTo>
                    <a:lnTo>
                      <a:pt x="1617345" y="1419225"/>
                    </a:lnTo>
                    <a:lnTo>
                      <a:pt x="1605915" y="1422083"/>
                    </a:lnTo>
                    <a:lnTo>
                      <a:pt x="1595438" y="1424940"/>
                    </a:lnTo>
                    <a:lnTo>
                      <a:pt x="1585913" y="1427798"/>
                    </a:lnTo>
                    <a:lnTo>
                      <a:pt x="1576388" y="1430655"/>
                    </a:lnTo>
                    <a:lnTo>
                      <a:pt x="1568768" y="1434465"/>
                    </a:lnTo>
                    <a:lnTo>
                      <a:pt x="1561148" y="1438275"/>
                    </a:lnTo>
                    <a:lnTo>
                      <a:pt x="1554480" y="1442085"/>
                    </a:lnTo>
                    <a:lnTo>
                      <a:pt x="1552575" y="1446848"/>
                    </a:lnTo>
                    <a:lnTo>
                      <a:pt x="1552575" y="1446848"/>
                    </a:lnTo>
                    <a:close/>
                    <a:moveTo>
                      <a:pt x="1373505" y="1568768"/>
                    </a:moveTo>
                    <a:lnTo>
                      <a:pt x="1377315" y="1563053"/>
                    </a:lnTo>
                    <a:lnTo>
                      <a:pt x="1381125" y="1556385"/>
                    </a:lnTo>
                    <a:lnTo>
                      <a:pt x="1384935" y="1549718"/>
                    </a:lnTo>
                    <a:lnTo>
                      <a:pt x="1388745" y="1543050"/>
                    </a:lnTo>
                    <a:lnTo>
                      <a:pt x="1395413" y="1526858"/>
                    </a:lnTo>
                    <a:lnTo>
                      <a:pt x="1403033" y="1509713"/>
                    </a:lnTo>
                    <a:lnTo>
                      <a:pt x="1410653" y="1490663"/>
                    </a:lnTo>
                    <a:lnTo>
                      <a:pt x="1419225" y="1470660"/>
                    </a:lnTo>
                    <a:lnTo>
                      <a:pt x="1428750" y="1449705"/>
                    </a:lnTo>
                    <a:lnTo>
                      <a:pt x="1438275" y="1428750"/>
                    </a:lnTo>
                    <a:lnTo>
                      <a:pt x="1443990" y="1418273"/>
                    </a:lnTo>
                    <a:lnTo>
                      <a:pt x="1449705" y="1407795"/>
                    </a:lnTo>
                    <a:lnTo>
                      <a:pt x="1455420" y="1397318"/>
                    </a:lnTo>
                    <a:lnTo>
                      <a:pt x="1462088" y="1386840"/>
                    </a:lnTo>
                    <a:lnTo>
                      <a:pt x="1468755" y="1376363"/>
                    </a:lnTo>
                    <a:lnTo>
                      <a:pt x="1475423" y="1365885"/>
                    </a:lnTo>
                    <a:lnTo>
                      <a:pt x="1483043" y="1355408"/>
                    </a:lnTo>
                    <a:lnTo>
                      <a:pt x="1490663" y="1345883"/>
                    </a:lnTo>
                    <a:lnTo>
                      <a:pt x="1498283" y="1336358"/>
                    </a:lnTo>
                    <a:lnTo>
                      <a:pt x="1506855" y="1326833"/>
                    </a:lnTo>
                    <a:lnTo>
                      <a:pt x="1515428" y="1317308"/>
                    </a:lnTo>
                    <a:lnTo>
                      <a:pt x="1524953" y="1308735"/>
                    </a:lnTo>
                    <a:lnTo>
                      <a:pt x="1534478" y="1300163"/>
                    </a:lnTo>
                    <a:lnTo>
                      <a:pt x="1544955" y="1291590"/>
                    </a:lnTo>
                    <a:lnTo>
                      <a:pt x="1556385" y="1283970"/>
                    </a:lnTo>
                    <a:lnTo>
                      <a:pt x="1567815" y="1277303"/>
                    </a:lnTo>
                    <a:lnTo>
                      <a:pt x="1556385" y="1316355"/>
                    </a:lnTo>
                    <a:lnTo>
                      <a:pt x="1545908" y="1352550"/>
                    </a:lnTo>
                    <a:lnTo>
                      <a:pt x="1541145" y="1369695"/>
                    </a:lnTo>
                    <a:lnTo>
                      <a:pt x="1536383" y="1385888"/>
                    </a:lnTo>
                    <a:lnTo>
                      <a:pt x="1531620" y="1402080"/>
                    </a:lnTo>
                    <a:lnTo>
                      <a:pt x="1525905" y="1417320"/>
                    </a:lnTo>
                    <a:lnTo>
                      <a:pt x="1523048" y="1424940"/>
                    </a:lnTo>
                    <a:lnTo>
                      <a:pt x="1520190" y="1431608"/>
                    </a:lnTo>
                    <a:lnTo>
                      <a:pt x="1517333" y="1438275"/>
                    </a:lnTo>
                    <a:lnTo>
                      <a:pt x="1513523" y="1444943"/>
                    </a:lnTo>
                    <a:lnTo>
                      <a:pt x="1509713" y="1451610"/>
                    </a:lnTo>
                    <a:lnTo>
                      <a:pt x="1505903" y="1458278"/>
                    </a:lnTo>
                    <a:lnTo>
                      <a:pt x="1502093" y="1464945"/>
                    </a:lnTo>
                    <a:lnTo>
                      <a:pt x="1498283" y="1471613"/>
                    </a:lnTo>
                    <a:lnTo>
                      <a:pt x="1493520" y="1478280"/>
                    </a:lnTo>
                    <a:lnTo>
                      <a:pt x="1488758" y="1484948"/>
                    </a:lnTo>
                    <a:lnTo>
                      <a:pt x="1483043" y="1491615"/>
                    </a:lnTo>
                    <a:lnTo>
                      <a:pt x="1477328" y="1498283"/>
                    </a:lnTo>
                    <a:lnTo>
                      <a:pt x="1471613" y="1504950"/>
                    </a:lnTo>
                    <a:lnTo>
                      <a:pt x="1464945" y="1510665"/>
                    </a:lnTo>
                    <a:lnTo>
                      <a:pt x="1458278" y="1516380"/>
                    </a:lnTo>
                    <a:lnTo>
                      <a:pt x="1451610" y="1523048"/>
                    </a:lnTo>
                    <a:lnTo>
                      <a:pt x="1463993" y="1517333"/>
                    </a:lnTo>
                    <a:lnTo>
                      <a:pt x="1480185" y="1510665"/>
                    </a:lnTo>
                    <a:lnTo>
                      <a:pt x="1499235" y="1503045"/>
                    </a:lnTo>
                    <a:lnTo>
                      <a:pt x="1521143" y="1495425"/>
                    </a:lnTo>
                    <a:lnTo>
                      <a:pt x="1532573" y="1491615"/>
                    </a:lnTo>
                    <a:lnTo>
                      <a:pt x="1544003" y="1487805"/>
                    </a:lnTo>
                    <a:lnTo>
                      <a:pt x="1556385" y="1483995"/>
                    </a:lnTo>
                    <a:lnTo>
                      <a:pt x="1568768" y="1481138"/>
                    </a:lnTo>
                    <a:lnTo>
                      <a:pt x="1581150" y="1478280"/>
                    </a:lnTo>
                    <a:lnTo>
                      <a:pt x="1593533" y="1475423"/>
                    </a:lnTo>
                    <a:lnTo>
                      <a:pt x="1605915" y="1473518"/>
                    </a:lnTo>
                    <a:lnTo>
                      <a:pt x="1618298" y="1471613"/>
                    </a:lnTo>
                    <a:lnTo>
                      <a:pt x="1628775" y="1470660"/>
                    </a:lnTo>
                    <a:lnTo>
                      <a:pt x="1639253" y="1468755"/>
                    </a:lnTo>
                    <a:lnTo>
                      <a:pt x="1648778" y="1466850"/>
                    </a:lnTo>
                    <a:lnTo>
                      <a:pt x="1658303" y="1464945"/>
                    </a:lnTo>
                    <a:lnTo>
                      <a:pt x="1666875" y="1463040"/>
                    </a:lnTo>
                    <a:lnTo>
                      <a:pt x="1675448" y="1461135"/>
                    </a:lnTo>
                    <a:lnTo>
                      <a:pt x="1683068" y="1459230"/>
                    </a:lnTo>
                    <a:lnTo>
                      <a:pt x="1690688" y="1457325"/>
                    </a:lnTo>
                    <a:lnTo>
                      <a:pt x="1697355" y="1454468"/>
                    </a:lnTo>
                    <a:lnTo>
                      <a:pt x="1704023" y="1451610"/>
                    </a:lnTo>
                    <a:lnTo>
                      <a:pt x="1710690" y="1448753"/>
                    </a:lnTo>
                    <a:lnTo>
                      <a:pt x="1716405" y="1445895"/>
                    </a:lnTo>
                    <a:lnTo>
                      <a:pt x="1727835" y="1440180"/>
                    </a:lnTo>
                    <a:lnTo>
                      <a:pt x="1738313" y="1434465"/>
                    </a:lnTo>
                    <a:lnTo>
                      <a:pt x="1747838" y="1428750"/>
                    </a:lnTo>
                    <a:lnTo>
                      <a:pt x="1757363" y="1423035"/>
                    </a:lnTo>
                    <a:lnTo>
                      <a:pt x="1765935" y="1417320"/>
                    </a:lnTo>
                    <a:lnTo>
                      <a:pt x="1774508" y="1411605"/>
                    </a:lnTo>
                    <a:lnTo>
                      <a:pt x="1783080" y="1405890"/>
                    </a:lnTo>
                    <a:lnTo>
                      <a:pt x="1791653" y="1400175"/>
                    </a:lnTo>
                    <a:lnTo>
                      <a:pt x="1801178" y="1394460"/>
                    </a:lnTo>
                    <a:lnTo>
                      <a:pt x="1810703" y="1388745"/>
                    </a:lnTo>
                    <a:lnTo>
                      <a:pt x="1797368" y="1411605"/>
                    </a:lnTo>
                    <a:lnTo>
                      <a:pt x="1784033" y="1432560"/>
                    </a:lnTo>
                    <a:lnTo>
                      <a:pt x="1769745" y="1451610"/>
                    </a:lnTo>
                    <a:lnTo>
                      <a:pt x="1755458" y="1468755"/>
                    </a:lnTo>
                    <a:lnTo>
                      <a:pt x="1741170" y="1483995"/>
                    </a:lnTo>
                    <a:lnTo>
                      <a:pt x="1725930" y="1497330"/>
                    </a:lnTo>
                    <a:lnTo>
                      <a:pt x="1710690" y="1509713"/>
                    </a:lnTo>
                    <a:lnTo>
                      <a:pt x="1695450" y="1520190"/>
                    </a:lnTo>
                    <a:lnTo>
                      <a:pt x="1679258" y="1529715"/>
                    </a:lnTo>
                    <a:lnTo>
                      <a:pt x="1663065" y="1537335"/>
                    </a:lnTo>
                    <a:lnTo>
                      <a:pt x="1646873" y="1544003"/>
                    </a:lnTo>
                    <a:lnTo>
                      <a:pt x="1630680" y="1549718"/>
                    </a:lnTo>
                    <a:lnTo>
                      <a:pt x="1614488" y="1554480"/>
                    </a:lnTo>
                    <a:lnTo>
                      <a:pt x="1598295" y="1558290"/>
                    </a:lnTo>
                    <a:lnTo>
                      <a:pt x="1582103" y="1561148"/>
                    </a:lnTo>
                    <a:lnTo>
                      <a:pt x="1566863" y="1563053"/>
                    </a:lnTo>
                    <a:lnTo>
                      <a:pt x="1551623" y="1564005"/>
                    </a:lnTo>
                    <a:lnTo>
                      <a:pt x="1536383" y="1564958"/>
                    </a:lnTo>
                    <a:lnTo>
                      <a:pt x="1521143" y="1564958"/>
                    </a:lnTo>
                    <a:lnTo>
                      <a:pt x="1506855" y="1564958"/>
                    </a:lnTo>
                    <a:lnTo>
                      <a:pt x="1479233" y="1564005"/>
                    </a:lnTo>
                    <a:lnTo>
                      <a:pt x="1452563" y="1563053"/>
                    </a:lnTo>
                    <a:lnTo>
                      <a:pt x="1440180" y="1563053"/>
                    </a:lnTo>
                    <a:lnTo>
                      <a:pt x="1428750" y="1563053"/>
                    </a:lnTo>
                    <a:lnTo>
                      <a:pt x="1418273" y="1563053"/>
                    </a:lnTo>
                    <a:lnTo>
                      <a:pt x="1407795" y="1563053"/>
                    </a:lnTo>
                    <a:lnTo>
                      <a:pt x="1398270" y="1564005"/>
                    </a:lnTo>
                    <a:lnTo>
                      <a:pt x="1389698" y="1564958"/>
                    </a:lnTo>
                    <a:lnTo>
                      <a:pt x="1382078" y="1566863"/>
                    </a:lnTo>
                    <a:lnTo>
                      <a:pt x="1373505" y="1568768"/>
                    </a:lnTo>
                    <a:lnTo>
                      <a:pt x="1373505" y="1568768"/>
                    </a:lnTo>
                    <a:close/>
                    <a:moveTo>
                      <a:pt x="1829753" y="656273"/>
                    </a:moveTo>
                    <a:lnTo>
                      <a:pt x="1824990" y="642938"/>
                    </a:lnTo>
                    <a:lnTo>
                      <a:pt x="1819275" y="630555"/>
                    </a:lnTo>
                    <a:lnTo>
                      <a:pt x="1812608" y="618173"/>
                    </a:lnTo>
                    <a:lnTo>
                      <a:pt x="1805940" y="607695"/>
                    </a:lnTo>
                    <a:lnTo>
                      <a:pt x="1799273" y="597218"/>
                    </a:lnTo>
                    <a:lnTo>
                      <a:pt x="1790700" y="586740"/>
                    </a:lnTo>
                    <a:lnTo>
                      <a:pt x="1783080" y="577215"/>
                    </a:lnTo>
                    <a:lnTo>
                      <a:pt x="1774508" y="567690"/>
                    </a:lnTo>
                    <a:lnTo>
                      <a:pt x="1764983" y="559118"/>
                    </a:lnTo>
                    <a:lnTo>
                      <a:pt x="1755458" y="550545"/>
                    </a:lnTo>
                    <a:lnTo>
                      <a:pt x="1745933" y="541973"/>
                    </a:lnTo>
                    <a:lnTo>
                      <a:pt x="1736408" y="534353"/>
                    </a:lnTo>
                    <a:lnTo>
                      <a:pt x="1716405" y="518160"/>
                    </a:lnTo>
                    <a:lnTo>
                      <a:pt x="1696403" y="502920"/>
                    </a:lnTo>
                    <a:lnTo>
                      <a:pt x="1685925" y="495300"/>
                    </a:lnTo>
                    <a:lnTo>
                      <a:pt x="1676400" y="487680"/>
                    </a:lnTo>
                    <a:lnTo>
                      <a:pt x="1666875" y="480060"/>
                    </a:lnTo>
                    <a:lnTo>
                      <a:pt x="1657350" y="471488"/>
                    </a:lnTo>
                    <a:lnTo>
                      <a:pt x="1647825" y="462915"/>
                    </a:lnTo>
                    <a:lnTo>
                      <a:pt x="1638300" y="454343"/>
                    </a:lnTo>
                    <a:lnTo>
                      <a:pt x="1629728" y="445770"/>
                    </a:lnTo>
                    <a:lnTo>
                      <a:pt x="1621155" y="436245"/>
                    </a:lnTo>
                    <a:lnTo>
                      <a:pt x="1612583" y="426720"/>
                    </a:lnTo>
                    <a:lnTo>
                      <a:pt x="1604963" y="416243"/>
                    </a:lnTo>
                    <a:lnTo>
                      <a:pt x="1597343" y="405765"/>
                    </a:lnTo>
                    <a:lnTo>
                      <a:pt x="1590675" y="394335"/>
                    </a:lnTo>
                    <a:lnTo>
                      <a:pt x="1584008" y="381953"/>
                    </a:lnTo>
                    <a:lnTo>
                      <a:pt x="1578293" y="369570"/>
                    </a:lnTo>
                    <a:lnTo>
                      <a:pt x="1572578" y="356235"/>
                    </a:lnTo>
                    <a:lnTo>
                      <a:pt x="1568768" y="341948"/>
                    </a:lnTo>
                    <a:lnTo>
                      <a:pt x="1578293" y="351473"/>
                    </a:lnTo>
                    <a:lnTo>
                      <a:pt x="1588770" y="360045"/>
                    </a:lnTo>
                    <a:lnTo>
                      <a:pt x="1599248" y="368618"/>
                    </a:lnTo>
                    <a:lnTo>
                      <a:pt x="1609725" y="376238"/>
                    </a:lnTo>
                    <a:lnTo>
                      <a:pt x="1620203" y="383858"/>
                    </a:lnTo>
                    <a:lnTo>
                      <a:pt x="1630680" y="391478"/>
                    </a:lnTo>
                    <a:lnTo>
                      <a:pt x="1642110" y="398145"/>
                    </a:lnTo>
                    <a:lnTo>
                      <a:pt x="1653540" y="405765"/>
                    </a:lnTo>
                    <a:lnTo>
                      <a:pt x="1676400" y="420053"/>
                    </a:lnTo>
                    <a:lnTo>
                      <a:pt x="1699260" y="435293"/>
                    </a:lnTo>
                    <a:lnTo>
                      <a:pt x="1710690" y="442913"/>
                    </a:lnTo>
                    <a:lnTo>
                      <a:pt x="1721168" y="451485"/>
                    </a:lnTo>
                    <a:lnTo>
                      <a:pt x="1731645" y="461010"/>
                    </a:lnTo>
                    <a:lnTo>
                      <a:pt x="1742123" y="470535"/>
                    </a:lnTo>
                    <a:lnTo>
                      <a:pt x="1751648" y="480060"/>
                    </a:lnTo>
                    <a:lnTo>
                      <a:pt x="1760220" y="489585"/>
                    </a:lnTo>
                    <a:lnTo>
                      <a:pt x="1767840" y="499110"/>
                    </a:lnTo>
                    <a:lnTo>
                      <a:pt x="1774508" y="509588"/>
                    </a:lnTo>
                    <a:lnTo>
                      <a:pt x="1781175" y="520065"/>
                    </a:lnTo>
                    <a:lnTo>
                      <a:pt x="1787843" y="530543"/>
                    </a:lnTo>
                    <a:lnTo>
                      <a:pt x="1793558" y="541020"/>
                    </a:lnTo>
                    <a:lnTo>
                      <a:pt x="1799273" y="552450"/>
                    </a:lnTo>
                    <a:lnTo>
                      <a:pt x="1794510" y="535305"/>
                    </a:lnTo>
                    <a:lnTo>
                      <a:pt x="1790700" y="518160"/>
                    </a:lnTo>
                    <a:lnTo>
                      <a:pt x="1786890" y="501015"/>
                    </a:lnTo>
                    <a:lnTo>
                      <a:pt x="1783080" y="483870"/>
                    </a:lnTo>
                    <a:lnTo>
                      <a:pt x="1780223" y="466725"/>
                    </a:lnTo>
                    <a:lnTo>
                      <a:pt x="1777365" y="450533"/>
                    </a:lnTo>
                    <a:lnTo>
                      <a:pt x="1776413" y="442913"/>
                    </a:lnTo>
                    <a:lnTo>
                      <a:pt x="1775460" y="435293"/>
                    </a:lnTo>
                    <a:lnTo>
                      <a:pt x="1774508" y="427673"/>
                    </a:lnTo>
                    <a:lnTo>
                      <a:pt x="1774508" y="420053"/>
                    </a:lnTo>
                    <a:lnTo>
                      <a:pt x="1771650" y="400050"/>
                    </a:lnTo>
                    <a:lnTo>
                      <a:pt x="1769745" y="384810"/>
                    </a:lnTo>
                    <a:lnTo>
                      <a:pt x="1767840" y="372428"/>
                    </a:lnTo>
                    <a:lnTo>
                      <a:pt x="1765935" y="361950"/>
                    </a:lnTo>
                    <a:lnTo>
                      <a:pt x="1764983" y="357188"/>
                    </a:lnTo>
                    <a:lnTo>
                      <a:pt x="1763078" y="352425"/>
                    </a:lnTo>
                    <a:lnTo>
                      <a:pt x="1761173" y="346710"/>
                    </a:lnTo>
                    <a:lnTo>
                      <a:pt x="1758315" y="340995"/>
                    </a:lnTo>
                    <a:lnTo>
                      <a:pt x="1752600" y="326708"/>
                    </a:lnTo>
                    <a:lnTo>
                      <a:pt x="1744980" y="307658"/>
                    </a:lnTo>
                    <a:lnTo>
                      <a:pt x="1742123" y="301943"/>
                    </a:lnTo>
                    <a:lnTo>
                      <a:pt x="1737360" y="294323"/>
                    </a:lnTo>
                    <a:lnTo>
                      <a:pt x="1732598" y="286703"/>
                    </a:lnTo>
                    <a:lnTo>
                      <a:pt x="1729740" y="280988"/>
                    </a:lnTo>
                    <a:lnTo>
                      <a:pt x="1735455" y="284798"/>
                    </a:lnTo>
                    <a:lnTo>
                      <a:pt x="1741170" y="289560"/>
                    </a:lnTo>
                    <a:lnTo>
                      <a:pt x="1746885" y="293370"/>
                    </a:lnTo>
                    <a:lnTo>
                      <a:pt x="1752600" y="298133"/>
                    </a:lnTo>
                    <a:lnTo>
                      <a:pt x="1758315" y="302895"/>
                    </a:lnTo>
                    <a:lnTo>
                      <a:pt x="1763078" y="307658"/>
                    </a:lnTo>
                    <a:lnTo>
                      <a:pt x="1767840" y="312420"/>
                    </a:lnTo>
                    <a:lnTo>
                      <a:pt x="1772603" y="317183"/>
                    </a:lnTo>
                    <a:lnTo>
                      <a:pt x="1777365" y="321945"/>
                    </a:lnTo>
                    <a:lnTo>
                      <a:pt x="1781175" y="327660"/>
                    </a:lnTo>
                    <a:lnTo>
                      <a:pt x="1784985" y="332423"/>
                    </a:lnTo>
                    <a:lnTo>
                      <a:pt x="1788795" y="338138"/>
                    </a:lnTo>
                    <a:lnTo>
                      <a:pt x="1792605" y="343853"/>
                    </a:lnTo>
                    <a:lnTo>
                      <a:pt x="1796415" y="349568"/>
                    </a:lnTo>
                    <a:lnTo>
                      <a:pt x="1800225" y="355283"/>
                    </a:lnTo>
                    <a:lnTo>
                      <a:pt x="1803083" y="360998"/>
                    </a:lnTo>
                    <a:lnTo>
                      <a:pt x="1809750" y="371475"/>
                    </a:lnTo>
                    <a:lnTo>
                      <a:pt x="1815465" y="383858"/>
                    </a:lnTo>
                    <a:lnTo>
                      <a:pt x="1821180" y="396240"/>
                    </a:lnTo>
                    <a:lnTo>
                      <a:pt x="1824990" y="408623"/>
                    </a:lnTo>
                    <a:lnTo>
                      <a:pt x="1828800" y="421958"/>
                    </a:lnTo>
                    <a:lnTo>
                      <a:pt x="1832610" y="435293"/>
                    </a:lnTo>
                    <a:lnTo>
                      <a:pt x="1835468" y="449580"/>
                    </a:lnTo>
                    <a:lnTo>
                      <a:pt x="1838325" y="463868"/>
                    </a:lnTo>
                    <a:lnTo>
                      <a:pt x="1838325" y="476250"/>
                    </a:lnTo>
                    <a:lnTo>
                      <a:pt x="1839278" y="488633"/>
                    </a:lnTo>
                    <a:lnTo>
                      <a:pt x="1840230" y="501015"/>
                    </a:lnTo>
                    <a:lnTo>
                      <a:pt x="1840230" y="512445"/>
                    </a:lnTo>
                    <a:lnTo>
                      <a:pt x="1840230" y="524828"/>
                    </a:lnTo>
                    <a:lnTo>
                      <a:pt x="1840230" y="536258"/>
                    </a:lnTo>
                    <a:lnTo>
                      <a:pt x="1840230" y="547688"/>
                    </a:lnTo>
                    <a:lnTo>
                      <a:pt x="1839278" y="559118"/>
                    </a:lnTo>
                    <a:lnTo>
                      <a:pt x="1838325" y="581978"/>
                    </a:lnTo>
                    <a:lnTo>
                      <a:pt x="1836420" y="605790"/>
                    </a:lnTo>
                    <a:lnTo>
                      <a:pt x="1833563" y="630555"/>
                    </a:lnTo>
                    <a:lnTo>
                      <a:pt x="1829753" y="656273"/>
                    </a:lnTo>
                    <a:lnTo>
                      <a:pt x="1829753" y="656273"/>
                    </a:lnTo>
                    <a:close/>
                    <a:moveTo>
                      <a:pt x="340995" y="1589723"/>
                    </a:moveTo>
                    <a:lnTo>
                      <a:pt x="353378" y="1597343"/>
                    </a:lnTo>
                    <a:lnTo>
                      <a:pt x="366713" y="1603058"/>
                    </a:lnTo>
                    <a:lnTo>
                      <a:pt x="381000" y="1606868"/>
                    </a:lnTo>
                    <a:lnTo>
                      <a:pt x="395288" y="1609725"/>
                    </a:lnTo>
                    <a:lnTo>
                      <a:pt x="410528" y="1611630"/>
                    </a:lnTo>
                    <a:lnTo>
                      <a:pt x="426720" y="1611630"/>
                    </a:lnTo>
                    <a:lnTo>
                      <a:pt x="443865" y="1611630"/>
                    </a:lnTo>
                    <a:lnTo>
                      <a:pt x="461010" y="1609725"/>
                    </a:lnTo>
                    <a:lnTo>
                      <a:pt x="479108" y="1607820"/>
                    </a:lnTo>
                    <a:lnTo>
                      <a:pt x="498158" y="1604963"/>
                    </a:lnTo>
                    <a:lnTo>
                      <a:pt x="517208" y="1601153"/>
                    </a:lnTo>
                    <a:lnTo>
                      <a:pt x="537210" y="1597343"/>
                    </a:lnTo>
                    <a:lnTo>
                      <a:pt x="577215" y="1587818"/>
                    </a:lnTo>
                    <a:lnTo>
                      <a:pt x="619125" y="1578293"/>
                    </a:lnTo>
                    <a:lnTo>
                      <a:pt x="640080" y="1573530"/>
                    </a:lnTo>
                    <a:lnTo>
                      <a:pt x="661988" y="1568768"/>
                    </a:lnTo>
                    <a:lnTo>
                      <a:pt x="683895" y="1564958"/>
                    </a:lnTo>
                    <a:lnTo>
                      <a:pt x="705803" y="1561148"/>
                    </a:lnTo>
                    <a:lnTo>
                      <a:pt x="728663" y="1557338"/>
                    </a:lnTo>
                    <a:lnTo>
                      <a:pt x="751523" y="1554480"/>
                    </a:lnTo>
                    <a:lnTo>
                      <a:pt x="774383" y="1551623"/>
                    </a:lnTo>
                    <a:lnTo>
                      <a:pt x="797243" y="1550670"/>
                    </a:lnTo>
                    <a:lnTo>
                      <a:pt x="820103" y="1549718"/>
                    </a:lnTo>
                    <a:lnTo>
                      <a:pt x="842963" y="1550670"/>
                    </a:lnTo>
                    <a:lnTo>
                      <a:pt x="866775" y="1551623"/>
                    </a:lnTo>
                    <a:lnTo>
                      <a:pt x="889635" y="1554480"/>
                    </a:lnTo>
                    <a:lnTo>
                      <a:pt x="913448" y="1558290"/>
                    </a:lnTo>
                    <a:lnTo>
                      <a:pt x="936308" y="1564005"/>
                    </a:lnTo>
                    <a:lnTo>
                      <a:pt x="960120" y="1571625"/>
                    </a:lnTo>
                    <a:lnTo>
                      <a:pt x="982980" y="1580198"/>
                    </a:lnTo>
                    <a:lnTo>
                      <a:pt x="1012508" y="1572578"/>
                    </a:lnTo>
                    <a:lnTo>
                      <a:pt x="1041083" y="1565910"/>
                    </a:lnTo>
                    <a:lnTo>
                      <a:pt x="1067753" y="1560195"/>
                    </a:lnTo>
                    <a:lnTo>
                      <a:pt x="1094423" y="1556385"/>
                    </a:lnTo>
                    <a:lnTo>
                      <a:pt x="1120140" y="1553528"/>
                    </a:lnTo>
                    <a:lnTo>
                      <a:pt x="1143953" y="1552575"/>
                    </a:lnTo>
                    <a:lnTo>
                      <a:pt x="1166813" y="1552575"/>
                    </a:lnTo>
                    <a:lnTo>
                      <a:pt x="1189673" y="1553528"/>
                    </a:lnTo>
                    <a:lnTo>
                      <a:pt x="1211580" y="1554480"/>
                    </a:lnTo>
                    <a:lnTo>
                      <a:pt x="1232535" y="1556385"/>
                    </a:lnTo>
                    <a:lnTo>
                      <a:pt x="1252538" y="1559243"/>
                    </a:lnTo>
                    <a:lnTo>
                      <a:pt x="1272540" y="1563053"/>
                    </a:lnTo>
                    <a:lnTo>
                      <a:pt x="1291590" y="1566863"/>
                    </a:lnTo>
                    <a:lnTo>
                      <a:pt x="1310640" y="1570673"/>
                    </a:lnTo>
                    <a:lnTo>
                      <a:pt x="1328738" y="1575435"/>
                    </a:lnTo>
                    <a:lnTo>
                      <a:pt x="1346835" y="1580198"/>
                    </a:lnTo>
                    <a:lnTo>
                      <a:pt x="1382078" y="1589723"/>
                    </a:lnTo>
                    <a:lnTo>
                      <a:pt x="1416368" y="1598295"/>
                    </a:lnTo>
                    <a:lnTo>
                      <a:pt x="1433513" y="1602105"/>
                    </a:lnTo>
                    <a:lnTo>
                      <a:pt x="1450658" y="1605915"/>
                    </a:lnTo>
                    <a:lnTo>
                      <a:pt x="1467803" y="1608773"/>
                    </a:lnTo>
                    <a:lnTo>
                      <a:pt x="1484948" y="1610678"/>
                    </a:lnTo>
                    <a:lnTo>
                      <a:pt x="1502093" y="1611630"/>
                    </a:lnTo>
                    <a:lnTo>
                      <a:pt x="1519238" y="1611630"/>
                    </a:lnTo>
                    <a:lnTo>
                      <a:pt x="1537335" y="1611630"/>
                    </a:lnTo>
                    <a:lnTo>
                      <a:pt x="1555433" y="1609725"/>
                    </a:lnTo>
                    <a:lnTo>
                      <a:pt x="1573530" y="1606868"/>
                    </a:lnTo>
                    <a:lnTo>
                      <a:pt x="1592580" y="1603058"/>
                    </a:lnTo>
                    <a:lnTo>
                      <a:pt x="1611630" y="1598295"/>
                    </a:lnTo>
                    <a:lnTo>
                      <a:pt x="1631633" y="1591628"/>
                    </a:lnTo>
                    <a:lnTo>
                      <a:pt x="1613535" y="1607820"/>
                    </a:lnTo>
                    <a:lnTo>
                      <a:pt x="1595438" y="1622108"/>
                    </a:lnTo>
                    <a:lnTo>
                      <a:pt x="1576388" y="1634490"/>
                    </a:lnTo>
                    <a:lnTo>
                      <a:pt x="1557338" y="1644968"/>
                    </a:lnTo>
                    <a:lnTo>
                      <a:pt x="1538288" y="1653540"/>
                    </a:lnTo>
                    <a:lnTo>
                      <a:pt x="1518285" y="1660208"/>
                    </a:lnTo>
                    <a:lnTo>
                      <a:pt x="1498283" y="1665923"/>
                    </a:lnTo>
                    <a:lnTo>
                      <a:pt x="1478280" y="1669733"/>
                    </a:lnTo>
                    <a:lnTo>
                      <a:pt x="1457325" y="1672590"/>
                    </a:lnTo>
                    <a:lnTo>
                      <a:pt x="1436370" y="1674495"/>
                    </a:lnTo>
                    <a:lnTo>
                      <a:pt x="1415415" y="1675448"/>
                    </a:lnTo>
                    <a:lnTo>
                      <a:pt x="1394460" y="1675448"/>
                    </a:lnTo>
                    <a:lnTo>
                      <a:pt x="1373505" y="1674495"/>
                    </a:lnTo>
                    <a:lnTo>
                      <a:pt x="1352550" y="1672590"/>
                    </a:lnTo>
                    <a:lnTo>
                      <a:pt x="1331595" y="1669733"/>
                    </a:lnTo>
                    <a:lnTo>
                      <a:pt x="1310640" y="1665923"/>
                    </a:lnTo>
                    <a:lnTo>
                      <a:pt x="1289685" y="1662113"/>
                    </a:lnTo>
                    <a:lnTo>
                      <a:pt x="1269683" y="1658303"/>
                    </a:lnTo>
                    <a:lnTo>
                      <a:pt x="1249680" y="1653540"/>
                    </a:lnTo>
                    <a:lnTo>
                      <a:pt x="1229678" y="1648778"/>
                    </a:lnTo>
                    <a:lnTo>
                      <a:pt x="1191578" y="1638300"/>
                    </a:lnTo>
                    <a:lnTo>
                      <a:pt x="1155383" y="1628775"/>
                    </a:lnTo>
                    <a:lnTo>
                      <a:pt x="1138238" y="1624013"/>
                    </a:lnTo>
                    <a:lnTo>
                      <a:pt x="1121093" y="1619250"/>
                    </a:lnTo>
                    <a:lnTo>
                      <a:pt x="1104900" y="1615440"/>
                    </a:lnTo>
                    <a:lnTo>
                      <a:pt x="1089660" y="1611630"/>
                    </a:lnTo>
                    <a:lnTo>
                      <a:pt x="1075373" y="1608773"/>
                    </a:lnTo>
                    <a:lnTo>
                      <a:pt x="1061085" y="1606868"/>
                    </a:lnTo>
                    <a:lnTo>
                      <a:pt x="1047750" y="1605915"/>
                    </a:lnTo>
                    <a:lnTo>
                      <a:pt x="1035368" y="1605915"/>
                    </a:lnTo>
                    <a:lnTo>
                      <a:pt x="1049655" y="1613535"/>
                    </a:lnTo>
                    <a:lnTo>
                      <a:pt x="1062990" y="1621155"/>
                    </a:lnTo>
                    <a:lnTo>
                      <a:pt x="1075373" y="1628775"/>
                    </a:lnTo>
                    <a:lnTo>
                      <a:pt x="1087755" y="1636395"/>
                    </a:lnTo>
                    <a:lnTo>
                      <a:pt x="1100138" y="1644968"/>
                    </a:lnTo>
                    <a:lnTo>
                      <a:pt x="1111568" y="1652588"/>
                    </a:lnTo>
                    <a:lnTo>
                      <a:pt x="1122045" y="1660208"/>
                    </a:lnTo>
                    <a:lnTo>
                      <a:pt x="1132523" y="1668780"/>
                    </a:lnTo>
                    <a:lnTo>
                      <a:pt x="1142048" y="1677353"/>
                    </a:lnTo>
                    <a:lnTo>
                      <a:pt x="1151573" y="1685925"/>
                    </a:lnTo>
                    <a:lnTo>
                      <a:pt x="1161098" y="1694498"/>
                    </a:lnTo>
                    <a:lnTo>
                      <a:pt x="1169670" y="1703070"/>
                    </a:lnTo>
                    <a:lnTo>
                      <a:pt x="1178243" y="1711643"/>
                    </a:lnTo>
                    <a:lnTo>
                      <a:pt x="1186815" y="1720215"/>
                    </a:lnTo>
                    <a:lnTo>
                      <a:pt x="1194435" y="1728788"/>
                    </a:lnTo>
                    <a:lnTo>
                      <a:pt x="1202055" y="1737360"/>
                    </a:lnTo>
                    <a:lnTo>
                      <a:pt x="1189673" y="1739265"/>
                    </a:lnTo>
                    <a:lnTo>
                      <a:pt x="1178243" y="1740218"/>
                    </a:lnTo>
                    <a:lnTo>
                      <a:pt x="1166813" y="1741170"/>
                    </a:lnTo>
                    <a:lnTo>
                      <a:pt x="1154430" y="1743075"/>
                    </a:lnTo>
                    <a:lnTo>
                      <a:pt x="1148715" y="1733550"/>
                    </a:lnTo>
                    <a:lnTo>
                      <a:pt x="1142048" y="1724025"/>
                    </a:lnTo>
                    <a:lnTo>
                      <a:pt x="1134428" y="1715453"/>
                    </a:lnTo>
                    <a:lnTo>
                      <a:pt x="1126808" y="1706880"/>
                    </a:lnTo>
                    <a:lnTo>
                      <a:pt x="1118235" y="1698308"/>
                    </a:lnTo>
                    <a:lnTo>
                      <a:pt x="1108710" y="1689735"/>
                    </a:lnTo>
                    <a:lnTo>
                      <a:pt x="1099185" y="1681163"/>
                    </a:lnTo>
                    <a:lnTo>
                      <a:pt x="1088708" y="1673543"/>
                    </a:lnTo>
                    <a:lnTo>
                      <a:pt x="1078230" y="1665923"/>
                    </a:lnTo>
                    <a:lnTo>
                      <a:pt x="1066800" y="1658303"/>
                    </a:lnTo>
                    <a:lnTo>
                      <a:pt x="1054418" y="1650683"/>
                    </a:lnTo>
                    <a:lnTo>
                      <a:pt x="1042035" y="1643063"/>
                    </a:lnTo>
                    <a:lnTo>
                      <a:pt x="1028700" y="1635443"/>
                    </a:lnTo>
                    <a:lnTo>
                      <a:pt x="1014413" y="1627823"/>
                    </a:lnTo>
                    <a:lnTo>
                      <a:pt x="1000125" y="1620203"/>
                    </a:lnTo>
                    <a:lnTo>
                      <a:pt x="984885" y="1612583"/>
                    </a:lnTo>
                    <a:lnTo>
                      <a:pt x="971550" y="1616393"/>
                    </a:lnTo>
                    <a:lnTo>
                      <a:pt x="959168" y="1621155"/>
                    </a:lnTo>
                    <a:lnTo>
                      <a:pt x="946785" y="1626870"/>
                    </a:lnTo>
                    <a:lnTo>
                      <a:pt x="934403" y="1632585"/>
                    </a:lnTo>
                    <a:lnTo>
                      <a:pt x="922020" y="1639253"/>
                    </a:lnTo>
                    <a:lnTo>
                      <a:pt x="910590" y="1645920"/>
                    </a:lnTo>
                    <a:lnTo>
                      <a:pt x="899160" y="1652588"/>
                    </a:lnTo>
                    <a:lnTo>
                      <a:pt x="887730" y="1661160"/>
                    </a:lnTo>
                    <a:lnTo>
                      <a:pt x="877253" y="1668780"/>
                    </a:lnTo>
                    <a:lnTo>
                      <a:pt x="866775" y="1678305"/>
                    </a:lnTo>
                    <a:lnTo>
                      <a:pt x="856298" y="1687830"/>
                    </a:lnTo>
                    <a:lnTo>
                      <a:pt x="846773" y="1698308"/>
                    </a:lnTo>
                    <a:lnTo>
                      <a:pt x="837248" y="1708785"/>
                    </a:lnTo>
                    <a:lnTo>
                      <a:pt x="827723" y="1720215"/>
                    </a:lnTo>
                    <a:lnTo>
                      <a:pt x="818198" y="1732598"/>
                    </a:lnTo>
                    <a:lnTo>
                      <a:pt x="809625" y="1744980"/>
                    </a:lnTo>
                    <a:lnTo>
                      <a:pt x="798195" y="1743075"/>
                    </a:lnTo>
                    <a:lnTo>
                      <a:pt x="785813" y="1742123"/>
                    </a:lnTo>
                    <a:lnTo>
                      <a:pt x="774383" y="1741170"/>
                    </a:lnTo>
                    <a:lnTo>
                      <a:pt x="762953" y="1739265"/>
                    </a:lnTo>
                    <a:lnTo>
                      <a:pt x="770573" y="1730693"/>
                    </a:lnTo>
                    <a:lnTo>
                      <a:pt x="779145" y="1722120"/>
                    </a:lnTo>
                    <a:lnTo>
                      <a:pt x="787718" y="1713548"/>
                    </a:lnTo>
                    <a:lnTo>
                      <a:pt x="796290" y="1704975"/>
                    </a:lnTo>
                    <a:lnTo>
                      <a:pt x="805815" y="1696403"/>
                    </a:lnTo>
                    <a:lnTo>
                      <a:pt x="815340" y="1687830"/>
                    </a:lnTo>
                    <a:lnTo>
                      <a:pt x="824865" y="1679258"/>
                    </a:lnTo>
                    <a:lnTo>
                      <a:pt x="834390" y="1670685"/>
                    </a:lnTo>
                    <a:lnTo>
                      <a:pt x="847725" y="1657350"/>
                    </a:lnTo>
                    <a:lnTo>
                      <a:pt x="858203" y="1649730"/>
                    </a:lnTo>
                    <a:lnTo>
                      <a:pt x="869633" y="1642110"/>
                    </a:lnTo>
                    <a:lnTo>
                      <a:pt x="881063" y="1634490"/>
                    </a:lnTo>
                    <a:lnTo>
                      <a:pt x="893445" y="1626870"/>
                    </a:lnTo>
                    <a:lnTo>
                      <a:pt x="905828" y="1619250"/>
                    </a:lnTo>
                    <a:lnTo>
                      <a:pt x="919163" y="1612583"/>
                    </a:lnTo>
                    <a:lnTo>
                      <a:pt x="932498" y="1604963"/>
                    </a:lnTo>
                    <a:lnTo>
                      <a:pt x="922973" y="1604010"/>
                    </a:lnTo>
                    <a:lnTo>
                      <a:pt x="912495" y="1604010"/>
                    </a:lnTo>
                    <a:lnTo>
                      <a:pt x="901065" y="1604963"/>
                    </a:lnTo>
                    <a:lnTo>
                      <a:pt x="888683" y="1606868"/>
                    </a:lnTo>
                    <a:lnTo>
                      <a:pt x="874395" y="1609725"/>
                    </a:lnTo>
                    <a:lnTo>
                      <a:pt x="860108" y="1613535"/>
                    </a:lnTo>
                    <a:lnTo>
                      <a:pt x="844868" y="1617345"/>
                    </a:lnTo>
                    <a:lnTo>
                      <a:pt x="828675" y="1621155"/>
                    </a:lnTo>
                    <a:lnTo>
                      <a:pt x="793433" y="1630680"/>
                    </a:lnTo>
                    <a:lnTo>
                      <a:pt x="756285" y="1640205"/>
                    </a:lnTo>
                    <a:lnTo>
                      <a:pt x="736283" y="1644968"/>
                    </a:lnTo>
                    <a:lnTo>
                      <a:pt x="716280" y="1649730"/>
                    </a:lnTo>
                    <a:lnTo>
                      <a:pt x="696278" y="1654493"/>
                    </a:lnTo>
                    <a:lnTo>
                      <a:pt x="675323" y="1658303"/>
                    </a:lnTo>
                    <a:lnTo>
                      <a:pt x="654368" y="1662113"/>
                    </a:lnTo>
                    <a:lnTo>
                      <a:pt x="632460" y="1664970"/>
                    </a:lnTo>
                    <a:lnTo>
                      <a:pt x="609600" y="1666875"/>
                    </a:lnTo>
                    <a:lnTo>
                      <a:pt x="587693" y="1668780"/>
                    </a:lnTo>
                    <a:lnTo>
                      <a:pt x="566738" y="1669733"/>
                    </a:lnTo>
                    <a:lnTo>
                      <a:pt x="544830" y="1669733"/>
                    </a:lnTo>
                    <a:lnTo>
                      <a:pt x="522923" y="1668780"/>
                    </a:lnTo>
                    <a:lnTo>
                      <a:pt x="501015" y="1665923"/>
                    </a:lnTo>
                    <a:lnTo>
                      <a:pt x="480060" y="1662113"/>
                    </a:lnTo>
                    <a:lnTo>
                      <a:pt x="459105" y="1656398"/>
                    </a:lnTo>
                    <a:lnTo>
                      <a:pt x="438150" y="1649730"/>
                    </a:lnTo>
                    <a:lnTo>
                      <a:pt x="418148" y="1641158"/>
                    </a:lnTo>
                    <a:lnTo>
                      <a:pt x="398145" y="1631633"/>
                    </a:lnTo>
                    <a:lnTo>
                      <a:pt x="379095" y="1619250"/>
                    </a:lnTo>
                    <a:lnTo>
                      <a:pt x="360045" y="1605915"/>
                    </a:lnTo>
                    <a:lnTo>
                      <a:pt x="340995" y="1589723"/>
                    </a:lnTo>
                    <a:lnTo>
                      <a:pt x="340995" y="1589723"/>
                    </a:lnTo>
                    <a:close/>
                    <a:moveTo>
                      <a:pt x="1025843" y="1163003"/>
                    </a:moveTo>
                    <a:lnTo>
                      <a:pt x="1025843" y="1174433"/>
                    </a:lnTo>
                    <a:lnTo>
                      <a:pt x="1026795" y="1184910"/>
                    </a:lnTo>
                    <a:lnTo>
                      <a:pt x="1026795" y="1195388"/>
                    </a:lnTo>
                    <a:lnTo>
                      <a:pt x="1026795" y="1205865"/>
                    </a:lnTo>
                    <a:lnTo>
                      <a:pt x="1038225" y="1212533"/>
                    </a:lnTo>
                    <a:lnTo>
                      <a:pt x="1049655" y="1220153"/>
                    </a:lnTo>
                    <a:lnTo>
                      <a:pt x="1055370" y="1223963"/>
                    </a:lnTo>
                    <a:lnTo>
                      <a:pt x="1061085" y="1227773"/>
                    </a:lnTo>
                    <a:lnTo>
                      <a:pt x="1066800" y="1232535"/>
                    </a:lnTo>
                    <a:lnTo>
                      <a:pt x="1072515" y="1237298"/>
                    </a:lnTo>
                    <a:lnTo>
                      <a:pt x="1077278" y="1242060"/>
                    </a:lnTo>
                    <a:lnTo>
                      <a:pt x="1082040" y="1247775"/>
                    </a:lnTo>
                    <a:lnTo>
                      <a:pt x="1086803" y="1254443"/>
                    </a:lnTo>
                    <a:lnTo>
                      <a:pt x="1091565" y="1261110"/>
                    </a:lnTo>
                    <a:lnTo>
                      <a:pt x="1096328" y="1268730"/>
                    </a:lnTo>
                    <a:lnTo>
                      <a:pt x="1100138" y="1276350"/>
                    </a:lnTo>
                    <a:lnTo>
                      <a:pt x="1103948" y="1284923"/>
                    </a:lnTo>
                    <a:lnTo>
                      <a:pt x="1106805" y="1294448"/>
                    </a:lnTo>
                    <a:lnTo>
                      <a:pt x="1106805" y="1287780"/>
                    </a:lnTo>
                    <a:lnTo>
                      <a:pt x="1106805" y="1281113"/>
                    </a:lnTo>
                    <a:lnTo>
                      <a:pt x="1106805" y="1276350"/>
                    </a:lnTo>
                    <a:lnTo>
                      <a:pt x="1106805" y="1269683"/>
                    </a:lnTo>
                    <a:lnTo>
                      <a:pt x="1106805" y="1263968"/>
                    </a:lnTo>
                    <a:lnTo>
                      <a:pt x="1105853" y="1258253"/>
                    </a:lnTo>
                    <a:lnTo>
                      <a:pt x="1104900" y="1252538"/>
                    </a:lnTo>
                    <a:lnTo>
                      <a:pt x="1103948" y="1246823"/>
                    </a:lnTo>
                    <a:lnTo>
                      <a:pt x="1102995" y="1241108"/>
                    </a:lnTo>
                    <a:lnTo>
                      <a:pt x="1101090" y="1236345"/>
                    </a:lnTo>
                    <a:lnTo>
                      <a:pt x="1099185" y="1231583"/>
                    </a:lnTo>
                    <a:lnTo>
                      <a:pt x="1097280" y="1226820"/>
                    </a:lnTo>
                    <a:lnTo>
                      <a:pt x="1095375" y="1222058"/>
                    </a:lnTo>
                    <a:lnTo>
                      <a:pt x="1093470" y="1217295"/>
                    </a:lnTo>
                    <a:lnTo>
                      <a:pt x="1090613" y="1213485"/>
                    </a:lnTo>
                    <a:lnTo>
                      <a:pt x="1087755" y="1209675"/>
                    </a:lnTo>
                    <a:lnTo>
                      <a:pt x="1084898" y="1205865"/>
                    </a:lnTo>
                    <a:lnTo>
                      <a:pt x="1082040" y="1202055"/>
                    </a:lnTo>
                    <a:lnTo>
                      <a:pt x="1079183" y="1198245"/>
                    </a:lnTo>
                    <a:lnTo>
                      <a:pt x="1076325" y="1194435"/>
                    </a:lnTo>
                    <a:lnTo>
                      <a:pt x="1072515" y="1190625"/>
                    </a:lnTo>
                    <a:lnTo>
                      <a:pt x="1068705" y="1187768"/>
                    </a:lnTo>
                    <a:lnTo>
                      <a:pt x="1064895" y="1183958"/>
                    </a:lnTo>
                    <a:lnTo>
                      <a:pt x="1061085" y="1181100"/>
                    </a:lnTo>
                    <a:lnTo>
                      <a:pt x="1052513" y="1175385"/>
                    </a:lnTo>
                    <a:lnTo>
                      <a:pt x="1043940" y="1169670"/>
                    </a:lnTo>
                    <a:lnTo>
                      <a:pt x="1034415" y="1164908"/>
                    </a:lnTo>
                    <a:lnTo>
                      <a:pt x="1025843" y="1163003"/>
                    </a:lnTo>
                    <a:lnTo>
                      <a:pt x="1025843" y="1163003"/>
                    </a:lnTo>
                    <a:close/>
                    <a:moveTo>
                      <a:pt x="1035368" y="825818"/>
                    </a:moveTo>
                    <a:lnTo>
                      <a:pt x="1035368" y="835343"/>
                    </a:lnTo>
                    <a:lnTo>
                      <a:pt x="1035368" y="844868"/>
                    </a:lnTo>
                    <a:lnTo>
                      <a:pt x="1034415" y="854393"/>
                    </a:lnTo>
                    <a:lnTo>
                      <a:pt x="1034415" y="863918"/>
                    </a:lnTo>
                    <a:lnTo>
                      <a:pt x="1034415" y="873443"/>
                    </a:lnTo>
                    <a:lnTo>
                      <a:pt x="1034415" y="882015"/>
                    </a:lnTo>
                    <a:lnTo>
                      <a:pt x="1034415" y="891540"/>
                    </a:lnTo>
                    <a:lnTo>
                      <a:pt x="1034415" y="901065"/>
                    </a:lnTo>
                    <a:lnTo>
                      <a:pt x="1043940" y="903923"/>
                    </a:lnTo>
                    <a:lnTo>
                      <a:pt x="1052513" y="907733"/>
                    </a:lnTo>
                    <a:lnTo>
                      <a:pt x="1056323" y="909638"/>
                    </a:lnTo>
                    <a:lnTo>
                      <a:pt x="1060133" y="911543"/>
                    </a:lnTo>
                    <a:lnTo>
                      <a:pt x="1063943" y="914400"/>
                    </a:lnTo>
                    <a:lnTo>
                      <a:pt x="1066800" y="917258"/>
                    </a:lnTo>
                    <a:lnTo>
                      <a:pt x="1069658" y="920115"/>
                    </a:lnTo>
                    <a:lnTo>
                      <a:pt x="1072515" y="922973"/>
                    </a:lnTo>
                    <a:lnTo>
                      <a:pt x="1074420" y="926783"/>
                    </a:lnTo>
                    <a:lnTo>
                      <a:pt x="1075373" y="930593"/>
                    </a:lnTo>
                    <a:lnTo>
                      <a:pt x="1076325" y="934403"/>
                    </a:lnTo>
                    <a:lnTo>
                      <a:pt x="1077278" y="939165"/>
                    </a:lnTo>
                    <a:lnTo>
                      <a:pt x="1077278" y="944880"/>
                    </a:lnTo>
                    <a:lnTo>
                      <a:pt x="1077278" y="950595"/>
                    </a:lnTo>
                    <a:lnTo>
                      <a:pt x="1076325" y="956310"/>
                    </a:lnTo>
                    <a:lnTo>
                      <a:pt x="1074420" y="962025"/>
                    </a:lnTo>
                    <a:lnTo>
                      <a:pt x="1071563" y="966788"/>
                    </a:lnTo>
                    <a:lnTo>
                      <a:pt x="1067753" y="971550"/>
                    </a:lnTo>
                    <a:lnTo>
                      <a:pt x="1062990" y="975360"/>
                    </a:lnTo>
                    <a:lnTo>
                      <a:pt x="1057275" y="979170"/>
                    </a:lnTo>
                    <a:lnTo>
                      <a:pt x="1050608" y="982980"/>
                    </a:lnTo>
                    <a:lnTo>
                      <a:pt x="1043940" y="985838"/>
                    </a:lnTo>
                    <a:lnTo>
                      <a:pt x="1036320" y="988695"/>
                    </a:lnTo>
                    <a:lnTo>
                      <a:pt x="1028700" y="991553"/>
                    </a:lnTo>
                    <a:lnTo>
                      <a:pt x="1021080" y="994410"/>
                    </a:lnTo>
                    <a:lnTo>
                      <a:pt x="1012508" y="997268"/>
                    </a:lnTo>
                    <a:lnTo>
                      <a:pt x="995363" y="1002983"/>
                    </a:lnTo>
                    <a:lnTo>
                      <a:pt x="977265" y="1008698"/>
                    </a:lnTo>
                    <a:lnTo>
                      <a:pt x="968693" y="1011555"/>
                    </a:lnTo>
                    <a:lnTo>
                      <a:pt x="959168" y="1014413"/>
                    </a:lnTo>
                    <a:lnTo>
                      <a:pt x="950595" y="1017270"/>
                    </a:lnTo>
                    <a:lnTo>
                      <a:pt x="942023" y="1021080"/>
                    </a:lnTo>
                    <a:lnTo>
                      <a:pt x="933450" y="1024890"/>
                    </a:lnTo>
                    <a:lnTo>
                      <a:pt x="925830" y="1028700"/>
                    </a:lnTo>
                    <a:lnTo>
                      <a:pt x="918210" y="1033463"/>
                    </a:lnTo>
                    <a:lnTo>
                      <a:pt x="911543" y="1039178"/>
                    </a:lnTo>
                    <a:lnTo>
                      <a:pt x="904875" y="1044893"/>
                    </a:lnTo>
                    <a:lnTo>
                      <a:pt x="899160" y="1050608"/>
                    </a:lnTo>
                    <a:lnTo>
                      <a:pt x="894398" y="1057275"/>
                    </a:lnTo>
                    <a:lnTo>
                      <a:pt x="890588" y="1063943"/>
                    </a:lnTo>
                    <a:lnTo>
                      <a:pt x="887730" y="1071563"/>
                    </a:lnTo>
                    <a:lnTo>
                      <a:pt x="885825" y="1080135"/>
                    </a:lnTo>
                    <a:lnTo>
                      <a:pt x="884873" y="1089660"/>
                    </a:lnTo>
                    <a:lnTo>
                      <a:pt x="884873" y="1099185"/>
                    </a:lnTo>
                    <a:lnTo>
                      <a:pt x="884873" y="1102995"/>
                    </a:lnTo>
                    <a:lnTo>
                      <a:pt x="884873" y="1105853"/>
                    </a:lnTo>
                    <a:lnTo>
                      <a:pt x="885825" y="1108710"/>
                    </a:lnTo>
                    <a:lnTo>
                      <a:pt x="886778" y="1111568"/>
                    </a:lnTo>
                    <a:lnTo>
                      <a:pt x="887730" y="1114425"/>
                    </a:lnTo>
                    <a:lnTo>
                      <a:pt x="888683" y="1117283"/>
                    </a:lnTo>
                    <a:lnTo>
                      <a:pt x="889635" y="1120140"/>
                    </a:lnTo>
                    <a:lnTo>
                      <a:pt x="891540" y="1122998"/>
                    </a:lnTo>
                    <a:lnTo>
                      <a:pt x="894398" y="1127760"/>
                    </a:lnTo>
                    <a:lnTo>
                      <a:pt x="898208" y="1132523"/>
                    </a:lnTo>
                    <a:lnTo>
                      <a:pt x="902018" y="1136333"/>
                    </a:lnTo>
                    <a:lnTo>
                      <a:pt x="905828" y="1140143"/>
                    </a:lnTo>
                    <a:lnTo>
                      <a:pt x="915353" y="1147763"/>
                    </a:lnTo>
                    <a:lnTo>
                      <a:pt x="924878" y="1154430"/>
                    </a:lnTo>
                    <a:lnTo>
                      <a:pt x="934403" y="1161098"/>
                    </a:lnTo>
                    <a:lnTo>
                      <a:pt x="942975" y="1167765"/>
                    </a:lnTo>
                    <a:lnTo>
                      <a:pt x="942975" y="1159193"/>
                    </a:lnTo>
                    <a:lnTo>
                      <a:pt x="942975" y="1150620"/>
                    </a:lnTo>
                    <a:lnTo>
                      <a:pt x="942975" y="1142048"/>
                    </a:lnTo>
                    <a:lnTo>
                      <a:pt x="942975" y="1133475"/>
                    </a:lnTo>
                    <a:lnTo>
                      <a:pt x="942975" y="1124903"/>
                    </a:lnTo>
                    <a:lnTo>
                      <a:pt x="942975" y="1116330"/>
                    </a:lnTo>
                    <a:lnTo>
                      <a:pt x="942975" y="1107758"/>
                    </a:lnTo>
                    <a:lnTo>
                      <a:pt x="942975" y="1099185"/>
                    </a:lnTo>
                    <a:lnTo>
                      <a:pt x="942975" y="1097280"/>
                    </a:lnTo>
                    <a:lnTo>
                      <a:pt x="942975" y="1095375"/>
                    </a:lnTo>
                    <a:lnTo>
                      <a:pt x="943928" y="1093470"/>
                    </a:lnTo>
                    <a:lnTo>
                      <a:pt x="944880" y="1091565"/>
                    </a:lnTo>
                    <a:lnTo>
                      <a:pt x="946785" y="1089660"/>
                    </a:lnTo>
                    <a:lnTo>
                      <a:pt x="947738" y="1087755"/>
                    </a:lnTo>
                    <a:lnTo>
                      <a:pt x="949643" y="1085850"/>
                    </a:lnTo>
                    <a:lnTo>
                      <a:pt x="951548" y="1083945"/>
                    </a:lnTo>
                    <a:lnTo>
                      <a:pt x="956310" y="1080135"/>
                    </a:lnTo>
                    <a:lnTo>
                      <a:pt x="962025" y="1077278"/>
                    </a:lnTo>
                    <a:lnTo>
                      <a:pt x="967740" y="1074420"/>
                    </a:lnTo>
                    <a:lnTo>
                      <a:pt x="974408" y="1071563"/>
                    </a:lnTo>
                    <a:lnTo>
                      <a:pt x="981075" y="1068705"/>
                    </a:lnTo>
                    <a:lnTo>
                      <a:pt x="988695" y="1065848"/>
                    </a:lnTo>
                    <a:lnTo>
                      <a:pt x="996315" y="1062990"/>
                    </a:lnTo>
                    <a:lnTo>
                      <a:pt x="1004888" y="1060133"/>
                    </a:lnTo>
                    <a:lnTo>
                      <a:pt x="1022033" y="1054418"/>
                    </a:lnTo>
                    <a:lnTo>
                      <a:pt x="1039178" y="1048703"/>
                    </a:lnTo>
                    <a:lnTo>
                      <a:pt x="1051560" y="1044893"/>
                    </a:lnTo>
                    <a:lnTo>
                      <a:pt x="1063943" y="1041083"/>
                    </a:lnTo>
                    <a:lnTo>
                      <a:pt x="1076325" y="1037273"/>
                    </a:lnTo>
                    <a:lnTo>
                      <a:pt x="1087755" y="1032510"/>
                    </a:lnTo>
                    <a:lnTo>
                      <a:pt x="1093470" y="1029653"/>
                    </a:lnTo>
                    <a:lnTo>
                      <a:pt x="1099185" y="1026795"/>
                    </a:lnTo>
                    <a:lnTo>
                      <a:pt x="1104900" y="1023938"/>
                    </a:lnTo>
                    <a:lnTo>
                      <a:pt x="1109663" y="1021080"/>
                    </a:lnTo>
                    <a:lnTo>
                      <a:pt x="1114425" y="1018223"/>
                    </a:lnTo>
                    <a:lnTo>
                      <a:pt x="1119188" y="1015365"/>
                    </a:lnTo>
                    <a:lnTo>
                      <a:pt x="1123950" y="1012508"/>
                    </a:lnTo>
                    <a:lnTo>
                      <a:pt x="1127760" y="1008698"/>
                    </a:lnTo>
                    <a:lnTo>
                      <a:pt x="1131570" y="1004888"/>
                    </a:lnTo>
                    <a:lnTo>
                      <a:pt x="1135380" y="1001078"/>
                    </a:lnTo>
                    <a:lnTo>
                      <a:pt x="1139190" y="997268"/>
                    </a:lnTo>
                    <a:lnTo>
                      <a:pt x="1142048" y="993458"/>
                    </a:lnTo>
                    <a:lnTo>
                      <a:pt x="1144905" y="989648"/>
                    </a:lnTo>
                    <a:lnTo>
                      <a:pt x="1147763" y="984885"/>
                    </a:lnTo>
                    <a:lnTo>
                      <a:pt x="1150620" y="980123"/>
                    </a:lnTo>
                    <a:lnTo>
                      <a:pt x="1152525" y="975360"/>
                    </a:lnTo>
                    <a:lnTo>
                      <a:pt x="1154430" y="969645"/>
                    </a:lnTo>
                    <a:lnTo>
                      <a:pt x="1156335" y="963930"/>
                    </a:lnTo>
                    <a:lnTo>
                      <a:pt x="1157288" y="958215"/>
                    </a:lnTo>
                    <a:lnTo>
                      <a:pt x="1158240" y="952500"/>
                    </a:lnTo>
                    <a:lnTo>
                      <a:pt x="1158240" y="946785"/>
                    </a:lnTo>
                    <a:lnTo>
                      <a:pt x="1158240" y="940118"/>
                    </a:lnTo>
                    <a:lnTo>
                      <a:pt x="1158240" y="934403"/>
                    </a:lnTo>
                    <a:lnTo>
                      <a:pt x="1157288" y="927735"/>
                    </a:lnTo>
                    <a:lnTo>
                      <a:pt x="1157288" y="922973"/>
                    </a:lnTo>
                    <a:lnTo>
                      <a:pt x="1156335" y="918210"/>
                    </a:lnTo>
                    <a:lnTo>
                      <a:pt x="1155383" y="913448"/>
                    </a:lnTo>
                    <a:lnTo>
                      <a:pt x="1154430" y="909638"/>
                    </a:lnTo>
                    <a:lnTo>
                      <a:pt x="1152525" y="905828"/>
                    </a:lnTo>
                    <a:lnTo>
                      <a:pt x="1150620" y="902018"/>
                    </a:lnTo>
                    <a:lnTo>
                      <a:pt x="1148715" y="898208"/>
                    </a:lnTo>
                    <a:lnTo>
                      <a:pt x="1146810" y="894398"/>
                    </a:lnTo>
                    <a:lnTo>
                      <a:pt x="1143953" y="890588"/>
                    </a:lnTo>
                    <a:lnTo>
                      <a:pt x="1141095" y="886778"/>
                    </a:lnTo>
                    <a:lnTo>
                      <a:pt x="1138238" y="882968"/>
                    </a:lnTo>
                    <a:lnTo>
                      <a:pt x="1135380" y="879158"/>
                    </a:lnTo>
                    <a:lnTo>
                      <a:pt x="1132523" y="875348"/>
                    </a:lnTo>
                    <a:lnTo>
                      <a:pt x="1128713" y="871538"/>
                    </a:lnTo>
                    <a:lnTo>
                      <a:pt x="1124903" y="868680"/>
                    </a:lnTo>
                    <a:lnTo>
                      <a:pt x="1121093" y="865823"/>
                    </a:lnTo>
                    <a:lnTo>
                      <a:pt x="1112520" y="860108"/>
                    </a:lnTo>
                    <a:lnTo>
                      <a:pt x="1103948" y="854393"/>
                    </a:lnTo>
                    <a:lnTo>
                      <a:pt x="1094423" y="848678"/>
                    </a:lnTo>
                    <a:lnTo>
                      <a:pt x="1084898" y="842963"/>
                    </a:lnTo>
                    <a:lnTo>
                      <a:pt x="1074420" y="838200"/>
                    </a:lnTo>
                    <a:lnTo>
                      <a:pt x="1063943" y="833438"/>
                    </a:lnTo>
                    <a:lnTo>
                      <a:pt x="1052513" y="828675"/>
                    </a:lnTo>
                    <a:lnTo>
                      <a:pt x="1035368" y="825818"/>
                    </a:lnTo>
                    <a:lnTo>
                      <a:pt x="1035368" y="825818"/>
                    </a:lnTo>
                    <a:close/>
                    <a:moveTo>
                      <a:pt x="1046798" y="241935"/>
                    </a:moveTo>
                    <a:lnTo>
                      <a:pt x="1044893" y="278130"/>
                    </a:lnTo>
                    <a:lnTo>
                      <a:pt x="1044893" y="278130"/>
                    </a:lnTo>
                    <a:lnTo>
                      <a:pt x="1044893" y="285750"/>
                    </a:lnTo>
                    <a:lnTo>
                      <a:pt x="1042988" y="320040"/>
                    </a:lnTo>
                    <a:lnTo>
                      <a:pt x="1058228" y="322898"/>
                    </a:lnTo>
                    <a:lnTo>
                      <a:pt x="1072515" y="326708"/>
                    </a:lnTo>
                    <a:lnTo>
                      <a:pt x="1079183" y="328613"/>
                    </a:lnTo>
                    <a:lnTo>
                      <a:pt x="1085850" y="330518"/>
                    </a:lnTo>
                    <a:lnTo>
                      <a:pt x="1092518" y="332423"/>
                    </a:lnTo>
                    <a:lnTo>
                      <a:pt x="1098233" y="335280"/>
                    </a:lnTo>
                    <a:lnTo>
                      <a:pt x="1103948" y="338138"/>
                    </a:lnTo>
                    <a:lnTo>
                      <a:pt x="1109663" y="340995"/>
                    </a:lnTo>
                    <a:lnTo>
                      <a:pt x="1115378" y="343853"/>
                    </a:lnTo>
                    <a:lnTo>
                      <a:pt x="1121093" y="346710"/>
                    </a:lnTo>
                    <a:lnTo>
                      <a:pt x="1125855" y="349568"/>
                    </a:lnTo>
                    <a:lnTo>
                      <a:pt x="1130618" y="352425"/>
                    </a:lnTo>
                    <a:lnTo>
                      <a:pt x="1134428" y="355283"/>
                    </a:lnTo>
                    <a:lnTo>
                      <a:pt x="1138238" y="358140"/>
                    </a:lnTo>
                    <a:lnTo>
                      <a:pt x="1142048" y="361950"/>
                    </a:lnTo>
                    <a:lnTo>
                      <a:pt x="1145858" y="364808"/>
                    </a:lnTo>
                    <a:lnTo>
                      <a:pt x="1148715" y="368618"/>
                    </a:lnTo>
                    <a:lnTo>
                      <a:pt x="1151573" y="372428"/>
                    </a:lnTo>
                    <a:lnTo>
                      <a:pt x="1154430" y="376238"/>
                    </a:lnTo>
                    <a:lnTo>
                      <a:pt x="1157288" y="380048"/>
                    </a:lnTo>
                    <a:lnTo>
                      <a:pt x="1159193" y="383858"/>
                    </a:lnTo>
                    <a:lnTo>
                      <a:pt x="1161098" y="387668"/>
                    </a:lnTo>
                    <a:lnTo>
                      <a:pt x="1163003" y="391478"/>
                    </a:lnTo>
                    <a:lnTo>
                      <a:pt x="1163955" y="396240"/>
                    </a:lnTo>
                    <a:lnTo>
                      <a:pt x="1164908" y="401003"/>
                    </a:lnTo>
                    <a:lnTo>
                      <a:pt x="1165860" y="405765"/>
                    </a:lnTo>
                    <a:lnTo>
                      <a:pt x="1166813" y="410528"/>
                    </a:lnTo>
                    <a:lnTo>
                      <a:pt x="1166813" y="415290"/>
                    </a:lnTo>
                    <a:lnTo>
                      <a:pt x="1166813" y="420053"/>
                    </a:lnTo>
                    <a:lnTo>
                      <a:pt x="1166813" y="425768"/>
                    </a:lnTo>
                    <a:lnTo>
                      <a:pt x="1166813" y="432435"/>
                    </a:lnTo>
                    <a:lnTo>
                      <a:pt x="1165860" y="438150"/>
                    </a:lnTo>
                    <a:lnTo>
                      <a:pt x="1164908" y="443865"/>
                    </a:lnTo>
                    <a:lnTo>
                      <a:pt x="1163955" y="449580"/>
                    </a:lnTo>
                    <a:lnTo>
                      <a:pt x="1149668" y="442913"/>
                    </a:lnTo>
                    <a:lnTo>
                      <a:pt x="1135380" y="437198"/>
                    </a:lnTo>
                    <a:lnTo>
                      <a:pt x="1120140" y="431483"/>
                    </a:lnTo>
                    <a:lnTo>
                      <a:pt x="1105853" y="426720"/>
                    </a:lnTo>
                    <a:lnTo>
                      <a:pt x="1090613" y="422910"/>
                    </a:lnTo>
                    <a:lnTo>
                      <a:pt x="1075373" y="419100"/>
                    </a:lnTo>
                    <a:lnTo>
                      <a:pt x="1060133" y="416243"/>
                    </a:lnTo>
                    <a:lnTo>
                      <a:pt x="1044893" y="413385"/>
                    </a:lnTo>
                    <a:lnTo>
                      <a:pt x="1044893" y="436245"/>
                    </a:lnTo>
                    <a:lnTo>
                      <a:pt x="1060133" y="439103"/>
                    </a:lnTo>
                    <a:lnTo>
                      <a:pt x="1074420" y="441960"/>
                    </a:lnTo>
                    <a:lnTo>
                      <a:pt x="1088708" y="445770"/>
                    </a:lnTo>
                    <a:lnTo>
                      <a:pt x="1102995" y="449580"/>
                    </a:lnTo>
                    <a:lnTo>
                      <a:pt x="1116330" y="454343"/>
                    </a:lnTo>
                    <a:lnTo>
                      <a:pt x="1129665" y="459105"/>
                    </a:lnTo>
                    <a:lnTo>
                      <a:pt x="1143000" y="464820"/>
                    </a:lnTo>
                    <a:lnTo>
                      <a:pt x="1156335" y="470535"/>
                    </a:lnTo>
                    <a:lnTo>
                      <a:pt x="1153478" y="474345"/>
                    </a:lnTo>
                    <a:lnTo>
                      <a:pt x="1150620" y="478155"/>
                    </a:lnTo>
                    <a:lnTo>
                      <a:pt x="1147763" y="481965"/>
                    </a:lnTo>
                    <a:lnTo>
                      <a:pt x="1144905" y="485775"/>
                    </a:lnTo>
                    <a:lnTo>
                      <a:pt x="1142048" y="488633"/>
                    </a:lnTo>
                    <a:lnTo>
                      <a:pt x="1138238" y="491490"/>
                    </a:lnTo>
                    <a:lnTo>
                      <a:pt x="1134428" y="494348"/>
                    </a:lnTo>
                    <a:lnTo>
                      <a:pt x="1130618" y="497205"/>
                    </a:lnTo>
                    <a:lnTo>
                      <a:pt x="1126808" y="500063"/>
                    </a:lnTo>
                    <a:lnTo>
                      <a:pt x="1122045" y="502920"/>
                    </a:lnTo>
                    <a:lnTo>
                      <a:pt x="1118235" y="505778"/>
                    </a:lnTo>
                    <a:lnTo>
                      <a:pt x="1113473" y="508635"/>
                    </a:lnTo>
                    <a:lnTo>
                      <a:pt x="1103948" y="514350"/>
                    </a:lnTo>
                    <a:lnTo>
                      <a:pt x="1093470" y="519113"/>
                    </a:lnTo>
                    <a:lnTo>
                      <a:pt x="1082993" y="523875"/>
                    </a:lnTo>
                    <a:lnTo>
                      <a:pt x="1070610" y="527685"/>
                    </a:lnTo>
                    <a:lnTo>
                      <a:pt x="1058228" y="531495"/>
                    </a:lnTo>
                    <a:lnTo>
                      <a:pt x="1044893" y="535305"/>
                    </a:lnTo>
                    <a:lnTo>
                      <a:pt x="1031558" y="539115"/>
                    </a:lnTo>
                    <a:lnTo>
                      <a:pt x="1017270" y="542925"/>
                    </a:lnTo>
                    <a:lnTo>
                      <a:pt x="1002030" y="545783"/>
                    </a:lnTo>
                    <a:lnTo>
                      <a:pt x="986790" y="549593"/>
                    </a:lnTo>
                    <a:lnTo>
                      <a:pt x="969645" y="553403"/>
                    </a:lnTo>
                    <a:lnTo>
                      <a:pt x="952500" y="557213"/>
                    </a:lnTo>
                    <a:lnTo>
                      <a:pt x="942975" y="557213"/>
                    </a:lnTo>
                    <a:lnTo>
                      <a:pt x="933450" y="560070"/>
                    </a:lnTo>
                    <a:lnTo>
                      <a:pt x="923925" y="562928"/>
                    </a:lnTo>
                    <a:lnTo>
                      <a:pt x="915353" y="565785"/>
                    </a:lnTo>
                    <a:lnTo>
                      <a:pt x="906780" y="568643"/>
                    </a:lnTo>
                    <a:lnTo>
                      <a:pt x="898208" y="571500"/>
                    </a:lnTo>
                    <a:lnTo>
                      <a:pt x="889635" y="575310"/>
                    </a:lnTo>
                    <a:lnTo>
                      <a:pt x="881063" y="579120"/>
                    </a:lnTo>
                    <a:lnTo>
                      <a:pt x="872490" y="582930"/>
                    </a:lnTo>
                    <a:lnTo>
                      <a:pt x="863918" y="587693"/>
                    </a:lnTo>
                    <a:lnTo>
                      <a:pt x="855345" y="592455"/>
                    </a:lnTo>
                    <a:lnTo>
                      <a:pt x="847725" y="597218"/>
                    </a:lnTo>
                    <a:lnTo>
                      <a:pt x="840105" y="602933"/>
                    </a:lnTo>
                    <a:lnTo>
                      <a:pt x="833438" y="608648"/>
                    </a:lnTo>
                    <a:lnTo>
                      <a:pt x="826770" y="614363"/>
                    </a:lnTo>
                    <a:lnTo>
                      <a:pt x="820103" y="620078"/>
                    </a:lnTo>
                    <a:lnTo>
                      <a:pt x="814388" y="626745"/>
                    </a:lnTo>
                    <a:lnTo>
                      <a:pt x="809625" y="633413"/>
                    </a:lnTo>
                    <a:lnTo>
                      <a:pt x="803910" y="641033"/>
                    </a:lnTo>
                    <a:lnTo>
                      <a:pt x="799148" y="648653"/>
                    </a:lnTo>
                    <a:lnTo>
                      <a:pt x="795338" y="657225"/>
                    </a:lnTo>
                    <a:lnTo>
                      <a:pt x="791528" y="665798"/>
                    </a:lnTo>
                    <a:lnTo>
                      <a:pt x="788670" y="674370"/>
                    </a:lnTo>
                    <a:lnTo>
                      <a:pt x="785813" y="683895"/>
                    </a:lnTo>
                    <a:lnTo>
                      <a:pt x="783908" y="693420"/>
                    </a:lnTo>
                    <a:lnTo>
                      <a:pt x="782955" y="702945"/>
                    </a:lnTo>
                    <a:lnTo>
                      <a:pt x="782955" y="713423"/>
                    </a:lnTo>
                    <a:lnTo>
                      <a:pt x="782955" y="723900"/>
                    </a:lnTo>
                    <a:lnTo>
                      <a:pt x="783908" y="733425"/>
                    </a:lnTo>
                    <a:lnTo>
                      <a:pt x="784860" y="741998"/>
                    </a:lnTo>
                    <a:lnTo>
                      <a:pt x="786765" y="750570"/>
                    </a:lnTo>
                    <a:lnTo>
                      <a:pt x="788670" y="759143"/>
                    </a:lnTo>
                    <a:lnTo>
                      <a:pt x="791528" y="766763"/>
                    </a:lnTo>
                    <a:lnTo>
                      <a:pt x="794385" y="774383"/>
                    </a:lnTo>
                    <a:lnTo>
                      <a:pt x="798195" y="781050"/>
                    </a:lnTo>
                    <a:lnTo>
                      <a:pt x="802005" y="787718"/>
                    </a:lnTo>
                    <a:lnTo>
                      <a:pt x="805815" y="794385"/>
                    </a:lnTo>
                    <a:lnTo>
                      <a:pt x="810578" y="800100"/>
                    </a:lnTo>
                    <a:lnTo>
                      <a:pt x="815340" y="805815"/>
                    </a:lnTo>
                    <a:lnTo>
                      <a:pt x="820103" y="811530"/>
                    </a:lnTo>
                    <a:lnTo>
                      <a:pt x="824865" y="817245"/>
                    </a:lnTo>
                    <a:lnTo>
                      <a:pt x="830580" y="822008"/>
                    </a:lnTo>
                    <a:lnTo>
                      <a:pt x="836295" y="826770"/>
                    </a:lnTo>
                    <a:lnTo>
                      <a:pt x="842010" y="831533"/>
                    </a:lnTo>
                    <a:lnTo>
                      <a:pt x="847725" y="835343"/>
                    </a:lnTo>
                    <a:lnTo>
                      <a:pt x="853440" y="839153"/>
                    </a:lnTo>
                    <a:lnTo>
                      <a:pt x="859155" y="842963"/>
                    </a:lnTo>
                    <a:lnTo>
                      <a:pt x="864870" y="846773"/>
                    </a:lnTo>
                    <a:lnTo>
                      <a:pt x="871538" y="849630"/>
                    </a:lnTo>
                    <a:lnTo>
                      <a:pt x="877253" y="852488"/>
                    </a:lnTo>
                    <a:lnTo>
                      <a:pt x="882968" y="855345"/>
                    </a:lnTo>
                    <a:lnTo>
                      <a:pt x="889635" y="858203"/>
                    </a:lnTo>
                    <a:lnTo>
                      <a:pt x="902018" y="862965"/>
                    </a:lnTo>
                    <a:lnTo>
                      <a:pt x="913448" y="866775"/>
                    </a:lnTo>
                    <a:lnTo>
                      <a:pt x="923925" y="869633"/>
                    </a:lnTo>
                    <a:lnTo>
                      <a:pt x="933450" y="872490"/>
                    </a:lnTo>
                    <a:lnTo>
                      <a:pt x="933450" y="862013"/>
                    </a:lnTo>
                    <a:lnTo>
                      <a:pt x="933450" y="851535"/>
                    </a:lnTo>
                    <a:lnTo>
                      <a:pt x="933450" y="841058"/>
                    </a:lnTo>
                    <a:lnTo>
                      <a:pt x="933450" y="830580"/>
                    </a:lnTo>
                    <a:lnTo>
                      <a:pt x="933450" y="820103"/>
                    </a:lnTo>
                    <a:lnTo>
                      <a:pt x="933450" y="808673"/>
                    </a:lnTo>
                    <a:lnTo>
                      <a:pt x="933450" y="798195"/>
                    </a:lnTo>
                    <a:lnTo>
                      <a:pt x="933450" y="787718"/>
                    </a:lnTo>
                    <a:lnTo>
                      <a:pt x="927735" y="784860"/>
                    </a:lnTo>
                    <a:lnTo>
                      <a:pt x="922020" y="782003"/>
                    </a:lnTo>
                    <a:lnTo>
                      <a:pt x="915353" y="781050"/>
                    </a:lnTo>
                    <a:lnTo>
                      <a:pt x="909638" y="778193"/>
                    </a:lnTo>
                    <a:lnTo>
                      <a:pt x="904875" y="774383"/>
                    </a:lnTo>
                    <a:lnTo>
                      <a:pt x="900113" y="770573"/>
                    </a:lnTo>
                    <a:lnTo>
                      <a:pt x="895350" y="766763"/>
                    </a:lnTo>
                    <a:lnTo>
                      <a:pt x="892493" y="762000"/>
                    </a:lnTo>
                    <a:lnTo>
                      <a:pt x="888683" y="757238"/>
                    </a:lnTo>
                    <a:lnTo>
                      <a:pt x="885825" y="752475"/>
                    </a:lnTo>
                    <a:lnTo>
                      <a:pt x="882968" y="746760"/>
                    </a:lnTo>
                    <a:lnTo>
                      <a:pt x="881063" y="740093"/>
                    </a:lnTo>
                    <a:lnTo>
                      <a:pt x="880110" y="737235"/>
                    </a:lnTo>
                    <a:lnTo>
                      <a:pt x="879158" y="734378"/>
                    </a:lnTo>
                    <a:lnTo>
                      <a:pt x="878205" y="730568"/>
                    </a:lnTo>
                    <a:lnTo>
                      <a:pt x="878205" y="726758"/>
                    </a:lnTo>
                    <a:lnTo>
                      <a:pt x="878205" y="722948"/>
                    </a:lnTo>
                    <a:lnTo>
                      <a:pt x="878205" y="719138"/>
                    </a:lnTo>
                    <a:lnTo>
                      <a:pt x="878205" y="715328"/>
                    </a:lnTo>
                    <a:lnTo>
                      <a:pt x="878205" y="711518"/>
                    </a:lnTo>
                    <a:lnTo>
                      <a:pt x="879158" y="705803"/>
                    </a:lnTo>
                    <a:lnTo>
                      <a:pt x="880110" y="701040"/>
                    </a:lnTo>
                    <a:lnTo>
                      <a:pt x="882015" y="695325"/>
                    </a:lnTo>
                    <a:lnTo>
                      <a:pt x="884873" y="690563"/>
                    </a:lnTo>
                    <a:lnTo>
                      <a:pt x="887730" y="685800"/>
                    </a:lnTo>
                    <a:lnTo>
                      <a:pt x="891540" y="681038"/>
                    </a:lnTo>
                    <a:lnTo>
                      <a:pt x="895350" y="677228"/>
                    </a:lnTo>
                    <a:lnTo>
                      <a:pt x="900113" y="673418"/>
                    </a:lnTo>
                    <a:lnTo>
                      <a:pt x="904875" y="669608"/>
                    </a:lnTo>
                    <a:lnTo>
                      <a:pt x="910590" y="665798"/>
                    </a:lnTo>
                    <a:lnTo>
                      <a:pt x="916305" y="661988"/>
                    </a:lnTo>
                    <a:lnTo>
                      <a:pt x="922973" y="659130"/>
                    </a:lnTo>
                    <a:lnTo>
                      <a:pt x="929640" y="655320"/>
                    </a:lnTo>
                    <a:lnTo>
                      <a:pt x="936308" y="652463"/>
                    </a:lnTo>
                    <a:lnTo>
                      <a:pt x="942975" y="647700"/>
                    </a:lnTo>
                    <a:lnTo>
                      <a:pt x="950595" y="644843"/>
                    </a:lnTo>
                    <a:lnTo>
                      <a:pt x="966788" y="639128"/>
                    </a:lnTo>
                    <a:lnTo>
                      <a:pt x="982980" y="634365"/>
                    </a:lnTo>
                    <a:lnTo>
                      <a:pt x="1000125" y="629603"/>
                    </a:lnTo>
                    <a:lnTo>
                      <a:pt x="1018223" y="624840"/>
                    </a:lnTo>
                    <a:lnTo>
                      <a:pt x="1054418" y="615315"/>
                    </a:lnTo>
                    <a:lnTo>
                      <a:pt x="1090613" y="605790"/>
                    </a:lnTo>
                    <a:lnTo>
                      <a:pt x="1104900" y="601028"/>
                    </a:lnTo>
                    <a:lnTo>
                      <a:pt x="1118235" y="596265"/>
                    </a:lnTo>
                    <a:lnTo>
                      <a:pt x="1130618" y="591503"/>
                    </a:lnTo>
                    <a:lnTo>
                      <a:pt x="1142048" y="586740"/>
                    </a:lnTo>
                    <a:lnTo>
                      <a:pt x="1153478" y="581978"/>
                    </a:lnTo>
                    <a:lnTo>
                      <a:pt x="1163955" y="577215"/>
                    </a:lnTo>
                    <a:lnTo>
                      <a:pt x="1173480" y="572453"/>
                    </a:lnTo>
                    <a:lnTo>
                      <a:pt x="1182053" y="567690"/>
                    </a:lnTo>
                    <a:lnTo>
                      <a:pt x="1190625" y="561975"/>
                    </a:lnTo>
                    <a:lnTo>
                      <a:pt x="1198245" y="557213"/>
                    </a:lnTo>
                    <a:lnTo>
                      <a:pt x="1204913" y="551498"/>
                    </a:lnTo>
                    <a:lnTo>
                      <a:pt x="1211580" y="545783"/>
                    </a:lnTo>
                    <a:lnTo>
                      <a:pt x="1217295" y="540068"/>
                    </a:lnTo>
                    <a:lnTo>
                      <a:pt x="1223010" y="534353"/>
                    </a:lnTo>
                    <a:lnTo>
                      <a:pt x="1227773" y="528638"/>
                    </a:lnTo>
                    <a:lnTo>
                      <a:pt x="1232535" y="521970"/>
                    </a:lnTo>
                    <a:lnTo>
                      <a:pt x="1236345" y="525780"/>
                    </a:lnTo>
                    <a:lnTo>
                      <a:pt x="1241108" y="529590"/>
                    </a:lnTo>
                    <a:lnTo>
                      <a:pt x="1244918" y="533400"/>
                    </a:lnTo>
                    <a:lnTo>
                      <a:pt x="1248728" y="537210"/>
                    </a:lnTo>
                    <a:lnTo>
                      <a:pt x="1247775" y="538163"/>
                    </a:lnTo>
                    <a:lnTo>
                      <a:pt x="1247775" y="538163"/>
                    </a:lnTo>
                    <a:lnTo>
                      <a:pt x="1248728" y="538163"/>
                    </a:lnTo>
                    <a:lnTo>
                      <a:pt x="1252538" y="541973"/>
                    </a:lnTo>
                    <a:lnTo>
                      <a:pt x="1173480" y="621030"/>
                    </a:lnTo>
                    <a:lnTo>
                      <a:pt x="1167765" y="616268"/>
                    </a:lnTo>
                    <a:lnTo>
                      <a:pt x="1162050" y="611505"/>
                    </a:lnTo>
                    <a:lnTo>
                      <a:pt x="1156335" y="606743"/>
                    </a:lnTo>
                    <a:lnTo>
                      <a:pt x="1150620" y="602933"/>
                    </a:lnTo>
                    <a:lnTo>
                      <a:pt x="1125855" y="610553"/>
                    </a:lnTo>
                    <a:lnTo>
                      <a:pt x="1134428" y="616268"/>
                    </a:lnTo>
                    <a:lnTo>
                      <a:pt x="1142048" y="622935"/>
                    </a:lnTo>
                    <a:lnTo>
                      <a:pt x="1152525" y="628650"/>
                    </a:lnTo>
                    <a:lnTo>
                      <a:pt x="1160145" y="635318"/>
                    </a:lnTo>
                    <a:lnTo>
                      <a:pt x="1129665" y="666750"/>
                    </a:lnTo>
                    <a:lnTo>
                      <a:pt x="1127760" y="664845"/>
                    </a:lnTo>
                    <a:lnTo>
                      <a:pt x="1093470" y="670560"/>
                    </a:lnTo>
                    <a:lnTo>
                      <a:pt x="1087755" y="679133"/>
                    </a:lnTo>
                    <a:lnTo>
                      <a:pt x="1080135" y="679133"/>
                    </a:lnTo>
                    <a:lnTo>
                      <a:pt x="1098233" y="661035"/>
                    </a:lnTo>
                    <a:lnTo>
                      <a:pt x="1093470" y="658178"/>
                    </a:lnTo>
                    <a:lnTo>
                      <a:pt x="1075373" y="681990"/>
                    </a:lnTo>
                    <a:lnTo>
                      <a:pt x="1080135" y="681990"/>
                    </a:lnTo>
                    <a:lnTo>
                      <a:pt x="1080135" y="690563"/>
                    </a:lnTo>
                    <a:lnTo>
                      <a:pt x="1085850" y="693420"/>
                    </a:lnTo>
                    <a:lnTo>
                      <a:pt x="1088708" y="701993"/>
                    </a:lnTo>
                    <a:lnTo>
                      <a:pt x="1076325" y="701993"/>
                    </a:lnTo>
                    <a:lnTo>
                      <a:pt x="1064895" y="701993"/>
                    </a:lnTo>
                    <a:lnTo>
                      <a:pt x="1036320" y="687705"/>
                    </a:lnTo>
                    <a:lnTo>
                      <a:pt x="1033463" y="803910"/>
                    </a:lnTo>
                    <a:lnTo>
                      <a:pt x="1059180" y="812483"/>
                    </a:lnTo>
                    <a:lnTo>
                      <a:pt x="1084898" y="823913"/>
                    </a:lnTo>
                    <a:lnTo>
                      <a:pt x="1107758" y="835343"/>
                    </a:lnTo>
                    <a:lnTo>
                      <a:pt x="1127760" y="852488"/>
                    </a:lnTo>
                    <a:lnTo>
                      <a:pt x="1147763" y="869633"/>
                    </a:lnTo>
                    <a:lnTo>
                      <a:pt x="1162050" y="892493"/>
                    </a:lnTo>
                    <a:lnTo>
                      <a:pt x="1170623" y="918210"/>
                    </a:lnTo>
                    <a:lnTo>
                      <a:pt x="1173480" y="932498"/>
                    </a:lnTo>
                    <a:lnTo>
                      <a:pt x="1173480" y="946785"/>
                    </a:lnTo>
                    <a:lnTo>
                      <a:pt x="1170623" y="975360"/>
                    </a:lnTo>
                    <a:lnTo>
                      <a:pt x="1162050" y="998220"/>
                    </a:lnTo>
                    <a:lnTo>
                      <a:pt x="1144905" y="1021080"/>
                    </a:lnTo>
                    <a:lnTo>
                      <a:pt x="1124903" y="1038225"/>
                    </a:lnTo>
                    <a:lnTo>
                      <a:pt x="1122045" y="1041083"/>
                    </a:lnTo>
                    <a:lnTo>
                      <a:pt x="1111568" y="1047750"/>
                    </a:lnTo>
                    <a:lnTo>
                      <a:pt x="1104900" y="1051560"/>
                    </a:lnTo>
                    <a:lnTo>
                      <a:pt x="1098233" y="1055370"/>
                    </a:lnTo>
                    <a:lnTo>
                      <a:pt x="1091565" y="1058228"/>
                    </a:lnTo>
                    <a:lnTo>
                      <a:pt x="1083945" y="1061085"/>
                    </a:lnTo>
                    <a:lnTo>
                      <a:pt x="1077278" y="1063943"/>
                    </a:lnTo>
                    <a:lnTo>
                      <a:pt x="1039178" y="1075373"/>
                    </a:lnTo>
                    <a:lnTo>
                      <a:pt x="1035368" y="1076325"/>
                    </a:lnTo>
                    <a:lnTo>
                      <a:pt x="1030605" y="1077278"/>
                    </a:lnTo>
                    <a:lnTo>
                      <a:pt x="1030605" y="1079183"/>
                    </a:lnTo>
                    <a:lnTo>
                      <a:pt x="1029653" y="1079183"/>
                    </a:lnTo>
                    <a:lnTo>
                      <a:pt x="1026795" y="1141095"/>
                    </a:lnTo>
                    <a:lnTo>
                      <a:pt x="1046798" y="1149668"/>
                    </a:lnTo>
                    <a:lnTo>
                      <a:pt x="1066800" y="1161098"/>
                    </a:lnTo>
                    <a:lnTo>
                      <a:pt x="1083945" y="1175385"/>
                    </a:lnTo>
                    <a:lnTo>
                      <a:pt x="1101090" y="1192530"/>
                    </a:lnTo>
                    <a:lnTo>
                      <a:pt x="1105853" y="1200150"/>
                    </a:lnTo>
                    <a:lnTo>
                      <a:pt x="1115378" y="1218248"/>
                    </a:lnTo>
                    <a:lnTo>
                      <a:pt x="1123950" y="1238250"/>
                    </a:lnTo>
                    <a:lnTo>
                      <a:pt x="1129665" y="1266825"/>
                    </a:lnTo>
                    <a:lnTo>
                      <a:pt x="1129665" y="1301115"/>
                    </a:lnTo>
                    <a:lnTo>
                      <a:pt x="1129665" y="1318260"/>
                    </a:lnTo>
                    <a:lnTo>
                      <a:pt x="1124903" y="1326833"/>
                    </a:lnTo>
                    <a:lnTo>
                      <a:pt x="1119188" y="1332548"/>
                    </a:lnTo>
                    <a:lnTo>
                      <a:pt x="1119188" y="1332548"/>
                    </a:lnTo>
                    <a:lnTo>
                      <a:pt x="1120140" y="1333500"/>
                    </a:lnTo>
                    <a:lnTo>
                      <a:pt x="1107758" y="1336358"/>
                    </a:lnTo>
                    <a:lnTo>
                      <a:pt x="1096328" y="1339215"/>
                    </a:lnTo>
                    <a:lnTo>
                      <a:pt x="1083945" y="1341120"/>
                    </a:lnTo>
                    <a:lnTo>
                      <a:pt x="1071563" y="1343025"/>
                    </a:lnTo>
                    <a:lnTo>
                      <a:pt x="1057275" y="1343025"/>
                    </a:lnTo>
                    <a:lnTo>
                      <a:pt x="1044893" y="1344930"/>
                    </a:lnTo>
                    <a:lnTo>
                      <a:pt x="1032510" y="1345883"/>
                    </a:lnTo>
                    <a:lnTo>
                      <a:pt x="1020128" y="1346835"/>
                    </a:lnTo>
                    <a:lnTo>
                      <a:pt x="1019175" y="1370648"/>
                    </a:lnTo>
                    <a:lnTo>
                      <a:pt x="1031558" y="1369695"/>
                    </a:lnTo>
                    <a:lnTo>
                      <a:pt x="1043940" y="1368743"/>
                    </a:lnTo>
                    <a:lnTo>
                      <a:pt x="1056323" y="1366838"/>
                    </a:lnTo>
                    <a:lnTo>
                      <a:pt x="1068705" y="1364933"/>
                    </a:lnTo>
                    <a:lnTo>
                      <a:pt x="1081088" y="1363028"/>
                    </a:lnTo>
                    <a:lnTo>
                      <a:pt x="1093470" y="1360170"/>
                    </a:lnTo>
                    <a:lnTo>
                      <a:pt x="1105853" y="1357313"/>
                    </a:lnTo>
                    <a:lnTo>
                      <a:pt x="1118235" y="1354455"/>
                    </a:lnTo>
                    <a:lnTo>
                      <a:pt x="1129665" y="1351598"/>
                    </a:lnTo>
                    <a:lnTo>
                      <a:pt x="1142048" y="1348740"/>
                    </a:lnTo>
                    <a:lnTo>
                      <a:pt x="1153478" y="1344930"/>
                    </a:lnTo>
                    <a:lnTo>
                      <a:pt x="1164908" y="1341120"/>
                    </a:lnTo>
                    <a:lnTo>
                      <a:pt x="1176338" y="1337310"/>
                    </a:lnTo>
                    <a:lnTo>
                      <a:pt x="1187768" y="1333500"/>
                    </a:lnTo>
                    <a:lnTo>
                      <a:pt x="1199198" y="1328738"/>
                    </a:lnTo>
                    <a:lnTo>
                      <a:pt x="1209675" y="1323975"/>
                    </a:lnTo>
                    <a:lnTo>
                      <a:pt x="1220153" y="1319213"/>
                    </a:lnTo>
                    <a:lnTo>
                      <a:pt x="1230630" y="1313498"/>
                    </a:lnTo>
                    <a:lnTo>
                      <a:pt x="1241108" y="1307783"/>
                    </a:lnTo>
                    <a:lnTo>
                      <a:pt x="1251585" y="1302068"/>
                    </a:lnTo>
                    <a:lnTo>
                      <a:pt x="1262063" y="1296353"/>
                    </a:lnTo>
                    <a:lnTo>
                      <a:pt x="1272540" y="1289685"/>
                    </a:lnTo>
                    <a:lnTo>
                      <a:pt x="1282065" y="1283018"/>
                    </a:lnTo>
                    <a:lnTo>
                      <a:pt x="1292543" y="1276350"/>
                    </a:lnTo>
                    <a:lnTo>
                      <a:pt x="1302068" y="1269683"/>
                    </a:lnTo>
                    <a:lnTo>
                      <a:pt x="1311593" y="1263015"/>
                    </a:lnTo>
                    <a:lnTo>
                      <a:pt x="1321118" y="1256348"/>
                    </a:lnTo>
                    <a:lnTo>
                      <a:pt x="1330643" y="1248728"/>
                    </a:lnTo>
                    <a:lnTo>
                      <a:pt x="1340168" y="1241108"/>
                    </a:lnTo>
                    <a:lnTo>
                      <a:pt x="1349693" y="1233488"/>
                    </a:lnTo>
                    <a:lnTo>
                      <a:pt x="1358265" y="1225868"/>
                    </a:lnTo>
                    <a:lnTo>
                      <a:pt x="1366838" y="1217295"/>
                    </a:lnTo>
                    <a:lnTo>
                      <a:pt x="1444943" y="1295400"/>
                    </a:lnTo>
                    <a:lnTo>
                      <a:pt x="1433513" y="1305878"/>
                    </a:lnTo>
                    <a:lnTo>
                      <a:pt x="1422083" y="1316355"/>
                    </a:lnTo>
                    <a:lnTo>
                      <a:pt x="1410653" y="1326833"/>
                    </a:lnTo>
                    <a:lnTo>
                      <a:pt x="1398270" y="1336358"/>
                    </a:lnTo>
                    <a:lnTo>
                      <a:pt x="1385888" y="1345883"/>
                    </a:lnTo>
                    <a:lnTo>
                      <a:pt x="1373505" y="1355408"/>
                    </a:lnTo>
                    <a:lnTo>
                      <a:pt x="1361123" y="1364933"/>
                    </a:lnTo>
                    <a:lnTo>
                      <a:pt x="1348740" y="1373505"/>
                    </a:lnTo>
                    <a:lnTo>
                      <a:pt x="1335405" y="1382078"/>
                    </a:lnTo>
                    <a:lnTo>
                      <a:pt x="1322070" y="1389698"/>
                    </a:lnTo>
                    <a:lnTo>
                      <a:pt x="1308735" y="1397318"/>
                    </a:lnTo>
                    <a:lnTo>
                      <a:pt x="1295400" y="1404938"/>
                    </a:lnTo>
                    <a:lnTo>
                      <a:pt x="1281113" y="1411605"/>
                    </a:lnTo>
                    <a:lnTo>
                      <a:pt x="1266825" y="1418273"/>
                    </a:lnTo>
                    <a:lnTo>
                      <a:pt x="1252538" y="1424940"/>
                    </a:lnTo>
                    <a:lnTo>
                      <a:pt x="1238250" y="1430655"/>
                    </a:lnTo>
                    <a:lnTo>
                      <a:pt x="1223963" y="1436370"/>
                    </a:lnTo>
                    <a:lnTo>
                      <a:pt x="1209675" y="1442085"/>
                    </a:lnTo>
                    <a:lnTo>
                      <a:pt x="1194435" y="1447800"/>
                    </a:lnTo>
                    <a:lnTo>
                      <a:pt x="1179195" y="1452563"/>
                    </a:lnTo>
                    <a:lnTo>
                      <a:pt x="1163955" y="1456373"/>
                    </a:lnTo>
                    <a:lnTo>
                      <a:pt x="1148715" y="1460183"/>
                    </a:lnTo>
                    <a:lnTo>
                      <a:pt x="1133475" y="1463993"/>
                    </a:lnTo>
                    <a:lnTo>
                      <a:pt x="1117283" y="1466850"/>
                    </a:lnTo>
                    <a:lnTo>
                      <a:pt x="1101090" y="1469708"/>
                    </a:lnTo>
                    <a:lnTo>
                      <a:pt x="1084898" y="1472565"/>
                    </a:lnTo>
                    <a:lnTo>
                      <a:pt x="1068705" y="1474470"/>
                    </a:lnTo>
                    <a:lnTo>
                      <a:pt x="1052513" y="1476375"/>
                    </a:lnTo>
                    <a:lnTo>
                      <a:pt x="1036320" y="1478280"/>
                    </a:lnTo>
                    <a:lnTo>
                      <a:pt x="1020128" y="1479233"/>
                    </a:lnTo>
                    <a:lnTo>
                      <a:pt x="1003935" y="1480185"/>
                    </a:lnTo>
                    <a:lnTo>
                      <a:pt x="986790" y="1480185"/>
                    </a:lnTo>
                    <a:lnTo>
                      <a:pt x="970598" y="1480185"/>
                    </a:lnTo>
                    <a:lnTo>
                      <a:pt x="954405" y="1479233"/>
                    </a:lnTo>
                    <a:lnTo>
                      <a:pt x="938213" y="1478280"/>
                    </a:lnTo>
                    <a:lnTo>
                      <a:pt x="922020" y="1477328"/>
                    </a:lnTo>
                    <a:lnTo>
                      <a:pt x="905828" y="1475423"/>
                    </a:lnTo>
                    <a:lnTo>
                      <a:pt x="889635" y="1472565"/>
                    </a:lnTo>
                    <a:lnTo>
                      <a:pt x="873443" y="1469708"/>
                    </a:lnTo>
                    <a:lnTo>
                      <a:pt x="858203" y="1466850"/>
                    </a:lnTo>
                    <a:lnTo>
                      <a:pt x="842010" y="1463040"/>
                    </a:lnTo>
                    <a:lnTo>
                      <a:pt x="826770" y="1459230"/>
                    </a:lnTo>
                    <a:lnTo>
                      <a:pt x="811530" y="1455420"/>
                    </a:lnTo>
                    <a:lnTo>
                      <a:pt x="796290" y="1451610"/>
                    </a:lnTo>
                    <a:lnTo>
                      <a:pt x="782003" y="1446848"/>
                    </a:lnTo>
                    <a:lnTo>
                      <a:pt x="766763" y="1441133"/>
                    </a:lnTo>
                    <a:lnTo>
                      <a:pt x="751523" y="1435418"/>
                    </a:lnTo>
                    <a:lnTo>
                      <a:pt x="737235" y="1429703"/>
                    </a:lnTo>
                    <a:lnTo>
                      <a:pt x="722948" y="1423988"/>
                    </a:lnTo>
                    <a:lnTo>
                      <a:pt x="708660" y="1417320"/>
                    </a:lnTo>
                    <a:lnTo>
                      <a:pt x="694373" y="1410653"/>
                    </a:lnTo>
                    <a:lnTo>
                      <a:pt x="681038" y="1403985"/>
                    </a:lnTo>
                    <a:lnTo>
                      <a:pt x="667703" y="1396365"/>
                    </a:lnTo>
                    <a:lnTo>
                      <a:pt x="654368" y="1388745"/>
                    </a:lnTo>
                    <a:lnTo>
                      <a:pt x="641033" y="1381125"/>
                    </a:lnTo>
                    <a:lnTo>
                      <a:pt x="627698" y="1372553"/>
                    </a:lnTo>
                    <a:lnTo>
                      <a:pt x="614363" y="1363980"/>
                    </a:lnTo>
                    <a:lnTo>
                      <a:pt x="601980" y="1355408"/>
                    </a:lnTo>
                    <a:lnTo>
                      <a:pt x="589598" y="1345883"/>
                    </a:lnTo>
                    <a:lnTo>
                      <a:pt x="577215" y="1336358"/>
                    </a:lnTo>
                    <a:lnTo>
                      <a:pt x="564833" y="1326833"/>
                    </a:lnTo>
                    <a:lnTo>
                      <a:pt x="552450" y="1317308"/>
                    </a:lnTo>
                    <a:lnTo>
                      <a:pt x="541020" y="1306830"/>
                    </a:lnTo>
                    <a:lnTo>
                      <a:pt x="529590" y="1296353"/>
                    </a:lnTo>
                    <a:lnTo>
                      <a:pt x="607695" y="1218248"/>
                    </a:lnTo>
                    <a:lnTo>
                      <a:pt x="616268" y="1225868"/>
                    </a:lnTo>
                    <a:lnTo>
                      <a:pt x="624840" y="1233488"/>
                    </a:lnTo>
                    <a:lnTo>
                      <a:pt x="633413" y="1241108"/>
                    </a:lnTo>
                    <a:lnTo>
                      <a:pt x="641985" y="1247775"/>
                    </a:lnTo>
                    <a:lnTo>
                      <a:pt x="650558" y="1254443"/>
                    </a:lnTo>
                    <a:lnTo>
                      <a:pt x="660083" y="1261110"/>
                    </a:lnTo>
                    <a:lnTo>
                      <a:pt x="668655" y="1267778"/>
                    </a:lnTo>
                    <a:lnTo>
                      <a:pt x="678180" y="1274445"/>
                    </a:lnTo>
                    <a:lnTo>
                      <a:pt x="687705" y="1281113"/>
                    </a:lnTo>
                    <a:lnTo>
                      <a:pt x="697230" y="1286828"/>
                    </a:lnTo>
                    <a:lnTo>
                      <a:pt x="706755" y="1292543"/>
                    </a:lnTo>
                    <a:lnTo>
                      <a:pt x="716280" y="1298258"/>
                    </a:lnTo>
                    <a:lnTo>
                      <a:pt x="725805" y="1303973"/>
                    </a:lnTo>
                    <a:lnTo>
                      <a:pt x="735330" y="1309688"/>
                    </a:lnTo>
                    <a:lnTo>
                      <a:pt x="745808" y="1314450"/>
                    </a:lnTo>
                    <a:lnTo>
                      <a:pt x="756285" y="1319213"/>
                    </a:lnTo>
                    <a:lnTo>
                      <a:pt x="766763" y="1323975"/>
                    </a:lnTo>
                    <a:lnTo>
                      <a:pt x="777240" y="1328738"/>
                    </a:lnTo>
                    <a:lnTo>
                      <a:pt x="787718" y="1332548"/>
                    </a:lnTo>
                    <a:lnTo>
                      <a:pt x="798195" y="1336358"/>
                    </a:lnTo>
                    <a:lnTo>
                      <a:pt x="809625" y="1343025"/>
                    </a:lnTo>
                    <a:lnTo>
                      <a:pt x="820103" y="1346835"/>
                    </a:lnTo>
                    <a:lnTo>
                      <a:pt x="830580" y="1350645"/>
                    </a:lnTo>
                    <a:lnTo>
                      <a:pt x="842010" y="1353503"/>
                    </a:lnTo>
                    <a:lnTo>
                      <a:pt x="853440" y="1356360"/>
                    </a:lnTo>
                    <a:lnTo>
                      <a:pt x="864870" y="1359218"/>
                    </a:lnTo>
                    <a:lnTo>
                      <a:pt x="876300" y="1362075"/>
                    </a:lnTo>
                    <a:lnTo>
                      <a:pt x="887730" y="1363980"/>
                    </a:lnTo>
                    <a:lnTo>
                      <a:pt x="899160" y="1365885"/>
                    </a:lnTo>
                    <a:lnTo>
                      <a:pt x="910590" y="1367790"/>
                    </a:lnTo>
                    <a:lnTo>
                      <a:pt x="922020" y="1369695"/>
                    </a:lnTo>
                    <a:lnTo>
                      <a:pt x="934403" y="1370648"/>
                    </a:lnTo>
                    <a:lnTo>
                      <a:pt x="934403" y="1346835"/>
                    </a:lnTo>
                    <a:lnTo>
                      <a:pt x="923925" y="1345883"/>
                    </a:lnTo>
                    <a:lnTo>
                      <a:pt x="912495" y="1343978"/>
                    </a:lnTo>
                    <a:lnTo>
                      <a:pt x="902018" y="1342073"/>
                    </a:lnTo>
                    <a:lnTo>
                      <a:pt x="890588" y="1340168"/>
                    </a:lnTo>
                    <a:lnTo>
                      <a:pt x="880110" y="1338263"/>
                    </a:lnTo>
                    <a:lnTo>
                      <a:pt x="869633" y="1336358"/>
                    </a:lnTo>
                    <a:lnTo>
                      <a:pt x="859155" y="1333500"/>
                    </a:lnTo>
                    <a:lnTo>
                      <a:pt x="848678" y="1330643"/>
                    </a:lnTo>
                    <a:lnTo>
                      <a:pt x="838200" y="1327785"/>
                    </a:lnTo>
                    <a:lnTo>
                      <a:pt x="827723" y="1324928"/>
                    </a:lnTo>
                    <a:lnTo>
                      <a:pt x="817245" y="1321118"/>
                    </a:lnTo>
                    <a:lnTo>
                      <a:pt x="806768" y="1317308"/>
                    </a:lnTo>
                    <a:lnTo>
                      <a:pt x="796290" y="1313498"/>
                    </a:lnTo>
                    <a:lnTo>
                      <a:pt x="785813" y="1309688"/>
                    </a:lnTo>
                    <a:lnTo>
                      <a:pt x="776288" y="1305878"/>
                    </a:lnTo>
                    <a:lnTo>
                      <a:pt x="766763" y="1301115"/>
                    </a:lnTo>
                    <a:lnTo>
                      <a:pt x="757238" y="1296353"/>
                    </a:lnTo>
                    <a:lnTo>
                      <a:pt x="747713" y="1291590"/>
                    </a:lnTo>
                    <a:lnTo>
                      <a:pt x="738188" y="1286828"/>
                    </a:lnTo>
                    <a:lnTo>
                      <a:pt x="728663" y="1281113"/>
                    </a:lnTo>
                    <a:lnTo>
                      <a:pt x="719138" y="1275398"/>
                    </a:lnTo>
                    <a:lnTo>
                      <a:pt x="709613" y="1269683"/>
                    </a:lnTo>
                    <a:lnTo>
                      <a:pt x="700088" y="1263968"/>
                    </a:lnTo>
                    <a:lnTo>
                      <a:pt x="691515" y="1258253"/>
                    </a:lnTo>
                    <a:lnTo>
                      <a:pt x="682943" y="1251585"/>
                    </a:lnTo>
                    <a:lnTo>
                      <a:pt x="674370" y="1245870"/>
                    </a:lnTo>
                    <a:lnTo>
                      <a:pt x="665798" y="1239203"/>
                    </a:lnTo>
                    <a:lnTo>
                      <a:pt x="657225" y="1232535"/>
                    </a:lnTo>
                    <a:lnTo>
                      <a:pt x="648653" y="1225868"/>
                    </a:lnTo>
                    <a:lnTo>
                      <a:pt x="640080" y="1219200"/>
                    </a:lnTo>
                    <a:lnTo>
                      <a:pt x="632460" y="1212533"/>
                    </a:lnTo>
                    <a:lnTo>
                      <a:pt x="624840" y="1205865"/>
                    </a:lnTo>
                    <a:lnTo>
                      <a:pt x="644843" y="1185863"/>
                    </a:lnTo>
                    <a:lnTo>
                      <a:pt x="645795" y="1186815"/>
                    </a:lnTo>
                    <a:lnTo>
                      <a:pt x="674370" y="1189673"/>
                    </a:lnTo>
                    <a:lnTo>
                      <a:pt x="688658" y="1172528"/>
                    </a:lnTo>
                    <a:lnTo>
                      <a:pt x="728663" y="1175385"/>
                    </a:lnTo>
                    <a:lnTo>
                      <a:pt x="734378" y="1161098"/>
                    </a:lnTo>
                    <a:lnTo>
                      <a:pt x="734378" y="1155383"/>
                    </a:lnTo>
                    <a:lnTo>
                      <a:pt x="735330" y="1156335"/>
                    </a:lnTo>
                    <a:lnTo>
                      <a:pt x="735330" y="1155383"/>
                    </a:lnTo>
                    <a:lnTo>
                      <a:pt x="735330" y="1155383"/>
                    </a:lnTo>
                    <a:lnTo>
                      <a:pt x="745808" y="1163003"/>
                    </a:lnTo>
                    <a:lnTo>
                      <a:pt x="756285" y="1170623"/>
                    </a:lnTo>
                    <a:lnTo>
                      <a:pt x="767715" y="1177290"/>
                    </a:lnTo>
                    <a:lnTo>
                      <a:pt x="779145" y="1183958"/>
                    </a:lnTo>
                    <a:lnTo>
                      <a:pt x="790575" y="1190625"/>
                    </a:lnTo>
                    <a:lnTo>
                      <a:pt x="802005" y="1197293"/>
                    </a:lnTo>
                    <a:lnTo>
                      <a:pt x="814388" y="1203008"/>
                    </a:lnTo>
                    <a:lnTo>
                      <a:pt x="826770" y="1207770"/>
                    </a:lnTo>
                    <a:lnTo>
                      <a:pt x="839153" y="1212533"/>
                    </a:lnTo>
                    <a:lnTo>
                      <a:pt x="851535" y="1217295"/>
                    </a:lnTo>
                    <a:lnTo>
                      <a:pt x="864870" y="1221105"/>
                    </a:lnTo>
                    <a:lnTo>
                      <a:pt x="877253" y="1224915"/>
                    </a:lnTo>
                    <a:lnTo>
                      <a:pt x="890588" y="1228725"/>
                    </a:lnTo>
                    <a:lnTo>
                      <a:pt x="903923" y="1231583"/>
                    </a:lnTo>
                    <a:lnTo>
                      <a:pt x="917258" y="1233488"/>
                    </a:lnTo>
                    <a:lnTo>
                      <a:pt x="931545" y="1235393"/>
                    </a:lnTo>
                    <a:lnTo>
                      <a:pt x="931545" y="1210628"/>
                    </a:lnTo>
                    <a:lnTo>
                      <a:pt x="916305" y="1207770"/>
                    </a:lnTo>
                    <a:lnTo>
                      <a:pt x="901065" y="1204913"/>
                    </a:lnTo>
                    <a:lnTo>
                      <a:pt x="885825" y="1201103"/>
                    </a:lnTo>
                    <a:lnTo>
                      <a:pt x="871538" y="1197293"/>
                    </a:lnTo>
                    <a:lnTo>
                      <a:pt x="857250" y="1192530"/>
                    </a:lnTo>
                    <a:lnTo>
                      <a:pt x="842963" y="1187768"/>
                    </a:lnTo>
                    <a:lnTo>
                      <a:pt x="828675" y="1182053"/>
                    </a:lnTo>
                    <a:lnTo>
                      <a:pt x="814388" y="1175385"/>
                    </a:lnTo>
                    <a:lnTo>
                      <a:pt x="801053" y="1168718"/>
                    </a:lnTo>
                    <a:lnTo>
                      <a:pt x="787718" y="1162050"/>
                    </a:lnTo>
                    <a:lnTo>
                      <a:pt x="775335" y="1154430"/>
                    </a:lnTo>
                    <a:lnTo>
                      <a:pt x="762953" y="1145858"/>
                    </a:lnTo>
                    <a:lnTo>
                      <a:pt x="750570" y="1137285"/>
                    </a:lnTo>
                    <a:lnTo>
                      <a:pt x="739140" y="1128713"/>
                    </a:lnTo>
                    <a:lnTo>
                      <a:pt x="727710" y="1119188"/>
                    </a:lnTo>
                    <a:lnTo>
                      <a:pt x="716280" y="1108710"/>
                    </a:lnTo>
                    <a:lnTo>
                      <a:pt x="795338" y="1029653"/>
                    </a:lnTo>
                    <a:lnTo>
                      <a:pt x="802005" y="1035368"/>
                    </a:lnTo>
                    <a:lnTo>
                      <a:pt x="809625" y="1042035"/>
                    </a:lnTo>
                    <a:lnTo>
                      <a:pt x="817245" y="1047750"/>
                    </a:lnTo>
                    <a:lnTo>
                      <a:pt x="824865" y="1053465"/>
                    </a:lnTo>
                    <a:lnTo>
                      <a:pt x="832485" y="1058228"/>
                    </a:lnTo>
                    <a:lnTo>
                      <a:pt x="841058" y="1062990"/>
                    </a:lnTo>
                    <a:lnTo>
                      <a:pt x="849630" y="1067753"/>
                    </a:lnTo>
                    <a:lnTo>
                      <a:pt x="858203" y="1072515"/>
                    </a:lnTo>
                    <a:lnTo>
                      <a:pt x="858203" y="1071563"/>
                    </a:lnTo>
                    <a:lnTo>
                      <a:pt x="861060" y="1060133"/>
                    </a:lnTo>
                    <a:lnTo>
                      <a:pt x="864870" y="1052513"/>
                    </a:lnTo>
                    <a:lnTo>
                      <a:pt x="857250" y="1048703"/>
                    </a:lnTo>
                    <a:lnTo>
                      <a:pt x="849630" y="1044893"/>
                    </a:lnTo>
                    <a:lnTo>
                      <a:pt x="842963" y="1041083"/>
                    </a:lnTo>
                    <a:lnTo>
                      <a:pt x="836295" y="1036320"/>
                    </a:lnTo>
                    <a:lnTo>
                      <a:pt x="829628" y="1031558"/>
                    </a:lnTo>
                    <a:lnTo>
                      <a:pt x="822960" y="1025843"/>
                    </a:lnTo>
                    <a:lnTo>
                      <a:pt x="816293" y="1021080"/>
                    </a:lnTo>
                    <a:lnTo>
                      <a:pt x="809625" y="1015365"/>
                    </a:lnTo>
                    <a:lnTo>
                      <a:pt x="889635" y="935355"/>
                    </a:lnTo>
                    <a:lnTo>
                      <a:pt x="894398" y="939165"/>
                    </a:lnTo>
                    <a:lnTo>
                      <a:pt x="899160" y="942975"/>
                    </a:lnTo>
                    <a:lnTo>
                      <a:pt x="904875" y="945833"/>
                    </a:lnTo>
                    <a:lnTo>
                      <a:pt x="909638" y="948690"/>
                    </a:lnTo>
                    <a:lnTo>
                      <a:pt x="915353" y="951548"/>
                    </a:lnTo>
                    <a:lnTo>
                      <a:pt x="920115" y="954405"/>
                    </a:lnTo>
                    <a:lnTo>
                      <a:pt x="925830" y="957263"/>
                    </a:lnTo>
                    <a:lnTo>
                      <a:pt x="931545" y="959168"/>
                    </a:lnTo>
                    <a:lnTo>
                      <a:pt x="931545" y="935355"/>
                    </a:lnTo>
                    <a:lnTo>
                      <a:pt x="924878" y="932498"/>
                    </a:lnTo>
                    <a:lnTo>
                      <a:pt x="918210" y="928688"/>
                    </a:lnTo>
                    <a:lnTo>
                      <a:pt x="911543" y="924878"/>
                    </a:lnTo>
                    <a:lnTo>
                      <a:pt x="905828" y="920115"/>
                    </a:lnTo>
                    <a:lnTo>
                      <a:pt x="929640" y="896303"/>
                    </a:lnTo>
                    <a:lnTo>
                      <a:pt x="908685" y="885825"/>
                    </a:lnTo>
                    <a:lnTo>
                      <a:pt x="892493" y="902018"/>
                    </a:lnTo>
                    <a:lnTo>
                      <a:pt x="887730" y="895350"/>
                    </a:lnTo>
                    <a:lnTo>
                      <a:pt x="882968" y="888683"/>
                    </a:lnTo>
                    <a:lnTo>
                      <a:pt x="879158" y="882015"/>
                    </a:lnTo>
                    <a:lnTo>
                      <a:pt x="875348" y="874395"/>
                    </a:lnTo>
                    <a:lnTo>
                      <a:pt x="859155" y="868680"/>
                    </a:lnTo>
                    <a:lnTo>
                      <a:pt x="856298" y="867728"/>
                    </a:lnTo>
                    <a:lnTo>
                      <a:pt x="855345" y="866775"/>
                    </a:lnTo>
                    <a:lnTo>
                      <a:pt x="835343" y="855345"/>
                    </a:lnTo>
                    <a:lnTo>
                      <a:pt x="818198" y="843915"/>
                    </a:lnTo>
                    <a:lnTo>
                      <a:pt x="803910" y="829628"/>
                    </a:lnTo>
                    <a:lnTo>
                      <a:pt x="789623" y="815340"/>
                    </a:lnTo>
                    <a:lnTo>
                      <a:pt x="781050" y="798195"/>
                    </a:lnTo>
                    <a:lnTo>
                      <a:pt x="772478" y="781050"/>
                    </a:lnTo>
                    <a:lnTo>
                      <a:pt x="766763" y="762000"/>
                    </a:lnTo>
                    <a:lnTo>
                      <a:pt x="761048" y="744855"/>
                    </a:lnTo>
                    <a:lnTo>
                      <a:pt x="761048" y="721043"/>
                    </a:lnTo>
                    <a:lnTo>
                      <a:pt x="762953" y="695325"/>
                    </a:lnTo>
                    <a:lnTo>
                      <a:pt x="767715" y="671513"/>
                    </a:lnTo>
                    <a:lnTo>
                      <a:pt x="769620" y="664845"/>
                    </a:lnTo>
                    <a:lnTo>
                      <a:pt x="782955" y="635318"/>
                    </a:lnTo>
                    <a:lnTo>
                      <a:pt x="787718" y="627698"/>
                    </a:lnTo>
                    <a:lnTo>
                      <a:pt x="785813" y="628650"/>
                    </a:lnTo>
                    <a:lnTo>
                      <a:pt x="786765" y="624840"/>
                    </a:lnTo>
                    <a:lnTo>
                      <a:pt x="796290" y="613410"/>
                    </a:lnTo>
                    <a:lnTo>
                      <a:pt x="720090" y="536258"/>
                    </a:lnTo>
                    <a:lnTo>
                      <a:pt x="730568" y="526733"/>
                    </a:lnTo>
                    <a:lnTo>
                      <a:pt x="741998" y="517208"/>
                    </a:lnTo>
                    <a:lnTo>
                      <a:pt x="753428" y="508635"/>
                    </a:lnTo>
                    <a:lnTo>
                      <a:pt x="765810" y="500063"/>
                    </a:lnTo>
                    <a:lnTo>
                      <a:pt x="778193" y="491490"/>
                    </a:lnTo>
                    <a:lnTo>
                      <a:pt x="790575" y="483870"/>
                    </a:lnTo>
                    <a:lnTo>
                      <a:pt x="802958" y="477203"/>
                    </a:lnTo>
                    <a:lnTo>
                      <a:pt x="815340" y="470535"/>
                    </a:lnTo>
                    <a:lnTo>
                      <a:pt x="828675" y="463868"/>
                    </a:lnTo>
                    <a:lnTo>
                      <a:pt x="842010" y="458153"/>
                    </a:lnTo>
                    <a:lnTo>
                      <a:pt x="855345" y="452438"/>
                    </a:lnTo>
                    <a:lnTo>
                      <a:pt x="869633" y="447675"/>
                    </a:lnTo>
                    <a:lnTo>
                      <a:pt x="883920" y="443865"/>
                    </a:lnTo>
                    <a:lnTo>
                      <a:pt x="898208" y="440055"/>
                    </a:lnTo>
                    <a:lnTo>
                      <a:pt x="912495" y="437198"/>
                    </a:lnTo>
                    <a:lnTo>
                      <a:pt x="927735" y="434340"/>
                    </a:lnTo>
                    <a:lnTo>
                      <a:pt x="927735" y="410528"/>
                    </a:lnTo>
                    <a:lnTo>
                      <a:pt x="911543" y="413385"/>
                    </a:lnTo>
                    <a:lnTo>
                      <a:pt x="895350" y="416243"/>
                    </a:lnTo>
                    <a:lnTo>
                      <a:pt x="880110" y="420053"/>
                    </a:lnTo>
                    <a:lnTo>
                      <a:pt x="864870" y="423863"/>
                    </a:lnTo>
                    <a:lnTo>
                      <a:pt x="849630" y="428625"/>
                    </a:lnTo>
                    <a:lnTo>
                      <a:pt x="835343" y="434340"/>
                    </a:lnTo>
                    <a:lnTo>
                      <a:pt x="819150" y="443865"/>
                    </a:lnTo>
                    <a:lnTo>
                      <a:pt x="804863" y="450533"/>
                    </a:lnTo>
                    <a:lnTo>
                      <a:pt x="791528" y="457200"/>
                    </a:lnTo>
                    <a:lnTo>
                      <a:pt x="778193" y="464820"/>
                    </a:lnTo>
                    <a:lnTo>
                      <a:pt x="764858" y="473393"/>
                    </a:lnTo>
                    <a:lnTo>
                      <a:pt x="751523" y="481965"/>
                    </a:lnTo>
                    <a:lnTo>
                      <a:pt x="739140" y="491490"/>
                    </a:lnTo>
                    <a:lnTo>
                      <a:pt x="726758" y="501015"/>
                    </a:lnTo>
                    <a:lnTo>
                      <a:pt x="714375" y="510540"/>
                    </a:lnTo>
                    <a:lnTo>
                      <a:pt x="702945" y="521018"/>
                    </a:lnTo>
                    <a:lnTo>
                      <a:pt x="691515" y="509588"/>
                    </a:lnTo>
                    <a:lnTo>
                      <a:pt x="680085" y="531495"/>
                    </a:lnTo>
                    <a:lnTo>
                      <a:pt x="686753" y="538163"/>
                    </a:lnTo>
                    <a:lnTo>
                      <a:pt x="680085" y="544830"/>
                    </a:lnTo>
                    <a:lnTo>
                      <a:pt x="674370" y="551498"/>
                    </a:lnTo>
                    <a:lnTo>
                      <a:pt x="668655" y="558165"/>
                    </a:lnTo>
                    <a:lnTo>
                      <a:pt x="662940" y="564833"/>
                    </a:lnTo>
                    <a:lnTo>
                      <a:pt x="657225" y="572453"/>
                    </a:lnTo>
                    <a:lnTo>
                      <a:pt x="651510" y="580073"/>
                    </a:lnTo>
                    <a:lnTo>
                      <a:pt x="646748" y="587693"/>
                    </a:lnTo>
                    <a:lnTo>
                      <a:pt x="641033" y="595313"/>
                    </a:lnTo>
                    <a:lnTo>
                      <a:pt x="636270" y="602933"/>
                    </a:lnTo>
                    <a:lnTo>
                      <a:pt x="631508" y="610553"/>
                    </a:lnTo>
                    <a:lnTo>
                      <a:pt x="625793" y="619125"/>
                    </a:lnTo>
                    <a:lnTo>
                      <a:pt x="621030" y="627698"/>
                    </a:lnTo>
                    <a:lnTo>
                      <a:pt x="617220" y="636270"/>
                    </a:lnTo>
                    <a:lnTo>
                      <a:pt x="613410" y="643890"/>
                    </a:lnTo>
                    <a:lnTo>
                      <a:pt x="609600" y="652463"/>
                    </a:lnTo>
                    <a:lnTo>
                      <a:pt x="605790" y="661035"/>
                    </a:lnTo>
                    <a:lnTo>
                      <a:pt x="601980" y="669608"/>
                    </a:lnTo>
                    <a:lnTo>
                      <a:pt x="598170" y="678180"/>
                    </a:lnTo>
                    <a:lnTo>
                      <a:pt x="595313" y="687705"/>
                    </a:lnTo>
                    <a:lnTo>
                      <a:pt x="592455" y="696278"/>
                    </a:lnTo>
                    <a:lnTo>
                      <a:pt x="589598" y="705803"/>
                    </a:lnTo>
                    <a:lnTo>
                      <a:pt x="586740" y="715328"/>
                    </a:lnTo>
                    <a:lnTo>
                      <a:pt x="583883" y="724853"/>
                    </a:lnTo>
                    <a:lnTo>
                      <a:pt x="581978" y="734378"/>
                    </a:lnTo>
                    <a:lnTo>
                      <a:pt x="580073" y="743903"/>
                    </a:lnTo>
                    <a:lnTo>
                      <a:pt x="578168" y="753428"/>
                    </a:lnTo>
                    <a:lnTo>
                      <a:pt x="577215" y="762953"/>
                    </a:lnTo>
                    <a:lnTo>
                      <a:pt x="576263" y="772478"/>
                    </a:lnTo>
                    <a:lnTo>
                      <a:pt x="575310" y="782003"/>
                    </a:lnTo>
                    <a:lnTo>
                      <a:pt x="574358" y="791528"/>
                    </a:lnTo>
                    <a:lnTo>
                      <a:pt x="573405" y="801053"/>
                    </a:lnTo>
                    <a:lnTo>
                      <a:pt x="573405" y="811530"/>
                    </a:lnTo>
                    <a:lnTo>
                      <a:pt x="461963" y="811530"/>
                    </a:lnTo>
                    <a:lnTo>
                      <a:pt x="461963" y="798195"/>
                    </a:lnTo>
                    <a:lnTo>
                      <a:pt x="462915" y="785813"/>
                    </a:lnTo>
                    <a:lnTo>
                      <a:pt x="463868" y="773430"/>
                    </a:lnTo>
                    <a:lnTo>
                      <a:pt x="465773" y="761048"/>
                    </a:lnTo>
                    <a:lnTo>
                      <a:pt x="466725" y="748665"/>
                    </a:lnTo>
                    <a:lnTo>
                      <a:pt x="468630" y="736283"/>
                    </a:lnTo>
                    <a:lnTo>
                      <a:pt x="470535" y="723900"/>
                    </a:lnTo>
                    <a:lnTo>
                      <a:pt x="473393" y="711518"/>
                    </a:lnTo>
                    <a:lnTo>
                      <a:pt x="476250" y="699135"/>
                    </a:lnTo>
                    <a:lnTo>
                      <a:pt x="479108" y="686753"/>
                    </a:lnTo>
                    <a:lnTo>
                      <a:pt x="481965" y="674370"/>
                    </a:lnTo>
                    <a:lnTo>
                      <a:pt x="485775" y="662940"/>
                    </a:lnTo>
                    <a:lnTo>
                      <a:pt x="489585" y="651510"/>
                    </a:lnTo>
                    <a:lnTo>
                      <a:pt x="493395" y="640080"/>
                    </a:lnTo>
                    <a:lnTo>
                      <a:pt x="497205" y="628650"/>
                    </a:lnTo>
                    <a:lnTo>
                      <a:pt x="501968" y="617220"/>
                    </a:lnTo>
                    <a:lnTo>
                      <a:pt x="506730" y="605790"/>
                    </a:lnTo>
                    <a:lnTo>
                      <a:pt x="511493" y="595313"/>
                    </a:lnTo>
                    <a:lnTo>
                      <a:pt x="517208" y="584835"/>
                    </a:lnTo>
                    <a:lnTo>
                      <a:pt x="522923" y="574358"/>
                    </a:lnTo>
                    <a:lnTo>
                      <a:pt x="528638" y="563880"/>
                    </a:lnTo>
                    <a:lnTo>
                      <a:pt x="534353" y="553403"/>
                    </a:lnTo>
                    <a:lnTo>
                      <a:pt x="541020" y="542925"/>
                    </a:lnTo>
                    <a:lnTo>
                      <a:pt x="547688" y="532448"/>
                    </a:lnTo>
                    <a:lnTo>
                      <a:pt x="554355" y="522923"/>
                    </a:lnTo>
                    <a:lnTo>
                      <a:pt x="561023" y="513398"/>
                    </a:lnTo>
                    <a:lnTo>
                      <a:pt x="567690" y="503873"/>
                    </a:lnTo>
                    <a:lnTo>
                      <a:pt x="575310" y="494348"/>
                    </a:lnTo>
                    <a:lnTo>
                      <a:pt x="582930" y="484823"/>
                    </a:lnTo>
                    <a:lnTo>
                      <a:pt x="590550" y="475298"/>
                    </a:lnTo>
                    <a:lnTo>
                      <a:pt x="598170" y="466725"/>
                    </a:lnTo>
                    <a:lnTo>
                      <a:pt x="606743" y="458153"/>
                    </a:lnTo>
                    <a:lnTo>
                      <a:pt x="641985" y="494348"/>
                    </a:lnTo>
                    <a:lnTo>
                      <a:pt x="667703" y="485775"/>
                    </a:lnTo>
                    <a:lnTo>
                      <a:pt x="623888" y="441960"/>
                    </a:lnTo>
                    <a:lnTo>
                      <a:pt x="633413" y="433388"/>
                    </a:lnTo>
                    <a:lnTo>
                      <a:pt x="642938" y="424815"/>
                    </a:lnTo>
                    <a:lnTo>
                      <a:pt x="652463" y="417195"/>
                    </a:lnTo>
                    <a:lnTo>
                      <a:pt x="662940" y="409575"/>
                    </a:lnTo>
                    <a:lnTo>
                      <a:pt x="673418" y="401955"/>
                    </a:lnTo>
                    <a:lnTo>
                      <a:pt x="683895" y="394335"/>
                    </a:lnTo>
                    <a:lnTo>
                      <a:pt x="694373" y="386715"/>
                    </a:lnTo>
                    <a:lnTo>
                      <a:pt x="704850" y="380048"/>
                    </a:lnTo>
                    <a:lnTo>
                      <a:pt x="722948" y="341948"/>
                    </a:lnTo>
                    <a:lnTo>
                      <a:pt x="706755" y="351473"/>
                    </a:lnTo>
                    <a:lnTo>
                      <a:pt x="691515" y="360998"/>
                    </a:lnTo>
                    <a:lnTo>
                      <a:pt x="676275" y="371475"/>
                    </a:lnTo>
                    <a:lnTo>
                      <a:pt x="661988" y="381953"/>
                    </a:lnTo>
                    <a:lnTo>
                      <a:pt x="648653" y="390525"/>
                    </a:lnTo>
                    <a:lnTo>
                      <a:pt x="634365" y="401955"/>
                    </a:lnTo>
                    <a:lnTo>
                      <a:pt x="621030" y="413385"/>
                    </a:lnTo>
                    <a:lnTo>
                      <a:pt x="607695" y="425768"/>
                    </a:lnTo>
                    <a:lnTo>
                      <a:pt x="529590" y="347663"/>
                    </a:lnTo>
                    <a:lnTo>
                      <a:pt x="539115" y="338138"/>
                    </a:lnTo>
                    <a:lnTo>
                      <a:pt x="549593" y="329565"/>
                    </a:lnTo>
                    <a:lnTo>
                      <a:pt x="559118" y="320993"/>
                    </a:lnTo>
                    <a:lnTo>
                      <a:pt x="569595" y="312420"/>
                    </a:lnTo>
                    <a:lnTo>
                      <a:pt x="580073" y="303848"/>
                    </a:lnTo>
                    <a:lnTo>
                      <a:pt x="590550" y="295275"/>
                    </a:lnTo>
                    <a:lnTo>
                      <a:pt x="601028" y="287655"/>
                    </a:lnTo>
                    <a:lnTo>
                      <a:pt x="611505" y="280035"/>
                    </a:lnTo>
                    <a:lnTo>
                      <a:pt x="621983" y="272415"/>
                    </a:lnTo>
                    <a:lnTo>
                      <a:pt x="633413" y="265748"/>
                    </a:lnTo>
                    <a:lnTo>
                      <a:pt x="644843" y="259080"/>
                    </a:lnTo>
                    <a:lnTo>
                      <a:pt x="656273" y="252413"/>
                    </a:lnTo>
                    <a:lnTo>
                      <a:pt x="668655" y="245745"/>
                    </a:lnTo>
                    <a:lnTo>
                      <a:pt x="680085" y="239078"/>
                    </a:lnTo>
                    <a:lnTo>
                      <a:pt x="692468" y="233363"/>
                    </a:lnTo>
                    <a:lnTo>
                      <a:pt x="704850" y="227648"/>
                    </a:lnTo>
                    <a:lnTo>
                      <a:pt x="717233" y="221933"/>
                    </a:lnTo>
                    <a:lnTo>
                      <a:pt x="729615" y="216218"/>
                    </a:lnTo>
                    <a:lnTo>
                      <a:pt x="741998" y="210503"/>
                    </a:lnTo>
                    <a:lnTo>
                      <a:pt x="754380" y="205740"/>
                    </a:lnTo>
                    <a:lnTo>
                      <a:pt x="766763" y="200978"/>
                    </a:lnTo>
                    <a:lnTo>
                      <a:pt x="780098" y="197168"/>
                    </a:lnTo>
                    <a:lnTo>
                      <a:pt x="793433" y="193358"/>
                    </a:lnTo>
                    <a:lnTo>
                      <a:pt x="806768" y="189548"/>
                    </a:lnTo>
                    <a:lnTo>
                      <a:pt x="820103" y="185738"/>
                    </a:lnTo>
                    <a:lnTo>
                      <a:pt x="833438" y="181928"/>
                    </a:lnTo>
                    <a:lnTo>
                      <a:pt x="846773" y="179070"/>
                    </a:lnTo>
                    <a:lnTo>
                      <a:pt x="860108" y="176213"/>
                    </a:lnTo>
                    <a:lnTo>
                      <a:pt x="873443" y="173355"/>
                    </a:lnTo>
                    <a:lnTo>
                      <a:pt x="886778" y="170498"/>
                    </a:lnTo>
                    <a:lnTo>
                      <a:pt x="901065" y="168593"/>
                    </a:lnTo>
                    <a:lnTo>
                      <a:pt x="915353" y="166688"/>
                    </a:lnTo>
                    <a:lnTo>
                      <a:pt x="915353" y="142875"/>
                    </a:lnTo>
                    <a:lnTo>
                      <a:pt x="882968" y="146685"/>
                    </a:lnTo>
                    <a:lnTo>
                      <a:pt x="852488" y="152400"/>
                    </a:lnTo>
                    <a:lnTo>
                      <a:pt x="821055" y="159068"/>
                    </a:lnTo>
                    <a:lnTo>
                      <a:pt x="790575" y="168593"/>
                    </a:lnTo>
                    <a:lnTo>
                      <a:pt x="761048" y="178118"/>
                    </a:lnTo>
                    <a:lnTo>
                      <a:pt x="731520" y="189548"/>
                    </a:lnTo>
                    <a:lnTo>
                      <a:pt x="702945" y="201930"/>
                    </a:lnTo>
                    <a:lnTo>
                      <a:pt x="675323" y="215265"/>
                    </a:lnTo>
                    <a:lnTo>
                      <a:pt x="647700" y="229553"/>
                    </a:lnTo>
                    <a:lnTo>
                      <a:pt x="621030" y="245745"/>
                    </a:lnTo>
                    <a:lnTo>
                      <a:pt x="595313" y="262890"/>
                    </a:lnTo>
                    <a:lnTo>
                      <a:pt x="570548" y="280988"/>
                    </a:lnTo>
                    <a:lnTo>
                      <a:pt x="546735" y="300038"/>
                    </a:lnTo>
                    <a:lnTo>
                      <a:pt x="523875" y="320040"/>
                    </a:lnTo>
                    <a:lnTo>
                      <a:pt x="501968" y="340995"/>
                    </a:lnTo>
                    <a:lnTo>
                      <a:pt x="481013" y="363855"/>
                    </a:lnTo>
                    <a:lnTo>
                      <a:pt x="461010" y="386715"/>
                    </a:lnTo>
                    <a:lnTo>
                      <a:pt x="441960" y="410528"/>
                    </a:lnTo>
                    <a:lnTo>
                      <a:pt x="423863" y="435293"/>
                    </a:lnTo>
                    <a:lnTo>
                      <a:pt x="406718" y="461010"/>
                    </a:lnTo>
                    <a:lnTo>
                      <a:pt x="390525" y="488633"/>
                    </a:lnTo>
                    <a:lnTo>
                      <a:pt x="376238" y="516255"/>
                    </a:lnTo>
                    <a:lnTo>
                      <a:pt x="362903" y="544830"/>
                    </a:lnTo>
                    <a:lnTo>
                      <a:pt x="350520" y="573405"/>
                    </a:lnTo>
                    <a:lnTo>
                      <a:pt x="340043" y="602933"/>
                    </a:lnTo>
                    <a:lnTo>
                      <a:pt x="330518" y="632460"/>
                    </a:lnTo>
                    <a:lnTo>
                      <a:pt x="321945" y="662940"/>
                    </a:lnTo>
                    <a:lnTo>
                      <a:pt x="315278" y="694373"/>
                    </a:lnTo>
                    <a:lnTo>
                      <a:pt x="309563" y="725805"/>
                    </a:lnTo>
                    <a:lnTo>
                      <a:pt x="305753" y="758190"/>
                    </a:lnTo>
                    <a:lnTo>
                      <a:pt x="304800" y="789623"/>
                    </a:lnTo>
                    <a:lnTo>
                      <a:pt x="303848" y="822008"/>
                    </a:lnTo>
                    <a:lnTo>
                      <a:pt x="304800" y="857250"/>
                    </a:lnTo>
                    <a:lnTo>
                      <a:pt x="307658" y="891540"/>
                    </a:lnTo>
                    <a:lnTo>
                      <a:pt x="312420" y="925830"/>
                    </a:lnTo>
                    <a:lnTo>
                      <a:pt x="318135" y="959168"/>
                    </a:lnTo>
                    <a:lnTo>
                      <a:pt x="325755" y="992505"/>
                    </a:lnTo>
                    <a:lnTo>
                      <a:pt x="335280" y="1024890"/>
                    </a:lnTo>
                    <a:lnTo>
                      <a:pt x="345758" y="1056323"/>
                    </a:lnTo>
                    <a:lnTo>
                      <a:pt x="358140" y="1086803"/>
                    </a:lnTo>
                    <a:lnTo>
                      <a:pt x="371475" y="1117283"/>
                    </a:lnTo>
                    <a:lnTo>
                      <a:pt x="386715" y="1146810"/>
                    </a:lnTo>
                    <a:lnTo>
                      <a:pt x="402908" y="1175385"/>
                    </a:lnTo>
                    <a:lnTo>
                      <a:pt x="420053" y="1203008"/>
                    </a:lnTo>
                    <a:lnTo>
                      <a:pt x="439103" y="1229678"/>
                    </a:lnTo>
                    <a:lnTo>
                      <a:pt x="459105" y="1255395"/>
                    </a:lnTo>
                    <a:lnTo>
                      <a:pt x="480060" y="1280160"/>
                    </a:lnTo>
                    <a:lnTo>
                      <a:pt x="502920" y="1303973"/>
                    </a:lnTo>
                    <a:lnTo>
                      <a:pt x="526733" y="1326833"/>
                    </a:lnTo>
                    <a:lnTo>
                      <a:pt x="551498" y="1348740"/>
                    </a:lnTo>
                    <a:lnTo>
                      <a:pt x="577215" y="1368743"/>
                    </a:lnTo>
                    <a:lnTo>
                      <a:pt x="603885" y="1387793"/>
                    </a:lnTo>
                    <a:lnTo>
                      <a:pt x="631508" y="1405890"/>
                    </a:lnTo>
                    <a:lnTo>
                      <a:pt x="660083" y="1422083"/>
                    </a:lnTo>
                    <a:lnTo>
                      <a:pt x="689610" y="1437323"/>
                    </a:lnTo>
                    <a:lnTo>
                      <a:pt x="720090" y="1450658"/>
                    </a:lnTo>
                    <a:lnTo>
                      <a:pt x="751523" y="1463040"/>
                    </a:lnTo>
                    <a:lnTo>
                      <a:pt x="782955" y="1473518"/>
                    </a:lnTo>
                    <a:lnTo>
                      <a:pt x="815340" y="1483043"/>
                    </a:lnTo>
                    <a:lnTo>
                      <a:pt x="848678" y="1490663"/>
                    </a:lnTo>
                    <a:lnTo>
                      <a:pt x="882015" y="1496378"/>
                    </a:lnTo>
                    <a:lnTo>
                      <a:pt x="916305" y="1500188"/>
                    </a:lnTo>
                    <a:lnTo>
                      <a:pt x="950595" y="1503045"/>
                    </a:lnTo>
                    <a:lnTo>
                      <a:pt x="985838" y="1503998"/>
                    </a:lnTo>
                    <a:lnTo>
                      <a:pt x="1021080" y="1503045"/>
                    </a:lnTo>
                    <a:lnTo>
                      <a:pt x="1055370" y="1500188"/>
                    </a:lnTo>
                    <a:lnTo>
                      <a:pt x="1089660" y="1496378"/>
                    </a:lnTo>
                    <a:lnTo>
                      <a:pt x="1122998" y="1490663"/>
                    </a:lnTo>
                    <a:lnTo>
                      <a:pt x="1156335" y="1483043"/>
                    </a:lnTo>
                    <a:lnTo>
                      <a:pt x="1188720" y="1473518"/>
                    </a:lnTo>
                    <a:lnTo>
                      <a:pt x="1221105" y="1463040"/>
                    </a:lnTo>
                    <a:lnTo>
                      <a:pt x="1252538" y="1450658"/>
                    </a:lnTo>
                    <a:lnTo>
                      <a:pt x="1283018" y="1437323"/>
                    </a:lnTo>
                    <a:lnTo>
                      <a:pt x="1312545" y="1422083"/>
                    </a:lnTo>
                    <a:lnTo>
                      <a:pt x="1341120" y="1405890"/>
                    </a:lnTo>
                    <a:lnTo>
                      <a:pt x="1368743" y="1387793"/>
                    </a:lnTo>
                    <a:lnTo>
                      <a:pt x="1395413" y="1368743"/>
                    </a:lnTo>
                    <a:lnTo>
                      <a:pt x="1421130" y="1348740"/>
                    </a:lnTo>
                    <a:lnTo>
                      <a:pt x="1445895" y="1326833"/>
                    </a:lnTo>
                    <a:lnTo>
                      <a:pt x="1469708" y="1303973"/>
                    </a:lnTo>
                    <a:lnTo>
                      <a:pt x="1492568" y="1280160"/>
                    </a:lnTo>
                    <a:lnTo>
                      <a:pt x="1514475" y="1255395"/>
                    </a:lnTo>
                    <a:lnTo>
                      <a:pt x="1534478" y="1229678"/>
                    </a:lnTo>
                    <a:lnTo>
                      <a:pt x="1553528" y="1203008"/>
                    </a:lnTo>
                    <a:lnTo>
                      <a:pt x="1571625" y="1175385"/>
                    </a:lnTo>
                    <a:lnTo>
                      <a:pt x="1587818" y="1146810"/>
                    </a:lnTo>
                    <a:lnTo>
                      <a:pt x="1603058" y="1117283"/>
                    </a:lnTo>
                    <a:lnTo>
                      <a:pt x="1616393" y="1086803"/>
                    </a:lnTo>
                    <a:lnTo>
                      <a:pt x="1628775" y="1056323"/>
                    </a:lnTo>
                    <a:lnTo>
                      <a:pt x="1639253" y="1024890"/>
                    </a:lnTo>
                    <a:lnTo>
                      <a:pt x="1648778" y="992505"/>
                    </a:lnTo>
                    <a:lnTo>
                      <a:pt x="1656398" y="959168"/>
                    </a:lnTo>
                    <a:lnTo>
                      <a:pt x="1662113" y="925830"/>
                    </a:lnTo>
                    <a:lnTo>
                      <a:pt x="1665923" y="891540"/>
                    </a:lnTo>
                    <a:lnTo>
                      <a:pt x="1668780" y="857250"/>
                    </a:lnTo>
                    <a:lnTo>
                      <a:pt x="1669733" y="822008"/>
                    </a:lnTo>
                    <a:lnTo>
                      <a:pt x="1668780" y="788670"/>
                    </a:lnTo>
                    <a:lnTo>
                      <a:pt x="1665923" y="756285"/>
                    </a:lnTo>
                    <a:lnTo>
                      <a:pt x="1662113" y="723900"/>
                    </a:lnTo>
                    <a:lnTo>
                      <a:pt x="1656398" y="692468"/>
                    </a:lnTo>
                    <a:lnTo>
                      <a:pt x="1649730" y="661035"/>
                    </a:lnTo>
                    <a:lnTo>
                      <a:pt x="1642110" y="630555"/>
                    </a:lnTo>
                    <a:lnTo>
                      <a:pt x="1632585" y="601028"/>
                    </a:lnTo>
                    <a:lnTo>
                      <a:pt x="1622108" y="571500"/>
                    </a:lnTo>
                    <a:lnTo>
                      <a:pt x="1609725" y="542925"/>
                    </a:lnTo>
                    <a:lnTo>
                      <a:pt x="1596390" y="514350"/>
                    </a:lnTo>
                    <a:lnTo>
                      <a:pt x="1582103" y="486728"/>
                    </a:lnTo>
                    <a:lnTo>
                      <a:pt x="1565910" y="460058"/>
                    </a:lnTo>
                    <a:lnTo>
                      <a:pt x="1548765" y="434340"/>
                    </a:lnTo>
                    <a:lnTo>
                      <a:pt x="1530668" y="409575"/>
                    </a:lnTo>
                    <a:lnTo>
                      <a:pt x="1511618" y="385763"/>
                    </a:lnTo>
                    <a:lnTo>
                      <a:pt x="1491615" y="362903"/>
                    </a:lnTo>
                    <a:lnTo>
                      <a:pt x="1470660" y="340043"/>
                    </a:lnTo>
                    <a:lnTo>
                      <a:pt x="1448753" y="319088"/>
                    </a:lnTo>
                    <a:lnTo>
                      <a:pt x="1425893" y="299085"/>
                    </a:lnTo>
                    <a:lnTo>
                      <a:pt x="1402080" y="280035"/>
                    </a:lnTo>
                    <a:lnTo>
                      <a:pt x="1377315" y="261938"/>
                    </a:lnTo>
                    <a:lnTo>
                      <a:pt x="1351598" y="244793"/>
                    </a:lnTo>
                    <a:lnTo>
                      <a:pt x="1323975" y="228600"/>
                    </a:lnTo>
                    <a:lnTo>
                      <a:pt x="1296353" y="214313"/>
                    </a:lnTo>
                    <a:lnTo>
                      <a:pt x="1267778" y="200978"/>
                    </a:lnTo>
                    <a:lnTo>
                      <a:pt x="1239203" y="188595"/>
                    </a:lnTo>
                    <a:lnTo>
                      <a:pt x="1209675" y="178118"/>
                    </a:lnTo>
                    <a:lnTo>
                      <a:pt x="1180148" y="168593"/>
                    </a:lnTo>
                    <a:lnTo>
                      <a:pt x="1149668" y="160973"/>
                    </a:lnTo>
                    <a:lnTo>
                      <a:pt x="1119188" y="154305"/>
                    </a:lnTo>
                    <a:lnTo>
                      <a:pt x="1086803" y="148590"/>
                    </a:lnTo>
                    <a:lnTo>
                      <a:pt x="1054418" y="144780"/>
                    </a:lnTo>
                    <a:lnTo>
                      <a:pt x="1054418" y="168593"/>
                    </a:lnTo>
                    <a:lnTo>
                      <a:pt x="1067753" y="169545"/>
                    </a:lnTo>
                    <a:lnTo>
                      <a:pt x="1082040" y="171450"/>
                    </a:lnTo>
                    <a:lnTo>
                      <a:pt x="1096328" y="173355"/>
                    </a:lnTo>
                    <a:lnTo>
                      <a:pt x="1110615" y="176213"/>
                    </a:lnTo>
                    <a:lnTo>
                      <a:pt x="1123950" y="179070"/>
                    </a:lnTo>
                    <a:lnTo>
                      <a:pt x="1137285" y="181928"/>
                    </a:lnTo>
                    <a:lnTo>
                      <a:pt x="1150620" y="184785"/>
                    </a:lnTo>
                    <a:lnTo>
                      <a:pt x="1163955" y="188595"/>
                    </a:lnTo>
                    <a:lnTo>
                      <a:pt x="1177290" y="192405"/>
                    </a:lnTo>
                    <a:lnTo>
                      <a:pt x="1190625" y="196215"/>
                    </a:lnTo>
                    <a:lnTo>
                      <a:pt x="1203960" y="200978"/>
                    </a:lnTo>
                    <a:lnTo>
                      <a:pt x="1217295" y="205740"/>
                    </a:lnTo>
                    <a:lnTo>
                      <a:pt x="1230630" y="210503"/>
                    </a:lnTo>
                    <a:lnTo>
                      <a:pt x="1243013" y="216218"/>
                    </a:lnTo>
                    <a:lnTo>
                      <a:pt x="1255395" y="221933"/>
                    </a:lnTo>
                    <a:lnTo>
                      <a:pt x="1267778" y="227648"/>
                    </a:lnTo>
                    <a:lnTo>
                      <a:pt x="1280160" y="233363"/>
                    </a:lnTo>
                    <a:lnTo>
                      <a:pt x="1292543" y="240030"/>
                    </a:lnTo>
                    <a:lnTo>
                      <a:pt x="1304925" y="246698"/>
                    </a:lnTo>
                    <a:lnTo>
                      <a:pt x="1317308" y="253365"/>
                    </a:lnTo>
                    <a:lnTo>
                      <a:pt x="1328738" y="260033"/>
                    </a:lnTo>
                    <a:lnTo>
                      <a:pt x="1340168" y="267653"/>
                    </a:lnTo>
                    <a:lnTo>
                      <a:pt x="1351598" y="275273"/>
                    </a:lnTo>
                    <a:lnTo>
                      <a:pt x="1363028" y="282893"/>
                    </a:lnTo>
                    <a:lnTo>
                      <a:pt x="1374458" y="290513"/>
                    </a:lnTo>
                    <a:lnTo>
                      <a:pt x="1384935" y="298133"/>
                    </a:lnTo>
                    <a:lnTo>
                      <a:pt x="1395413" y="306705"/>
                    </a:lnTo>
                    <a:lnTo>
                      <a:pt x="1405890" y="315278"/>
                    </a:lnTo>
                    <a:lnTo>
                      <a:pt x="1416368" y="323850"/>
                    </a:lnTo>
                    <a:lnTo>
                      <a:pt x="1426845" y="332423"/>
                    </a:lnTo>
                    <a:lnTo>
                      <a:pt x="1437323" y="341948"/>
                    </a:lnTo>
                    <a:lnTo>
                      <a:pt x="1446848" y="351473"/>
                    </a:lnTo>
                    <a:lnTo>
                      <a:pt x="1371600" y="426720"/>
                    </a:lnTo>
                    <a:lnTo>
                      <a:pt x="1374458" y="415290"/>
                    </a:lnTo>
                    <a:lnTo>
                      <a:pt x="1365885" y="412433"/>
                    </a:lnTo>
                    <a:lnTo>
                      <a:pt x="1351598" y="409575"/>
                    </a:lnTo>
                    <a:lnTo>
                      <a:pt x="1354455" y="401003"/>
                    </a:lnTo>
                    <a:lnTo>
                      <a:pt x="1345883" y="369570"/>
                    </a:lnTo>
                    <a:lnTo>
                      <a:pt x="1325880" y="349568"/>
                    </a:lnTo>
                    <a:lnTo>
                      <a:pt x="1268730" y="318135"/>
                    </a:lnTo>
                    <a:lnTo>
                      <a:pt x="1263015" y="323850"/>
                    </a:lnTo>
                    <a:lnTo>
                      <a:pt x="1251585" y="326708"/>
                    </a:lnTo>
                    <a:lnTo>
                      <a:pt x="1265873" y="349568"/>
                    </a:lnTo>
                    <a:lnTo>
                      <a:pt x="1266825" y="351473"/>
                    </a:lnTo>
                    <a:lnTo>
                      <a:pt x="1257300" y="345758"/>
                    </a:lnTo>
                    <a:lnTo>
                      <a:pt x="1247775" y="340995"/>
                    </a:lnTo>
                    <a:lnTo>
                      <a:pt x="1238250" y="335280"/>
                    </a:lnTo>
                    <a:lnTo>
                      <a:pt x="1228725" y="330518"/>
                    </a:lnTo>
                    <a:lnTo>
                      <a:pt x="1224915" y="325755"/>
                    </a:lnTo>
                    <a:lnTo>
                      <a:pt x="1221105" y="320993"/>
                    </a:lnTo>
                    <a:lnTo>
                      <a:pt x="1216343" y="316230"/>
                    </a:lnTo>
                    <a:lnTo>
                      <a:pt x="1212533" y="311468"/>
                    </a:lnTo>
                    <a:lnTo>
                      <a:pt x="1207770" y="307658"/>
                    </a:lnTo>
                    <a:lnTo>
                      <a:pt x="1203008" y="303848"/>
                    </a:lnTo>
                    <a:lnTo>
                      <a:pt x="1197293" y="300038"/>
                    </a:lnTo>
                    <a:lnTo>
                      <a:pt x="1192530" y="296228"/>
                    </a:lnTo>
                    <a:lnTo>
                      <a:pt x="1182053" y="288608"/>
                    </a:lnTo>
                    <a:lnTo>
                      <a:pt x="1170623" y="281940"/>
                    </a:lnTo>
                    <a:lnTo>
                      <a:pt x="1159193" y="275273"/>
                    </a:lnTo>
                    <a:lnTo>
                      <a:pt x="1146810" y="269558"/>
                    </a:lnTo>
                    <a:lnTo>
                      <a:pt x="1134428" y="263843"/>
                    </a:lnTo>
                    <a:lnTo>
                      <a:pt x="1122045" y="259080"/>
                    </a:lnTo>
                    <a:lnTo>
                      <a:pt x="1109663" y="255270"/>
                    </a:lnTo>
                    <a:lnTo>
                      <a:pt x="1097280" y="251460"/>
                    </a:lnTo>
                    <a:lnTo>
                      <a:pt x="1084898" y="248603"/>
                    </a:lnTo>
                    <a:lnTo>
                      <a:pt x="1072515" y="246698"/>
                    </a:lnTo>
                    <a:lnTo>
                      <a:pt x="1060133" y="244793"/>
                    </a:lnTo>
                    <a:lnTo>
                      <a:pt x="1046798" y="241935"/>
                    </a:lnTo>
                    <a:lnTo>
                      <a:pt x="1046798" y="241935"/>
                    </a:lnTo>
                    <a:close/>
                    <a:moveTo>
                      <a:pt x="1245870" y="499110"/>
                    </a:moveTo>
                    <a:lnTo>
                      <a:pt x="1248728" y="491490"/>
                    </a:lnTo>
                    <a:lnTo>
                      <a:pt x="1251585" y="482918"/>
                    </a:lnTo>
                    <a:lnTo>
                      <a:pt x="1253490" y="474345"/>
                    </a:lnTo>
                    <a:lnTo>
                      <a:pt x="1255395" y="464820"/>
                    </a:lnTo>
                    <a:lnTo>
                      <a:pt x="1257300" y="455295"/>
                    </a:lnTo>
                    <a:lnTo>
                      <a:pt x="1258253" y="444818"/>
                    </a:lnTo>
                    <a:lnTo>
                      <a:pt x="1259205" y="434340"/>
                    </a:lnTo>
                    <a:lnTo>
                      <a:pt x="1259205" y="423863"/>
                    </a:lnTo>
                    <a:lnTo>
                      <a:pt x="1259205" y="416243"/>
                    </a:lnTo>
                    <a:lnTo>
                      <a:pt x="1259205" y="409575"/>
                    </a:lnTo>
                    <a:lnTo>
                      <a:pt x="1258253" y="402908"/>
                    </a:lnTo>
                    <a:lnTo>
                      <a:pt x="1257300" y="396240"/>
                    </a:lnTo>
                    <a:lnTo>
                      <a:pt x="1256348" y="389573"/>
                    </a:lnTo>
                    <a:lnTo>
                      <a:pt x="1254443" y="382905"/>
                    </a:lnTo>
                    <a:lnTo>
                      <a:pt x="1252538" y="376238"/>
                    </a:lnTo>
                    <a:lnTo>
                      <a:pt x="1250633" y="369570"/>
                    </a:lnTo>
                    <a:lnTo>
                      <a:pt x="1257300" y="373380"/>
                    </a:lnTo>
                    <a:lnTo>
                      <a:pt x="1263968" y="377190"/>
                    </a:lnTo>
                    <a:lnTo>
                      <a:pt x="1270635" y="381000"/>
                    </a:lnTo>
                    <a:lnTo>
                      <a:pt x="1277303" y="384810"/>
                    </a:lnTo>
                    <a:lnTo>
                      <a:pt x="1280160" y="399098"/>
                    </a:lnTo>
                    <a:lnTo>
                      <a:pt x="1283018" y="424815"/>
                    </a:lnTo>
                    <a:lnTo>
                      <a:pt x="1283018" y="439103"/>
                    </a:lnTo>
                    <a:lnTo>
                      <a:pt x="1311593" y="476250"/>
                    </a:lnTo>
                    <a:lnTo>
                      <a:pt x="1297305" y="479108"/>
                    </a:lnTo>
                    <a:lnTo>
                      <a:pt x="1306830" y="490538"/>
                    </a:lnTo>
                    <a:lnTo>
                      <a:pt x="1281113" y="515303"/>
                    </a:lnTo>
                    <a:lnTo>
                      <a:pt x="1271588" y="499110"/>
                    </a:lnTo>
                    <a:lnTo>
                      <a:pt x="1264920" y="515303"/>
                    </a:lnTo>
                    <a:lnTo>
                      <a:pt x="1260158" y="511493"/>
                    </a:lnTo>
                    <a:lnTo>
                      <a:pt x="1255395" y="507683"/>
                    </a:lnTo>
                    <a:lnTo>
                      <a:pt x="1250633" y="503873"/>
                    </a:lnTo>
                    <a:lnTo>
                      <a:pt x="1245870" y="499110"/>
                    </a:lnTo>
                    <a:lnTo>
                      <a:pt x="1245870" y="499110"/>
                    </a:lnTo>
                    <a:close/>
                    <a:moveTo>
                      <a:pt x="920115" y="256223"/>
                    </a:moveTo>
                    <a:lnTo>
                      <a:pt x="911543" y="260033"/>
                    </a:lnTo>
                    <a:lnTo>
                      <a:pt x="902970" y="263843"/>
                    </a:lnTo>
                    <a:lnTo>
                      <a:pt x="894398" y="266700"/>
                    </a:lnTo>
                    <a:lnTo>
                      <a:pt x="885825" y="270510"/>
                    </a:lnTo>
                    <a:lnTo>
                      <a:pt x="877253" y="274320"/>
                    </a:lnTo>
                    <a:lnTo>
                      <a:pt x="868680" y="278130"/>
                    </a:lnTo>
                    <a:lnTo>
                      <a:pt x="860108" y="281940"/>
                    </a:lnTo>
                    <a:lnTo>
                      <a:pt x="851535" y="285750"/>
                    </a:lnTo>
                    <a:lnTo>
                      <a:pt x="843915" y="285750"/>
                    </a:lnTo>
                    <a:lnTo>
                      <a:pt x="836295" y="286703"/>
                    </a:lnTo>
                    <a:lnTo>
                      <a:pt x="829628" y="288608"/>
                    </a:lnTo>
                    <a:lnTo>
                      <a:pt x="822960" y="290513"/>
                    </a:lnTo>
                    <a:lnTo>
                      <a:pt x="816293" y="293370"/>
                    </a:lnTo>
                    <a:lnTo>
                      <a:pt x="810578" y="295275"/>
                    </a:lnTo>
                    <a:lnTo>
                      <a:pt x="803910" y="298133"/>
                    </a:lnTo>
                    <a:lnTo>
                      <a:pt x="797243" y="300990"/>
                    </a:lnTo>
                    <a:lnTo>
                      <a:pt x="791528" y="304800"/>
                    </a:lnTo>
                    <a:lnTo>
                      <a:pt x="785813" y="308610"/>
                    </a:lnTo>
                    <a:lnTo>
                      <a:pt x="780098" y="312420"/>
                    </a:lnTo>
                    <a:lnTo>
                      <a:pt x="774383" y="316230"/>
                    </a:lnTo>
                    <a:lnTo>
                      <a:pt x="769620" y="320993"/>
                    </a:lnTo>
                    <a:lnTo>
                      <a:pt x="764858" y="325755"/>
                    </a:lnTo>
                    <a:lnTo>
                      <a:pt x="760095" y="330518"/>
                    </a:lnTo>
                    <a:lnTo>
                      <a:pt x="755333" y="335280"/>
                    </a:lnTo>
                    <a:lnTo>
                      <a:pt x="750570" y="340043"/>
                    </a:lnTo>
                    <a:lnTo>
                      <a:pt x="745808" y="345758"/>
                    </a:lnTo>
                    <a:lnTo>
                      <a:pt x="741998" y="351473"/>
                    </a:lnTo>
                    <a:lnTo>
                      <a:pt x="738188" y="358140"/>
                    </a:lnTo>
                    <a:lnTo>
                      <a:pt x="733425" y="363855"/>
                    </a:lnTo>
                    <a:lnTo>
                      <a:pt x="729615" y="370523"/>
                    </a:lnTo>
                    <a:lnTo>
                      <a:pt x="725805" y="377190"/>
                    </a:lnTo>
                    <a:lnTo>
                      <a:pt x="721995" y="383858"/>
                    </a:lnTo>
                    <a:lnTo>
                      <a:pt x="719138" y="391478"/>
                    </a:lnTo>
                    <a:lnTo>
                      <a:pt x="716280" y="399098"/>
                    </a:lnTo>
                    <a:lnTo>
                      <a:pt x="713423" y="406718"/>
                    </a:lnTo>
                    <a:lnTo>
                      <a:pt x="710565" y="415290"/>
                    </a:lnTo>
                    <a:lnTo>
                      <a:pt x="707708" y="423863"/>
                    </a:lnTo>
                    <a:lnTo>
                      <a:pt x="704850" y="432435"/>
                    </a:lnTo>
                    <a:lnTo>
                      <a:pt x="702945" y="441008"/>
                    </a:lnTo>
                    <a:lnTo>
                      <a:pt x="701040" y="450533"/>
                    </a:lnTo>
                    <a:lnTo>
                      <a:pt x="701040" y="450533"/>
                    </a:lnTo>
                    <a:lnTo>
                      <a:pt x="701040" y="450533"/>
                    </a:lnTo>
                    <a:lnTo>
                      <a:pt x="701040" y="452438"/>
                    </a:lnTo>
                    <a:lnTo>
                      <a:pt x="701040" y="454343"/>
                    </a:lnTo>
                    <a:lnTo>
                      <a:pt x="700088" y="454343"/>
                    </a:lnTo>
                    <a:lnTo>
                      <a:pt x="698183" y="460058"/>
                    </a:lnTo>
                    <a:lnTo>
                      <a:pt x="696278" y="465773"/>
                    </a:lnTo>
                    <a:lnTo>
                      <a:pt x="694373" y="471488"/>
                    </a:lnTo>
                    <a:lnTo>
                      <a:pt x="691515" y="475298"/>
                    </a:lnTo>
                    <a:lnTo>
                      <a:pt x="688658" y="479108"/>
                    </a:lnTo>
                    <a:lnTo>
                      <a:pt x="685800" y="483870"/>
                    </a:lnTo>
                    <a:lnTo>
                      <a:pt x="681990" y="486728"/>
                    </a:lnTo>
                    <a:lnTo>
                      <a:pt x="678180" y="489585"/>
                    </a:lnTo>
                    <a:lnTo>
                      <a:pt x="674370" y="492443"/>
                    </a:lnTo>
                    <a:lnTo>
                      <a:pt x="670560" y="494348"/>
                    </a:lnTo>
                    <a:lnTo>
                      <a:pt x="665798" y="496253"/>
                    </a:lnTo>
                    <a:lnTo>
                      <a:pt x="661035" y="497205"/>
                    </a:lnTo>
                    <a:lnTo>
                      <a:pt x="656273" y="498158"/>
                    </a:lnTo>
                    <a:lnTo>
                      <a:pt x="650558" y="499110"/>
                    </a:lnTo>
                    <a:lnTo>
                      <a:pt x="644843" y="499110"/>
                    </a:lnTo>
                    <a:lnTo>
                      <a:pt x="639128" y="499110"/>
                    </a:lnTo>
                    <a:lnTo>
                      <a:pt x="641985" y="499110"/>
                    </a:lnTo>
                    <a:lnTo>
                      <a:pt x="645795" y="500063"/>
                    </a:lnTo>
                    <a:lnTo>
                      <a:pt x="649605" y="500063"/>
                    </a:lnTo>
                    <a:lnTo>
                      <a:pt x="654368" y="500063"/>
                    </a:lnTo>
                    <a:lnTo>
                      <a:pt x="659130" y="500063"/>
                    </a:lnTo>
                    <a:lnTo>
                      <a:pt x="664845" y="499110"/>
                    </a:lnTo>
                    <a:lnTo>
                      <a:pt x="670560" y="498158"/>
                    </a:lnTo>
                    <a:lnTo>
                      <a:pt x="677228" y="496253"/>
                    </a:lnTo>
                    <a:lnTo>
                      <a:pt x="676275" y="503873"/>
                    </a:lnTo>
                    <a:lnTo>
                      <a:pt x="673418" y="511493"/>
                    </a:lnTo>
                    <a:lnTo>
                      <a:pt x="673418" y="514350"/>
                    </a:lnTo>
                    <a:lnTo>
                      <a:pt x="672465" y="518160"/>
                    </a:lnTo>
                    <a:lnTo>
                      <a:pt x="671513" y="521970"/>
                    </a:lnTo>
                    <a:lnTo>
                      <a:pt x="671513" y="525780"/>
                    </a:lnTo>
                    <a:lnTo>
                      <a:pt x="673418" y="520065"/>
                    </a:lnTo>
                    <a:lnTo>
                      <a:pt x="676275" y="514350"/>
                    </a:lnTo>
                    <a:lnTo>
                      <a:pt x="678180" y="509588"/>
                    </a:lnTo>
                    <a:lnTo>
                      <a:pt x="681038" y="504825"/>
                    </a:lnTo>
                    <a:lnTo>
                      <a:pt x="683895" y="500063"/>
                    </a:lnTo>
                    <a:lnTo>
                      <a:pt x="685800" y="495300"/>
                    </a:lnTo>
                    <a:lnTo>
                      <a:pt x="688658" y="490538"/>
                    </a:lnTo>
                    <a:lnTo>
                      <a:pt x="691515" y="486728"/>
                    </a:lnTo>
                    <a:lnTo>
                      <a:pt x="694373" y="482918"/>
                    </a:lnTo>
                    <a:lnTo>
                      <a:pt x="697230" y="479108"/>
                    </a:lnTo>
                    <a:lnTo>
                      <a:pt x="700088" y="476250"/>
                    </a:lnTo>
                    <a:lnTo>
                      <a:pt x="702945" y="473393"/>
                    </a:lnTo>
                    <a:lnTo>
                      <a:pt x="706755" y="470535"/>
                    </a:lnTo>
                    <a:lnTo>
                      <a:pt x="710565" y="468630"/>
                    </a:lnTo>
                    <a:lnTo>
                      <a:pt x="714375" y="467678"/>
                    </a:lnTo>
                    <a:lnTo>
                      <a:pt x="718185" y="466725"/>
                    </a:lnTo>
                    <a:lnTo>
                      <a:pt x="720090" y="466725"/>
                    </a:lnTo>
                    <a:lnTo>
                      <a:pt x="745808" y="459105"/>
                    </a:lnTo>
                    <a:lnTo>
                      <a:pt x="755333" y="454343"/>
                    </a:lnTo>
                    <a:lnTo>
                      <a:pt x="764858" y="449580"/>
                    </a:lnTo>
                    <a:lnTo>
                      <a:pt x="774383" y="444818"/>
                    </a:lnTo>
                    <a:lnTo>
                      <a:pt x="782955" y="440055"/>
                    </a:lnTo>
                    <a:lnTo>
                      <a:pt x="791528" y="435293"/>
                    </a:lnTo>
                    <a:lnTo>
                      <a:pt x="800100" y="430530"/>
                    </a:lnTo>
                    <a:lnTo>
                      <a:pt x="808673" y="424815"/>
                    </a:lnTo>
                    <a:lnTo>
                      <a:pt x="817245" y="419100"/>
                    </a:lnTo>
                    <a:lnTo>
                      <a:pt x="825818" y="412433"/>
                    </a:lnTo>
                    <a:lnTo>
                      <a:pt x="833438" y="405765"/>
                    </a:lnTo>
                    <a:lnTo>
                      <a:pt x="841058" y="399098"/>
                    </a:lnTo>
                    <a:lnTo>
                      <a:pt x="848678" y="392430"/>
                    </a:lnTo>
                    <a:lnTo>
                      <a:pt x="856298" y="384810"/>
                    </a:lnTo>
                    <a:lnTo>
                      <a:pt x="863918" y="377190"/>
                    </a:lnTo>
                    <a:lnTo>
                      <a:pt x="870585" y="369570"/>
                    </a:lnTo>
                    <a:lnTo>
                      <a:pt x="877253" y="360998"/>
                    </a:lnTo>
                    <a:lnTo>
                      <a:pt x="923925" y="332423"/>
                    </a:lnTo>
                    <a:lnTo>
                      <a:pt x="920115" y="256223"/>
                    </a:lnTo>
                    <a:lnTo>
                      <a:pt x="920115" y="256223"/>
                    </a:lnTo>
                    <a:close/>
                    <a:moveTo>
                      <a:pt x="768668" y="376238"/>
                    </a:moveTo>
                    <a:lnTo>
                      <a:pt x="779145" y="355283"/>
                    </a:lnTo>
                    <a:lnTo>
                      <a:pt x="795338" y="355283"/>
                    </a:lnTo>
                    <a:lnTo>
                      <a:pt x="785813" y="372428"/>
                    </a:lnTo>
                    <a:lnTo>
                      <a:pt x="768668" y="376238"/>
                    </a:lnTo>
                    <a:lnTo>
                      <a:pt x="768668" y="376238"/>
                    </a:lnTo>
                    <a:close/>
                    <a:moveTo>
                      <a:pt x="985838" y="0"/>
                    </a:moveTo>
                    <a:lnTo>
                      <a:pt x="971550" y="0"/>
                    </a:lnTo>
                    <a:lnTo>
                      <a:pt x="957263" y="5715"/>
                    </a:lnTo>
                    <a:lnTo>
                      <a:pt x="948690" y="11430"/>
                    </a:lnTo>
                    <a:lnTo>
                      <a:pt x="940118" y="20003"/>
                    </a:lnTo>
                    <a:lnTo>
                      <a:pt x="934403" y="31433"/>
                    </a:lnTo>
                    <a:lnTo>
                      <a:pt x="931545" y="42863"/>
                    </a:lnTo>
                    <a:lnTo>
                      <a:pt x="928688" y="68580"/>
                    </a:lnTo>
                    <a:lnTo>
                      <a:pt x="928688" y="97155"/>
                    </a:lnTo>
                    <a:lnTo>
                      <a:pt x="934403" y="125730"/>
                    </a:lnTo>
                    <a:lnTo>
                      <a:pt x="942975" y="171450"/>
                    </a:lnTo>
                    <a:lnTo>
                      <a:pt x="951548" y="530543"/>
                    </a:lnTo>
                    <a:lnTo>
                      <a:pt x="988695" y="521970"/>
                    </a:lnTo>
                    <a:lnTo>
                      <a:pt x="1017270" y="516255"/>
                    </a:lnTo>
                    <a:lnTo>
                      <a:pt x="1025843" y="171450"/>
                    </a:lnTo>
                    <a:lnTo>
                      <a:pt x="1034415" y="125730"/>
                    </a:lnTo>
                    <a:lnTo>
                      <a:pt x="1037273" y="97155"/>
                    </a:lnTo>
                    <a:lnTo>
                      <a:pt x="1040130" y="68580"/>
                    </a:lnTo>
                    <a:lnTo>
                      <a:pt x="1040130" y="42863"/>
                    </a:lnTo>
                    <a:lnTo>
                      <a:pt x="1033463" y="28575"/>
                    </a:lnTo>
                    <a:lnTo>
                      <a:pt x="1030605" y="20003"/>
                    </a:lnTo>
                    <a:lnTo>
                      <a:pt x="1022033" y="11430"/>
                    </a:lnTo>
                    <a:lnTo>
                      <a:pt x="1013460" y="5715"/>
                    </a:lnTo>
                    <a:lnTo>
                      <a:pt x="1000125" y="0"/>
                    </a:lnTo>
                    <a:lnTo>
                      <a:pt x="985838" y="0"/>
                    </a:lnTo>
                    <a:lnTo>
                      <a:pt x="985838" y="0"/>
                    </a:lnTo>
                    <a:close/>
                    <a:moveTo>
                      <a:pt x="1119188" y="225743"/>
                    </a:moveTo>
                    <a:lnTo>
                      <a:pt x="1124903" y="220028"/>
                    </a:lnTo>
                    <a:lnTo>
                      <a:pt x="1112520" y="214313"/>
                    </a:lnTo>
                    <a:lnTo>
                      <a:pt x="1077278" y="214313"/>
                    </a:lnTo>
                    <a:lnTo>
                      <a:pt x="1068705" y="220028"/>
                    </a:lnTo>
                    <a:lnTo>
                      <a:pt x="1047750" y="217170"/>
                    </a:lnTo>
                    <a:lnTo>
                      <a:pt x="1047750" y="222885"/>
                    </a:lnTo>
                    <a:lnTo>
                      <a:pt x="1082993" y="225743"/>
                    </a:lnTo>
                    <a:lnTo>
                      <a:pt x="1101090" y="225743"/>
                    </a:lnTo>
                    <a:lnTo>
                      <a:pt x="1119188" y="225743"/>
                    </a:lnTo>
                    <a:lnTo>
                      <a:pt x="1119188" y="225743"/>
                    </a:lnTo>
                    <a:close/>
                    <a:moveTo>
                      <a:pt x="1051560" y="945833"/>
                    </a:moveTo>
                    <a:lnTo>
                      <a:pt x="1051560" y="942975"/>
                    </a:lnTo>
                    <a:lnTo>
                      <a:pt x="1045845" y="937260"/>
                    </a:lnTo>
                    <a:lnTo>
                      <a:pt x="1033463" y="928688"/>
                    </a:lnTo>
                    <a:lnTo>
                      <a:pt x="1030605" y="928688"/>
                    </a:lnTo>
                    <a:lnTo>
                      <a:pt x="1030605" y="968693"/>
                    </a:lnTo>
                    <a:lnTo>
                      <a:pt x="1045845" y="957263"/>
                    </a:lnTo>
                    <a:lnTo>
                      <a:pt x="1051560" y="951548"/>
                    </a:lnTo>
                    <a:lnTo>
                      <a:pt x="1051560" y="945833"/>
                    </a:lnTo>
                    <a:lnTo>
                      <a:pt x="1051560" y="945833"/>
                    </a:lnTo>
                    <a:close/>
                    <a:moveTo>
                      <a:pt x="1476375" y="576263"/>
                    </a:moveTo>
                    <a:lnTo>
                      <a:pt x="1476375" y="576263"/>
                    </a:lnTo>
                    <a:lnTo>
                      <a:pt x="1481138" y="578168"/>
                    </a:lnTo>
                    <a:lnTo>
                      <a:pt x="1483995" y="572453"/>
                    </a:lnTo>
                    <a:lnTo>
                      <a:pt x="1463993" y="538163"/>
                    </a:lnTo>
                    <a:lnTo>
                      <a:pt x="1441133" y="503873"/>
                    </a:lnTo>
                    <a:lnTo>
                      <a:pt x="1422083" y="488633"/>
                    </a:lnTo>
                    <a:lnTo>
                      <a:pt x="1412558" y="477203"/>
                    </a:lnTo>
                    <a:lnTo>
                      <a:pt x="1403033" y="465773"/>
                    </a:lnTo>
                    <a:lnTo>
                      <a:pt x="1393508" y="455295"/>
                    </a:lnTo>
                    <a:lnTo>
                      <a:pt x="1383983" y="444818"/>
                    </a:lnTo>
                    <a:lnTo>
                      <a:pt x="1462088" y="366713"/>
                    </a:lnTo>
                    <a:lnTo>
                      <a:pt x="1472565" y="377190"/>
                    </a:lnTo>
                    <a:lnTo>
                      <a:pt x="1482090" y="388620"/>
                    </a:lnTo>
                    <a:lnTo>
                      <a:pt x="1491615" y="400050"/>
                    </a:lnTo>
                    <a:lnTo>
                      <a:pt x="1501140" y="411480"/>
                    </a:lnTo>
                    <a:lnTo>
                      <a:pt x="1510665" y="423863"/>
                    </a:lnTo>
                    <a:lnTo>
                      <a:pt x="1520190" y="436245"/>
                    </a:lnTo>
                    <a:lnTo>
                      <a:pt x="1528763" y="448628"/>
                    </a:lnTo>
                    <a:lnTo>
                      <a:pt x="1537335" y="461010"/>
                    </a:lnTo>
                    <a:lnTo>
                      <a:pt x="1544955" y="473393"/>
                    </a:lnTo>
                    <a:lnTo>
                      <a:pt x="1552575" y="486728"/>
                    </a:lnTo>
                    <a:lnTo>
                      <a:pt x="1560195" y="500063"/>
                    </a:lnTo>
                    <a:lnTo>
                      <a:pt x="1567815" y="513398"/>
                    </a:lnTo>
                    <a:lnTo>
                      <a:pt x="1574483" y="526733"/>
                    </a:lnTo>
                    <a:lnTo>
                      <a:pt x="1581150" y="540068"/>
                    </a:lnTo>
                    <a:lnTo>
                      <a:pt x="1587818" y="554355"/>
                    </a:lnTo>
                    <a:lnTo>
                      <a:pt x="1593533" y="567690"/>
                    </a:lnTo>
                    <a:lnTo>
                      <a:pt x="1599248" y="581978"/>
                    </a:lnTo>
                    <a:lnTo>
                      <a:pt x="1604963" y="596265"/>
                    </a:lnTo>
                    <a:lnTo>
                      <a:pt x="1609725" y="610553"/>
                    </a:lnTo>
                    <a:lnTo>
                      <a:pt x="1614488" y="624840"/>
                    </a:lnTo>
                    <a:lnTo>
                      <a:pt x="1619250" y="640080"/>
                    </a:lnTo>
                    <a:lnTo>
                      <a:pt x="1623060" y="654368"/>
                    </a:lnTo>
                    <a:lnTo>
                      <a:pt x="1626870" y="669608"/>
                    </a:lnTo>
                    <a:lnTo>
                      <a:pt x="1630680" y="684848"/>
                    </a:lnTo>
                    <a:lnTo>
                      <a:pt x="1633538" y="700088"/>
                    </a:lnTo>
                    <a:lnTo>
                      <a:pt x="1636395" y="715328"/>
                    </a:lnTo>
                    <a:lnTo>
                      <a:pt x="1639253" y="730568"/>
                    </a:lnTo>
                    <a:lnTo>
                      <a:pt x="1641158" y="746760"/>
                    </a:lnTo>
                    <a:lnTo>
                      <a:pt x="1643063" y="762953"/>
                    </a:lnTo>
                    <a:lnTo>
                      <a:pt x="1644015" y="779145"/>
                    </a:lnTo>
                    <a:lnTo>
                      <a:pt x="1644968" y="795338"/>
                    </a:lnTo>
                    <a:lnTo>
                      <a:pt x="1644968" y="811530"/>
                    </a:lnTo>
                    <a:lnTo>
                      <a:pt x="1534478" y="811530"/>
                    </a:lnTo>
                    <a:lnTo>
                      <a:pt x="1533525" y="795338"/>
                    </a:lnTo>
                    <a:lnTo>
                      <a:pt x="1532573" y="779145"/>
                    </a:lnTo>
                    <a:lnTo>
                      <a:pt x="1531620" y="763905"/>
                    </a:lnTo>
                    <a:lnTo>
                      <a:pt x="1529715" y="748665"/>
                    </a:lnTo>
                    <a:lnTo>
                      <a:pt x="1527810" y="733425"/>
                    </a:lnTo>
                    <a:lnTo>
                      <a:pt x="1524953" y="718185"/>
                    </a:lnTo>
                    <a:lnTo>
                      <a:pt x="1522095" y="702945"/>
                    </a:lnTo>
                    <a:lnTo>
                      <a:pt x="1518285" y="688658"/>
                    </a:lnTo>
                    <a:lnTo>
                      <a:pt x="1514475" y="673418"/>
                    </a:lnTo>
                    <a:lnTo>
                      <a:pt x="1510665" y="659130"/>
                    </a:lnTo>
                    <a:lnTo>
                      <a:pt x="1505903" y="644843"/>
                    </a:lnTo>
                    <a:lnTo>
                      <a:pt x="1500188" y="630555"/>
                    </a:lnTo>
                    <a:lnTo>
                      <a:pt x="1494473" y="616268"/>
                    </a:lnTo>
                    <a:lnTo>
                      <a:pt x="1488758" y="602933"/>
                    </a:lnTo>
                    <a:lnTo>
                      <a:pt x="1483043" y="589598"/>
                    </a:lnTo>
                    <a:lnTo>
                      <a:pt x="1476375" y="576263"/>
                    </a:lnTo>
                    <a:lnTo>
                      <a:pt x="1476375" y="576263"/>
                    </a:lnTo>
                    <a:close/>
                    <a:moveTo>
                      <a:pt x="1319213" y="510540"/>
                    </a:moveTo>
                    <a:lnTo>
                      <a:pt x="1319213" y="510540"/>
                    </a:lnTo>
                    <a:lnTo>
                      <a:pt x="1319213" y="510540"/>
                    </a:lnTo>
                    <a:lnTo>
                      <a:pt x="1346835" y="514350"/>
                    </a:lnTo>
                    <a:lnTo>
                      <a:pt x="1352550" y="522923"/>
                    </a:lnTo>
                    <a:lnTo>
                      <a:pt x="1349693" y="534353"/>
                    </a:lnTo>
                    <a:lnTo>
                      <a:pt x="1386840" y="557213"/>
                    </a:lnTo>
                    <a:lnTo>
                      <a:pt x="1392555" y="554355"/>
                    </a:lnTo>
                    <a:lnTo>
                      <a:pt x="1440180" y="611505"/>
                    </a:lnTo>
                    <a:lnTo>
                      <a:pt x="1459230" y="603885"/>
                    </a:lnTo>
                    <a:lnTo>
                      <a:pt x="1460183" y="602933"/>
                    </a:lnTo>
                    <a:lnTo>
                      <a:pt x="1460183" y="601980"/>
                    </a:lnTo>
                    <a:lnTo>
                      <a:pt x="1465898" y="614363"/>
                    </a:lnTo>
                    <a:lnTo>
                      <a:pt x="1471613" y="626745"/>
                    </a:lnTo>
                    <a:lnTo>
                      <a:pt x="1476375" y="639128"/>
                    </a:lnTo>
                    <a:lnTo>
                      <a:pt x="1481138" y="651510"/>
                    </a:lnTo>
                    <a:lnTo>
                      <a:pt x="1484948" y="664845"/>
                    </a:lnTo>
                    <a:lnTo>
                      <a:pt x="1488758" y="677228"/>
                    </a:lnTo>
                    <a:lnTo>
                      <a:pt x="1492568" y="690563"/>
                    </a:lnTo>
                    <a:lnTo>
                      <a:pt x="1495425" y="703898"/>
                    </a:lnTo>
                    <a:lnTo>
                      <a:pt x="1498283" y="717233"/>
                    </a:lnTo>
                    <a:lnTo>
                      <a:pt x="1501140" y="730568"/>
                    </a:lnTo>
                    <a:lnTo>
                      <a:pt x="1503045" y="743903"/>
                    </a:lnTo>
                    <a:lnTo>
                      <a:pt x="1504950" y="757238"/>
                    </a:lnTo>
                    <a:lnTo>
                      <a:pt x="1505903" y="770573"/>
                    </a:lnTo>
                    <a:lnTo>
                      <a:pt x="1506855" y="784860"/>
                    </a:lnTo>
                    <a:lnTo>
                      <a:pt x="1507808" y="798195"/>
                    </a:lnTo>
                    <a:lnTo>
                      <a:pt x="1508760" y="812483"/>
                    </a:lnTo>
                    <a:lnTo>
                      <a:pt x="1398270" y="812483"/>
                    </a:lnTo>
                    <a:lnTo>
                      <a:pt x="1397318" y="802005"/>
                    </a:lnTo>
                    <a:lnTo>
                      <a:pt x="1396365" y="791528"/>
                    </a:lnTo>
                    <a:lnTo>
                      <a:pt x="1395413" y="781050"/>
                    </a:lnTo>
                    <a:lnTo>
                      <a:pt x="1394460" y="770573"/>
                    </a:lnTo>
                    <a:lnTo>
                      <a:pt x="1393508" y="760095"/>
                    </a:lnTo>
                    <a:lnTo>
                      <a:pt x="1391603" y="749618"/>
                    </a:lnTo>
                    <a:lnTo>
                      <a:pt x="1389698" y="739140"/>
                    </a:lnTo>
                    <a:lnTo>
                      <a:pt x="1386840" y="728663"/>
                    </a:lnTo>
                    <a:lnTo>
                      <a:pt x="1390650" y="725805"/>
                    </a:lnTo>
                    <a:lnTo>
                      <a:pt x="1396365" y="691515"/>
                    </a:lnTo>
                    <a:lnTo>
                      <a:pt x="1390650" y="651510"/>
                    </a:lnTo>
                    <a:lnTo>
                      <a:pt x="1379220" y="608648"/>
                    </a:lnTo>
                    <a:lnTo>
                      <a:pt x="1347788" y="562928"/>
                    </a:lnTo>
                    <a:lnTo>
                      <a:pt x="1353503" y="565785"/>
                    </a:lnTo>
                    <a:lnTo>
                      <a:pt x="1362075" y="561975"/>
                    </a:lnTo>
                    <a:lnTo>
                      <a:pt x="1336358" y="544830"/>
                    </a:lnTo>
                    <a:lnTo>
                      <a:pt x="1333500" y="550545"/>
                    </a:lnTo>
                    <a:lnTo>
                      <a:pt x="1359218" y="587693"/>
                    </a:lnTo>
                    <a:lnTo>
                      <a:pt x="1373505" y="616268"/>
                    </a:lnTo>
                    <a:lnTo>
                      <a:pt x="1384935" y="644843"/>
                    </a:lnTo>
                    <a:lnTo>
                      <a:pt x="1387793" y="664845"/>
                    </a:lnTo>
                    <a:lnTo>
                      <a:pt x="1393508" y="699135"/>
                    </a:lnTo>
                    <a:lnTo>
                      <a:pt x="1382078" y="699135"/>
                    </a:lnTo>
                    <a:lnTo>
                      <a:pt x="1379220" y="691515"/>
                    </a:lnTo>
                    <a:lnTo>
                      <a:pt x="1376363" y="683895"/>
                    </a:lnTo>
                    <a:lnTo>
                      <a:pt x="1373505" y="675323"/>
                    </a:lnTo>
                    <a:lnTo>
                      <a:pt x="1370648" y="667703"/>
                    </a:lnTo>
                    <a:lnTo>
                      <a:pt x="1373505" y="662940"/>
                    </a:lnTo>
                    <a:lnTo>
                      <a:pt x="1364933" y="651510"/>
                    </a:lnTo>
                    <a:lnTo>
                      <a:pt x="1364933" y="637223"/>
                    </a:lnTo>
                    <a:lnTo>
                      <a:pt x="1356360" y="628650"/>
                    </a:lnTo>
                    <a:lnTo>
                      <a:pt x="1352550" y="628650"/>
                    </a:lnTo>
                    <a:lnTo>
                      <a:pt x="1350645" y="624840"/>
                    </a:lnTo>
                    <a:lnTo>
                      <a:pt x="1348740" y="621030"/>
                    </a:lnTo>
                    <a:lnTo>
                      <a:pt x="1346835" y="617220"/>
                    </a:lnTo>
                    <a:lnTo>
                      <a:pt x="1344930" y="613410"/>
                    </a:lnTo>
                    <a:lnTo>
                      <a:pt x="1345883" y="613410"/>
                    </a:lnTo>
                    <a:lnTo>
                      <a:pt x="1347788" y="613410"/>
                    </a:lnTo>
                    <a:lnTo>
                      <a:pt x="1344930" y="604838"/>
                    </a:lnTo>
                    <a:lnTo>
                      <a:pt x="1350645" y="601980"/>
                    </a:lnTo>
                    <a:lnTo>
                      <a:pt x="1347788" y="596265"/>
                    </a:lnTo>
                    <a:lnTo>
                      <a:pt x="1337310" y="601980"/>
                    </a:lnTo>
                    <a:lnTo>
                      <a:pt x="1337310" y="601028"/>
                    </a:lnTo>
                    <a:lnTo>
                      <a:pt x="1343025" y="584835"/>
                    </a:lnTo>
                    <a:lnTo>
                      <a:pt x="1334453" y="581978"/>
                    </a:lnTo>
                    <a:lnTo>
                      <a:pt x="1330643" y="589598"/>
                    </a:lnTo>
                    <a:lnTo>
                      <a:pt x="1321118" y="576263"/>
                    </a:lnTo>
                    <a:lnTo>
                      <a:pt x="1311593" y="563880"/>
                    </a:lnTo>
                    <a:lnTo>
                      <a:pt x="1301115" y="551498"/>
                    </a:lnTo>
                    <a:lnTo>
                      <a:pt x="1290638" y="540068"/>
                    </a:lnTo>
                    <a:lnTo>
                      <a:pt x="1319213" y="510540"/>
                    </a:lnTo>
                    <a:lnTo>
                      <a:pt x="1319213" y="510540"/>
                    </a:lnTo>
                    <a:close/>
                    <a:moveTo>
                      <a:pt x="1271588" y="557213"/>
                    </a:moveTo>
                    <a:lnTo>
                      <a:pt x="1272540" y="558165"/>
                    </a:lnTo>
                    <a:lnTo>
                      <a:pt x="1273493" y="557213"/>
                    </a:lnTo>
                    <a:lnTo>
                      <a:pt x="1287780" y="575310"/>
                    </a:lnTo>
                    <a:lnTo>
                      <a:pt x="1288733" y="574358"/>
                    </a:lnTo>
                    <a:lnTo>
                      <a:pt x="1298258" y="585788"/>
                    </a:lnTo>
                    <a:lnTo>
                      <a:pt x="1306830" y="598170"/>
                    </a:lnTo>
                    <a:lnTo>
                      <a:pt x="1314450" y="610553"/>
                    </a:lnTo>
                    <a:lnTo>
                      <a:pt x="1322070" y="622935"/>
                    </a:lnTo>
                    <a:lnTo>
                      <a:pt x="1321118" y="622935"/>
                    </a:lnTo>
                    <a:lnTo>
                      <a:pt x="1321118" y="622935"/>
                    </a:lnTo>
                    <a:lnTo>
                      <a:pt x="1309688" y="625793"/>
                    </a:lnTo>
                    <a:lnTo>
                      <a:pt x="1309688" y="642938"/>
                    </a:lnTo>
                    <a:lnTo>
                      <a:pt x="1341120" y="662940"/>
                    </a:lnTo>
                    <a:lnTo>
                      <a:pt x="1342073" y="662940"/>
                    </a:lnTo>
                    <a:lnTo>
                      <a:pt x="1343025" y="662940"/>
                    </a:lnTo>
                    <a:lnTo>
                      <a:pt x="1347788" y="674370"/>
                    </a:lnTo>
                    <a:lnTo>
                      <a:pt x="1352550" y="685800"/>
                    </a:lnTo>
                    <a:lnTo>
                      <a:pt x="1357313" y="697230"/>
                    </a:lnTo>
                    <a:lnTo>
                      <a:pt x="1361123" y="709613"/>
                    </a:lnTo>
                    <a:lnTo>
                      <a:pt x="1359218" y="710565"/>
                    </a:lnTo>
                    <a:lnTo>
                      <a:pt x="1359218" y="710565"/>
                    </a:lnTo>
                    <a:lnTo>
                      <a:pt x="1356360" y="719138"/>
                    </a:lnTo>
                    <a:lnTo>
                      <a:pt x="1344930" y="724853"/>
                    </a:lnTo>
                    <a:lnTo>
                      <a:pt x="1342073" y="741998"/>
                    </a:lnTo>
                    <a:lnTo>
                      <a:pt x="1333500" y="744855"/>
                    </a:lnTo>
                    <a:lnTo>
                      <a:pt x="1327785" y="753428"/>
                    </a:lnTo>
                    <a:lnTo>
                      <a:pt x="1322070" y="750570"/>
                    </a:lnTo>
                    <a:lnTo>
                      <a:pt x="1310640" y="750570"/>
                    </a:lnTo>
                    <a:lnTo>
                      <a:pt x="1316355" y="741998"/>
                    </a:lnTo>
                    <a:lnTo>
                      <a:pt x="1322070" y="719138"/>
                    </a:lnTo>
                    <a:lnTo>
                      <a:pt x="1330643" y="713423"/>
                    </a:lnTo>
                    <a:lnTo>
                      <a:pt x="1307783" y="693420"/>
                    </a:lnTo>
                    <a:lnTo>
                      <a:pt x="1290638" y="699135"/>
                    </a:lnTo>
                    <a:lnTo>
                      <a:pt x="1287780" y="713423"/>
                    </a:lnTo>
                    <a:lnTo>
                      <a:pt x="1279208" y="724853"/>
                    </a:lnTo>
                    <a:lnTo>
                      <a:pt x="1267778" y="716280"/>
                    </a:lnTo>
                    <a:lnTo>
                      <a:pt x="1264920" y="707708"/>
                    </a:lnTo>
                    <a:lnTo>
                      <a:pt x="1270635" y="704850"/>
                    </a:lnTo>
                    <a:lnTo>
                      <a:pt x="1273493" y="710565"/>
                    </a:lnTo>
                    <a:lnTo>
                      <a:pt x="1279208" y="707708"/>
                    </a:lnTo>
                    <a:lnTo>
                      <a:pt x="1276350" y="699135"/>
                    </a:lnTo>
                    <a:lnTo>
                      <a:pt x="1267778" y="699135"/>
                    </a:lnTo>
                    <a:lnTo>
                      <a:pt x="1267778" y="704850"/>
                    </a:lnTo>
                    <a:lnTo>
                      <a:pt x="1264920" y="704850"/>
                    </a:lnTo>
                    <a:lnTo>
                      <a:pt x="1239203" y="675323"/>
                    </a:lnTo>
                    <a:lnTo>
                      <a:pt x="1230630" y="669608"/>
                    </a:lnTo>
                    <a:lnTo>
                      <a:pt x="1233488" y="666750"/>
                    </a:lnTo>
                    <a:lnTo>
                      <a:pt x="1242060" y="663893"/>
                    </a:lnTo>
                    <a:lnTo>
                      <a:pt x="1233488" y="661035"/>
                    </a:lnTo>
                    <a:lnTo>
                      <a:pt x="1224915" y="663893"/>
                    </a:lnTo>
                    <a:lnTo>
                      <a:pt x="1230630" y="669608"/>
                    </a:lnTo>
                    <a:lnTo>
                      <a:pt x="1218248" y="669608"/>
                    </a:lnTo>
                    <a:lnTo>
                      <a:pt x="1212533" y="661035"/>
                    </a:lnTo>
                    <a:lnTo>
                      <a:pt x="1206818" y="652463"/>
                    </a:lnTo>
                    <a:lnTo>
                      <a:pt x="1200150" y="643890"/>
                    </a:lnTo>
                    <a:lnTo>
                      <a:pt x="1193483" y="636270"/>
                    </a:lnTo>
                    <a:lnTo>
                      <a:pt x="1271588" y="557213"/>
                    </a:lnTo>
                    <a:lnTo>
                      <a:pt x="1271588" y="557213"/>
                    </a:lnTo>
                    <a:close/>
                    <a:moveTo>
                      <a:pt x="1198245" y="678180"/>
                    </a:moveTo>
                    <a:lnTo>
                      <a:pt x="1196340" y="678180"/>
                    </a:lnTo>
                    <a:lnTo>
                      <a:pt x="1196340" y="679133"/>
                    </a:lnTo>
                    <a:lnTo>
                      <a:pt x="1193483" y="693420"/>
                    </a:lnTo>
                    <a:lnTo>
                      <a:pt x="1182053" y="684848"/>
                    </a:lnTo>
                    <a:lnTo>
                      <a:pt x="1173480" y="687705"/>
                    </a:lnTo>
                    <a:lnTo>
                      <a:pt x="1179195" y="696278"/>
                    </a:lnTo>
                    <a:lnTo>
                      <a:pt x="1182053" y="696278"/>
                    </a:lnTo>
                    <a:lnTo>
                      <a:pt x="1179195" y="707708"/>
                    </a:lnTo>
                    <a:lnTo>
                      <a:pt x="1173480" y="701993"/>
                    </a:lnTo>
                    <a:lnTo>
                      <a:pt x="1162050" y="699135"/>
                    </a:lnTo>
                    <a:lnTo>
                      <a:pt x="1171575" y="695325"/>
                    </a:lnTo>
                    <a:lnTo>
                      <a:pt x="1171575" y="692468"/>
                    </a:lnTo>
                    <a:lnTo>
                      <a:pt x="1163003" y="686753"/>
                    </a:lnTo>
                    <a:lnTo>
                      <a:pt x="1165860" y="663893"/>
                    </a:lnTo>
                    <a:lnTo>
                      <a:pt x="1165860" y="663893"/>
                    </a:lnTo>
                    <a:lnTo>
                      <a:pt x="1178243" y="651510"/>
                    </a:lnTo>
                    <a:lnTo>
                      <a:pt x="1183958" y="657225"/>
                    </a:lnTo>
                    <a:lnTo>
                      <a:pt x="1188720" y="663893"/>
                    </a:lnTo>
                    <a:lnTo>
                      <a:pt x="1193483" y="670560"/>
                    </a:lnTo>
                    <a:lnTo>
                      <a:pt x="1198245" y="678180"/>
                    </a:lnTo>
                    <a:lnTo>
                      <a:pt x="1198245" y="678180"/>
                    </a:lnTo>
                    <a:close/>
                    <a:moveTo>
                      <a:pt x="1248728" y="1278255"/>
                    </a:moveTo>
                    <a:lnTo>
                      <a:pt x="1259205" y="1257300"/>
                    </a:lnTo>
                    <a:lnTo>
                      <a:pt x="1253490" y="1245870"/>
                    </a:lnTo>
                    <a:lnTo>
                      <a:pt x="1270635" y="1231583"/>
                    </a:lnTo>
                    <a:lnTo>
                      <a:pt x="1270635" y="1223010"/>
                    </a:lnTo>
                    <a:lnTo>
                      <a:pt x="1256348" y="1214438"/>
                    </a:lnTo>
                    <a:lnTo>
                      <a:pt x="1267778" y="1194435"/>
                    </a:lnTo>
                    <a:lnTo>
                      <a:pt x="1284923" y="1171575"/>
                    </a:lnTo>
                    <a:lnTo>
                      <a:pt x="1267778" y="1154430"/>
                    </a:lnTo>
                    <a:lnTo>
                      <a:pt x="1256348" y="1154430"/>
                    </a:lnTo>
                    <a:lnTo>
                      <a:pt x="1248728" y="1143953"/>
                    </a:lnTo>
                    <a:lnTo>
                      <a:pt x="1254443" y="1139190"/>
                    </a:lnTo>
                    <a:lnTo>
                      <a:pt x="1260158" y="1133475"/>
                    </a:lnTo>
                    <a:lnTo>
                      <a:pt x="1265873" y="1128713"/>
                    </a:lnTo>
                    <a:lnTo>
                      <a:pt x="1271588" y="1122998"/>
                    </a:lnTo>
                    <a:lnTo>
                      <a:pt x="1311593" y="1163003"/>
                    </a:lnTo>
                    <a:lnTo>
                      <a:pt x="1311593" y="1169670"/>
                    </a:lnTo>
                    <a:lnTo>
                      <a:pt x="1311593" y="1169670"/>
                    </a:lnTo>
                    <a:lnTo>
                      <a:pt x="1319213" y="1170623"/>
                    </a:lnTo>
                    <a:lnTo>
                      <a:pt x="1349693" y="1201103"/>
                    </a:lnTo>
                    <a:lnTo>
                      <a:pt x="1338263" y="1211580"/>
                    </a:lnTo>
                    <a:lnTo>
                      <a:pt x="1326833" y="1222058"/>
                    </a:lnTo>
                    <a:lnTo>
                      <a:pt x="1314450" y="1232535"/>
                    </a:lnTo>
                    <a:lnTo>
                      <a:pt x="1302068" y="1242060"/>
                    </a:lnTo>
                    <a:lnTo>
                      <a:pt x="1288733" y="1251585"/>
                    </a:lnTo>
                    <a:lnTo>
                      <a:pt x="1275398" y="1261110"/>
                    </a:lnTo>
                    <a:lnTo>
                      <a:pt x="1262063" y="1269683"/>
                    </a:lnTo>
                    <a:lnTo>
                      <a:pt x="1248728" y="1278255"/>
                    </a:lnTo>
                    <a:lnTo>
                      <a:pt x="1248728" y="1278255"/>
                    </a:lnTo>
                    <a:close/>
                    <a:moveTo>
                      <a:pt x="1258253" y="1076325"/>
                    </a:moveTo>
                    <a:lnTo>
                      <a:pt x="1262063" y="1065848"/>
                    </a:lnTo>
                    <a:lnTo>
                      <a:pt x="1250633" y="1031558"/>
                    </a:lnTo>
                    <a:lnTo>
                      <a:pt x="1237298" y="1054418"/>
                    </a:lnTo>
                    <a:lnTo>
                      <a:pt x="1226820" y="1043940"/>
                    </a:lnTo>
                    <a:lnTo>
                      <a:pt x="1231583" y="1037273"/>
                    </a:lnTo>
                    <a:lnTo>
                      <a:pt x="1243013" y="1017270"/>
                    </a:lnTo>
                    <a:lnTo>
                      <a:pt x="1237298" y="1011555"/>
                    </a:lnTo>
                    <a:lnTo>
                      <a:pt x="1245870" y="994410"/>
                    </a:lnTo>
                    <a:lnTo>
                      <a:pt x="1243013" y="980123"/>
                    </a:lnTo>
                    <a:lnTo>
                      <a:pt x="1240155" y="965835"/>
                    </a:lnTo>
                    <a:lnTo>
                      <a:pt x="1228725" y="962978"/>
                    </a:lnTo>
                    <a:lnTo>
                      <a:pt x="1225868" y="971550"/>
                    </a:lnTo>
                    <a:lnTo>
                      <a:pt x="1223010" y="970598"/>
                    </a:lnTo>
                    <a:lnTo>
                      <a:pt x="1228725" y="960120"/>
                    </a:lnTo>
                    <a:lnTo>
                      <a:pt x="1234440" y="949643"/>
                    </a:lnTo>
                    <a:lnTo>
                      <a:pt x="1239203" y="939165"/>
                    </a:lnTo>
                    <a:lnTo>
                      <a:pt x="1243965" y="928688"/>
                    </a:lnTo>
                    <a:lnTo>
                      <a:pt x="1253490" y="923925"/>
                    </a:lnTo>
                    <a:lnTo>
                      <a:pt x="1259205" y="918210"/>
                    </a:lnTo>
                    <a:lnTo>
                      <a:pt x="1262063" y="921068"/>
                    </a:lnTo>
                    <a:lnTo>
                      <a:pt x="1267778" y="912495"/>
                    </a:lnTo>
                    <a:lnTo>
                      <a:pt x="1262063" y="906780"/>
                    </a:lnTo>
                    <a:lnTo>
                      <a:pt x="1267778" y="903923"/>
                    </a:lnTo>
                    <a:lnTo>
                      <a:pt x="1276350" y="906780"/>
                    </a:lnTo>
                    <a:lnTo>
                      <a:pt x="1293495" y="906780"/>
                    </a:lnTo>
                    <a:lnTo>
                      <a:pt x="1304925" y="903923"/>
                    </a:lnTo>
                    <a:lnTo>
                      <a:pt x="1333500" y="895350"/>
                    </a:lnTo>
                    <a:lnTo>
                      <a:pt x="1327785" y="886778"/>
                    </a:lnTo>
                    <a:lnTo>
                      <a:pt x="1323975" y="876300"/>
                    </a:lnTo>
                    <a:lnTo>
                      <a:pt x="1338263" y="882015"/>
                    </a:lnTo>
                    <a:lnTo>
                      <a:pt x="1343978" y="879158"/>
                    </a:lnTo>
                    <a:lnTo>
                      <a:pt x="1341120" y="867728"/>
                    </a:lnTo>
                    <a:lnTo>
                      <a:pt x="1323975" y="873443"/>
                    </a:lnTo>
                    <a:lnTo>
                      <a:pt x="1303973" y="870585"/>
                    </a:lnTo>
                    <a:lnTo>
                      <a:pt x="1289685" y="839153"/>
                    </a:lnTo>
                    <a:lnTo>
                      <a:pt x="1290638" y="839153"/>
                    </a:lnTo>
                    <a:lnTo>
                      <a:pt x="1290638" y="839153"/>
                    </a:lnTo>
                    <a:lnTo>
                      <a:pt x="1288733" y="836295"/>
                    </a:lnTo>
                    <a:lnTo>
                      <a:pt x="1376363" y="836295"/>
                    </a:lnTo>
                    <a:lnTo>
                      <a:pt x="1376363" y="845820"/>
                    </a:lnTo>
                    <a:lnTo>
                      <a:pt x="1375410" y="855345"/>
                    </a:lnTo>
                    <a:lnTo>
                      <a:pt x="1374458" y="864870"/>
                    </a:lnTo>
                    <a:lnTo>
                      <a:pt x="1373505" y="874395"/>
                    </a:lnTo>
                    <a:lnTo>
                      <a:pt x="1372553" y="882968"/>
                    </a:lnTo>
                    <a:lnTo>
                      <a:pt x="1370648" y="891540"/>
                    </a:lnTo>
                    <a:lnTo>
                      <a:pt x="1368743" y="900113"/>
                    </a:lnTo>
                    <a:lnTo>
                      <a:pt x="1366838" y="908685"/>
                    </a:lnTo>
                    <a:lnTo>
                      <a:pt x="1364933" y="917258"/>
                    </a:lnTo>
                    <a:lnTo>
                      <a:pt x="1363028" y="925830"/>
                    </a:lnTo>
                    <a:lnTo>
                      <a:pt x="1360170" y="934403"/>
                    </a:lnTo>
                    <a:lnTo>
                      <a:pt x="1357313" y="942975"/>
                    </a:lnTo>
                    <a:lnTo>
                      <a:pt x="1354455" y="950595"/>
                    </a:lnTo>
                    <a:lnTo>
                      <a:pt x="1351598" y="959168"/>
                    </a:lnTo>
                    <a:lnTo>
                      <a:pt x="1348740" y="966788"/>
                    </a:lnTo>
                    <a:lnTo>
                      <a:pt x="1345883" y="974408"/>
                    </a:lnTo>
                    <a:lnTo>
                      <a:pt x="1342073" y="982028"/>
                    </a:lnTo>
                    <a:lnTo>
                      <a:pt x="1338263" y="989648"/>
                    </a:lnTo>
                    <a:lnTo>
                      <a:pt x="1334453" y="997268"/>
                    </a:lnTo>
                    <a:lnTo>
                      <a:pt x="1330643" y="1004888"/>
                    </a:lnTo>
                    <a:lnTo>
                      <a:pt x="1326833" y="1012508"/>
                    </a:lnTo>
                    <a:lnTo>
                      <a:pt x="1323023" y="1020128"/>
                    </a:lnTo>
                    <a:lnTo>
                      <a:pt x="1318260" y="1027748"/>
                    </a:lnTo>
                    <a:lnTo>
                      <a:pt x="1313498" y="1035368"/>
                    </a:lnTo>
                    <a:lnTo>
                      <a:pt x="1308735" y="1042035"/>
                    </a:lnTo>
                    <a:lnTo>
                      <a:pt x="1303973" y="1048703"/>
                    </a:lnTo>
                    <a:lnTo>
                      <a:pt x="1299210" y="1055370"/>
                    </a:lnTo>
                    <a:lnTo>
                      <a:pt x="1293495" y="1062038"/>
                    </a:lnTo>
                    <a:lnTo>
                      <a:pt x="1287780" y="1068705"/>
                    </a:lnTo>
                    <a:lnTo>
                      <a:pt x="1283018" y="1075373"/>
                    </a:lnTo>
                    <a:lnTo>
                      <a:pt x="1277303" y="1082040"/>
                    </a:lnTo>
                    <a:lnTo>
                      <a:pt x="1271588" y="1088708"/>
                    </a:lnTo>
                    <a:lnTo>
                      <a:pt x="1258253" y="1076325"/>
                    </a:lnTo>
                    <a:lnTo>
                      <a:pt x="1258253" y="1076325"/>
                    </a:lnTo>
                    <a:close/>
                    <a:moveTo>
                      <a:pt x="1212533" y="1063943"/>
                    </a:moveTo>
                    <a:lnTo>
                      <a:pt x="1206818" y="1064895"/>
                    </a:lnTo>
                    <a:lnTo>
                      <a:pt x="1207770" y="1065848"/>
                    </a:lnTo>
                    <a:lnTo>
                      <a:pt x="1204913" y="1068705"/>
                    </a:lnTo>
                    <a:lnTo>
                      <a:pt x="1179195" y="1062990"/>
                    </a:lnTo>
                    <a:lnTo>
                      <a:pt x="1173480" y="1065848"/>
                    </a:lnTo>
                    <a:lnTo>
                      <a:pt x="1159193" y="1054418"/>
                    </a:lnTo>
                    <a:lnTo>
                      <a:pt x="1147763" y="1051560"/>
                    </a:lnTo>
                    <a:lnTo>
                      <a:pt x="1163955" y="1038225"/>
                    </a:lnTo>
                    <a:lnTo>
                      <a:pt x="1163955" y="1036320"/>
                    </a:lnTo>
                    <a:lnTo>
                      <a:pt x="1177290" y="1029653"/>
                    </a:lnTo>
                    <a:lnTo>
                      <a:pt x="1212533" y="1063943"/>
                    </a:lnTo>
                    <a:lnTo>
                      <a:pt x="1212533" y="1063943"/>
                    </a:lnTo>
                    <a:close/>
                    <a:moveTo>
                      <a:pt x="1275398" y="811530"/>
                    </a:moveTo>
                    <a:lnTo>
                      <a:pt x="1275398" y="805815"/>
                    </a:lnTo>
                    <a:lnTo>
                      <a:pt x="1286828" y="797243"/>
                    </a:lnTo>
                    <a:lnTo>
                      <a:pt x="1286828" y="791528"/>
                    </a:lnTo>
                    <a:lnTo>
                      <a:pt x="1292543" y="788670"/>
                    </a:lnTo>
                    <a:lnTo>
                      <a:pt x="1306830" y="785813"/>
                    </a:lnTo>
                    <a:lnTo>
                      <a:pt x="1306830" y="781050"/>
                    </a:lnTo>
                    <a:lnTo>
                      <a:pt x="1295400" y="775335"/>
                    </a:lnTo>
                    <a:lnTo>
                      <a:pt x="1315403" y="763905"/>
                    </a:lnTo>
                    <a:lnTo>
                      <a:pt x="1335405" y="761048"/>
                    </a:lnTo>
                    <a:lnTo>
                      <a:pt x="1341120" y="749618"/>
                    </a:lnTo>
                    <a:lnTo>
                      <a:pt x="1352550" y="743903"/>
                    </a:lnTo>
                    <a:lnTo>
                      <a:pt x="1358265" y="732473"/>
                    </a:lnTo>
                    <a:lnTo>
                      <a:pt x="1361123" y="718185"/>
                    </a:lnTo>
                    <a:lnTo>
                      <a:pt x="1361123" y="719138"/>
                    </a:lnTo>
                    <a:lnTo>
                      <a:pt x="1361123" y="718185"/>
                    </a:lnTo>
                    <a:lnTo>
                      <a:pt x="1362075" y="717233"/>
                    </a:lnTo>
                    <a:lnTo>
                      <a:pt x="1363028" y="721043"/>
                    </a:lnTo>
                    <a:lnTo>
                      <a:pt x="1363980" y="724853"/>
                    </a:lnTo>
                    <a:lnTo>
                      <a:pt x="1364933" y="728663"/>
                    </a:lnTo>
                    <a:lnTo>
                      <a:pt x="1365885" y="732473"/>
                    </a:lnTo>
                    <a:lnTo>
                      <a:pt x="1363028" y="736283"/>
                    </a:lnTo>
                    <a:lnTo>
                      <a:pt x="1363028" y="736283"/>
                    </a:lnTo>
                    <a:lnTo>
                      <a:pt x="1354455" y="765810"/>
                    </a:lnTo>
                    <a:lnTo>
                      <a:pt x="1351598" y="777240"/>
                    </a:lnTo>
                    <a:lnTo>
                      <a:pt x="1364933" y="762953"/>
                    </a:lnTo>
                    <a:lnTo>
                      <a:pt x="1370648" y="754380"/>
                    </a:lnTo>
                    <a:lnTo>
                      <a:pt x="1371600" y="761048"/>
                    </a:lnTo>
                    <a:lnTo>
                      <a:pt x="1372553" y="767715"/>
                    </a:lnTo>
                    <a:lnTo>
                      <a:pt x="1373505" y="775335"/>
                    </a:lnTo>
                    <a:lnTo>
                      <a:pt x="1374458" y="782003"/>
                    </a:lnTo>
                    <a:lnTo>
                      <a:pt x="1375410" y="788670"/>
                    </a:lnTo>
                    <a:lnTo>
                      <a:pt x="1375410" y="795338"/>
                    </a:lnTo>
                    <a:lnTo>
                      <a:pt x="1375410" y="802958"/>
                    </a:lnTo>
                    <a:lnTo>
                      <a:pt x="1375410" y="810578"/>
                    </a:lnTo>
                    <a:lnTo>
                      <a:pt x="1275398" y="810578"/>
                    </a:lnTo>
                    <a:lnTo>
                      <a:pt x="1275398" y="811530"/>
                    </a:lnTo>
                    <a:close/>
                    <a:moveTo>
                      <a:pt x="1143953" y="625793"/>
                    </a:moveTo>
                    <a:lnTo>
                      <a:pt x="1143000" y="626745"/>
                    </a:lnTo>
                    <a:lnTo>
                      <a:pt x="1134428" y="632460"/>
                    </a:lnTo>
                    <a:lnTo>
                      <a:pt x="1128713" y="641033"/>
                    </a:lnTo>
                    <a:lnTo>
                      <a:pt x="1122998" y="635318"/>
                    </a:lnTo>
                    <a:lnTo>
                      <a:pt x="1105853" y="641033"/>
                    </a:lnTo>
                    <a:lnTo>
                      <a:pt x="1111568" y="649605"/>
                    </a:lnTo>
                    <a:lnTo>
                      <a:pt x="1122998" y="643890"/>
                    </a:lnTo>
                    <a:lnTo>
                      <a:pt x="1131570" y="646748"/>
                    </a:lnTo>
                    <a:lnTo>
                      <a:pt x="1131570" y="641033"/>
                    </a:lnTo>
                    <a:lnTo>
                      <a:pt x="1137285" y="638175"/>
                    </a:lnTo>
                    <a:lnTo>
                      <a:pt x="1140143" y="635318"/>
                    </a:lnTo>
                    <a:lnTo>
                      <a:pt x="1148715" y="632460"/>
                    </a:lnTo>
                    <a:lnTo>
                      <a:pt x="1155383" y="632460"/>
                    </a:lnTo>
                    <a:lnTo>
                      <a:pt x="1143953" y="625793"/>
                    </a:lnTo>
                    <a:lnTo>
                      <a:pt x="1143953" y="625793"/>
                    </a:lnTo>
                    <a:close/>
                    <a:moveTo>
                      <a:pt x="1351598" y="1168718"/>
                    </a:moveTo>
                    <a:lnTo>
                      <a:pt x="1356360" y="1162050"/>
                    </a:lnTo>
                    <a:lnTo>
                      <a:pt x="1347788" y="1119188"/>
                    </a:lnTo>
                    <a:lnTo>
                      <a:pt x="1342073" y="1116330"/>
                    </a:lnTo>
                    <a:lnTo>
                      <a:pt x="1344930" y="1110615"/>
                    </a:lnTo>
                    <a:lnTo>
                      <a:pt x="1327785" y="1104900"/>
                    </a:lnTo>
                    <a:lnTo>
                      <a:pt x="1322070" y="1119188"/>
                    </a:lnTo>
                    <a:lnTo>
                      <a:pt x="1322070" y="1139190"/>
                    </a:lnTo>
                    <a:lnTo>
                      <a:pt x="1288733" y="1105853"/>
                    </a:lnTo>
                    <a:lnTo>
                      <a:pt x="1294448" y="1099185"/>
                    </a:lnTo>
                    <a:lnTo>
                      <a:pt x="1301115" y="1092518"/>
                    </a:lnTo>
                    <a:lnTo>
                      <a:pt x="1306830" y="1085850"/>
                    </a:lnTo>
                    <a:lnTo>
                      <a:pt x="1312545" y="1078230"/>
                    </a:lnTo>
                    <a:lnTo>
                      <a:pt x="1318260" y="1071563"/>
                    </a:lnTo>
                    <a:lnTo>
                      <a:pt x="1323975" y="1063943"/>
                    </a:lnTo>
                    <a:lnTo>
                      <a:pt x="1329690" y="1056323"/>
                    </a:lnTo>
                    <a:lnTo>
                      <a:pt x="1335405" y="1048703"/>
                    </a:lnTo>
                    <a:lnTo>
                      <a:pt x="1340168" y="1041083"/>
                    </a:lnTo>
                    <a:lnTo>
                      <a:pt x="1344930" y="1033463"/>
                    </a:lnTo>
                    <a:lnTo>
                      <a:pt x="1349693" y="1025843"/>
                    </a:lnTo>
                    <a:lnTo>
                      <a:pt x="1354455" y="1018223"/>
                    </a:lnTo>
                    <a:lnTo>
                      <a:pt x="1358265" y="1009650"/>
                    </a:lnTo>
                    <a:lnTo>
                      <a:pt x="1362075" y="1001078"/>
                    </a:lnTo>
                    <a:lnTo>
                      <a:pt x="1365885" y="992505"/>
                    </a:lnTo>
                    <a:lnTo>
                      <a:pt x="1369695" y="983933"/>
                    </a:lnTo>
                    <a:lnTo>
                      <a:pt x="1373505" y="975360"/>
                    </a:lnTo>
                    <a:lnTo>
                      <a:pt x="1377315" y="966788"/>
                    </a:lnTo>
                    <a:lnTo>
                      <a:pt x="1380173" y="958215"/>
                    </a:lnTo>
                    <a:lnTo>
                      <a:pt x="1383030" y="949643"/>
                    </a:lnTo>
                    <a:lnTo>
                      <a:pt x="1385888" y="940118"/>
                    </a:lnTo>
                    <a:lnTo>
                      <a:pt x="1388745" y="930593"/>
                    </a:lnTo>
                    <a:lnTo>
                      <a:pt x="1391603" y="921068"/>
                    </a:lnTo>
                    <a:lnTo>
                      <a:pt x="1393508" y="911543"/>
                    </a:lnTo>
                    <a:lnTo>
                      <a:pt x="1395413" y="902018"/>
                    </a:lnTo>
                    <a:lnTo>
                      <a:pt x="1397318" y="892493"/>
                    </a:lnTo>
                    <a:lnTo>
                      <a:pt x="1398270" y="882968"/>
                    </a:lnTo>
                    <a:lnTo>
                      <a:pt x="1399223" y="873443"/>
                    </a:lnTo>
                    <a:lnTo>
                      <a:pt x="1400175" y="863918"/>
                    </a:lnTo>
                    <a:lnTo>
                      <a:pt x="1401128" y="854393"/>
                    </a:lnTo>
                    <a:lnTo>
                      <a:pt x="1401128" y="844868"/>
                    </a:lnTo>
                    <a:lnTo>
                      <a:pt x="1402080" y="835343"/>
                    </a:lnTo>
                    <a:lnTo>
                      <a:pt x="1512570" y="835343"/>
                    </a:lnTo>
                    <a:lnTo>
                      <a:pt x="1511618" y="847725"/>
                    </a:lnTo>
                    <a:lnTo>
                      <a:pt x="1510665" y="860108"/>
                    </a:lnTo>
                    <a:lnTo>
                      <a:pt x="1509713" y="872490"/>
                    </a:lnTo>
                    <a:lnTo>
                      <a:pt x="1508760" y="884873"/>
                    </a:lnTo>
                    <a:lnTo>
                      <a:pt x="1506855" y="897255"/>
                    </a:lnTo>
                    <a:lnTo>
                      <a:pt x="1504950" y="909638"/>
                    </a:lnTo>
                    <a:lnTo>
                      <a:pt x="1503045" y="922020"/>
                    </a:lnTo>
                    <a:lnTo>
                      <a:pt x="1500188" y="934403"/>
                    </a:lnTo>
                    <a:lnTo>
                      <a:pt x="1497330" y="946785"/>
                    </a:lnTo>
                    <a:lnTo>
                      <a:pt x="1494473" y="959168"/>
                    </a:lnTo>
                    <a:lnTo>
                      <a:pt x="1491615" y="970598"/>
                    </a:lnTo>
                    <a:lnTo>
                      <a:pt x="1487805" y="982028"/>
                    </a:lnTo>
                    <a:lnTo>
                      <a:pt x="1483995" y="993458"/>
                    </a:lnTo>
                    <a:lnTo>
                      <a:pt x="1480185" y="1004888"/>
                    </a:lnTo>
                    <a:lnTo>
                      <a:pt x="1476375" y="1016318"/>
                    </a:lnTo>
                    <a:lnTo>
                      <a:pt x="1471613" y="1027748"/>
                    </a:lnTo>
                    <a:lnTo>
                      <a:pt x="1466850" y="1038225"/>
                    </a:lnTo>
                    <a:lnTo>
                      <a:pt x="1461135" y="1048703"/>
                    </a:lnTo>
                    <a:lnTo>
                      <a:pt x="1455420" y="1059180"/>
                    </a:lnTo>
                    <a:lnTo>
                      <a:pt x="1449705" y="1069658"/>
                    </a:lnTo>
                    <a:lnTo>
                      <a:pt x="1443990" y="1080135"/>
                    </a:lnTo>
                    <a:lnTo>
                      <a:pt x="1438275" y="1090613"/>
                    </a:lnTo>
                    <a:lnTo>
                      <a:pt x="1431608" y="1101090"/>
                    </a:lnTo>
                    <a:lnTo>
                      <a:pt x="1424940" y="1110615"/>
                    </a:lnTo>
                    <a:lnTo>
                      <a:pt x="1418273" y="1120140"/>
                    </a:lnTo>
                    <a:lnTo>
                      <a:pt x="1411605" y="1129665"/>
                    </a:lnTo>
                    <a:lnTo>
                      <a:pt x="1403985" y="1139190"/>
                    </a:lnTo>
                    <a:lnTo>
                      <a:pt x="1397318" y="1148715"/>
                    </a:lnTo>
                    <a:lnTo>
                      <a:pt x="1389698" y="1158240"/>
                    </a:lnTo>
                    <a:lnTo>
                      <a:pt x="1382078" y="1166813"/>
                    </a:lnTo>
                    <a:lnTo>
                      <a:pt x="1374458" y="1176338"/>
                    </a:lnTo>
                    <a:lnTo>
                      <a:pt x="1366838" y="1184910"/>
                    </a:lnTo>
                    <a:lnTo>
                      <a:pt x="1351598" y="1168718"/>
                    </a:lnTo>
                    <a:lnTo>
                      <a:pt x="1351598" y="1168718"/>
                    </a:lnTo>
                    <a:close/>
                    <a:moveTo>
                      <a:pt x="626745" y="837248"/>
                    </a:moveTo>
                    <a:lnTo>
                      <a:pt x="626745" y="837248"/>
                    </a:lnTo>
                    <a:lnTo>
                      <a:pt x="618173" y="865823"/>
                    </a:lnTo>
                    <a:lnTo>
                      <a:pt x="629603" y="874395"/>
                    </a:lnTo>
                    <a:lnTo>
                      <a:pt x="618173" y="891540"/>
                    </a:lnTo>
                    <a:lnTo>
                      <a:pt x="601028" y="891540"/>
                    </a:lnTo>
                    <a:lnTo>
                      <a:pt x="600075" y="884873"/>
                    </a:lnTo>
                    <a:lnTo>
                      <a:pt x="599123" y="878205"/>
                    </a:lnTo>
                    <a:lnTo>
                      <a:pt x="598170" y="871538"/>
                    </a:lnTo>
                    <a:lnTo>
                      <a:pt x="597218" y="864870"/>
                    </a:lnTo>
                    <a:lnTo>
                      <a:pt x="596265" y="857250"/>
                    </a:lnTo>
                    <a:lnTo>
                      <a:pt x="596265" y="850583"/>
                    </a:lnTo>
                    <a:lnTo>
                      <a:pt x="595313" y="843915"/>
                    </a:lnTo>
                    <a:lnTo>
                      <a:pt x="595313" y="836295"/>
                    </a:lnTo>
                    <a:lnTo>
                      <a:pt x="628650" y="836295"/>
                    </a:lnTo>
                    <a:lnTo>
                      <a:pt x="626745" y="837248"/>
                    </a:lnTo>
                    <a:lnTo>
                      <a:pt x="626745" y="837248"/>
                    </a:lnTo>
                    <a:close/>
                    <a:moveTo>
                      <a:pt x="574358" y="870585"/>
                    </a:moveTo>
                    <a:lnTo>
                      <a:pt x="573405" y="870585"/>
                    </a:lnTo>
                    <a:lnTo>
                      <a:pt x="573405" y="871538"/>
                    </a:lnTo>
                    <a:lnTo>
                      <a:pt x="559118" y="874395"/>
                    </a:lnTo>
                    <a:lnTo>
                      <a:pt x="556260" y="888683"/>
                    </a:lnTo>
                    <a:lnTo>
                      <a:pt x="527685" y="922973"/>
                    </a:lnTo>
                    <a:lnTo>
                      <a:pt x="530543" y="974408"/>
                    </a:lnTo>
                    <a:lnTo>
                      <a:pt x="499110" y="982980"/>
                    </a:lnTo>
                    <a:lnTo>
                      <a:pt x="486728" y="982980"/>
                    </a:lnTo>
                    <a:lnTo>
                      <a:pt x="481013" y="964883"/>
                    </a:lnTo>
                    <a:lnTo>
                      <a:pt x="476250" y="946785"/>
                    </a:lnTo>
                    <a:lnTo>
                      <a:pt x="472440" y="928688"/>
                    </a:lnTo>
                    <a:lnTo>
                      <a:pt x="469583" y="909638"/>
                    </a:lnTo>
                    <a:lnTo>
                      <a:pt x="466725" y="890588"/>
                    </a:lnTo>
                    <a:lnTo>
                      <a:pt x="464820" y="871538"/>
                    </a:lnTo>
                    <a:lnTo>
                      <a:pt x="463868" y="862013"/>
                    </a:lnTo>
                    <a:lnTo>
                      <a:pt x="462915" y="852488"/>
                    </a:lnTo>
                    <a:lnTo>
                      <a:pt x="462915" y="842963"/>
                    </a:lnTo>
                    <a:lnTo>
                      <a:pt x="462915" y="833438"/>
                    </a:lnTo>
                    <a:lnTo>
                      <a:pt x="573405" y="833438"/>
                    </a:lnTo>
                    <a:lnTo>
                      <a:pt x="573405" y="842963"/>
                    </a:lnTo>
                    <a:lnTo>
                      <a:pt x="574358" y="851535"/>
                    </a:lnTo>
                    <a:lnTo>
                      <a:pt x="575310" y="861060"/>
                    </a:lnTo>
                    <a:lnTo>
                      <a:pt x="574358" y="870585"/>
                    </a:lnTo>
                    <a:lnTo>
                      <a:pt x="574358" y="870585"/>
                    </a:lnTo>
                    <a:close/>
                    <a:moveTo>
                      <a:pt x="461963" y="982980"/>
                    </a:moveTo>
                    <a:lnTo>
                      <a:pt x="458153" y="982980"/>
                    </a:lnTo>
                    <a:lnTo>
                      <a:pt x="458153" y="982980"/>
                    </a:lnTo>
                    <a:lnTo>
                      <a:pt x="458153" y="983933"/>
                    </a:lnTo>
                    <a:lnTo>
                      <a:pt x="451485" y="983933"/>
                    </a:lnTo>
                    <a:lnTo>
                      <a:pt x="445770" y="975360"/>
                    </a:lnTo>
                    <a:lnTo>
                      <a:pt x="415290" y="972503"/>
                    </a:lnTo>
                    <a:lnTo>
                      <a:pt x="423863" y="986790"/>
                    </a:lnTo>
                    <a:lnTo>
                      <a:pt x="396240" y="981075"/>
                    </a:lnTo>
                    <a:lnTo>
                      <a:pt x="404813" y="972503"/>
                    </a:lnTo>
                    <a:lnTo>
                      <a:pt x="396240" y="966788"/>
                    </a:lnTo>
                    <a:lnTo>
                      <a:pt x="377190" y="975360"/>
                    </a:lnTo>
                    <a:lnTo>
                      <a:pt x="368618" y="989648"/>
                    </a:lnTo>
                    <a:lnTo>
                      <a:pt x="371475" y="1020128"/>
                    </a:lnTo>
                    <a:lnTo>
                      <a:pt x="396240" y="1078230"/>
                    </a:lnTo>
                    <a:lnTo>
                      <a:pt x="407670" y="1095375"/>
                    </a:lnTo>
                    <a:lnTo>
                      <a:pt x="413385" y="1098233"/>
                    </a:lnTo>
                    <a:lnTo>
                      <a:pt x="396240" y="1064895"/>
                    </a:lnTo>
                    <a:lnTo>
                      <a:pt x="390525" y="1047750"/>
                    </a:lnTo>
                    <a:lnTo>
                      <a:pt x="396240" y="1042035"/>
                    </a:lnTo>
                    <a:lnTo>
                      <a:pt x="393383" y="1033463"/>
                    </a:lnTo>
                    <a:lnTo>
                      <a:pt x="405765" y="1033463"/>
                    </a:lnTo>
                    <a:lnTo>
                      <a:pt x="421958" y="1058228"/>
                    </a:lnTo>
                    <a:lnTo>
                      <a:pt x="424815" y="1061085"/>
                    </a:lnTo>
                    <a:lnTo>
                      <a:pt x="424815" y="1042035"/>
                    </a:lnTo>
                    <a:lnTo>
                      <a:pt x="430530" y="1047750"/>
                    </a:lnTo>
                    <a:lnTo>
                      <a:pt x="433388" y="1056323"/>
                    </a:lnTo>
                    <a:lnTo>
                      <a:pt x="449580" y="1062038"/>
                    </a:lnTo>
                    <a:lnTo>
                      <a:pt x="458153" y="1056323"/>
                    </a:lnTo>
                    <a:lnTo>
                      <a:pt x="461963" y="1056323"/>
                    </a:lnTo>
                    <a:lnTo>
                      <a:pt x="461963" y="1071563"/>
                    </a:lnTo>
                    <a:lnTo>
                      <a:pt x="467678" y="1082993"/>
                    </a:lnTo>
                    <a:lnTo>
                      <a:pt x="479108" y="1082993"/>
                    </a:lnTo>
                    <a:lnTo>
                      <a:pt x="499110" y="1122045"/>
                    </a:lnTo>
                    <a:lnTo>
                      <a:pt x="510540" y="1124903"/>
                    </a:lnTo>
                    <a:lnTo>
                      <a:pt x="516255" y="1107758"/>
                    </a:lnTo>
                    <a:lnTo>
                      <a:pt x="516255" y="1105853"/>
                    </a:lnTo>
                    <a:lnTo>
                      <a:pt x="516255" y="1105853"/>
                    </a:lnTo>
                    <a:lnTo>
                      <a:pt x="516255" y="1104900"/>
                    </a:lnTo>
                    <a:lnTo>
                      <a:pt x="523875" y="1118235"/>
                    </a:lnTo>
                    <a:lnTo>
                      <a:pt x="532448" y="1131570"/>
                    </a:lnTo>
                    <a:lnTo>
                      <a:pt x="541020" y="1143953"/>
                    </a:lnTo>
                    <a:lnTo>
                      <a:pt x="550545" y="1156335"/>
                    </a:lnTo>
                    <a:lnTo>
                      <a:pt x="560070" y="1168718"/>
                    </a:lnTo>
                    <a:lnTo>
                      <a:pt x="569595" y="1180148"/>
                    </a:lnTo>
                    <a:lnTo>
                      <a:pt x="580073" y="1191578"/>
                    </a:lnTo>
                    <a:lnTo>
                      <a:pt x="590550" y="1203008"/>
                    </a:lnTo>
                    <a:lnTo>
                      <a:pt x="512445" y="1281113"/>
                    </a:lnTo>
                    <a:lnTo>
                      <a:pt x="501968" y="1270635"/>
                    </a:lnTo>
                    <a:lnTo>
                      <a:pt x="491490" y="1259205"/>
                    </a:lnTo>
                    <a:lnTo>
                      <a:pt x="481965" y="1247775"/>
                    </a:lnTo>
                    <a:lnTo>
                      <a:pt x="472440" y="1236345"/>
                    </a:lnTo>
                    <a:lnTo>
                      <a:pt x="462915" y="1223963"/>
                    </a:lnTo>
                    <a:lnTo>
                      <a:pt x="453390" y="1211580"/>
                    </a:lnTo>
                    <a:lnTo>
                      <a:pt x="444818" y="1199198"/>
                    </a:lnTo>
                    <a:lnTo>
                      <a:pt x="436245" y="1186815"/>
                    </a:lnTo>
                    <a:lnTo>
                      <a:pt x="427673" y="1174433"/>
                    </a:lnTo>
                    <a:lnTo>
                      <a:pt x="420053" y="1161098"/>
                    </a:lnTo>
                    <a:lnTo>
                      <a:pt x="412433" y="1147763"/>
                    </a:lnTo>
                    <a:lnTo>
                      <a:pt x="404813" y="1134428"/>
                    </a:lnTo>
                    <a:lnTo>
                      <a:pt x="398145" y="1121093"/>
                    </a:lnTo>
                    <a:lnTo>
                      <a:pt x="391478" y="1107758"/>
                    </a:lnTo>
                    <a:lnTo>
                      <a:pt x="384810" y="1094423"/>
                    </a:lnTo>
                    <a:lnTo>
                      <a:pt x="379095" y="1080135"/>
                    </a:lnTo>
                    <a:lnTo>
                      <a:pt x="373380" y="1065848"/>
                    </a:lnTo>
                    <a:lnTo>
                      <a:pt x="367665" y="1051560"/>
                    </a:lnTo>
                    <a:lnTo>
                      <a:pt x="362903" y="1037273"/>
                    </a:lnTo>
                    <a:lnTo>
                      <a:pt x="358140" y="1022985"/>
                    </a:lnTo>
                    <a:lnTo>
                      <a:pt x="353378" y="1007745"/>
                    </a:lnTo>
                    <a:lnTo>
                      <a:pt x="349568" y="993458"/>
                    </a:lnTo>
                    <a:lnTo>
                      <a:pt x="345758" y="978218"/>
                    </a:lnTo>
                    <a:lnTo>
                      <a:pt x="341948" y="962978"/>
                    </a:lnTo>
                    <a:lnTo>
                      <a:pt x="339090" y="947738"/>
                    </a:lnTo>
                    <a:lnTo>
                      <a:pt x="336233" y="932498"/>
                    </a:lnTo>
                    <a:lnTo>
                      <a:pt x="333375" y="916305"/>
                    </a:lnTo>
                    <a:lnTo>
                      <a:pt x="333375" y="900113"/>
                    </a:lnTo>
                    <a:lnTo>
                      <a:pt x="331470" y="883920"/>
                    </a:lnTo>
                    <a:lnTo>
                      <a:pt x="330518" y="867728"/>
                    </a:lnTo>
                    <a:lnTo>
                      <a:pt x="329565" y="851535"/>
                    </a:lnTo>
                    <a:lnTo>
                      <a:pt x="328613" y="835343"/>
                    </a:lnTo>
                    <a:lnTo>
                      <a:pt x="439103" y="835343"/>
                    </a:lnTo>
                    <a:lnTo>
                      <a:pt x="440055" y="854393"/>
                    </a:lnTo>
                    <a:lnTo>
                      <a:pt x="441960" y="873443"/>
                    </a:lnTo>
                    <a:lnTo>
                      <a:pt x="443865" y="892493"/>
                    </a:lnTo>
                    <a:lnTo>
                      <a:pt x="446723" y="910590"/>
                    </a:lnTo>
                    <a:lnTo>
                      <a:pt x="450533" y="928688"/>
                    </a:lnTo>
                    <a:lnTo>
                      <a:pt x="454343" y="946785"/>
                    </a:lnTo>
                    <a:lnTo>
                      <a:pt x="458153" y="964883"/>
                    </a:lnTo>
                    <a:lnTo>
                      <a:pt x="461963" y="982980"/>
                    </a:lnTo>
                    <a:lnTo>
                      <a:pt x="461963" y="982980"/>
                    </a:lnTo>
                    <a:close/>
                    <a:moveTo>
                      <a:pt x="585788" y="1162050"/>
                    </a:moveTo>
                    <a:lnTo>
                      <a:pt x="596265" y="1154430"/>
                    </a:lnTo>
                    <a:lnTo>
                      <a:pt x="621983" y="1168718"/>
                    </a:lnTo>
                    <a:lnTo>
                      <a:pt x="625793" y="1170623"/>
                    </a:lnTo>
                    <a:lnTo>
                      <a:pt x="608648" y="1187768"/>
                    </a:lnTo>
                    <a:lnTo>
                      <a:pt x="602933" y="1181100"/>
                    </a:lnTo>
                    <a:lnTo>
                      <a:pt x="597218" y="1174433"/>
                    </a:lnTo>
                    <a:lnTo>
                      <a:pt x="591503" y="1167765"/>
                    </a:lnTo>
                    <a:lnTo>
                      <a:pt x="585788" y="1162050"/>
                    </a:lnTo>
                    <a:lnTo>
                      <a:pt x="585788" y="1162050"/>
                    </a:lnTo>
                    <a:close/>
                    <a:moveTo>
                      <a:pt x="681038" y="1067753"/>
                    </a:moveTo>
                    <a:lnTo>
                      <a:pt x="683895" y="1041083"/>
                    </a:lnTo>
                    <a:lnTo>
                      <a:pt x="672465" y="1015365"/>
                    </a:lnTo>
                    <a:lnTo>
                      <a:pt x="669608" y="972503"/>
                    </a:lnTo>
                    <a:lnTo>
                      <a:pt x="655320" y="946785"/>
                    </a:lnTo>
                    <a:lnTo>
                      <a:pt x="658178" y="929640"/>
                    </a:lnTo>
                    <a:lnTo>
                      <a:pt x="641033" y="898208"/>
                    </a:lnTo>
                    <a:lnTo>
                      <a:pt x="626745" y="892493"/>
                    </a:lnTo>
                    <a:lnTo>
                      <a:pt x="632460" y="875348"/>
                    </a:lnTo>
                    <a:lnTo>
                      <a:pt x="626745" y="861060"/>
                    </a:lnTo>
                    <a:lnTo>
                      <a:pt x="632460" y="846773"/>
                    </a:lnTo>
                    <a:lnTo>
                      <a:pt x="649605" y="846773"/>
                    </a:lnTo>
                    <a:lnTo>
                      <a:pt x="655320" y="839153"/>
                    </a:lnTo>
                    <a:lnTo>
                      <a:pt x="655320" y="838200"/>
                    </a:lnTo>
                    <a:lnTo>
                      <a:pt x="656273" y="834390"/>
                    </a:lnTo>
                    <a:lnTo>
                      <a:pt x="679133" y="834390"/>
                    </a:lnTo>
                    <a:lnTo>
                      <a:pt x="681990" y="837248"/>
                    </a:lnTo>
                    <a:lnTo>
                      <a:pt x="681990" y="837248"/>
                    </a:lnTo>
                    <a:lnTo>
                      <a:pt x="681990" y="837248"/>
                    </a:lnTo>
                    <a:lnTo>
                      <a:pt x="681990" y="837248"/>
                    </a:lnTo>
                    <a:lnTo>
                      <a:pt x="681990" y="837248"/>
                    </a:lnTo>
                    <a:lnTo>
                      <a:pt x="684848" y="845820"/>
                    </a:lnTo>
                    <a:lnTo>
                      <a:pt x="681990" y="871538"/>
                    </a:lnTo>
                    <a:lnTo>
                      <a:pt x="676275" y="878205"/>
                    </a:lnTo>
                    <a:lnTo>
                      <a:pt x="686753" y="898208"/>
                    </a:lnTo>
                    <a:lnTo>
                      <a:pt x="681990" y="903923"/>
                    </a:lnTo>
                    <a:lnTo>
                      <a:pt x="676275" y="898208"/>
                    </a:lnTo>
                    <a:lnTo>
                      <a:pt x="673418" y="898208"/>
                    </a:lnTo>
                    <a:lnTo>
                      <a:pt x="679133" y="912495"/>
                    </a:lnTo>
                    <a:lnTo>
                      <a:pt x="686753" y="926783"/>
                    </a:lnTo>
                    <a:lnTo>
                      <a:pt x="689610" y="926783"/>
                    </a:lnTo>
                    <a:lnTo>
                      <a:pt x="692468" y="912495"/>
                    </a:lnTo>
                    <a:lnTo>
                      <a:pt x="687705" y="909638"/>
                    </a:lnTo>
                    <a:lnTo>
                      <a:pt x="687705" y="900113"/>
                    </a:lnTo>
                    <a:lnTo>
                      <a:pt x="687705" y="882015"/>
                    </a:lnTo>
                    <a:lnTo>
                      <a:pt x="693420" y="847725"/>
                    </a:lnTo>
                    <a:lnTo>
                      <a:pt x="691515" y="843915"/>
                    </a:lnTo>
                    <a:lnTo>
                      <a:pt x="686753" y="837248"/>
                    </a:lnTo>
                    <a:lnTo>
                      <a:pt x="688658" y="837248"/>
                    </a:lnTo>
                    <a:lnTo>
                      <a:pt x="687705" y="834390"/>
                    </a:lnTo>
                    <a:lnTo>
                      <a:pt x="709613" y="834390"/>
                    </a:lnTo>
                    <a:lnTo>
                      <a:pt x="710565" y="847725"/>
                    </a:lnTo>
                    <a:lnTo>
                      <a:pt x="711518" y="860108"/>
                    </a:lnTo>
                    <a:lnTo>
                      <a:pt x="713423" y="872490"/>
                    </a:lnTo>
                    <a:lnTo>
                      <a:pt x="716280" y="884873"/>
                    </a:lnTo>
                    <a:lnTo>
                      <a:pt x="719138" y="897255"/>
                    </a:lnTo>
                    <a:lnTo>
                      <a:pt x="722948" y="909638"/>
                    </a:lnTo>
                    <a:lnTo>
                      <a:pt x="726758" y="921068"/>
                    </a:lnTo>
                    <a:lnTo>
                      <a:pt x="731520" y="932498"/>
                    </a:lnTo>
                    <a:lnTo>
                      <a:pt x="736283" y="943928"/>
                    </a:lnTo>
                    <a:lnTo>
                      <a:pt x="741998" y="954405"/>
                    </a:lnTo>
                    <a:lnTo>
                      <a:pt x="747713" y="964883"/>
                    </a:lnTo>
                    <a:lnTo>
                      <a:pt x="754380" y="975360"/>
                    </a:lnTo>
                    <a:lnTo>
                      <a:pt x="761048" y="984885"/>
                    </a:lnTo>
                    <a:lnTo>
                      <a:pt x="768668" y="994410"/>
                    </a:lnTo>
                    <a:lnTo>
                      <a:pt x="776288" y="1003935"/>
                    </a:lnTo>
                    <a:lnTo>
                      <a:pt x="783908" y="1012508"/>
                    </a:lnTo>
                    <a:lnTo>
                      <a:pt x="703898" y="1092518"/>
                    </a:lnTo>
                    <a:lnTo>
                      <a:pt x="698183" y="1085850"/>
                    </a:lnTo>
                    <a:lnTo>
                      <a:pt x="692468" y="1079183"/>
                    </a:lnTo>
                    <a:lnTo>
                      <a:pt x="686753" y="1072515"/>
                    </a:lnTo>
                    <a:lnTo>
                      <a:pt x="681038" y="1067753"/>
                    </a:lnTo>
                    <a:lnTo>
                      <a:pt x="681038" y="1067753"/>
                    </a:lnTo>
                    <a:close/>
                    <a:moveTo>
                      <a:pt x="676275" y="811530"/>
                    </a:moveTo>
                    <a:lnTo>
                      <a:pt x="666750" y="798195"/>
                    </a:lnTo>
                    <a:lnTo>
                      <a:pt x="666750" y="778193"/>
                    </a:lnTo>
                    <a:lnTo>
                      <a:pt x="681038" y="769620"/>
                    </a:lnTo>
                    <a:lnTo>
                      <a:pt x="703898" y="772478"/>
                    </a:lnTo>
                    <a:lnTo>
                      <a:pt x="709613" y="778193"/>
                    </a:lnTo>
                    <a:lnTo>
                      <a:pt x="709613" y="780098"/>
                    </a:lnTo>
                    <a:lnTo>
                      <a:pt x="711518" y="785813"/>
                    </a:lnTo>
                    <a:lnTo>
                      <a:pt x="710565" y="792480"/>
                    </a:lnTo>
                    <a:lnTo>
                      <a:pt x="710565" y="799148"/>
                    </a:lnTo>
                    <a:lnTo>
                      <a:pt x="709613" y="805815"/>
                    </a:lnTo>
                    <a:lnTo>
                      <a:pt x="709613" y="812483"/>
                    </a:lnTo>
                    <a:lnTo>
                      <a:pt x="676275" y="812483"/>
                    </a:lnTo>
                    <a:lnTo>
                      <a:pt x="676275" y="811530"/>
                    </a:lnTo>
                    <a:close/>
                    <a:moveTo>
                      <a:pt x="731520" y="854393"/>
                    </a:moveTo>
                    <a:lnTo>
                      <a:pt x="733425" y="857250"/>
                    </a:lnTo>
                    <a:lnTo>
                      <a:pt x="743903" y="869633"/>
                    </a:lnTo>
                    <a:lnTo>
                      <a:pt x="761048" y="869633"/>
                    </a:lnTo>
                    <a:lnTo>
                      <a:pt x="781050" y="883920"/>
                    </a:lnTo>
                    <a:lnTo>
                      <a:pt x="786765" y="881063"/>
                    </a:lnTo>
                    <a:lnTo>
                      <a:pt x="801053" y="892493"/>
                    </a:lnTo>
                    <a:lnTo>
                      <a:pt x="792480" y="898208"/>
                    </a:lnTo>
                    <a:lnTo>
                      <a:pt x="809625" y="906780"/>
                    </a:lnTo>
                    <a:lnTo>
                      <a:pt x="809625" y="895350"/>
                    </a:lnTo>
                    <a:lnTo>
                      <a:pt x="818198" y="881063"/>
                    </a:lnTo>
                    <a:lnTo>
                      <a:pt x="826770" y="892493"/>
                    </a:lnTo>
                    <a:lnTo>
                      <a:pt x="838200" y="903923"/>
                    </a:lnTo>
                    <a:lnTo>
                      <a:pt x="821055" y="909638"/>
                    </a:lnTo>
                    <a:lnTo>
                      <a:pt x="826770" y="923925"/>
                    </a:lnTo>
                    <a:lnTo>
                      <a:pt x="838200" y="918210"/>
                    </a:lnTo>
                    <a:lnTo>
                      <a:pt x="838200" y="912495"/>
                    </a:lnTo>
                    <a:lnTo>
                      <a:pt x="846773" y="906780"/>
                    </a:lnTo>
                    <a:lnTo>
                      <a:pt x="852488" y="881063"/>
                    </a:lnTo>
                    <a:lnTo>
                      <a:pt x="853440" y="882968"/>
                    </a:lnTo>
                    <a:lnTo>
                      <a:pt x="853440" y="880110"/>
                    </a:lnTo>
                    <a:lnTo>
                      <a:pt x="855345" y="878205"/>
                    </a:lnTo>
                    <a:lnTo>
                      <a:pt x="858203" y="883920"/>
                    </a:lnTo>
                    <a:lnTo>
                      <a:pt x="861060" y="889635"/>
                    </a:lnTo>
                    <a:lnTo>
                      <a:pt x="863918" y="894398"/>
                    </a:lnTo>
                    <a:lnTo>
                      <a:pt x="866775" y="899160"/>
                    </a:lnTo>
                    <a:lnTo>
                      <a:pt x="869633" y="903923"/>
                    </a:lnTo>
                    <a:lnTo>
                      <a:pt x="873443" y="908685"/>
                    </a:lnTo>
                    <a:lnTo>
                      <a:pt x="877253" y="912495"/>
                    </a:lnTo>
                    <a:lnTo>
                      <a:pt x="881063" y="917258"/>
                    </a:lnTo>
                    <a:lnTo>
                      <a:pt x="801053" y="997268"/>
                    </a:lnTo>
                    <a:lnTo>
                      <a:pt x="794385" y="989648"/>
                    </a:lnTo>
                    <a:lnTo>
                      <a:pt x="787718" y="982028"/>
                    </a:lnTo>
                    <a:lnTo>
                      <a:pt x="782003" y="974408"/>
                    </a:lnTo>
                    <a:lnTo>
                      <a:pt x="776288" y="965835"/>
                    </a:lnTo>
                    <a:lnTo>
                      <a:pt x="771525" y="957263"/>
                    </a:lnTo>
                    <a:lnTo>
                      <a:pt x="765810" y="948690"/>
                    </a:lnTo>
                    <a:lnTo>
                      <a:pt x="761048" y="940118"/>
                    </a:lnTo>
                    <a:lnTo>
                      <a:pt x="756285" y="931545"/>
                    </a:lnTo>
                    <a:lnTo>
                      <a:pt x="752475" y="922020"/>
                    </a:lnTo>
                    <a:lnTo>
                      <a:pt x="748665" y="912495"/>
                    </a:lnTo>
                    <a:lnTo>
                      <a:pt x="744855" y="902970"/>
                    </a:lnTo>
                    <a:lnTo>
                      <a:pt x="741998" y="893445"/>
                    </a:lnTo>
                    <a:lnTo>
                      <a:pt x="739140" y="883920"/>
                    </a:lnTo>
                    <a:lnTo>
                      <a:pt x="737235" y="874395"/>
                    </a:lnTo>
                    <a:lnTo>
                      <a:pt x="733425" y="864870"/>
                    </a:lnTo>
                    <a:lnTo>
                      <a:pt x="731520" y="854393"/>
                    </a:lnTo>
                    <a:lnTo>
                      <a:pt x="731520" y="854393"/>
                    </a:lnTo>
                    <a:close/>
                    <a:moveTo>
                      <a:pt x="781050" y="633413"/>
                    </a:moveTo>
                    <a:lnTo>
                      <a:pt x="777240" y="636270"/>
                    </a:lnTo>
                    <a:lnTo>
                      <a:pt x="777240" y="636270"/>
                    </a:lnTo>
                    <a:lnTo>
                      <a:pt x="754380" y="664845"/>
                    </a:lnTo>
                    <a:lnTo>
                      <a:pt x="735330" y="695325"/>
                    </a:lnTo>
                    <a:lnTo>
                      <a:pt x="728663" y="695325"/>
                    </a:lnTo>
                    <a:lnTo>
                      <a:pt x="718185" y="698183"/>
                    </a:lnTo>
                    <a:lnTo>
                      <a:pt x="713423" y="698183"/>
                    </a:lnTo>
                    <a:lnTo>
                      <a:pt x="702945" y="709613"/>
                    </a:lnTo>
                    <a:lnTo>
                      <a:pt x="716280" y="706755"/>
                    </a:lnTo>
                    <a:lnTo>
                      <a:pt x="730568" y="703898"/>
                    </a:lnTo>
                    <a:lnTo>
                      <a:pt x="727710" y="709613"/>
                    </a:lnTo>
                    <a:lnTo>
                      <a:pt x="717233" y="715328"/>
                    </a:lnTo>
                    <a:lnTo>
                      <a:pt x="711518" y="715328"/>
                    </a:lnTo>
                    <a:lnTo>
                      <a:pt x="694373" y="728663"/>
                    </a:lnTo>
                    <a:lnTo>
                      <a:pt x="678180" y="725805"/>
                    </a:lnTo>
                    <a:lnTo>
                      <a:pt x="653415" y="770573"/>
                    </a:lnTo>
                    <a:lnTo>
                      <a:pt x="659130" y="781050"/>
                    </a:lnTo>
                    <a:lnTo>
                      <a:pt x="644843" y="795338"/>
                    </a:lnTo>
                    <a:lnTo>
                      <a:pt x="644843" y="811530"/>
                    </a:lnTo>
                    <a:lnTo>
                      <a:pt x="596265" y="811530"/>
                    </a:lnTo>
                    <a:lnTo>
                      <a:pt x="596265" y="802005"/>
                    </a:lnTo>
                    <a:lnTo>
                      <a:pt x="597218" y="792480"/>
                    </a:lnTo>
                    <a:lnTo>
                      <a:pt x="598170" y="782955"/>
                    </a:lnTo>
                    <a:lnTo>
                      <a:pt x="599123" y="773430"/>
                    </a:lnTo>
                    <a:lnTo>
                      <a:pt x="600075" y="764858"/>
                    </a:lnTo>
                    <a:lnTo>
                      <a:pt x="601028" y="755333"/>
                    </a:lnTo>
                    <a:lnTo>
                      <a:pt x="601980" y="746760"/>
                    </a:lnTo>
                    <a:lnTo>
                      <a:pt x="603885" y="737235"/>
                    </a:lnTo>
                    <a:lnTo>
                      <a:pt x="605790" y="728663"/>
                    </a:lnTo>
                    <a:lnTo>
                      <a:pt x="608648" y="720090"/>
                    </a:lnTo>
                    <a:lnTo>
                      <a:pt x="611505" y="711518"/>
                    </a:lnTo>
                    <a:lnTo>
                      <a:pt x="614363" y="702945"/>
                    </a:lnTo>
                    <a:lnTo>
                      <a:pt x="617220" y="694373"/>
                    </a:lnTo>
                    <a:lnTo>
                      <a:pt x="620078" y="686753"/>
                    </a:lnTo>
                    <a:lnTo>
                      <a:pt x="622935" y="678180"/>
                    </a:lnTo>
                    <a:lnTo>
                      <a:pt x="625793" y="670560"/>
                    </a:lnTo>
                    <a:lnTo>
                      <a:pt x="629603" y="662940"/>
                    </a:lnTo>
                    <a:lnTo>
                      <a:pt x="633413" y="655320"/>
                    </a:lnTo>
                    <a:lnTo>
                      <a:pt x="637223" y="647700"/>
                    </a:lnTo>
                    <a:lnTo>
                      <a:pt x="641033" y="640080"/>
                    </a:lnTo>
                    <a:lnTo>
                      <a:pt x="644843" y="632460"/>
                    </a:lnTo>
                    <a:lnTo>
                      <a:pt x="648653" y="624840"/>
                    </a:lnTo>
                    <a:lnTo>
                      <a:pt x="653415" y="617220"/>
                    </a:lnTo>
                    <a:lnTo>
                      <a:pt x="658178" y="609600"/>
                    </a:lnTo>
                    <a:lnTo>
                      <a:pt x="662940" y="601980"/>
                    </a:lnTo>
                    <a:lnTo>
                      <a:pt x="667703" y="595313"/>
                    </a:lnTo>
                    <a:lnTo>
                      <a:pt x="673418" y="588645"/>
                    </a:lnTo>
                    <a:lnTo>
                      <a:pt x="678180" y="581978"/>
                    </a:lnTo>
                    <a:lnTo>
                      <a:pt x="683895" y="575310"/>
                    </a:lnTo>
                    <a:lnTo>
                      <a:pt x="689610" y="568643"/>
                    </a:lnTo>
                    <a:lnTo>
                      <a:pt x="695325" y="561975"/>
                    </a:lnTo>
                    <a:lnTo>
                      <a:pt x="701040" y="555308"/>
                    </a:lnTo>
                    <a:lnTo>
                      <a:pt x="781050" y="633413"/>
                    </a:lnTo>
                    <a:lnTo>
                      <a:pt x="781050" y="633413"/>
                    </a:lnTo>
                    <a:close/>
                    <a:moveTo>
                      <a:pt x="1319213" y="325755"/>
                    </a:moveTo>
                    <a:lnTo>
                      <a:pt x="1313498" y="314325"/>
                    </a:lnTo>
                    <a:lnTo>
                      <a:pt x="1299210" y="305753"/>
                    </a:lnTo>
                    <a:lnTo>
                      <a:pt x="1287780" y="317183"/>
                    </a:lnTo>
                    <a:lnTo>
                      <a:pt x="1302068" y="322898"/>
                    </a:lnTo>
                    <a:lnTo>
                      <a:pt x="1319213" y="334328"/>
                    </a:lnTo>
                    <a:lnTo>
                      <a:pt x="1319213" y="325755"/>
                    </a:lnTo>
                    <a:lnTo>
                      <a:pt x="1319213" y="325755"/>
                    </a:lnTo>
                    <a:close/>
                    <a:moveTo>
                      <a:pt x="1253490" y="641985"/>
                    </a:moveTo>
                    <a:lnTo>
                      <a:pt x="1253490" y="650558"/>
                    </a:lnTo>
                    <a:lnTo>
                      <a:pt x="1273493" y="644843"/>
                    </a:lnTo>
                    <a:lnTo>
                      <a:pt x="1279208" y="633413"/>
                    </a:lnTo>
                    <a:lnTo>
                      <a:pt x="1264920" y="616268"/>
                    </a:lnTo>
                    <a:lnTo>
                      <a:pt x="1270635" y="604838"/>
                    </a:lnTo>
                    <a:lnTo>
                      <a:pt x="1290638" y="616268"/>
                    </a:lnTo>
                    <a:lnTo>
                      <a:pt x="1293495" y="613410"/>
                    </a:lnTo>
                    <a:lnTo>
                      <a:pt x="1290638" y="613410"/>
                    </a:lnTo>
                    <a:lnTo>
                      <a:pt x="1284923" y="604838"/>
                    </a:lnTo>
                    <a:lnTo>
                      <a:pt x="1293495" y="599123"/>
                    </a:lnTo>
                    <a:lnTo>
                      <a:pt x="1284923" y="590550"/>
                    </a:lnTo>
                    <a:lnTo>
                      <a:pt x="1267778" y="599123"/>
                    </a:lnTo>
                    <a:lnTo>
                      <a:pt x="1262063" y="610553"/>
                    </a:lnTo>
                    <a:lnTo>
                      <a:pt x="1259205" y="619125"/>
                    </a:lnTo>
                    <a:lnTo>
                      <a:pt x="1267778" y="630555"/>
                    </a:lnTo>
                    <a:lnTo>
                      <a:pt x="1264920" y="636270"/>
                    </a:lnTo>
                    <a:lnTo>
                      <a:pt x="1253490" y="641985"/>
                    </a:lnTo>
                    <a:lnTo>
                      <a:pt x="1253490" y="641985"/>
                    </a:lnTo>
                    <a:close/>
                    <a:moveTo>
                      <a:pt x="441960" y="1145858"/>
                    </a:moveTo>
                    <a:lnTo>
                      <a:pt x="441960" y="1140143"/>
                    </a:lnTo>
                    <a:lnTo>
                      <a:pt x="433388" y="1117283"/>
                    </a:lnTo>
                    <a:lnTo>
                      <a:pt x="421958" y="1114425"/>
                    </a:lnTo>
                    <a:lnTo>
                      <a:pt x="441960" y="1145858"/>
                    </a:lnTo>
                    <a:lnTo>
                      <a:pt x="441960" y="1145858"/>
                    </a:lnTo>
                    <a:close/>
                    <a:moveTo>
                      <a:pt x="900113" y="723900"/>
                    </a:moveTo>
                    <a:lnTo>
                      <a:pt x="902970" y="735330"/>
                    </a:lnTo>
                    <a:lnTo>
                      <a:pt x="908685" y="746760"/>
                    </a:lnTo>
                    <a:lnTo>
                      <a:pt x="917258" y="758190"/>
                    </a:lnTo>
                    <a:lnTo>
                      <a:pt x="931545" y="766763"/>
                    </a:lnTo>
                    <a:lnTo>
                      <a:pt x="931545" y="758190"/>
                    </a:lnTo>
                    <a:lnTo>
                      <a:pt x="920115" y="743903"/>
                    </a:lnTo>
                    <a:lnTo>
                      <a:pt x="925830" y="732473"/>
                    </a:lnTo>
                    <a:lnTo>
                      <a:pt x="931545" y="729615"/>
                    </a:lnTo>
                    <a:lnTo>
                      <a:pt x="931545" y="681038"/>
                    </a:lnTo>
                    <a:lnTo>
                      <a:pt x="928688" y="681038"/>
                    </a:lnTo>
                    <a:lnTo>
                      <a:pt x="917258" y="689610"/>
                    </a:lnTo>
                    <a:lnTo>
                      <a:pt x="908685" y="698183"/>
                    </a:lnTo>
                    <a:lnTo>
                      <a:pt x="902970" y="709613"/>
                    </a:lnTo>
                    <a:lnTo>
                      <a:pt x="900113" y="723900"/>
                    </a:lnTo>
                    <a:lnTo>
                      <a:pt x="900113" y="723900"/>
                    </a:lnTo>
                    <a:close/>
                    <a:moveTo>
                      <a:pt x="663893" y="515303"/>
                    </a:moveTo>
                    <a:lnTo>
                      <a:pt x="656273" y="506730"/>
                    </a:lnTo>
                    <a:lnTo>
                      <a:pt x="672465" y="503873"/>
                    </a:lnTo>
                    <a:lnTo>
                      <a:pt x="663893" y="515303"/>
                    </a:lnTo>
                    <a:lnTo>
                      <a:pt x="663893" y="515303"/>
                    </a:lnTo>
                    <a:close/>
                    <a:moveTo>
                      <a:pt x="1644968" y="835343"/>
                    </a:moveTo>
                    <a:lnTo>
                      <a:pt x="1534478" y="835343"/>
                    </a:lnTo>
                    <a:lnTo>
                      <a:pt x="1533525" y="848678"/>
                    </a:lnTo>
                    <a:lnTo>
                      <a:pt x="1532573" y="862013"/>
                    </a:lnTo>
                    <a:lnTo>
                      <a:pt x="1531620" y="875348"/>
                    </a:lnTo>
                    <a:lnTo>
                      <a:pt x="1529715" y="888683"/>
                    </a:lnTo>
                    <a:lnTo>
                      <a:pt x="1527810" y="901065"/>
                    </a:lnTo>
                    <a:lnTo>
                      <a:pt x="1525905" y="914400"/>
                    </a:lnTo>
                    <a:lnTo>
                      <a:pt x="1523048" y="926783"/>
                    </a:lnTo>
                    <a:lnTo>
                      <a:pt x="1520190" y="939165"/>
                    </a:lnTo>
                    <a:lnTo>
                      <a:pt x="1517333" y="951548"/>
                    </a:lnTo>
                    <a:lnTo>
                      <a:pt x="1514475" y="963930"/>
                    </a:lnTo>
                    <a:lnTo>
                      <a:pt x="1510665" y="976313"/>
                    </a:lnTo>
                    <a:lnTo>
                      <a:pt x="1506855" y="988695"/>
                    </a:lnTo>
                    <a:lnTo>
                      <a:pt x="1503045" y="1001078"/>
                    </a:lnTo>
                    <a:lnTo>
                      <a:pt x="1499235" y="1012508"/>
                    </a:lnTo>
                    <a:lnTo>
                      <a:pt x="1494473" y="1024890"/>
                    </a:lnTo>
                    <a:lnTo>
                      <a:pt x="1489710" y="1036320"/>
                    </a:lnTo>
                    <a:lnTo>
                      <a:pt x="1484948" y="1047750"/>
                    </a:lnTo>
                    <a:lnTo>
                      <a:pt x="1479233" y="1059180"/>
                    </a:lnTo>
                    <a:lnTo>
                      <a:pt x="1473518" y="1070610"/>
                    </a:lnTo>
                    <a:lnTo>
                      <a:pt x="1467803" y="1082040"/>
                    </a:lnTo>
                    <a:lnTo>
                      <a:pt x="1462088" y="1092518"/>
                    </a:lnTo>
                    <a:lnTo>
                      <a:pt x="1455420" y="1102995"/>
                    </a:lnTo>
                    <a:lnTo>
                      <a:pt x="1448753" y="1113473"/>
                    </a:lnTo>
                    <a:lnTo>
                      <a:pt x="1442085" y="1123950"/>
                    </a:lnTo>
                    <a:lnTo>
                      <a:pt x="1438275" y="1133475"/>
                    </a:lnTo>
                    <a:lnTo>
                      <a:pt x="1430655" y="1143953"/>
                    </a:lnTo>
                    <a:lnTo>
                      <a:pt x="1423035" y="1153478"/>
                    </a:lnTo>
                    <a:lnTo>
                      <a:pt x="1415415" y="1163003"/>
                    </a:lnTo>
                    <a:lnTo>
                      <a:pt x="1407795" y="1172528"/>
                    </a:lnTo>
                    <a:lnTo>
                      <a:pt x="1400175" y="1182053"/>
                    </a:lnTo>
                    <a:lnTo>
                      <a:pt x="1391603" y="1191578"/>
                    </a:lnTo>
                    <a:lnTo>
                      <a:pt x="1385888" y="1201103"/>
                    </a:lnTo>
                    <a:lnTo>
                      <a:pt x="1461135" y="1278255"/>
                    </a:lnTo>
                    <a:lnTo>
                      <a:pt x="1471613" y="1267778"/>
                    </a:lnTo>
                    <a:lnTo>
                      <a:pt x="1481138" y="1256348"/>
                    </a:lnTo>
                    <a:lnTo>
                      <a:pt x="1490663" y="1244918"/>
                    </a:lnTo>
                    <a:lnTo>
                      <a:pt x="1500188" y="1233488"/>
                    </a:lnTo>
                    <a:lnTo>
                      <a:pt x="1509713" y="1222058"/>
                    </a:lnTo>
                    <a:lnTo>
                      <a:pt x="1518285" y="1209675"/>
                    </a:lnTo>
                    <a:lnTo>
                      <a:pt x="1526858" y="1197293"/>
                    </a:lnTo>
                    <a:lnTo>
                      <a:pt x="1535430" y="1184910"/>
                    </a:lnTo>
                    <a:lnTo>
                      <a:pt x="1543050" y="1171575"/>
                    </a:lnTo>
                    <a:lnTo>
                      <a:pt x="1550670" y="1159193"/>
                    </a:lnTo>
                    <a:lnTo>
                      <a:pt x="1558290" y="1145858"/>
                    </a:lnTo>
                    <a:lnTo>
                      <a:pt x="1564958" y="1132523"/>
                    </a:lnTo>
                    <a:lnTo>
                      <a:pt x="1571625" y="1119188"/>
                    </a:lnTo>
                    <a:lnTo>
                      <a:pt x="1578293" y="1105853"/>
                    </a:lnTo>
                    <a:lnTo>
                      <a:pt x="1584960" y="1091565"/>
                    </a:lnTo>
                    <a:lnTo>
                      <a:pt x="1590675" y="1077278"/>
                    </a:lnTo>
                    <a:lnTo>
                      <a:pt x="1596390" y="1062990"/>
                    </a:lnTo>
                    <a:lnTo>
                      <a:pt x="1602105" y="1048703"/>
                    </a:lnTo>
                    <a:lnTo>
                      <a:pt x="1606868" y="1034415"/>
                    </a:lnTo>
                    <a:lnTo>
                      <a:pt x="1611630" y="1020128"/>
                    </a:lnTo>
                    <a:lnTo>
                      <a:pt x="1616393" y="1004888"/>
                    </a:lnTo>
                    <a:lnTo>
                      <a:pt x="1620203" y="989648"/>
                    </a:lnTo>
                    <a:lnTo>
                      <a:pt x="1624013" y="974408"/>
                    </a:lnTo>
                    <a:lnTo>
                      <a:pt x="1627823" y="959168"/>
                    </a:lnTo>
                    <a:lnTo>
                      <a:pt x="1630680" y="943928"/>
                    </a:lnTo>
                    <a:lnTo>
                      <a:pt x="1633538" y="928688"/>
                    </a:lnTo>
                    <a:lnTo>
                      <a:pt x="1635443" y="912495"/>
                    </a:lnTo>
                    <a:lnTo>
                      <a:pt x="1637348" y="897255"/>
                    </a:lnTo>
                    <a:lnTo>
                      <a:pt x="1639253" y="881063"/>
                    </a:lnTo>
                    <a:lnTo>
                      <a:pt x="1640205" y="864870"/>
                    </a:lnTo>
                    <a:lnTo>
                      <a:pt x="1641158" y="848678"/>
                    </a:lnTo>
                    <a:lnTo>
                      <a:pt x="1644968" y="835343"/>
                    </a:lnTo>
                    <a:lnTo>
                      <a:pt x="1644968" y="835343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8DFA37FB-2DEF-58A9-FE28-101665C1B655}"/>
                  </a:ext>
                </a:extLst>
              </p:cNvPr>
              <p:cNvSpPr/>
              <p:nvPr/>
            </p:nvSpPr>
            <p:spPr>
              <a:xfrm>
                <a:off x="11980227" y="3782467"/>
                <a:ext cx="15240" cy="1734502"/>
              </a:xfrm>
              <a:custGeom>
                <a:avLst/>
                <a:gdLst>
                  <a:gd name="connsiteX0" fmla="*/ 0 w 15240"/>
                  <a:gd name="connsiteY0" fmla="*/ 0 h 1734502"/>
                  <a:gd name="connsiteX1" fmla="*/ 15240 w 15240"/>
                  <a:gd name="connsiteY1" fmla="*/ 0 h 1734502"/>
                  <a:gd name="connsiteX2" fmla="*/ 15240 w 15240"/>
                  <a:gd name="connsiteY2" fmla="*/ 1734503 h 1734502"/>
                  <a:gd name="connsiteX3" fmla="*/ 0 w 15240"/>
                  <a:gd name="connsiteY3" fmla="*/ 1734503 h 1734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" h="1734502">
                    <a:moveTo>
                      <a:pt x="0" y="0"/>
                    </a:moveTo>
                    <a:lnTo>
                      <a:pt x="15240" y="0"/>
                    </a:lnTo>
                    <a:lnTo>
                      <a:pt x="15240" y="1734503"/>
                    </a:lnTo>
                    <a:lnTo>
                      <a:pt x="0" y="1734503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</p:grpSp>
        <p:grpSp>
          <p:nvGrpSpPr>
            <p:cNvPr id="42" name="Graphic 4">
              <a:extLst>
                <a:ext uri="{FF2B5EF4-FFF2-40B4-BE49-F238E27FC236}">
                  <a16:creationId xmlns:a16="http://schemas.microsoft.com/office/drawing/2014/main" id="{3B33FEF2-9911-3B05-1BC6-519FAABC2A16}"/>
                </a:ext>
              </a:extLst>
            </p:cNvPr>
            <p:cNvGrpSpPr/>
            <p:nvPr/>
          </p:nvGrpSpPr>
          <p:grpSpPr>
            <a:xfrm>
              <a:off x="12384087" y="3954712"/>
              <a:ext cx="1738312" cy="1289841"/>
              <a:chOff x="12384087" y="3954712"/>
              <a:chExt cx="1738312" cy="1289841"/>
            </a:xfrm>
            <a:solidFill>
              <a:srgbClr val="009ADE"/>
            </a:solidFill>
          </p:grpSpPr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7D535826-9366-F24D-F832-400CAD5037B7}"/>
                  </a:ext>
                </a:extLst>
              </p:cNvPr>
              <p:cNvSpPr/>
              <p:nvPr/>
            </p:nvSpPr>
            <p:spPr>
              <a:xfrm>
                <a:off x="12384087" y="4645432"/>
                <a:ext cx="99059" cy="530542"/>
              </a:xfrm>
              <a:custGeom>
                <a:avLst/>
                <a:gdLst>
                  <a:gd name="connsiteX0" fmla="*/ 0 w 99059"/>
                  <a:gd name="connsiteY0" fmla="*/ 0 h 530542"/>
                  <a:gd name="connsiteX1" fmla="*/ 99060 w 99059"/>
                  <a:gd name="connsiteY1" fmla="*/ 0 h 530542"/>
                  <a:gd name="connsiteX2" fmla="*/ 99060 w 99059"/>
                  <a:gd name="connsiteY2" fmla="*/ 530543 h 530542"/>
                  <a:gd name="connsiteX3" fmla="*/ 0 w 99059"/>
                  <a:gd name="connsiteY3" fmla="*/ 530543 h 530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059" h="530542">
                    <a:moveTo>
                      <a:pt x="0" y="0"/>
                    </a:moveTo>
                    <a:lnTo>
                      <a:pt x="99060" y="0"/>
                    </a:lnTo>
                    <a:lnTo>
                      <a:pt x="99060" y="530543"/>
                    </a:lnTo>
                    <a:lnTo>
                      <a:pt x="0" y="530543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9FEA001-40CA-4E28-A1F6-8CAAF63EE181}"/>
                  </a:ext>
                </a:extLst>
              </p:cNvPr>
              <p:cNvSpPr/>
              <p:nvPr/>
            </p:nvSpPr>
            <p:spPr>
              <a:xfrm>
                <a:off x="12545059" y="4645431"/>
                <a:ext cx="483869" cy="531494"/>
              </a:xfrm>
              <a:custGeom>
                <a:avLst/>
                <a:gdLst>
                  <a:gd name="connsiteX0" fmla="*/ 483870 w 483869"/>
                  <a:gd name="connsiteY0" fmla="*/ 0 h 531494"/>
                  <a:gd name="connsiteX1" fmla="*/ 304800 w 483869"/>
                  <a:gd name="connsiteY1" fmla="*/ 531495 h 531494"/>
                  <a:gd name="connsiteX2" fmla="*/ 179070 w 483869"/>
                  <a:gd name="connsiteY2" fmla="*/ 531495 h 531494"/>
                  <a:gd name="connsiteX3" fmla="*/ 0 w 483869"/>
                  <a:gd name="connsiteY3" fmla="*/ 0 h 531494"/>
                  <a:gd name="connsiteX4" fmla="*/ 108585 w 483869"/>
                  <a:gd name="connsiteY4" fmla="*/ 0 h 531494"/>
                  <a:gd name="connsiteX5" fmla="*/ 241935 w 483869"/>
                  <a:gd name="connsiteY5" fmla="*/ 421005 h 531494"/>
                  <a:gd name="connsiteX6" fmla="*/ 375285 w 483869"/>
                  <a:gd name="connsiteY6" fmla="*/ 0 h 531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3869" h="531494">
                    <a:moveTo>
                      <a:pt x="483870" y="0"/>
                    </a:moveTo>
                    <a:lnTo>
                      <a:pt x="304800" y="531495"/>
                    </a:lnTo>
                    <a:lnTo>
                      <a:pt x="179070" y="531495"/>
                    </a:lnTo>
                    <a:lnTo>
                      <a:pt x="0" y="0"/>
                    </a:lnTo>
                    <a:lnTo>
                      <a:pt x="108585" y="0"/>
                    </a:lnTo>
                    <a:lnTo>
                      <a:pt x="241935" y="421005"/>
                    </a:lnTo>
                    <a:lnTo>
                      <a:pt x="375285" y="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8DD1326C-ECD2-F734-9EA4-93BEB5E805CD}"/>
                  </a:ext>
                </a:extLst>
              </p:cNvPr>
              <p:cNvSpPr/>
              <p:nvPr/>
            </p:nvSpPr>
            <p:spPr>
              <a:xfrm>
                <a:off x="13092747" y="4646384"/>
                <a:ext cx="388619" cy="530542"/>
              </a:xfrm>
              <a:custGeom>
                <a:avLst/>
                <a:gdLst>
                  <a:gd name="connsiteX0" fmla="*/ 319088 w 388619"/>
                  <a:gd name="connsiteY0" fmla="*/ 257175 h 530542"/>
                  <a:gd name="connsiteX1" fmla="*/ 315277 w 388619"/>
                  <a:gd name="connsiteY1" fmla="*/ 255270 h 530542"/>
                  <a:gd name="connsiteX2" fmla="*/ 319088 w 388619"/>
                  <a:gd name="connsiteY2" fmla="*/ 252413 h 530542"/>
                  <a:gd name="connsiteX3" fmla="*/ 368617 w 388619"/>
                  <a:gd name="connsiteY3" fmla="*/ 147638 h 530542"/>
                  <a:gd name="connsiteX4" fmla="*/ 321945 w 388619"/>
                  <a:gd name="connsiteY4" fmla="*/ 40958 h 530542"/>
                  <a:gd name="connsiteX5" fmla="*/ 208597 w 388619"/>
                  <a:gd name="connsiteY5" fmla="*/ 0 h 530542"/>
                  <a:gd name="connsiteX6" fmla="*/ 0 w 388619"/>
                  <a:gd name="connsiteY6" fmla="*/ 0 h 530542"/>
                  <a:gd name="connsiteX7" fmla="*/ 0 w 388619"/>
                  <a:gd name="connsiteY7" fmla="*/ 530543 h 530542"/>
                  <a:gd name="connsiteX8" fmla="*/ 224790 w 388619"/>
                  <a:gd name="connsiteY8" fmla="*/ 530543 h 530542"/>
                  <a:gd name="connsiteX9" fmla="*/ 340995 w 388619"/>
                  <a:gd name="connsiteY9" fmla="*/ 487680 h 530542"/>
                  <a:gd name="connsiteX10" fmla="*/ 388620 w 388619"/>
                  <a:gd name="connsiteY10" fmla="*/ 377190 h 530542"/>
                  <a:gd name="connsiteX11" fmla="*/ 319088 w 388619"/>
                  <a:gd name="connsiteY11" fmla="*/ 257175 h 530542"/>
                  <a:gd name="connsiteX12" fmla="*/ 99060 w 388619"/>
                  <a:gd name="connsiteY12" fmla="*/ 92393 h 530542"/>
                  <a:gd name="connsiteX13" fmla="*/ 208597 w 388619"/>
                  <a:gd name="connsiteY13" fmla="*/ 92393 h 530542"/>
                  <a:gd name="connsiteX14" fmla="*/ 269557 w 388619"/>
                  <a:gd name="connsiteY14" fmla="*/ 155258 h 530542"/>
                  <a:gd name="connsiteX15" fmla="*/ 208597 w 388619"/>
                  <a:gd name="connsiteY15" fmla="*/ 218123 h 530542"/>
                  <a:gd name="connsiteX16" fmla="*/ 99060 w 388619"/>
                  <a:gd name="connsiteY16" fmla="*/ 218123 h 530542"/>
                  <a:gd name="connsiteX17" fmla="*/ 99060 w 388619"/>
                  <a:gd name="connsiteY17" fmla="*/ 92393 h 530542"/>
                  <a:gd name="connsiteX18" fmla="*/ 223838 w 388619"/>
                  <a:gd name="connsiteY18" fmla="*/ 437198 h 530542"/>
                  <a:gd name="connsiteX19" fmla="*/ 99060 w 388619"/>
                  <a:gd name="connsiteY19" fmla="*/ 437198 h 530542"/>
                  <a:gd name="connsiteX20" fmla="*/ 99060 w 388619"/>
                  <a:gd name="connsiteY20" fmla="*/ 304800 h 530542"/>
                  <a:gd name="connsiteX21" fmla="*/ 223838 w 388619"/>
                  <a:gd name="connsiteY21" fmla="*/ 304800 h 530542"/>
                  <a:gd name="connsiteX22" fmla="*/ 270510 w 388619"/>
                  <a:gd name="connsiteY22" fmla="*/ 323850 h 530542"/>
                  <a:gd name="connsiteX23" fmla="*/ 288607 w 388619"/>
                  <a:gd name="connsiteY23" fmla="*/ 370523 h 530542"/>
                  <a:gd name="connsiteX24" fmla="*/ 223838 w 388619"/>
                  <a:gd name="connsiteY24" fmla="*/ 437198 h 530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88619" h="530542">
                    <a:moveTo>
                      <a:pt x="319088" y="257175"/>
                    </a:moveTo>
                    <a:lnTo>
                      <a:pt x="315277" y="255270"/>
                    </a:lnTo>
                    <a:lnTo>
                      <a:pt x="319088" y="252413"/>
                    </a:lnTo>
                    <a:cubicBezTo>
                      <a:pt x="351472" y="226695"/>
                      <a:pt x="368617" y="190500"/>
                      <a:pt x="368617" y="147638"/>
                    </a:cubicBezTo>
                    <a:cubicBezTo>
                      <a:pt x="368617" y="105728"/>
                      <a:pt x="352425" y="67628"/>
                      <a:pt x="321945" y="40958"/>
                    </a:cubicBezTo>
                    <a:cubicBezTo>
                      <a:pt x="292417" y="14288"/>
                      <a:pt x="252413" y="0"/>
                      <a:pt x="208597" y="0"/>
                    </a:cubicBezTo>
                    <a:lnTo>
                      <a:pt x="0" y="0"/>
                    </a:lnTo>
                    <a:lnTo>
                      <a:pt x="0" y="530543"/>
                    </a:lnTo>
                    <a:lnTo>
                      <a:pt x="224790" y="530543"/>
                    </a:lnTo>
                    <a:cubicBezTo>
                      <a:pt x="269557" y="530543"/>
                      <a:pt x="310515" y="515303"/>
                      <a:pt x="340995" y="487680"/>
                    </a:cubicBezTo>
                    <a:cubicBezTo>
                      <a:pt x="371475" y="460058"/>
                      <a:pt x="388620" y="421005"/>
                      <a:pt x="388620" y="377190"/>
                    </a:cubicBezTo>
                    <a:cubicBezTo>
                      <a:pt x="388620" y="325755"/>
                      <a:pt x="363855" y="282893"/>
                      <a:pt x="319088" y="257175"/>
                    </a:cubicBezTo>
                    <a:close/>
                    <a:moveTo>
                      <a:pt x="99060" y="92393"/>
                    </a:moveTo>
                    <a:lnTo>
                      <a:pt x="208597" y="92393"/>
                    </a:lnTo>
                    <a:cubicBezTo>
                      <a:pt x="243840" y="92393"/>
                      <a:pt x="269557" y="119063"/>
                      <a:pt x="269557" y="155258"/>
                    </a:cubicBezTo>
                    <a:cubicBezTo>
                      <a:pt x="269557" y="190500"/>
                      <a:pt x="242888" y="218123"/>
                      <a:pt x="208597" y="218123"/>
                    </a:cubicBezTo>
                    <a:lnTo>
                      <a:pt x="99060" y="218123"/>
                    </a:lnTo>
                    <a:lnTo>
                      <a:pt x="99060" y="92393"/>
                    </a:lnTo>
                    <a:close/>
                    <a:moveTo>
                      <a:pt x="223838" y="437198"/>
                    </a:moveTo>
                    <a:lnTo>
                      <a:pt x="99060" y="437198"/>
                    </a:lnTo>
                    <a:lnTo>
                      <a:pt x="99060" y="304800"/>
                    </a:lnTo>
                    <a:lnTo>
                      <a:pt x="223838" y="304800"/>
                    </a:lnTo>
                    <a:cubicBezTo>
                      <a:pt x="241935" y="304800"/>
                      <a:pt x="259080" y="311468"/>
                      <a:pt x="270510" y="323850"/>
                    </a:cubicBezTo>
                    <a:cubicBezTo>
                      <a:pt x="281940" y="336233"/>
                      <a:pt x="288607" y="352425"/>
                      <a:pt x="288607" y="370523"/>
                    </a:cubicBezTo>
                    <a:cubicBezTo>
                      <a:pt x="288607" y="409575"/>
                      <a:pt x="260985" y="437198"/>
                      <a:pt x="223838" y="437198"/>
                    </a:cubicBez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1DB726F5-D44D-61BE-5E8D-00CCE8FE6E8A}"/>
                  </a:ext>
                </a:extLst>
              </p:cNvPr>
              <p:cNvSpPr/>
              <p:nvPr/>
            </p:nvSpPr>
            <p:spPr>
              <a:xfrm>
                <a:off x="13092747" y="4252049"/>
                <a:ext cx="758189" cy="758189"/>
              </a:xfrm>
              <a:custGeom>
                <a:avLst/>
                <a:gdLst>
                  <a:gd name="connsiteX0" fmla="*/ 758190 w 758189"/>
                  <a:gd name="connsiteY0" fmla="*/ 758190 h 758189"/>
                  <a:gd name="connsiteX1" fmla="*/ 649605 w 758189"/>
                  <a:gd name="connsiteY1" fmla="*/ 758190 h 758189"/>
                  <a:gd name="connsiteX2" fmla="*/ 598170 w 758189"/>
                  <a:gd name="connsiteY2" fmla="*/ 505778 h 758189"/>
                  <a:gd name="connsiteX3" fmla="*/ 459105 w 758189"/>
                  <a:gd name="connsiteY3" fmla="*/ 299085 h 758189"/>
                  <a:gd name="connsiteX4" fmla="*/ 252413 w 758189"/>
                  <a:gd name="connsiteY4" fmla="*/ 160020 h 758189"/>
                  <a:gd name="connsiteX5" fmla="*/ 0 w 758189"/>
                  <a:gd name="connsiteY5" fmla="*/ 108585 h 758189"/>
                  <a:gd name="connsiteX6" fmla="*/ 0 w 758189"/>
                  <a:gd name="connsiteY6" fmla="*/ 0 h 758189"/>
                  <a:gd name="connsiteX7" fmla="*/ 295275 w 758189"/>
                  <a:gd name="connsiteY7" fmla="*/ 60007 h 758189"/>
                  <a:gd name="connsiteX8" fmla="*/ 536257 w 758189"/>
                  <a:gd name="connsiteY8" fmla="*/ 222885 h 758189"/>
                  <a:gd name="connsiteX9" fmla="*/ 699135 w 758189"/>
                  <a:gd name="connsiteY9" fmla="*/ 463868 h 758189"/>
                  <a:gd name="connsiteX10" fmla="*/ 758190 w 758189"/>
                  <a:gd name="connsiteY10" fmla="*/ 758190 h 758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58189" h="758189">
                    <a:moveTo>
                      <a:pt x="758190" y="758190"/>
                    </a:moveTo>
                    <a:lnTo>
                      <a:pt x="649605" y="758190"/>
                    </a:lnTo>
                    <a:cubicBezTo>
                      <a:pt x="649605" y="670560"/>
                      <a:pt x="632460" y="585788"/>
                      <a:pt x="598170" y="505778"/>
                    </a:cubicBezTo>
                    <a:cubicBezTo>
                      <a:pt x="565785" y="428625"/>
                      <a:pt x="518160" y="359093"/>
                      <a:pt x="459105" y="299085"/>
                    </a:cubicBezTo>
                    <a:cubicBezTo>
                      <a:pt x="399097" y="239078"/>
                      <a:pt x="329565" y="192405"/>
                      <a:pt x="252413" y="160020"/>
                    </a:cubicBezTo>
                    <a:cubicBezTo>
                      <a:pt x="172402" y="125730"/>
                      <a:pt x="87630" y="108585"/>
                      <a:pt x="0" y="108585"/>
                    </a:cubicBezTo>
                    <a:lnTo>
                      <a:pt x="0" y="0"/>
                    </a:lnTo>
                    <a:cubicBezTo>
                      <a:pt x="101917" y="0"/>
                      <a:pt x="201930" y="20003"/>
                      <a:pt x="295275" y="60007"/>
                    </a:cubicBezTo>
                    <a:cubicBezTo>
                      <a:pt x="385763" y="98107"/>
                      <a:pt x="466725" y="153353"/>
                      <a:pt x="536257" y="222885"/>
                    </a:cubicBezTo>
                    <a:cubicBezTo>
                      <a:pt x="605790" y="292418"/>
                      <a:pt x="661035" y="373380"/>
                      <a:pt x="699135" y="463868"/>
                    </a:cubicBezTo>
                    <a:cubicBezTo>
                      <a:pt x="738188" y="556260"/>
                      <a:pt x="758190" y="656273"/>
                      <a:pt x="758190" y="758190"/>
                    </a:cubicBez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B85A40F2-E1A8-59FF-477C-06DADD1F1184}"/>
                  </a:ext>
                </a:extLst>
              </p:cNvPr>
              <p:cNvSpPr/>
              <p:nvPr/>
            </p:nvSpPr>
            <p:spPr>
              <a:xfrm>
                <a:off x="13298487" y="4134892"/>
                <a:ext cx="701641" cy="1109662"/>
              </a:xfrm>
              <a:custGeom>
                <a:avLst/>
                <a:gdLst>
                  <a:gd name="connsiteX0" fmla="*/ 669607 w 701641"/>
                  <a:gd name="connsiteY0" fmla="*/ 1109663 h 1109662"/>
                  <a:gd name="connsiteX1" fmla="*/ 564832 w 701641"/>
                  <a:gd name="connsiteY1" fmla="*/ 1081088 h 1109662"/>
                  <a:gd name="connsiteX2" fmla="*/ 584835 w 701641"/>
                  <a:gd name="connsiteY2" fmla="*/ 764858 h 1109662"/>
                  <a:gd name="connsiteX3" fmla="*/ 484823 w 701641"/>
                  <a:gd name="connsiteY3" fmla="*/ 475298 h 1109662"/>
                  <a:gd name="connsiteX4" fmla="*/ 283845 w 701641"/>
                  <a:gd name="connsiteY4" fmla="*/ 244793 h 1109662"/>
                  <a:gd name="connsiteX5" fmla="*/ 0 w 701641"/>
                  <a:gd name="connsiteY5" fmla="*/ 104775 h 1109662"/>
                  <a:gd name="connsiteX6" fmla="*/ 28575 w 701641"/>
                  <a:gd name="connsiteY6" fmla="*/ 0 h 1109662"/>
                  <a:gd name="connsiteX7" fmla="*/ 351473 w 701641"/>
                  <a:gd name="connsiteY7" fmla="*/ 160020 h 1109662"/>
                  <a:gd name="connsiteX8" fmla="*/ 580073 w 701641"/>
                  <a:gd name="connsiteY8" fmla="*/ 421958 h 1109662"/>
                  <a:gd name="connsiteX9" fmla="*/ 693420 w 701641"/>
                  <a:gd name="connsiteY9" fmla="*/ 750570 h 1109662"/>
                  <a:gd name="connsiteX10" fmla="*/ 669607 w 701641"/>
                  <a:gd name="connsiteY10" fmla="*/ 1109663 h 1109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01641" h="1109662">
                    <a:moveTo>
                      <a:pt x="669607" y="1109663"/>
                    </a:moveTo>
                    <a:lnTo>
                      <a:pt x="564832" y="1081088"/>
                    </a:lnTo>
                    <a:cubicBezTo>
                      <a:pt x="592455" y="977265"/>
                      <a:pt x="599123" y="870585"/>
                      <a:pt x="584835" y="764858"/>
                    </a:cubicBezTo>
                    <a:cubicBezTo>
                      <a:pt x="570548" y="662940"/>
                      <a:pt x="537210" y="565785"/>
                      <a:pt x="484823" y="475298"/>
                    </a:cubicBezTo>
                    <a:cubicBezTo>
                      <a:pt x="433388" y="385763"/>
                      <a:pt x="365760" y="307658"/>
                      <a:pt x="283845" y="244793"/>
                    </a:cubicBezTo>
                    <a:cubicBezTo>
                      <a:pt x="200025" y="180023"/>
                      <a:pt x="104775" y="132398"/>
                      <a:pt x="0" y="104775"/>
                    </a:cubicBezTo>
                    <a:lnTo>
                      <a:pt x="28575" y="0"/>
                    </a:lnTo>
                    <a:cubicBezTo>
                      <a:pt x="146685" y="31432"/>
                      <a:pt x="255270" y="85725"/>
                      <a:pt x="351473" y="160020"/>
                    </a:cubicBezTo>
                    <a:cubicBezTo>
                      <a:pt x="443865" y="232410"/>
                      <a:pt x="521018" y="320040"/>
                      <a:pt x="580073" y="421958"/>
                    </a:cubicBezTo>
                    <a:cubicBezTo>
                      <a:pt x="639127" y="523875"/>
                      <a:pt x="677227" y="634365"/>
                      <a:pt x="693420" y="750570"/>
                    </a:cubicBezTo>
                    <a:cubicBezTo>
                      <a:pt x="709613" y="870585"/>
                      <a:pt x="701993" y="991553"/>
                      <a:pt x="669607" y="1109663"/>
                    </a:cubicBez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E3C223C5-F4DE-541E-2700-0E9329B5DEA2}"/>
                  </a:ext>
                </a:extLst>
              </p:cNvPr>
              <p:cNvSpPr/>
              <p:nvPr/>
            </p:nvSpPr>
            <p:spPr>
              <a:xfrm>
                <a:off x="12874624" y="3954712"/>
                <a:ext cx="1247775" cy="860264"/>
              </a:xfrm>
              <a:custGeom>
                <a:avLst/>
                <a:gdLst>
                  <a:gd name="connsiteX0" fmla="*/ 1142048 w 1247775"/>
                  <a:gd name="connsiteY0" fmla="*/ 860264 h 860264"/>
                  <a:gd name="connsiteX1" fmla="*/ 993457 w 1247775"/>
                  <a:gd name="connsiteY1" fmla="*/ 515459 h 860264"/>
                  <a:gd name="connsiteX2" fmla="*/ 733425 w 1247775"/>
                  <a:gd name="connsiteY2" fmla="*/ 263047 h 860264"/>
                  <a:gd name="connsiteX3" fmla="*/ 398145 w 1247775"/>
                  <a:gd name="connsiteY3" fmla="*/ 126839 h 860264"/>
                  <a:gd name="connsiteX4" fmla="*/ 22860 w 1247775"/>
                  <a:gd name="connsiteY4" fmla="*/ 129697 h 860264"/>
                  <a:gd name="connsiteX5" fmla="*/ 0 w 1247775"/>
                  <a:gd name="connsiteY5" fmla="*/ 23017 h 860264"/>
                  <a:gd name="connsiteX6" fmla="*/ 418148 w 1247775"/>
                  <a:gd name="connsiteY6" fmla="*/ 19207 h 860264"/>
                  <a:gd name="connsiteX7" fmla="*/ 792480 w 1247775"/>
                  <a:gd name="connsiteY7" fmla="*/ 171607 h 860264"/>
                  <a:gd name="connsiteX8" fmla="*/ 1082040 w 1247775"/>
                  <a:gd name="connsiteY8" fmla="*/ 452594 h 860264"/>
                  <a:gd name="connsiteX9" fmla="*/ 1247775 w 1247775"/>
                  <a:gd name="connsiteY9" fmla="*/ 836452 h 860264"/>
                  <a:gd name="connsiteX10" fmla="*/ 1142048 w 1247775"/>
                  <a:gd name="connsiteY10" fmla="*/ 860264 h 860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47775" h="860264">
                    <a:moveTo>
                      <a:pt x="1142048" y="860264"/>
                    </a:moveTo>
                    <a:cubicBezTo>
                      <a:pt x="1115377" y="735487"/>
                      <a:pt x="1065848" y="619282"/>
                      <a:pt x="993457" y="515459"/>
                    </a:cubicBezTo>
                    <a:cubicBezTo>
                      <a:pt x="923925" y="415447"/>
                      <a:pt x="836295" y="330674"/>
                      <a:pt x="733425" y="263047"/>
                    </a:cubicBezTo>
                    <a:cubicBezTo>
                      <a:pt x="630555" y="196372"/>
                      <a:pt x="518160" y="149699"/>
                      <a:pt x="398145" y="126839"/>
                    </a:cubicBezTo>
                    <a:cubicBezTo>
                      <a:pt x="274320" y="103027"/>
                      <a:pt x="147638" y="103979"/>
                      <a:pt x="22860" y="129697"/>
                    </a:cubicBezTo>
                    <a:lnTo>
                      <a:pt x="0" y="23017"/>
                    </a:lnTo>
                    <a:cubicBezTo>
                      <a:pt x="139065" y="-6511"/>
                      <a:pt x="280035" y="-7463"/>
                      <a:pt x="418148" y="19207"/>
                    </a:cubicBezTo>
                    <a:cubicBezTo>
                      <a:pt x="551498" y="44924"/>
                      <a:pt x="678180" y="96359"/>
                      <a:pt x="792480" y="171607"/>
                    </a:cubicBezTo>
                    <a:cubicBezTo>
                      <a:pt x="906780" y="245902"/>
                      <a:pt x="1004888" y="341152"/>
                      <a:pt x="1082040" y="452594"/>
                    </a:cubicBezTo>
                    <a:cubicBezTo>
                      <a:pt x="1163002" y="568799"/>
                      <a:pt x="1218248" y="697387"/>
                      <a:pt x="1247775" y="836452"/>
                    </a:cubicBezTo>
                    <a:lnTo>
                      <a:pt x="1142048" y="860264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25076477-AC74-BF48-140F-09A9A26D02AA}"/>
                </a:ext>
              </a:extLst>
            </p:cNvPr>
            <p:cNvGrpSpPr/>
            <p:nvPr userDrawn="1"/>
          </p:nvGrpSpPr>
          <p:grpSpPr>
            <a:xfrm>
              <a:off x="5973762" y="3782467"/>
              <a:ext cx="5621655" cy="1744979"/>
              <a:chOff x="5973762" y="3782467"/>
              <a:chExt cx="5621655" cy="1744979"/>
            </a:xfrm>
          </p:grpSpPr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BB4914CC-75B6-1FFC-477A-56175B5E08A8}"/>
                  </a:ext>
                </a:extLst>
              </p:cNvPr>
              <p:cNvSpPr/>
              <p:nvPr/>
            </p:nvSpPr>
            <p:spPr>
              <a:xfrm>
                <a:off x="8102599" y="4008209"/>
                <a:ext cx="567690" cy="491490"/>
              </a:xfrm>
              <a:custGeom>
                <a:avLst/>
                <a:gdLst>
                  <a:gd name="connsiteX0" fmla="*/ 358140 w 567690"/>
                  <a:gd name="connsiteY0" fmla="*/ 491490 h 491490"/>
                  <a:gd name="connsiteX1" fmla="*/ 284797 w 567690"/>
                  <a:gd name="connsiteY1" fmla="*/ 88582 h 491490"/>
                  <a:gd name="connsiteX2" fmla="*/ 283845 w 567690"/>
                  <a:gd name="connsiteY2" fmla="*/ 88582 h 491490"/>
                  <a:gd name="connsiteX3" fmla="*/ 205740 w 567690"/>
                  <a:gd name="connsiteY3" fmla="*/ 491490 h 491490"/>
                  <a:gd name="connsiteX4" fmla="*/ 99060 w 567690"/>
                  <a:gd name="connsiteY4" fmla="*/ 491490 h 491490"/>
                  <a:gd name="connsiteX5" fmla="*/ 0 w 567690"/>
                  <a:gd name="connsiteY5" fmla="*/ 0 h 491490"/>
                  <a:gd name="connsiteX6" fmla="*/ 83820 w 567690"/>
                  <a:gd name="connsiteY6" fmla="*/ 0 h 491490"/>
                  <a:gd name="connsiteX7" fmla="*/ 153353 w 567690"/>
                  <a:gd name="connsiteY7" fmla="*/ 380047 h 491490"/>
                  <a:gd name="connsiteX8" fmla="*/ 155258 w 567690"/>
                  <a:gd name="connsiteY8" fmla="*/ 380047 h 491490"/>
                  <a:gd name="connsiteX9" fmla="*/ 228600 w 567690"/>
                  <a:gd name="connsiteY9" fmla="*/ 0 h 491490"/>
                  <a:gd name="connsiteX10" fmla="*/ 339090 w 567690"/>
                  <a:gd name="connsiteY10" fmla="*/ 0 h 491490"/>
                  <a:gd name="connsiteX11" fmla="*/ 412432 w 567690"/>
                  <a:gd name="connsiteY11" fmla="*/ 380047 h 491490"/>
                  <a:gd name="connsiteX12" fmla="*/ 414338 w 567690"/>
                  <a:gd name="connsiteY12" fmla="*/ 380047 h 491490"/>
                  <a:gd name="connsiteX13" fmla="*/ 486728 w 567690"/>
                  <a:gd name="connsiteY13" fmla="*/ 0 h 491490"/>
                  <a:gd name="connsiteX14" fmla="*/ 567690 w 567690"/>
                  <a:gd name="connsiteY14" fmla="*/ 0 h 491490"/>
                  <a:gd name="connsiteX15" fmla="*/ 466725 w 567690"/>
                  <a:gd name="connsiteY15" fmla="*/ 491490 h 491490"/>
                  <a:gd name="connsiteX16" fmla="*/ 358140 w 567690"/>
                  <a:gd name="connsiteY16" fmla="*/ 491490 h 491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67690" h="491490">
                    <a:moveTo>
                      <a:pt x="358140" y="491490"/>
                    </a:moveTo>
                    <a:lnTo>
                      <a:pt x="284797" y="88582"/>
                    </a:lnTo>
                    <a:lnTo>
                      <a:pt x="283845" y="88582"/>
                    </a:lnTo>
                    <a:lnTo>
                      <a:pt x="205740" y="491490"/>
                    </a:lnTo>
                    <a:lnTo>
                      <a:pt x="99060" y="491490"/>
                    </a:lnTo>
                    <a:lnTo>
                      <a:pt x="0" y="0"/>
                    </a:lnTo>
                    <a:lnTo>
                      <a:pt x="83820" y="0"/>
                    </a:lnTo>
                    <a:lnTo>
                      <a:pt x="153353" y="380047"/>
                    </a:lnTo>
                    <a:lnTo>
                      <a:pt x="155258" y="380047"/>
                    </a:lnTo>
                    <a:lnTo>
                      <a:pt x="228600" y="0"/>
                    </a:lnTo>
                    <a:lnTo>
                      <a:pt x="339090" y="0"/>
                    </a:lnTo>
                    <a:lnTo>
                      <a:pt x="412432" y="380047"/>
                    </a:lnTo>
                    <a:lnTo>
                      <a:pt x="414338" y="380047"/>
                    </a:lnTo>
                    <a:lnTo>
                      <a:pt x="486728" y="0"/>
                    </a:lnTo>
                    <a:lnTo>
                      <a:pt x="567690" y="0"/>
                    </a:lnTo>
                    <a:lnTo>
                      <a:pt x="466725" y="491490"/>
                    </a:lnTo>
                    <a:lnTo>
                      <a:pt x="358140" y="49149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9E0476A3-B56D-7E9E-17B7-C92DCC06117B}"/>
                  </a:ext>
                </a:extLst>
              </p:cNvPr>
              <p:cNvSpPr/>
              <p:nvPr/>
            </p:nvSpPr>
            <p:spPr>
              <a:xfrm>
                <a:off x="8645524" y="4132034"/>
                <a:ext cx="319087" cy="374332"/>
              </a:xfrm>
              <a:custGeom>
                <a:avLst/>
                <a:gdLst>
                  <a:gd name="connsiteX0" fmla="*/ 90488 w 319087"/>
                  <a:gd name="connsiteY0" fmla="*/ 187643 h 374332"/>
                  <a:gd name="connsiteX1" fmla="*/ 90488 w 319087"/>
                  <a:gd name="connsiteY1" fmla="*/ 202883 h 374332"/>
                  <a:gd name="connsiteX2" fmla="*/ 91440 w 319087"/>
                  <a:gd name="connsiteY2" fmla="*/ 217170 h 374332"/>
                  <a:gd name="connsiteX3" fmla="*/ 92393 w 319087"/>
                  <a:gd name="connsiteY3" fmla="*/ 230505 h 374332"/>
                  <a:gd name="connsiteX4" fmla="*/ 94297 w 319087"/>
                  <a:gd name="connsiteY4" fmla="*/ 242888 h 374332"/>
                  <a:gd name="connsiteX5" fmla="*/ 95250 w 319087"/>
                  <a:gd name="connsiteY5" fmla="*/ 248602 h 374332"/>
                  <a:gd name="connsiteX6" fmla="*/ 96203 w 319087"/>
                  <a:gd name="connsiteY6" fmla="*/ 254318 h 374332"/>
                  <a:gd name="connsiteX7" fmla="*/ 97155 w 319087"/>
                  <a:gd name="connsiteY7" fmla="*/ 260033 h 374332"/>
                  <a:gd name="connsiteX8" fmla="*/ 98107 w 319087"/>
                  <a:gd name="connsiteY8" fmla="*/ 264795 h 374332"/>
                  <a:gd name="connsiteX9" fmla="*/ 100013 w 319087"/>
                  <a:gd name="connsiteY9" fmla="*/ 269558 h 374332"/>
                  <a:gd name="connsiteX10" fmla="*/ 101918 w 319087"/>
                  <a:gd name="connsiteY10" fmla="*/ 274320 h 374332"/>
                  <a:gd name="connsiteX11" fmla="*/ 103822 w 319087"/>
                  <a:gd name="connsiteY11" fmla="*/ 278130 h 374332"/>
                  <a:gd name="connsiteX12" fmla="*/ 105728 w 319087"/>
                  <a:gd name="connsiteY12" fmla="*/ 281940 h 374332"/>
                  <a:gd name="connsiteX13" fmla="*/ 108585 w 319087"/>
                  <a:gd name="connsiteY13" fmla="*/ 285750 h 374332"/>
                  <a:gd name="connsiteX14" fmla="*/ 110490 w 319087"/>
                  <a:gd name="connsiteY14" fmla="*/ 289560 h 374332"/>
                  <a:gd name="connsiteX15" fmla="*/ 113347 w 319087"/>
                  <a:gd name="connsiteY15" fmla="*/ 292418 h 374332"/>
                  <a:gd name="connsiteX16" fmla="*/ 116205 w 319087"/>
                  <a:gd name="connsiteY16" fmla="*/ 295275 h 374332"/>
                  <a:gd name="connsiteX17" fmla="*/ 119063 w 319087"/>
                  <a:gd name="connsiteY17" fmla="*/ 298133 h 374332"/>
                  <a:gd name="connsiteX18" fmla="*/ 121920 w 319087"/>
                  <a:gd name="connsiteY18" fmla="*/ 300990 h 374332"/>
                  <a:gd name="connsiteX19" fmla="*/ 124778 w 319087"/>
                  <a:gd name="connsiteY19" fmla="*/ 303847 h 374332"/>
                  <a:gd name="connsiteX20" fmla="*/ 127635 w 319087"/>
                  <a:gd name="connsiteY20" fmla="*/ 305753 h 374332"/>
                  <a:gd name="connsiteX21" fmla="*/ 131445 w 319087"/>
                  <a:gd name="connsiteY21" fmla="*/ 307658 h 374332"/>
                  <a:gd name="connsiteX22" fmla="*/ 135255 w 319087"/>
                  <a:gd name="connsiteY22" fmla="*/ 308610 h 374332"/>
                  <a:gd name="connsiteX23" fmla="*/ 139065 w 319087"/>
                  <a:gd name="connsiteY23" fmla="*/ 309562 h 374332"/>
                  <a:gd name="connsiteX24" fmla="*/ 142875 w 319087"/>
                  <a:gd name="connsiteY24" fmla="*/ 310515 h 374332"/>
                  <a:gd name="connsiteX25" fmla="*/ 146685 w 319087"/>
                  <a:gd name="connsiteY25" fmla="*/ 311468 h 374332"/>
                  <a:gd name="connsiteX26" fmla="*/ 150495 w 319087"/>
                  <a:gd name="connsiteY26" fmla="*/ 312420 h 374332"/>
                  <a:gd name="connsiteX27" fmla="*/ 154305 w 319087"/>
                  <a:gd name="connsiteY27" fmla="*/ 312420 h 374332"/>
                  <a:gd name="connsiteX28" fmla="*/ 158115 w 319087"/>
                  <a:gd name="connsiteY28" fmla="*/ 312420 h 374332"/>
                  <a:gd name="connsiteX29" fmla="*/ 162878 w 319087"/>
                  <a:gd name="connsiteY29" fmla="*/ 312420 h 374332"/>
                  <a:gd name="connsiteX30" fmla="*/ 166688 w 319087"/>
                  <a:gd name="connsiteY30" fmla="*/ 312420 h 374332"/>
                  <a:gd name="connsiteX31" fmla="*/ 170497 w 319087"/>
                  <a:gd name="connsiteY31" fmla="*/ 311468 h 374332"/>
                  <a:gd name="connsiteX32" fmla="*/ 174307 w 319087"/>
                  <a:gd name="connsiteY32" fmla="*/ 310515 h 374332"/>
                  <a:gd name="connsiteX33" fmla="*/ 178118 w 319087"/>
                  <a:gd name="connsiteY33" fmla="*/ 309562 h 374332"/>
                  <a:gd name="connsiteX34" fmla="*/ 181928 w 319087"/>
                  <a:gd name="connsiteY34" fmla="*/ 308610 h 374332"/>
                  <a:gd name="connsiteX35" fmla="*/ 185738 w 319087"/>
                  <a:gd name="connsiteY35" fmla="*/ 307658 h 374332"/>
                  <a:gd name="connsiteX36" fmla="*/ 189547 w 319087"/>
                  <a:gd name="connsiteY36" fmla="*/ 305753 h 374332"/>
                  <a:gd name="connsiteX37" fmla="*/ 192405 w 319087"/>
                  <a:gd name="connsiteY37" fmla="*/ 303847 h 374332"/>
                  <a:gd name="connsiteX38" fmla="*/ 195263 w 319087"/>
                  <a:gd name="connsiteY38" fmla="*/ 300990 h 374332"/>
                  <a:gd name="connsiteX39" fmla="*/ 198120 w 319087"/>
                  <a:gd name="connsiteY39" fmla="*/ 298133 h 374332"/>
                  <a:gd name="connsiteX40" fmla="*/ 200978 w 319087"/>
                  <a:gd name="connsiteY40" fmla="*/ 295275 h 374332"/>
                  <a:gd name="connsiteX41" fmla="*/ 203835 w 319087"/>
                  <a:gd name="connsiteY41" fmla="*/ 292418 h 374332"/>
                  <a:gd name="connsiteX42" fmla="*/ 206693 w 319087"/>
                  <a:gd name="connsiteY42" fmla="*/ 289560 h 374332"/>
                  <a:gd name="connsiteX43" fmla="*/ 209550 w 319087"/>
                  <a:gd name="connsiteY43" fmla="*/ 285750 h 374332"/>
                  <a:gd name="connsiteX44" fmla="*/ 211455 w 319087"/>
                  <a:gd name="connsiteY44" fmla="*/ 281940 h 374332"/>
                  <a:gd name="connsiteX45" fmla="*/ 213360 w 319087"/>
                  <a:gd name="connsiteY45" fmla="*/ 278130 h 374332"/>
                  <a:gd name="connsiteX46" fmla="*/ 215265 w 319087"/>
                  <a:gd name="connsiteY46" fmla="*/ 274320 h 374332"/>
                  <a:gd name="connsiteX47" fmla="*/ 217170 w 319087"/>
                  <a:gd name="connsiteY47" fmla="*/ 269558 h 374332"/>
                  <a:gd name="connsiteX48" fmla="*/ 219075 w 319087"/>
                  <a:gd name="connsiteY48" fmla="*/ 264795 h 374332"/>
                  <a:gd name="connsiteX49" fmla="*/ 220028 w 319087"/>
                  <a:gd name="connsiteY49" fmla="*/ 260033 h 374332"/>
                  <a:gd name="connsiteX50" fmla="*/ 220980 w 319087"/>
                  <a:gd name="connsiteY50" fmla="*/ 254318 h 374332"/>
                  <a:gd name="connsiteX51" fmla="*/ 221932 w 319087"/>
                  <a:gd name="connsiteY51" fmla="*/ 248602 h 374332"/>
                  <a:gd name="connsiteX52" fmla="*/ 222885 w 319087"/>
                  <a:gd name="connsiteY52" fmla="*/ 242888 h 374332"/>
                  <a:gd name="connsiteX53" fmla="*/ 224790 w 319087"/>
                  <a:gd name="connsiteY53" fmla="*/ 230505 h 374332"/>
                  <a:gd name="connsiteX54" fmla="*/ 225743 w 319087"/>
                  <a:gd name="connsiteY54" fmla="*/ 217170 h 374332"/>
                  <a:gd name="connsiteX55" fmla="*/ 226695 w 319087"/>
                  <a:gd name="connsiteY55" fmla="*/ 202883 h 374332"/>
                  <a:gd name="connsiteX56" fmla="*/ 226695 w 319087"/>
                  <a:gd name="connsiteY56" fmla="*/ 187643 h 374332"/>
                  <a:gd name="connsiteX57" fmla="*/ 226695 w 319087"/>
                  <a:gd name="connsiteY57" fmla="*/ 174308 h 374332"/>
                  <a:gd name="connsiteX58" fmla="*/ 225743 w 319087"/>
                  <a:gd name="connsiteY58" fmla="*/ 161925 h 374332"/>
                  <a:gd name="connsiteX59" fmla="*/ 224790 w 319087"/>
                  <a:gd name="connsiteY59" fmla="*/ 149543 h 374332"/>
                  <a:gd name="connsiteX60" fmla="*/ 222885 w 319087"/>
                  <a:gd name="connsiteY60" fmla="*/ 138113 h 374332"/>
                  <a:gd name="connsiteX61" fmla="*/ 223838 w 319087"/>
                  <a:gd name="connsiteY61" fmla="*/ 126682 h 374332"/>
                  <a:gd name="connsiteX62" fmla="*/ 220980 w 319087"/>
                  <a:gd name="connsiteY62" fmla="*/ 116205 h 374332"/>
                  <a:gd name="connsiteX63" fmla="*/ 218122 w 319087"/>
                  <a:gd name="connsiteY63" fmla="*/ 106680 h 374332"/>
                  <a:gd name="connsiteX64" fmla="*/ 214313 w 319087"/>
                  <a:gd name="connsiteY64" fmla="*/ 97155 h 374332"/>
                  <a:gd name="connsiteX65" fmla="*/ 212407 w 319087"/>
                  <a:gd name="connsiteY65" fmla="*/ 93345 h 374332"/>
                  <a:gd name="connsiteX66" fmla="*/ 210503 w 319087"/>
                  <a:gd name="connsiteY66" fmla="*/ 89535 h 374332"/>
                  <a:gd name="connsiteX67" fmla="*/ 207645 w 319087"/>
                  <a:gd name="connsiteY67" fmla="*/ 85725 h 374332"/>
                  <a:gd name="connsiteX68" fmla="*/ 204788 w 319087"/>
                  <a:gd name="connsiteY68" fmla="*/ 81915 h 374332"/>
                  <a:gd name="connsiteX69" fmla="*/ 201930 w 319087"/>
                  <a:gd name="connsiteY69" fmla="*/ 79057 h 374332"/>
                  <a:gd name="connsiteX70" fmla="*/ 199072 w 319087"/>
                  <a:gd name="connsiteY70" fmla="*/ 76200 h 374332"/>
                  <a:gd name="connsiteX71" fmla="*/ 196215 w 319087"/>
                  <a:gd name="connsiteY71" fmla="*/ 73343 h 374332"/>
                  <a:gd name="connsiteX72" fmla="*/ 193357 w 319087"/>
                  <a:gd name="connsiteY72" fmla="*/ 71438 h 374332"/>
                  <a:gd name="connsiteX73" fmla="*/ 189547 w 319087"/>
                  <a:gd name="connsiteY73" fmla="*/ 69532 h 374332"/>
                  <a:gd name="connsiteX74" fmla="*/ 185738 w 319087"/>
                  <a:gd name="connsiteY74" fmla="*/ 67627 h 374332"/>
                  <a:gd name="connsiteX75" fmla="*/ 181928 w 319087"/>
                  <a:gd name="connsiteY75" fmla="*/ 65722 h 374332"/>
                  <a:gd name="connsiteX76" fmla="*/ 178118 w 319087"/>
                  <a:gd name="connsiteY76" fmla="*/ 64770 h 374332"/>
                  <a:gd name="connsiteX77" fmla="*/ 174307 w 319087"/>
                  <a:gd name="connsiteY77" fmla="*/ 63818 h 374332"/>
                  <a:gd name="connsiteX78" fmla="*/ 170497 w 319087"/>
                  <a:gd name="connsiteY78" fmla="*/ 62865 h 374332"/>
                  <a:gd name="connsiteX79" fmla="*/ 165735 w 319087"/>
                  <a:gd name="connsiteY79" fmla="*/ 62865 h 374332"/>
                  <a:gd name="connsiteX80" fmla="*/ 160972 w 319087"/>
                  <a:gd name="connsiteY80" fmla="*/ 62865 h 374332"/>
                  <a:gd name="connsiteX81" fmla="*/ 156210 w 319087"/>
                  <a:gd name="connsiteY81" fmla="*/ 62865 h 374332"/>
                  <a:gd name="connsiteX82" fmla="*/ 151447 w 319087"/>
                  <a:gd name="connsiteY82" fmla="*/ 62865 h 374332"/>
                  <a:gd name="connsiteX83" fmla="*/ 146685 w 319087"/>
                  <a:gd name="connsiteY83" fmla="*/ 63818 h 374332"/>
                  <a:gd name="connsiteX84" fmla="*/ 142875 w 319087"/>
                  <a:gd name="connsiteY84" fmla="*/ 64770 h 374332"/>
                  <a:gd name="connsiteX85" fmla="*/ 139065 w 319087"/>
                  <a:gd name="connsiteY85" fmla="*/ 65722 h 374332"/>
                  <a:gd name="connsiteX86" fmla="*/ 135255 w 319087"/>
                  <a:gd name="connsiteY86" fmla="*/ 67627 h 374332"/>
                  <a:gd name="connsiteX87" fmla="*/ 131445 w 319087"/>
                  <a:gd name="connsiteY87" fmla="*/ 69532 h 374332"/>
                  <a:gd name="connsiteX88" fmla="*/ 127635 w 319087"/>
                  <a:gd name="connsiteY88" fmla="*/ 71438 h 374332"/>
                  <a:gd name="connsiteX89" fmla="*/ 124778 w 319087"/>
                  <a:gd name="connsiteY89" fmla="*/ 74295 h 374332"/>
                  <a:gd name="connsiteX90" fmla="*/ 121920 w 319087"/>
                  <a:gd name="connsiteY90" fmla="*/ 77152 h 374332"/>
                  <a:gd name="connsiteX91" fmla="*/ 119063 w 319087"/>
                  <a:gd name="connsiteY91" fmla="*/ 80010 h 374332"/>
                  <a:gd name="connsiteX92" fmla="*/ 116205 w 319087"/>
                  <a:gd name="connsiteY92" fmla="*/ 83820 h 374332"/>
                  <a:gd name="connsiteX93" fmla="*/ 113347 w 319087"/>
                  <a:gd name="connsiteY93" fmla="*/ 86677 h 374332"/>
                  <a:gd name="connsiteX94" fmla="*/ 110490 w 319087"/>
                  <a:gd name="connsiteY94" fmla="*/ 90488 h 374332"/>
                  <a:gd name="connsiteX95" fmla="*/ 107632 w 319087"/>
                  <a:gd name="connsiteY95" fmla="*/ 94297 h 374332"/>
                  <a:gd name="connsiteX96" fmla="*/ 105728 w 319087"/>
                  <a:gd name="connsiteY96" fmla="*/ 98107 h 374332"/>
                  <a:gd name="connsiteX97" fmla="*/ 101918 w 319087"/>
                  <a:gd name="connsiteY97" fmla="*/ 107632 h 374332"/>
                  <a:gd name="connsiteX98" fmla="*/ 99060 w 319087"/>
                  <a:gd name="connsiteY98" fmla="*/ 117157 h 374332"/>
                  <a:gd name="connsiteX99" fmla="*/ 96203 w 319087"/>
                  <a:gd name="connsiteY99" fmla="*/ 127635 h 374332"/>
                  <a:gd name="connsiteX100" fmla="*/ 94297 w 319087"/>
                  <a:gd name="connsiteY100" fmla="*/ 138113 h 374332"/>
                  <a:gd name="connsiteX101" fmla="*/ 92393 w 319087"/>
                  <a:gd name="connsiteY101" fmla="*/ 149543 h 374332"/>
                  <a:gd name="connsiteX102" fmla="*/ 91440 w 319087"/>
                  <a:gd name="connsiteY102" fmla="*/ 161925 h 374332"/>
                  <a:gd name="connsiteX103" fmla="*/ 90488 w 319087"/>
                  <a:gd name="connsiteY103" fmla="*/ 174308 h 374332"/>
                  <a:gd name="connsiteX104" fmla="*/ 90488 w 319087"/>
                  <a:gd name="connsiteY104" fmla="*/ 187643 h 374332"/>
                  <a:gd name="connsiteX105" fmla="*/ 90488 w 319087"/>
                  <a:gd name="connsiteY105" fmla="*/ 187643 h 374332"/>
                  <a:gd name="connsiteX106" fmla="*/ 0 w 319087"/>
                  <a:gd name="connsiteY106" fmla="*/ 186690 h 374332"/>
                  <a:gd name="connsiteX107" fmla="*/ 0 w 319087"/>
                  <a:gd name="connsiteY107" fmla="*/ 173355 h 374332"/>
                  <a:gd name="connsiteX108" fmla="*/ 953 w 319087"/>
                  <a:gd name="connsiteY108" fmla="*/ 160972 h 374332"/>
                  <a:gd name="connsiteX109" fmla="*/ 1905 w 319087"/>
                  <a:gd name="connsiteY109" fmla="*/ 148590 h 374332"/>
                  <a:gd name="connsiteX110" fmla="*/ 2857 w 319087"/>
                  <a:gd name="connsiteY110" fmla="*/ 137160 h 374332"/>
                  <a:gd name="connsiteX111" fmla="*/ 4763 w 319087"/>
                  <a:gd name="connsiteY111" fmla="*/ 126682 h 374332"/>
                  <a:gd name="connsiteX112" fmla="*/ 7620 w 319087"/>
                  <a:gd name="connsiteY112" fmla="*/ 116205 h 374332"/>
                  <a:gd name="connsiteX113" fmla="*/ 10478 w 319087"/>
                  <a:gd name="connsiteY113" fmla="*/ 106680 h 374332"/>
                  <a:gd name="connsiteX114" fmla="*/ 13335 w 319087"/>
                  <a:gd name="connsiteY114" fmla="*/ 97155 h 374332"/>
                  <a:gd name="connsiteX115" fmla="*/ 17145 w 319087"/>
                  <a:gd name="connsiteY115" fmla="*/ 87630 h 374332"/>
                  <a:gd name="connsiteX116" fmla="*/ 20955 w 319087"/>
                  <a:gd name="connsiteY116" fmla="*/ 79057 h 374332"/>
                  <a:gd name="connsiteX117" fmla="*/ 24765 w 319087"/>
                  <a:gd name="connsiteY117" fmla="*/ 71438 h 374332"/>
                  <a:gd name="connsiteX118" fmla="*/ 29528 w 319087"/>
                  <a:gd name="connsiteY118" fmla="*/ 63818 h 374332"/>
                  <a:gd name="connsiteX119" fmla="*/ 34290 w 319087"/>
                  <a:gd name="connsiteY119" fmla="*/ 57150 h 374332"/>
                  <a:gd name="connsiteX120" fmla="*/ 40005 w 319087"/>
                  <a:gd name="connsiteY120" fmla="*/ 50482 h 374332"/>
                  <a:gd name="connsiteX121" fmla="*/ 45720 w 319087"/>
                  <a:gd name="connsiteY121" fmla="*/ 44768 h 374332"/>
                  <a:gd name="connsiteX122" fmla="*/ 51435 w 319087"/>
                  <a:gd name="connsiteY122" fmla="*/ 39052 h 374332"/>
                  <a:gd name="connsiteX123" fmla="*/ 57150 w 319087"/>
                  <a:gd name="connsiteY123" fmla="*/ 33338 h 374332"/>
                  <a:gd name="connsiteX124" fmla="*/ 63818 w 319087"/>
                  <a:gd name="connsiteY124" fmla="*/ 28575 h 374332"/>
                  <a:gd name="connsiteX125" fmla="*/ 69532 w 319087"/>
                  <a:gd name="connsiteY125" fmla="*/ 24765 h 374332"/>
                  <a:gd name="connsiteX126" fmla="*/ 76200 w 319087"/>
                  <a:gd name="connsiteY126" fmla="*/ 20955 h 374332"/>
                  <a:gd name="connsiteX127" fmla="*/ 82868 w 319087"/>
                  <a:gd name="connsiteY127" fmla="*/ 17145 h 374332"/>
                  <a:gd name="connsiteX128" fmla="*/ 89535 w 319087"/>
                  <a:gd name="connsiteY128" fmla="*/ 14288 h 374332"/>
                  <a:gd name="connsiteX129" fmla="*/ 96203 w 319087"/>
                  <a:gd name="connsiteY129" fmla="*/ 11430 h 374332"/>
                  <a:gd name="connsiteX130" fmla="*/ 102870 w 319087"/>
                  <a:gd name="connsiteY130" fmla="*/ 8572 h 374332"/>
                  <a:gd name="connsiteX131" fmla="*/ 109538 w 319087"/>
                  <a:gd name="connsiteY131" fmla="*/ 6668 h 374332"/>
                  <a:gd name="connsiteX132" fmla="*/ 116205 w 319087"/>
                  <a:gd name="connsiteY132" fmla="*/ 4763 h 374332"/>
                  <a:gd name="connsiteX133" fmla="*/ 122872 w 319087"/>
                  <a:gd name="connsiteY133" fmla="*/ 3810 h 374332"/>
                  <a:gd name="connsiteX134" fmla="*/ 130493 w 319087"/>
                  <a:gd name="connsiteY134" fmla="*/ 2857 h 374332"/>
                  <a:gd name="connsiteX135" fmla="*/ 137160 w 319087"/>
                  <a:gd name="connsiteY135" fmla="*/ 1905 h 374332"/>
                  <a:gd name="connsiteX136" fmla="*/ 144780 w 319087"/>
                  <a:gd name="connsiteY136" fmla="*/ 952 h 374332"/>
                  <a:gd name="connsiteX137" fmla="*/ 152400 w 319087"/>
                  <a:gd name="connsiteY137" fmla="*/ 0 h 374332"/>
                  <a:gd name="connsiteX138" fmla="*/ 160020 w 319087"/>
                  <a:gd name="connsiteY138" fmla="*/ 0 h 374332"/>
                  <a:gd name="connsiteX139" fmla="*/ 170497 w 319087"/>
                  <a:gd name="connsiteY139" fmla="*/ 0 h 374332"/>
                  <a:gd name="connsiteX140" fmla="*/ 180975 w 319087"/>
                  <a:gd name="connsiteY140" fmla="*/ 952 h 374332"/>
                  <a:gd name="connsiteX141" fmla="*/ 190500 w 319087"/>
                  <a:gd name="connsiteY141" fmla="*/ 1905 h 374332"/>
                  <a:gd name="connsiteX142" fmla="*/ 200025 w 319087"/>
                  <a:gd name="connsiteY142" fmla="*/ 3810 h 374332"/>
                  <a:gd name="connsiteX143" fmla="*/ 209550 w 319087"/>
                  <a:gd name="connsiteY143" fmla="*/ 6668 h 374332"/>
                  <a:gd name="connsiteX144" fmla="*/ 219075 w 319087"/>
                  <a:gd name="connsiteY144" fmla="*/ 9525 h 374332"/>
                  <a:gd name="connsiteX145" fmla="*/ 228600 w 319087"/>
                  <a:gd name="connsiteY145" fmla="*/ 13335 h 374332"/>
                  <a:gd name="connsiteX146" fmla="*/ 237172 w 319087"/>
                  <a:gd name="connsiteY146" fmla="*/ 17145 h 374332"/>
                  <a:gd name="connsiteX147" fmla="*/ 241935 w 319087"/>
                  <a:gd name="connsiteY147" fmla="*/ 19050 h 374332"/>
                  <a:gd name="connsiteX148" fmla="*/ 245745 w 319087"/>
                  <a:gd name="connsiteY148" fmla="*/ 21907 h 374332"/>
                  <a:gd name="connsiteX149" fmla="*/ 249555 w 319087"/>
                  <a:gd name="connsiteY149" fmla="*/ 24765 h 374332"/>
                  <a:gd name="connsiteX150" fmla="*/ 253365 w 319087"/>
                  <a:gd name="connsiteY150" fmla="*/ 27622 h 374332"/>
                  <a:gd name="connsiteX151" fmla="*/ 257175 w 319087"/>
                  <a:gd name="connsiteY151" fmla="*/ 30480 h 374332"/>
                  <a:gd name="connsiteX152" fmla="*/ 260985 w 319087"/>
                  <a:gd name="connsiteY152" fmla="*/ 33338 h 374332"/>
                  <a:gd name="connsiteX153" fmla="*/ 264795 w 319087"/>
                  <a:gd name="connsiteY153" fmla="*/ 37147 h 374332"/>
                  <a:gd name="connsiteX154" fmla="*/ 268605 w 319087"/>
                  <a:gd name="connsiteY154" fmla="*/ 40957 h 374332"/>
                  <a:gd name="connsiteX155" fmla="*/ 272415 w 319087"/>
                  <a:gd name="connsiteY155" fmla="*/ 44768 h 374332"/>
                  <a:gd name="connsiteX156" fmla="*/ 276225 w 319087"/>
                  <a:gd name="connsiteY156" fmla="*/ 48577 h 374332"/>
                  <a:gd name="connsiteX157" fmla="*/ 279082 w 319087"/>
                  <a:gd name="connsiteY157" fmla="*/ 52388 h 374332"/>
                  <a:gd name="connsiteX158" fmla="*/ 282893 w 319087"/>
                  <a:gd name="connsiteY158" fmla="*/ 57150 h 374332"/>
                  <a:gd name="connsiteX159" fmla="*/ 285750 w 319087"/>
                  <a:gd name="connsiteY159" fmla="*/ 61913 h 374332"/>
                  <a:gd name="connsiteX160" fmla="*/ 288607 w 319087"/>
                  <a:gd name="connsiteY160" fmla="*/ 66675 h 374332"/>
                  <a:gd name="connsiteX161" fmla="*/ 291465 w 319087"/>
                  <a:gd name="connsiteY161" fmla="*/ 71438 h 374332"/>
                  <a:gd name="connsiteX162" fmla="*/ 294322 w 319087"/>
                  <a:gd name="connsiteY162" fmla="*/ 76200 h 374332"/>
                  <a:gd name="connsiteX163" fmla="*/ 297180 w 319087"/>
                  <a:gd name="connsiteY163" fmla="*/ 81915 h 374332"/>
                  <a:gd name="connsiteX164" fmla="*/ 300038 w 319087"/>
                  <a:gd name="connsiteY164" fmla="*/ 87630 h 374332"/>
                  <a:gd name="connsiteX165" fmla="*/ 302895 w 319087"/>
                  <a:gd name="connsiteY165" fmla="*/ 93345 h 374332"/>
                  <a:gd name="connsiteX166" fmla="*/ 305753 w 319087"/>
                  <a:gd name="connsiteY166" fmla="*/ 99060 h 374332"/>
                  <a:gd name="connsiteX167" fmla="*/ 307657 w 319087"/>
                  <a:gd name="connsiteY167" fmla="*/ 104775 h 374332"/>
                  <a:gd name="connsiteX168" fmla="*/ 309563 w 319087"/>
                  <a:gd name="connsiteY168" fmla="*/ 111443 h 374332"/>
                  <a:gd name="connsiteX169" fmla="*/ 311468 w 319087"/>
                  <a:gd name="connsiteY169" fmla="*/ 118110 h 374332"/>
                  <a:gd name="connsiteX170" fmla="*/ 312420 w 319087"/>
                  <a:gd name="connsiteY170" fmla="*/ 124777 h 374332"/>
                  <a:gd name="connsiteX171" fmla="*/ 313372 w 319087"/>
                  <a:gd name="connsiteY171" fmla="*/ 131445 h 374332"/>
                  <a:gd name="connsiteX172" fmla="*/ 314325 w 319087"/>
                  <a:gd name="connsiteY172" fmla="*/ 139065 h 374332"/>
                  <a:gd name="connsiteX173" fmla="*/ 315278 w 319087"/>
                  <a:gd name="connsiteY173" fmla="*/ 146685 h 374332"/>
                  <a:gd name="connsiteX174" fmla="*/ 316230 w 319087"/>
                  <a:gd name="connsiteY174" fmla="*/ 154305 h 374332"/>
                  <a:gd name="connsiteX175" fmla="*/ 316230 w 319087"/>
                  <a:gd name="connsiteY175" fmla="*/ 161925 h 374332"/>
                  <a:gd name="connsiteX176" fmla="*/ 317182 w 319087"/>
                  <a:gd name="connsiteY176" fmla="*/ 170497 h 374332"/>
                  <a:gd name="connsiteX177" fmla="*/ 317182 w 319087"/>
                  <a:gd name="connsiteY177" fmla="*/ 179070 h 374332"/>
                  <a:gd name="connsiteX178" fmla="*/ 317182 w 319087"/>
                  <a:gd name="connsiteY178" fmla="*/ 187643 h 374332"/>
                  <a:gd name="connsiteX179" fmla="*/ 317182 w 319087"/>
                  <a:gd name="connsiteY179" fmla="*/ 196215 h 374332"/>
                  <a:gd name="connsiteX180" fmla="*/ 317182 w 319087"/>
                  <a:gd name="connsiteY180" fmla="*/ 204788 h 374332"/>
                  <a:gd name="connsiteX181" fmla="*/ 319088 w 319087"/>
                  <a:gd name="connsiteY181" fmla="*/ 212408 h 374332"/>
                  <a:gd name="connsiteX182" fmla="*/ 319088 w 319087"/>
                  <a:gd name="connsiteY182" fmla="*/ 220027 h 374332"/>
                  <a:gd name="connsiteX183" fmla="*/ 318135 w 319087"/>
                  <a:gd name="connsiteY183" fmla="*/ 227647 h 374332"/>
                  <a:gd name="connsiteX184" fmla="*/ 317182 w 319087"/>
                  <a:gd name="connsiteY184" fmla="*/ 235268 h 374332"/>
                  <a:gd name="connsiteX185" fmla="*/ 316230 w 319087"/>
                  <a:gd name="connsiteY185" fmla="*/ 242888 h 374332"/>
                  <a:gd name="connsiteX186" fmla="*/ 315278 w 319087"/>
                  <a:gd name="connsiteY186" fmla="*/ 250508 h 374332"/>
                  <a:gd name="connsiteX187" fmla="*/ 314325 w 319087"/>
                  <a:gd name="connsiteY187" fmla="*/ 257175 h 374332"/>
                  <a:gd name="connsiteX188" fmla="*/ 312420 w 319087"/>
                  <a:gd name="connsiteY188" fmla="*/ 263843 h 374332"/>
                  <a:gd name="connsiteX189" fmla="*/ 310515 w 319087"/>
                  <a:gd name="connsiteY189" fmla="*/ 270510 h 374332"/>
                  <a:gd name="connsiteX190" fmla="*/ 308610 w 319087"/>
                  <a:gd name="connsiteY190" fmla="*/ 277178 h 374332"/>
                  <a:gd name="connsiteX191" fmla="*/ 305753 w 319087"/>
                  <a:gd name="connsiteY191" fmla="*/ 282893 h 374332"/>
                  <a:gd name="connsiteX192" fmla="*/ 302895 w 319087"/>
                  <a:gd name="connsiteY192" fmla="*/ 288608 h 374332"/>
                  <a:gd name="connsiteX193" fmla="*/ 300038 w 319087"/>
                  <a:gd name="connsiteY193" fmla="*/ 294322 h 374332"/>
                  <a:gd name="connsiteX194" fmla="*/ 297180 w 319087"/>
                  <a:gd name="connsiteY194" fmla="*/ 300037 h 374332"/>
                  <a:gd name="connsiteX195" fmla="*/ 294322 w 319087"/>
                  <a:gd name="connsiteY195" fmla="*/ 305753 h 374332"/>
                  <a:gd name="connsiteX196" fmla="*/ 291465 w 319087"/>
                  <a:gd name="connsiteY196" fmla="*/ 310515 h 374332"/>
                  <a:gd name="connsiteX197" fmla="*/ 288607 w 319087"/>
                  <a:gd name="connsiteY197" fmla="*/ 315278 h 374332"/>
                  <a:gd name="connsiteX198" fmla="*/ 285750 w 319087"/>
                  <a:gd name="connsiteY198" fmla="*/ 320040 h 374332"/>
                  <a:gd name="connsiteX199" fmla="*/ 281940 w 319087"/>
                  <a:gd name="connsiteY199" fmla="*/ 323850 h 374332"/>
                  <a:gd name="connsiteX200" fmla="*/ 279082 w 319087"/>
                  <a:gd name="connsiteY200" fmla="*/ 327660 h 374332"/>
                  <a:gd name="connsiteX201" fmla="*/ 275272 w 319087"/>
                  <a:gd name="connsiteY201" fmla="*/ 331470 h 374332"/>
                  <a:gd name="connsiteX202" fmla="*/ 271463 w 319087"/>
                  <a:gd name="connsiteY202" fmla="*/ 335280 h 374332"/>
                  <a:gd name="connsiteX203" fmla="*/ 267653 w 319087"/>
                  <a:gd name="connsiteY203" fmla="*/ 339090 h 374332"/>
                  <a:gd name="connsiteX204" fmla="*/ 263843 w 319087"/>
                  <a:gd name="connsiteY204" fmla="*/ 341947 h 374332"/>
                  <a:gd name="connsiteX205" fmla="*/ 260032 w 319087"/>
                  <a:gd name="connsiteY205" fmla="*/ 344805 h 374332"/>
                  <a:gd name="connsiteX206" fmla="*/ 256222 w 319087"/>
                  <a:gd name="connsiteY206" fmla="*/ 347662 h 374332"/>
                  <a:gd name="connsiteX207" fmla="*/ 252413 w 319087"/>
                  <a:gd name="connsiteY207" fmla="*/ 350520 h 374332"/>
                  <a:gd name="connsiteX208" fmla="*/ 248603 w 319087"/>
                  <a:gd name="connsiteY208" fmla="*/ 353378 h 374332"/>
                  <a:gd name="connsiteX209" fmla="*/ 244793 w 319087"/>
                  <a:gd name="connsiteY209" fmla="*/ 356235 h 374332"/>
                  <a:gd name="connsiteX210" fmla="*/ 240982 w 319087"/>
                  <a:gd name="connsiteY210" fmla="*/ 358140 h 374332"/>
                  <a:gd name="connsiteX211" fmla="*/ 231457 w 319087"/>
                  <a:gd name="connsiteY211" fmla="*/ 361950 h 374332"/>
                  <a:gd name="connsiteX212" fmla="*/ 221932 w 319087"/>
                  <a:gd name="connsiteY212" fmla="*/ 364808 h 374332"/>
                  <a:gd name="connsiteX213" fmla="*/ 212407 w 319087"/>
                  <a:gd name="connsiteY213" fmla="*/ 367665 h 374332"/>
                  <a:gd name="connsiteX214" fmla="*/ 202882 w 319087"/>
                  <a:gd name="connsiteY214" fmla="*/ 370522 h 374332"/>
                  <a:gd name="connsiteX215" fmla="*/ 193357 w 319087"/>
                  <a:gd name="connsiteY215" fmla="*/ 372428 h 374332"/>
                  <a:gd name="connsiteX216" fmla="*/ 182880 w 319087"/>
                  <a:gd name="connsiteY216" fmla="*/ 373380 h 374332"/>
                  <a:gd name="connsiteX217" fmla="*/ 172403 w 319087"/>
                  <a:gd name="connsiteY217" fmla="*/ 374333 h 374332"/>
                  <a:gd name="connsiteX218" fmla="*/ 161925 w 319087"/>
                  <a:gd name="connsiteY218" fmla="*/ 374333 h 374332"/>
                  <a:gd name="connsiteX219" fmla="*/ 154305 w 319087"/>
                  <a:gd name="connsiteY219" fmla="*/ 374333 h 374332"/>
                  <a:gd name="connsiteX220" fmla="*/ 146685 w 319087"/>
                  <a:gd name="connsiteY220" fmla="*/ 373380 h 374332"/>
                  <a:gd name="connsiteX221" fmla="*/ 139065 w 319087"/>
                  <a:gd name="connsiteY221" fmla="*/ 372428 h 374332"/>
                  <a:gd name="connsiteX222" fmla="*/ 131445 w 319087"/>
                  <a:gd name="connsiteY222" fmla="*/ 371475 h 374332"/>
                  <a:gd name="connsiteX223" fmla="*/ 123825 w 319087"/>
                  <a:gd name="connsiteY223" fmla="*/ 370522 h 374332"/>
                  <a:gd name="connsiteX224" fmla="*/ 116205 w 319087"/>
                  <a:gd name="connsiteY224" fmla="*/ 368618 h 374332"/>
                  <a:gd name="connsiteX225" fmla="*/ 108585 w 319087"/>
                  <a:gd name="connsiteY225" fmla="*/ 365760 h 374332"/>
                  <a:gd name="connsiteX226" fmla="*/ 101918 w 319087"/>
                  <a:gd name="connsiteY226" fmla="*/ 362903 h 374332"/>
                  <a:gd name="connsiteX227" fmla="*/ 95250 w 319087"/>
                  <a:gd name="connsiteY227" fmla="*/ 360045 h 374332"/>
                  <a:gd name="connsiteX228" fmla="*/ 88582 w 319087"/>
                  <a:gd name="connsiteY228" fmla="*/ 357187 h 374332"/>
                  <a:gd name="connsiteX229" fmla="*/ 81915 w 319087"/>
                  <a:gd name="connsiteY229" fmla="*/ 353378 h 374332"/>
                  <a:gd name="connsiteX230" fmla="*/ 75247 w 319087"/>
                  <a:gd name="connsiteY230" fmla="*/ 349568 h 374332"/>
                  <a:gd name="connsiteX231" fmla="*/ 68580 w 319087"/>
                  <a:gd name="connsiteY231" fmla="*/ 345758 h 374332"/>
                  <a:gd name="connsiteX232" fmla="*/ 61913 w 319087"/>
                  <a:gd name="connsiteY232" fmla="*/ 341947 h 374332"/>
                  <a:gd name="connsiteX233" fmla="*/ 56197 w 319087"/>
                  <a:gd name="connsiteY233" fmla="*/ 337185 h 374332"/>
                  <a:gd name="connsiteX234" fmla="*/ 50482 w 319087"/>
                  <a:gd name="connsiteY234" fmla="*/ 332422 h 374332"/>
                  <a:gd name="connsiteX235" fmla="*/ 44768 w 319087"/>
                  <a:gd name="connsiteY235" fmla="*/ 326708 h 374332"/>
                  <a:gd name="connsiteX236" fmla="*/ 39053 w 319087"/>
                  <a:gd name="connsiteY236" fmla="*/ 320993 h 374332"/>
                  <a:gd name="connsiteX237" fmla="*/ 34290 w 319087"/>
                  <a:gd name="connsiteY237" fmla="*/ 314325 h 374332"/>
                  <a:gd name="connsiteX238" fmla="*/ 29528 w 319087"/>
                  <a:gd name="connsiteY238" fmla="*/ 307658 h 374332"/>
                  <a:gd name="connsiteX239" fmla="*/ 25718 w 319087"/>
                  <a:gd name="connsiteY239" fmla="*/ 300037 h 374332"/>
                  <a:gd name="connsiteX240" fmla="*/ 21907 w 319087"/>
                  <a:gd name="connsiteY240" fmla="*/ 291465 h 374332"/>
                  <a:gd name="connsiteX241" fmla="*/ 18097 w 319087"/>
                  <a:gd name="connsiteY241" fmla="*/ 283845 h 374332"/>
                  <a:gd name="connsiteX242" fmla="*/ 15240 w 319087"/>
                  <a:gd name="connsiteY242" fmla="*/ 274320 h 374332"/>
                  <a:gd name="connsiteX243" fmla="*/ 12382 w 319087"/>
                  <a:gd name="connsiteY243" fmla="*/ 264795 h 374332"/>
                  <a:gd name="connsiteX244" fmla="*/ 9525 w 319087"/>
                  <a:gd name="connsiteY244" fmla="*/ 255270 h 374332"/>
                  <a:gd name="connsiteX245" fmla="*/ 7620 w 319087"/>
                  <a:gd name="connsiteY245" fmla="*/ 244793 h 374332"/>
                  <a:gd name="connsiteX246" fmla="*/ 6668 w 319087"/>
                  <a:gd name="connsiteY246" fmla="*/ 234315 h 374332"/>
                  <a:gd name="connsiteX247" fmla="*/ 5715 w 319087"/>
                  <a:gd name="connsiteY247" fmla="*/ 222885 h 374332"/>
                  <a:gd name="connsiteX248" fmla="*/ 4763 w 319087"/>
                  <a:gd name="connsiteY248" fmla="*/ 211455 h 374332"/>
                  <a:gd name="connsiteX249" fmla="*/ 3810 w 319087"/>
                  <a:gd name="connsiteY249" fmla="*/ 199072 h 374332"/>
                  <a:gd name="connsiteX250" fmla="*/ 0 w 319087"/>
                  <a:gd name="connsiteY250" fmla="*/ 186690 h 374332"/>
                  <a:gd name="connsiteX251" fmla="*/ 0 w 319087"/>
                  <a:gd name="connsiteY251" fmla="*/ 186690 h 374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</a:cxnLst>
                <a:rect l="l" t="t" r="r" b="b"/>
                <a:pathLst>
                  <a:path w="319087" h="374332">
                    <a:moveTo>
                      <a:pt x="90488" y="187643"/>
                    </a:moveTo>
                    <a:lnTo>
                      <a:pt x="90488" y="202883"/>
                    </a:lnTo>
                    <a:lnTo>
                      <a:pt x="91440" y="217170"/>
                    </a:lnTo>
                    <a:lnTo>
                      <a:pt x="92393" y="230505"/>
                    </a:lnTo>
                    <a:lnTo>
                      <a:pt x="94297" y="242888"/>
                    </a:lnTo>
                    <a:lnTo>
                      <a:pt x="95250" y="248602"/>
                    </a:lnTo>
                    <a:lnTo>
                      <a:pt x="96203" y="254318"/>
                    </a:lnTo>
                    <a:lnTo>
                      <a:pt x="97155" y="260033"/>
                    </a:lnTo>
                    <a:lnTo>
                      <a:pt x="98107" y="264795"/>
                    </a:lnTo>
                    <a:lnTo>
                      <a:pt x="100013" y="269558"/>
                    </a:lnTo>
                    <a:lnTo>
                      <a:pt x="101918" y="274320"/>
                    </a:lnTo>
                    <a:lnTo>
                      <a:pt x="103822" y="278130"/>
                    </a:lnTo>
                    <a:lnTo>
                      <a:pt x="105728" y="281940"/>
                    </a:lnTo>
                    <a:lnTo>
                      <a:pt x="108585" y="285750"/>
                    </a:lnTo>
                    <a:lnTo>
                      <a:pt x="110490" y="289560"/>
                    </a:lnTo>
                    <a:lnTo>
                      <a:pt x="113347" y="292418"/>
                    </a:lnTo>
                    <a:lnTo>
                      <a:pt x="116205" y="295275"/>
                    </a:lnTo>
                    <a:lnTo>
                      <a:pt x="119063" y="298133"/>
                    </a:lnTo>
                    <a:lnTo>
                      <a:pt x="121920" y="300990"/>
                    </a:lnTo>
                    <a:lnTo>
                      <a:pt x="124778" y="303847"/>
                    </a:lnTo>
                    <a:lnTo>
                      <a:pt x="127635" y="305753"/>
                    </a:lnTo>
                    <a:lnTo>
                      <a:pt x="131445" y="307658"/>
                    </a:lnTo>
                    <a:lnTo>
                      <a:pt x="135255" y="308610"/>
                    </a:lnTo>
                    <a:lnTo>
                      <a:pt x="139065" y="309562"/>
                    </a:lnTo>
                    <a:lnTo>
                      <a:pt x="142875" y="310515"/>
                    </a:lnTo>
                    <a:lnTo>
                      <a:pt x="146685" y="311468"/>
                    </a:lnTo>
                    <a:lnTo>
                      <a:pt x="150495" y="312420"/>
                    </a:lnTo>
                    <a:lnTo>
                      <a:pt x="154305" y="312420"/>
                    </a:lnTo>
                    <a:lnTo>
                      <a:pt x="158115" y="312420"/>
                    </a:lnTo>
                    <a:lnTo>
                      <a:pt x="162878" y="312420"/>
                    </a:lnTo>
                    <a:lnTo>
                      <a:pt x="166688" y="312420"/>
                    </a:lnTo>
                    <a:lnTo>
                      <a:pt x="170497" y="311468"/>
                    </a:lnTo>
                    <a:lnTo>
                      <a:pt x="174307" y="310515"/>
                    </a:lnTo>
                    <a:lnTo>
                      <a:pt x="178118" y="309562"/>
                    </a:lnTo>
                    <a:lnTo>
                      <a:pt x="181928" y="308610"/>
                    </a:lnTo>
                    <a:lnTo>
                      <a:pt x="185738" y="307658"/>
                    </a:lnTo>
                    <a:lnTo>
                      <a:pt x="189547" y="305753"/>
                    </a:lnTo>
                    <a:lnTo>
                      <a:pt x="192405" y="303847"/>
                    </a:lnTo>
                    <a:lnTo>
                      <a:pt x="195263" y="300990"/>
                    </a:lnTo>
                    <a:lnTo>
                      <a:pt x="198120" y="298133"/>
                    </a:lnTo>
                    <a:lnTo>
                      <a:pt x="200978" y="295275"/>
                    </a:lnTo>
                    <a:lnTo>
                      <a:pt x="203835" y="292418"/>
                    </a:lnTo>
                    <a:lnTo>
                      <a:pt x="206693" y="289560"/>
                    </a:lnTo>
                    <a:lnTo>
                      <a:pt x="209550" y="285750"/>
                    </a:lnTo>
                    <a:lnTo>
                      <a:pt x="211455" y="281940"/>
                    </a:lnTo>
                    <a:lnTo>
                      <a:pt x="213360" y="278130"/>
                    </a:lnTo>
                    <a:lnTo>
                      <a:pt x="215265" y="274320"/>
                    </a:lnTo>
                    <a:lnTo>
                      <a:pt x="217170" y="269558"/>
                    </a:lnTo>
                    <a:lnTo>
                      <a:pt x="219075" y="264795"/>
                    </a:lnTo>
                    <a:lnTo>
                      <a:pt x="220028" y="260033"/>
                    </a:lnTo>
                    <a:lnTo>
                      <a:pt x="220980" y="254318"/>
                    </a:lnTo>
                    <a:lnTo>
                      <a:pt x="221932" y="248602"/>
                    </a:lnTo>
                    <a:lnTo>
                      <a:pt x="222885" y="242888"/>
                    </a:lnTo>
                    <a:lnTo>
                      <a:pt x="224790" y="230505"/>
                    </a:lnTo>
                    <a:lnTo>
                      <a:pt x="225743" y="217170"/>
                    </a:lnTo>
                    <a:lnTo>
                      <a:pt x="226695" y="202883"/>
                    </a:lnTo>
                    <a:lnTo>
                      <a:pt x="226695" y="187643"/>
                    </a:lnTo>
                    <a:lnTo>
                      <a:pt x="226695" y="174308"/>
                    </a:lnTo>
                    <a:lnTo>
                      <a:pt x="225743" y="161925"/>
                    </a:lnTo>
                    <a:lnTo>
                      <a:pt x="224790" y="149543"/>
                    </a:lnTo>
                    <a:lnTo>
                      <a:pt x="222885" y="138113"/>
                    </a:lnTo>
                    <a:lnTo>
                      <a:pt x="223838" y="126682"/>
                    </a:lnTo>
                    <a:lnTo>
                      <a:pt x="220980" y="116205"/>
                    </a:lnTo>
                    <a:lnTo>
                      <a:pt x="218122" y="106680"/>
                    </a:lnTo>
                    <a:lnTo>
                      <a:pt x="214313" y="97155"/>
                    </a:lnTo>
                    <a:lnTo>
                      <a:pt x="212407" y="93345"/>
                    </a:lnTo>
                    <a:lnTo>
                      <a:pt x="210503" y="89535"/>
                    </a:lnTo>
                    <a:lnTo>
                      <a:pt x="207645" y="85725"/>
                    </a:lnTo>
                    <a:lnTo>
                      <a:pt x="204788" y="81915"/>
                    </a:lnTo>
                    <a:lnTo>
                      <a:pt x="201930" y="79057"/>
                    </a:lnTo>
                    <a:lnTo>
                      <a:pt x="199072" y="76200"/>
                    </a:lnTo>
                    <a:lnTo>
                      <a:pt x="196215" y="73343"/>
                    </a:lnTo>
                    <a:lnTo>
                      <a:pt x="193357" y="71438"/>
                    </a:lnTo>
                    <a:lnTo>
                      <a:pt x="189547" y="69532"/>
                    </a:lnTo>
                    <a:lnTo>
                      <a:pt x="185738" y="67627"/>
                    </a:lnTo>
                    <a:lnTo>
                      <a:pt x="181928" y="65722"/>
                    </a:lnTo>
                    <a:lnTo>
                      <a:pt x="178118" y="64770"/>
                    </a:lnTo>
                    <a:lnTo>
                      <a:pt x="174307" y="63818"/>
                    </a:lnTo>
                    <a:lnTo>
                      <a:pt x="170497" y="62865"/>
                    </a:lnTo>
                    <a:lnTo>
                      <a:pt x="165735" y="62865"/>
                    </a:lnTo>
                    <a:lnTo>
                      <a:pt x="160972" y="62865"/>
                    </a:lnTo>
                    <a:lnTo>
                      <a:pt x="156210" y="62865"/>
                    </a:lnTo>
                    <a:lnTo>
                      <a:pt x="151447" y="62865"/>
                    </a:lnTo>
                    <a:lnTo>
                      <a:pt x="146685" y="63818"/>
                    </a:lnTo>
                    <a:lnTo>
                      <a:pt x="142875" y="64770"/>
                    </a:lnTo>
                    <a:lnTo>
                      <a:pt x="139065" y="65722"/>
                    </a:lnTo>
                    <a:lnTo>
                      <a:pt x="135255" y="67627"/>
                    </a:lnTo>
                    <a:lnTo>
                      <a:pt x="131445" y="69532"/>
                    </a:lnTo>
                    <a:lnTo>
                      <a:pt x="127635" y="71438"/>
                    </a:lnTo>
                    <a:lnTo>
                      <a:pt x="124778" y="74295"/>
                    </a:lnTo>
                    <a:lnTo>
                      <a:pt x="121920" y="77152"/>
                    </a:lnTo>
                    <a:lnTo>
                      <a:pt x="119063" y="80010"/>
                    </a:lnTo>
                    <a:lnTo>
                      <a:pt x="116205" y="83820"/>
                    </a:lnTo>
                    <a:lnTo>
                      <a:pt x="113347" y="86677"/>
                    </a:lnTo>
                    <a:lnTo>
                      <a:pt x="110490" y="90488"/>
                    </a:lnTo>
                    <a:lnTo>
                      <a:pt x="107632" y="94297"/>
                    </a:lnTo>
                    <a:lnTo>
                      <a:pt x="105728" y="98107"/>
                    </a:lnTo>
                    <a:lnTo>
                      <a:pt x="101918" y="107632"/>
                    </a:lnTo>
                    <a:lnTo>
                      <a:pt x="99060" y="117157"/>
                    </a:lnTo>
                    <a:lnTo>
                      <a:pt x="96203" y="127635"/>
                    </a:lnTo>
                    <a:lnTo>
                      <a:pt x="94297" y="138113"/>
                    </a:lnTo>
                    <a:lnTo>
                      <a:pt x="92393" y="149543"/>
                    </a:lnTo>
                    <a:lnTo>
                      <a:pt x="91440" y="161925"/>
                    </a:lnTo>
                    <a:lnTo>
                      <a:pt x="90488" y="174308"/>
                    </a:lnTo>
                    <a:lnTo>
                      <a:pt x="90488" y="187643"/>
                    </a:lnTo>
                    <a:lnTo>
                      <a:pt x="90488" y="187643"/>
                    </a:lnTo>
                    <a:close/>
                    <a:moveTo>
                      <a:pt x="0" y="186690"/>
                    </a:moveTo>
                    <a:lnTo>
                      <a:pt x="0" y="173355"/>
                    </a:lnTo>
                    <a:lnTo>
                      <a:pt x="953" y="160972"/>
                    </a:lnTo>
                    <a:lnTo>
                      <a:pt x="1905" y="148590"/>
                    </a:lnTo>
                    <a:lnTo>
                      <a:pt x="2857" y="137160"/>
                    </a:lnTo>
                    <a:lnTo>
                      <a:pt x="4763" y="126682"/>
                    </a:lnTo>
                    <a:lnTo>
                      <a:pt x="7620" y="116205"/>
                    </a:lnTo>
                    <a:lnTo>
                      <a:pt x="10478" y="106680"/>
                    </a:lnTo>
                    <a:lnTo>
                      <a:pt x="13335" y="97155"/>
                    </a:lnTo>
                    <a:lnTo>
                      <a:pt x="17145" y="87630"/>
                    </a:lnTo>
                    <a:lnTo>
                      <a:pt x="20955" y="79057"/>
                    </a:lnTo>
                    <a:lnTo>
                      <a:pt x="24765" y="71438"/>
                    </a:lnTo>
                    <a:lnTo>
                      <a:pt x="29528" y="63818"/>
                    </a:lnTo>
                    <a:lnTo>
                      <a:pt x="34290" y="57150"/>
                    </a:lnTo>
                    <a:lnTo>
                      <a:pt x="40005" y="50482"/>
                    </a:lnTo>
                    <a:lnTo>
                      <a:pt x="45720" y="44768"/>
                    </a:lnTo>
                    <a:lnTo>
                      <a:pt x="51435" y="39052"/>
                    </a:lnTo>
                    <a:lnTo>
                      <a:pt x="57150" y="33338"/>
                    </a:lnTo>
                    <a:lnTo>
                      <a:pt x="63818" y="28575"/>
                    </a:lnTo>
                    <a:lnTo>
                      <a:pt x="69532" y="24765"/>
                    </a:lnTo>
                    <a:lnTo>
                      <a:pt x="76200" y="20955"/>
                    </a:lnTo>
                    <a:lnTo>
                      <a:pt x="82868" y="17145"/>
                    </a:lnTo>
                    <a:lnTo>
                      <a:pt x="89535" y="14288"/>
                    </a:lnTo>
                    <a:lnTo>
                      <a:pt x="96203" y="11430"/>
                    </a:lnTo>
                    <a:lnTo>
                      <a:pt x="102870" y="8572"/>
                    </a:lnTo>
                    <a:lnTo>
                      <a:pt x="109538" y="6668"/>
                    </a:lnTo>
                    <a:lnTo>
                      <a:pt x="116205" y="4763"/>
                    </a:lnTo>
                    <a:lnTo>
                      <a:pt x="122872" y="3810"/>
                    </a:lnTo>
                    <a:lnTo>
                      <a:pt x="130493" y="2857"/>
                    </a:lnTo>
                    <a:lnTo>
                      <a:pt x="137160" y="1905"/>
                    </a:lnTo>
                    <a:lnTo>
                      <a:pt x="144780" y="952"/>
                    </a:lnTo>
                    <a:lnTo>
                      <a:pt x="152400" y="0"/>
                    </a:lnTo>
                    <a:lnTo>
                      <a:pt x="160020" y="0"/>
                    </a:lnTo>
                    <a:lnTo>
                      <a:pt x="170497" y="0"/>
                    </a:lnTo>
                    <a:lnTo>
                      <a:pt x="180975" y="952"/>
                    </a:lnTo>
                    <a:lnTo>
                      <a:pt x="190500" y="1905"/>
                    </a:lnTo>
                    <a:lnTo>
                      <a:pt x="200025" y="3810"/>
                    </a:lnTo>
                    <a:lnTo>
                      <a:pt x="209550" y="6668"/>
                    </a:lnTo>
                    <a:lnTo>
                      <a:pt x="219075" y="9525"/>
                    </a:lnTo>
                    <a:lnTo>
                      <a:pt x="228600" y="13335"/>
                    </a:lnTo>
                    <a:lnTo>
                      <a:pt x="237172" y="17145"/>
                    </a:lnTo>
                    <a:lnTo>
                      <a:pt x="241935" y="19050"/>
                    </a:lnTo>
                    <a:lnTo>
                      <a:pt x="245745" y="21907"/>
                    </a:lnTo>
                    <a:lnTo>
                      <a:pt x="249555" y="24765"/>
                    </a:lnTo>
                    <a:lnTo>
                      <a:pt x="253365" y="27622"/>
                    </a:lnTo>
                    <a:lnTo>
                      <a:pt x="257175" y="30480"/>
                    </a:lnTo>
                    <a:lnTo>
                      <a:pt x="260985" y="33338"/>
                    </a:lnTo>
                    <a:lnTo>
                      <a:pt x="264795" y="37147"/>
                    </a:lnTo>
                    <a:lnTo>
                      <a:pt x="268605" y="40957"/>
                    </a:lnTo>
                    <a:lnTo>
                      <a:pt x="272415" y="44768"/>
                    </a:lnTo>
                    <a:lnTo>
                      <a:pt x="276225" y="48577"/>
                    </a:lnTo>
                    <a:lnTo>
                      <a:pt x="279082" y="52388"/>
                    </a:lnTo>
                    <a:lnTo>
                      <a:pt x="282893" y="57150"/>
                    </a:lnTo>
                    <a:lnTo>
                      <a:pt x="285750" y="61913"/>
                    </a:lnTo>
                    <a:lnTo>
                      <a:pt x="288607" y="66675"/>
                    </a:lnTo>
                    <a:lnTo>
                      <a:pt x="291465" y="71438"/>
                    </a:lnTo>
                    <a:lnTo>
                      <a:pt x="294322" y="76200"/>
                    </a:lnTo>
                    <a:lnTo>
                      <a:pt x="297180" y="81915"/>
                    </a:lnTo>
                    <a:lnTo>
                      <a:pt x="300038" y="87630"/>
                    </a:lnTo>
                    <a:lnTo>
                      <a:pt x="302895" y="93345"/>
                    </a:lnTo>
                    <a:lnTo>
                      <a:pt x="305753" y="99060"/>
                    </a:lnTo>
                    <a:lnTo>
                      <a:pt x="307657" y="104775"/>
                    </a:lnTo>
                    <a:lnTo>
                      <a:pt x="309563" y="111443"/>
                    </a:lnTo>
                    <a:lnTo>
                      <a:pt x="311468" y="118110"/>
                    </a:lnTo>
                    <a:lnTo>
                      <a:pt x="312420" y="124777"/>
                    </a:lnTo>
                    <a:lnTo>
                      <a:pt x="313372" y="131445"/>
                    </a:lnTo>
                    <a:lnTo>
                      <a:pt x="314325" y="139065"/>
                    </a:lnTo>
                    <a:lnTo>
                      <a:pt x="315278" y="146685"/>
                    </a:lnTo>
                    <a:lnTo>
                      <a:pt x="316230" y="154305"/>
                    </a:lnTo>
                    <a:lnTo>
                      <a:pt x="316230" y="161925"/>
                    </a:lnTo>
                    <a:lnTo>
                      <a:pt x="317182" y="170497"/>
                    </a:lnTo>
                    <a:lnTo>
                      <a:pt x="317182" y="179070"/>
                    </a:lnTo>
                    <a:lnTo>
                      <a:pt x="317182" y="187643"/>
                    </a:lnTo>
                    <a:lnTo>
                      <a:pt x="317182" y="196215"/>
                    </a:lnTo>
                    <a:lnTo>
                      <a:pt x="317182" y="204788"/>
                    </a:lnTo>
                    <a:lnTo>
                      <a:pt x="319088" y="212408"/>
                    </a:lnTo>
                    <a:lnTo>
                      <a:pt x="319088" y="220027"/>
                    </a:lnTo>
                    <a:lnTo>
                      <a:pt x="318135" y="227647"/>
                    </a:lnTo>
                    <a:lnTo>
                      <a:pt x="317182" y="235268"/>
                    </a:lnTo>
                    <a:lnTo>
                      <a:pt x="316230" y="242888"/>
                    </a:lnTo>
                    <a:lnTo>
                      <a:pt x="315278" y="250508"/>
                    </a:lnTo>
                    <a:lnTo>
                      <a:pt x="314325" y="257175"/>
                    </a:lnTo>
                    <a:lnTo>
                      <a:pt x="312420" y="263843"/>
                    </a:lnTo>
                    <a:lnTo>
                      <a:pt x="310515" y="270510"/>
                    </a:lnTo>
                    <a:lnTo>
                      <a:pt x="308610" y="277178"/>
                    </a:lnTo>
                    <a:lnTo>
                      <a:pt x="305753" y="282893"/>
                    </a:lnTo>
                    <a:lnTo>
                      <a:pt x="302895" y="288608"/>
                    </a:lnTo>
                    <a:lnTo>
                      <a:pt x="300038" y="294322"/>
                    </a:lnTo>
                    <a:lnTo>
                      <a:pt x="297180" y="300037"/>
                    </a:lnTo>
                    <a:lnTo>
                      <a:pt x="294322" y="305753"/>
                    </a:lnTo>
                    <a:lnTo>
                      <a:pt x="291465" y="310515"/>
                    </a:lnTo>
                    <a:lnTo>
                      <a:pt x="288607" y="315278"/>
                    </a:lnTo>
                    <a:lnTo>
                      <a:pt x="285750" y="320040"/>
                    </a:lnTo>
                    <a:lnTo>
                      <a:pt x="281940" y="323850"/>
                    </a:lnTo>
                    <a:lnTo>
                      <a:pt x="279082" y="327660"/>
                    </a:lnTo>
                    <a:lnTo>
                      <a:pt x="275272" y="331470"/>
                    </a:lnTo>
                    <a:lnTo>
                      <a:pt x="271463" y="335280"/>
                    </a:lnTo>
                    <a:lnTo>
                      <a:pt x="267653" y="339090"/>
                    </a:lnTo>
                    <a:lnTo>
                      <a:pt x="263843" y="341947"/>
                    </a:lnTo>
                    <a:lnTo>
                      <a:pt x="260032" y="344805"/>
                    </a:lnTo>
                    <a:lnTo>
                      <a:pt x="256222" y="347662"/>
                    </a:lnTo>
                    <a:lnTo>
                      <a:pt x="252413" y="350520"/>
                    </a:lnTo>
                    <a:lnTo>
                      <a:pt x="248603" y="353378"/>
                    </a:lnTo>
                    <a:lnTo>
                      <a:pt x="244793" y="356235"/>
                    </a:lnTo>
                    <a:lnTo>
                      <a:pt x="240982" y="358140"/>
                    </a:lnTo>
                    <a:lnTo>
                      <a:pt x="231457" y="361950"/>
                    </a:lnTo>
                    <a:lnTo>
                      <a:pt x="221932" y="364808"/>
                    </a:lnTo>
                    <a:lnTo>
                      <a:pt x="212407" y="367665"/>
                    </a:lnTo>
                    <a:lnTo>
                      <a:pt x="202882" y="370522"/>
                    </a:lnTo>
                    <a:lnTo>
                      <a:pt x="193357" y="372428"/>
                    </a:lnTo>
                    <a:lnTo>
                      <a:pt x="182880" y="373380"/>
                    </a:lnTo>
                    <a:lnTo>
                      <a:pt x="172403" y="374333"/>
                    </a:lnTo>
                    <a:lnTo>
                      <a:pt x="161925" y="374333"/>
                    </a:lnTo>
                    <a:lnTo>
                      <a:pt x="154305" y="374333"/>
                    </a:lnTo>
                    <a:lnTo>
                      <a:pt x="146685" y="373380"/>
                    </a:lnTo>
                    <a:lnTo>
                      <a:pt x="139065" y="372428"/>
                    </a:lnTo>
                    <a:lnTo>
                      <a:pt x="131445" y="371475"/>
                    </a:lnTo>
                    <a:lnTo>
                      <a:pt x="123825" y="370522"/>
                    </a:lnTo>
                    <a:lnTo>
                      <a:pt x="116205" y="368618"/>
                    </a:lnTo>
                    <a:lnTo>
                      <a:pt x="108585" y="365760"/>
                    </a:lnTo>
                    <a:lnTo>
                      <a:pt x="101918" y="362903"/>
                    </a:lnTo>
                    <a:lnTo>
                      <a:pt x="95250" y="360045"/>
                    </a:lnTo>
                    <a:lnTo>
                      <a:pt x="88582" y="357187"/>
                    </a:lnTo>
                    <a:lnTo>
                      <a:pt x="81915" y="353378"/>
                    </a:lnTo>
                    <a:lnTo>
                      <a:pt x="75247" y="349568"/>
                    </a:lnTo>
                    <a:lnTo>
                      <a:pt x="68580" y="345758"/>
                    </a:lnTo>
                    <a:lnTo>
                      <a:pt x="61913" y="341947"/>
                    </a:lnTo>
                    <a:lnTo>
                      <a:pt x="56197" y="337185"/>
                    </a:lnTo>
                    <a:lnTo>
                      <a:pt x="50482" y="332422"/>
                    </a:lnTo>
                    <a:lnTo>
                      <a:pt x="44768" y="326708"/>
                    </a:lnTo>
                    <a:lnTo>
                      <a:pt x="39053" y="320993"/>
                    </a:lnTo>
                    <a:lnTo>
                      <a:pt x="34290" y="314325"/>
                    </a:lnTo>
                    <a:lnTo>
                      <a:pt x="29528" y="307658"/>
                    </a:lnTo>
                    <a:lnTo>
                      <a:pt x="25718" y="300037"/>
                    </a:lnTo>
                    <a:lnTo>
                      <a:pt x="21907" y="291465"/>
                    </a:lnTo>
                    <a:lnTo>
                      <a:pt x="18097" y="283845"/>
                    </a:lnTo>
                    <a:lnTo>
                      <a:pt x="15240" y="274320"/>
                    </a:lnTo>
                    <a:lnTo>
                      <a:pt x="12382" y="264795"/>
                    </a:lnTo>
                    <a:lnTo>
                      <a:pt x="9525" y="255270"/>
                    </a:lnTo>
                    <a:lnTo>
                      <a:pt x="7620" y="244793"/>
                    </a:lnTo>
                    <a:lnTo>
                      <a:pt x="6668" y="234315"/>
                    </a:lnTo>
                    <a:lnTo>
                      <a:pt x="5715" y="222885"/>
                    </a:lnTo>
                    <a:lnTo>
                      <a:pt x="4763" y="211455"/>
                    </a:lnTo>
                    <a:lnTo>
                      <a:pt x="3810" y="199072"/>
                    </a:lnTo>
                    <a:lnTo>
                      <a:pt x="0" y="186690"/>
                    </a:lnTo>
                    <a:lnTo>
                      <a:pt x="0" y="18669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75B85D60-059E-4E30-A14C-365124224444}"/>
                  </a:ext>
                </a:extLst>
              </p:cNvPr>
              <p:cNvSpPr/>
              <p:nvPr/>
            </p:nvSpPr>
            <p:spPr>
              <a:xfrm>
                <a:off x="9002712" y="4132034"/>
                <a:ext cx="190500" cy="369569"/>
              </a:xfrm>
              <a:custGeom>
                <a:avLst/>
                <a:gdLst>
                  <a:gd name="connsiteX0" fmla="*/ 2857 w 190500"/>
                  <a:gd name="connsiteY0" fmla="*/ 369570 h 369569"/>
                  <a:gd name="connsiteX1" fmla="*/ 2857 w 190500"/>
                  <a:gd name="connsiteY1" fmla="*/ 65722 h 369569"/>
                  <a:gd name="connsiteX2" fmla="*/ 2857 w 190500"/>
                  <a:gd name="connsiteY2" fmla="*/ 56197 h 369569"/>
                  <a:gd name="connsiteX3" fmla="*/ 2857 w 190500"/>
                  <a:gd name="connsiteY3" fmla="*/ 47625 h 369569"/>
                  <a:gd name="connsiteX4" fmla="*/ 1905 w 190500"/>
                  <a:gd name="connsiteY4" fmla="*/ 40005 h 369569"/>
                  <a:gd name="connsiteX5" fmla="*/ 1905 w 190500"/>
                  <a:gd name="connsiteY5" fmla="*/ 31432 h 369569"/>
                  <a:gd name="connsiteX6" fmla="*/ 1905 w 190500"/>
                  <a:gd name="connsiteY6" fmla="*/ 24765 h 369569"/>
                  <a:gd name="connsiteX7" fmla="*/ 953 w 190500"/>
                  <a:gd name="connsiteY7" fmla="*/ 18097 h 369569"/>
                  <a:gd name="connsiteX8" fmla="*/ 953 w 190500"/>
                  <a:gd name="connsiteY8" fmla="*/ 11430 h 369569"/>
                  <a:gd name="connsiteX9" fmla="*/ 0 w 190500"/>
                  <a:gd name="connsiteY9" fmla="*/ 5715 h 369569"/>
                  <a:gd name="connsiteX10" fmla="*/ 78105 w 190500"/>
                  <a:gd name="connsiteY10" fmla="*/ 5715 h 369569"/>
                  <a:gd name="connsiteX11" fmla="*/ 79057 w 190500"/>
                  <a:gd name="connsiteY11" fmla="*/ 11430 h 369569"/>
                  <a:gd name="connsiteX12" fmla="*/ 79057 w 190500"/>
                  <a:gd name="connsiteY12" fmla="*/ 19050 h 369569"/>
                  <a:gd name="connsiteX13" fmla="*/ 80010 w 190500"/>
                  <a:gd name="connsiteY13" fmla="*/ 26670 h 369569"/>
                  <a:gd name="connsiteX14" fmla="*/ 80010 w 190500"/>
                  <a:gd name="connsiteY14" fmla="*/ 36195 h 369569"/>
                  <a:gd name="connsiteX15" fmla="*/ 80963 w 190500"/>
                  <a:gd name="connsiteY15" fmla="*/ 45720 h 369569"/>
                  <a:gd name="connsiteX16" fmla="*/ 80963 w 190500"/>
                  <a:gd name="connsiteY16" fmla="*/ 55245 h 369569"/>
                  <a:gd name="connsiteX17" fmla="*/ 80963 w 190500"/>
                  <a:gd name="connsiteY17" fmla="*/ 63818 h 369569"/>
                  <a:gd name="connsiteX18" fmla="*/ 80963 w 190500"/>
                  <a:gd name="connsiteY18" fmla="*/ 71438 h 369569"/>
                  <a:gd name="connsiteX19" fmla="*/ 82868 w 190500"/>
                  <a:gd name="connsiteY19" fmla="*/ 71438 h 369569"/>
                  <a:gd name="connsiteX20" fmla="*/ 85725 w 190500"/>
                  <a:gd name="connsiteY20" fmla="*/ 64770 h 369569"/>
                  <a:gd name="connsiteX21" fmla="*/ 89535 w 190500"/>
                  <a:gd name="connsiteY21" fmla="*/ 58102 h 369569"/>
                  <a:gd name="connsiteX22" fmla="*/ 92393 w 190500"/>
                  <a:gd name="connsiteY22" fmla="*/ 51435 h 369569"/>
                  <a:gd name="connsiteX23" fmla="*/ 97155 w 190500"/>
                  <a:gd name="connsiteY23" fmla="*/ 44768 h 369569"/>
                  <a:gd name="connsiteX24" fmla="*/ 100965 w 190500"/>
                  <a:gd name="connsiteY24" fmla="*/ 39052 h 369569"/>
                  <a:gd name="connsiteX25" fmla="*/ 105728 w 190500"/>
                  <a:gd name="connsiteY25" fmla="*/ 32385 h 369569"/>
                  <a:gd name="connsiteX26" fmla="*/ 111443 w 190500"/>
                  <a:gd name="connsiteY26" fmla="*/ 26670 h 369569"/>
                  <a:gd name="connsiteX27" fmla="*/ 117157 w 190500"/>
                  <a:gd name="connsiteY27" fmla="*/ 20955 h 369569"/>
                  <a:gd name="connsiteX28" fmla="*/ 120015 w 190500"/>
                  <a:gd name="connsiteY28" fmla="*/ 19050 h 369569"/>
                  <a:gd name="connsiteX29" fmla="*/ 122872 w 190500"/>
                  <a:gd name="connsiteY29" fmla="*/ 16193 h 369569"/>
                  <a:gd name="connsiteX30" fmla="*/ 125730 w 190500"/>
                  <a:gd name="connsiteY30" fmla="*/ 14288 h 369569"/>
                  <a:gd name="connsiteX31" fmla="*/ 128588 w 190500"/>
                  <a:gd name="connsiteY31" fmla="*/ 12382 h 369569"/>
                  <a:gd name="connsiteX32" fmla="*/ 132397 w 190500"/>
                  <a:gd name="connsiteY32" fmla="*/ 9525 h 369569"/>
                  <a:gd name="connsiteX33" fmla="*/ 136207 w 190500"/>
                  <a:gd name="connsiteY33" fmla="*/ 7620 h 369569"/>
                  <a:gd name="connsiteX34" fmla="*/ 140018 w 190500"/>
                  <a:gd name="connsiteY34" fmla="*/ 6668 h 369569"/>
                  <a:gd name="connsiteX35" fmla="*/ 142875 w 190500"/>
                  <a:gd name="connsiteY35" fmla="*/ 4763 h 369569"/>
                  <a:gd name="connsiteX36" fmla="*/ 146685 w 190500"/>
                  <a:gd name="connsiteY36" fmla="*/ 3810 h 369569"/>
                  <a:gd name="connsiteX37" fmla="*/ 150495 w 190500"/>
                  <a:gd name="connsiteY37" fmla="*/ 2857 h 369569"/>
                  <a:gd name="connsiteX38" fmla="*/ 154305 w 190500"/>
                  <a:gd name="connsiteY38" fmla="*/ 1905 h 369569"/>
                  <a:gd name="connsiteX39" fmla="*/ 159068 w 190500"/>
                  <a:gd name="connsiteY39" fmla="*/ 952 h 369569"/>
                  <a:gd name="connsiteX40" fmla="*/ 162878 w 190500"/>
                  <a:gd name="connsiteY40" fmla="*/ 0 h 369569"/>
                  <a:gd name="connsiteX41" fmla="*/ 167640 w 190500"/>
                  <a:gd name="connsiteY41" fmla="*/ 0 h 369569"/>
                  <a:gd name="connsiteX42" fmla="*/ 171450 w 190500"/>
                  <a:gd name="connsiteY42" fmla="*/ 0 h 369569"/>
                  <a:gd name="connsiteX43" fmla="*/ 176213 w 190500"/>
                  <a:gd name="connsiteY43" fmla="*/ 0 h 369569"/>
                  <a:gd name="connsiteX44" fmla="*/ 179070 w 190500"/>
                  <a:gd name="connsiteY44" fmla="*/ 0 h 369569"/>
                  <a:gd name="connsiteX45" fmla="*/ 182880 w 190500"/>
                  <a:gd name="connsiteY45" fmla="*/ 0 h 369569"/>
                  <a:gd name="connsiteX46" fmla="*/ 186690 w 190500"/>
                  <a:gd name="connsiteY46" fmla="*/ 952 h 369569"/>
                  <a:gd name="connsiteX47" fmla="*/ 190500 w 190500"/>
                  <a:gd name="connsiteY47" fmla="*/ 1905 h 369569"/>
                  <a:gd name="connsiteX48" fmla="*/ 190500 w 190500"/>
                  <a:gd name="connsiteY48" fmla="*/ 83820 h 369569"/>
                  <a:gd name="connsiteX49" fmla="*/ 184785 w 190500"/>
                  <a:gd name="connsiteY49" fmla="*/ 82868 h 369569"/>
                  <a:gd name="connsiteX50" fmla="*/ 178118 w 190500"/>
                  <a:gd name="connsiteY50" fmla="*/ 81915 h 369569"/>
                  <a:gd name="connsiteX51" fmla="*/ 172403 w 190500"/>
                  <a:gd name="connsiteY51" fmla="*/ 80963 h 369569"/>
                  <a:gd name="connsiteX52" fmla="*/ 165735 w 190500"/>
                  <a:gd name="connsiteY52" fmla="*/ 80010 h 369569"/>
                  <a:gd name="connsiteX53" fmla="*/ 161925 w 190500"/>
                  <a:gd name="connsiteY53" fmla="*/ 80963 h 369569"/>
                  <a:gd name="connsiteX54" fmla="*/ 158115 w 190500"/>
                  <a:gd name="connsiteY54" fmla="*/ 80963 h 369569"/>
                  <a:gd name="connsiteX55" fmla="*/ 154305 w 190500"/>
                  <a:gd name="connsiteY55" fmla="*/ 81915 h 369569"/>
                  <a:gd name="connsiteX56" fmla="*/ 150495 w 190500"/>
                  <a:gd name="connsiteY56" fmla="*/ 81915 h 369569"/>
                  <a:gd name="connsiteX57" fmla="*/ 146685 w 190500"/>
                  <a:gd name="connsiteY57" fmla="*/ 82868 h 369569"/>
                  <a:gd name="connsiteX58" fmla="*/ 143828 w 190500"/>
                  <a:gd name="connsiteY58" fmla="*/ 83820 h 369569"/>
                  <a:gd name="connsiteX59" fmla="*/ 140018 w 190500"/>
                  <a:gd name="connsiteY59" fmla="*/ 84772 h 369569"/>
                  <a:gd name="connsiteX60" fmla="*/ 137160 w 190500"/>
                  <a:gd name="connsiteY60" fmla="*/ 85725 h 369569"/>
                  <a:gd name="connsiteX61" fmla="*/ 133350 w 190500"/>
                  <a:gd name="connsiteY61" fmla="*/ 87630 h 369569"/>
                  <a:gd name="connsiteX62" fmla="*/ 130493 w 190500"/>
                  <a:gd name="connsiteY62" fmla="*/ 89535 h 369569"/>
                  <a:gd name="connsiteX63" fmla="*/ 127635 w 190500"/>
                  <a:gd name="connsiteY63" fmla="*/ 91440 h 369569"/>
                  <a:gd name="connsiteX64" fmla="*/ 123825 w 190500"/>
                  <a:gd name="connsiteY64" fmla="*/ 92393 h 369569"/>
                  <a:gd name="connsiteX65" fmla="*/ 118110 w 190500"/>
                  <a:gd name="connsiteY65" fmla="*/ 97155 h 369569"/>
                  <a:gd name="connsiteX66" fmla="*/ 112395 w 190500"/>
                  <a:gd name="connsiteY66" fmla="*/ 101918 h 369569"/>
                  <a:gd name="connsiteX67" fmla="*/ 109538 w 190500"/>
                  <a:gd name="connsiteY67" fmla="*/ 104775 h 369569"/>
                  <a:gd name="connsiteX68" fmla="*/ 107632 w 190500"/>
                  <a:gd name="connsiteY68" fmla="*/ 108585 h 369569"/>
                  <a:gd name="connsiteX69" fmla="*/ 104775 w 190500"/>
                  <a:gd name="connsiteY69" fmla="*/ 111443 h 369569"/>
                  <a:gd name="connsiteX70" fmla="*/ 102870 w 190500"/>
                  <a:gd name="connsiteY70" fmla="*/ 115252 h 369569"/>
                  <a:gd name="connsiteX71" fmla="*/ 100965 w 190500"/>
                  <a:gd name="connsiteY71" fmla="*/ 118110 h 369569"/>
                  <a:gd name="connsiteX72" fmla="*/ 99060 w 190500"/>
                  <a:gd name="connsiteY72" fmla="*/ 121920 h 369569"/>
                  <a:gd name="connsiteX73" fmla="*/ 97155 w 190500"/>
                  <a:gd name="connsiteY73" fmla="*/ 125730 h 369569"/>
                  <a:gd name="connsiteX74" fmla="*/ 95250 w 190500"/>
                  <a:gd name="connsiteY74" fmla="*/ 129540 h 369569"/>
                  <a:gd name="connsiteX75" fmla="*/ 94297 w 190500"/>
                  <a:gd name="connsiteY75" fmla="*/ 134302 h 369569"/>
                  <a:gd name="connsiteX76" fmla="*/ 93345 w 190500"/>
                  <a:gd name="connsiteY76" fmla="*/ 139065 h 369569"/>
                  <a:gd name="connsiteX77" fmla="*/ 92393 w 190500"/>
                  <a:gd name="connsiteY77" fmla="*/ 143827 h 369569"/>
                  <a:gd name="connsiteX78" fmla="*/ 91440 w 190500"/>
                  <a:gd name="connsiteY78" fmla="*/ 148590 h 369569"/>
                  <a:gd name="connsiteX79" fmla="*/ 91440 w 190500"/>
                  <a:gd name="connsiteY79" fmla="*/ 153352 h 369569"/>
                  <a:gd name="connsiteX80" fmla="*/ 90488 w 190500"/>
                  <a:gd name="connsiteY80" fmla="*/ 159068 h 369569"/>
                  <a:gd name="connsiteX81" fmla="*/ 90488 w 190500"/>
                  <a:gd name="connsiteY81" fmla="*/ 164783 h 369569"/>
                  <a:gd name="connsiteX82" fmla="*/ 90488 w 190500"/>
                  <a:gd name="connsiteY82" fmla="*/ 169545 h 369569"/>
                  <a:gd name="connsiteX83" fmla="*/ 90488 w 190500"/>
                  <a:gd name="connsiteY83" fmla="*/ 369570 h 369569"/>
                  <a:gd name="connsiteX84" fmla="*/ 2857 w 190500"/>
                  <a:gd name="connsiteY84" fmla="*/ 369570 h 369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190500" h="369569">
                    <a:moveTo>
                      <a:pt x="2857" y="369570"/>
                    </a:moveTo>
                    <a:lnTo>
                      <a:pt x="2857" y="65722"/>
                    </a:lnTo>
                    <a:lnTo>
                      <a:pt x="2857" y="56197"/>
                    </a:lnTo>
                    <a:lnTo>
                      <a:pt x="2857" y="47625"/>
                    </a:lnTo>
                    <a:lnTo>
                      <a:pt x="1905" y="40005"/>
                    </a:lnTo>
                    <a:lnTo>
                      <a:pt x="1905" y="31432"/>
                    </a:lnTo>
                    <a:lnTo>
                      <a:pt x="1905" y="24765"/>
                    </a:lnTo>
                    <a:lnTo>
                      <a:pt x="953" y="18097"/>
                    </a:lnTo>
                    <a:lnTo>
                      <a:pt x="953" y="11430"/>
                    </a:lnTo>
                    <a:lnTo>
                      <a:pt x="0" y="5715"/>
                    </a:lnTo>
                    <a:lnTo>
                      <a:pt x="78105" y="5715"/>
                    </a:lnTo>
                    <a:lnTo>
                      <a:pt x="79057" y="11430"/>
                    </a:lnTo>
                    <a:lnTo>
                      <a:pt x="79057" y="19050"/>
                    </a:lnTo>
                    <a:lnTo>
                      <a:pt x="80010" y="26670"/>
                    </a:lnTo>
                    <a:lnTo>
                      <a:pt x="80010" y="36195"/>
                    </a:lnTo>
                    <a:lnTo>
                      <a:pt x="80963" y="45720"/>
                    </a:lnTo>
                    <a:lnTo>
                      <a:pt x="80963" y="55245"/>
                    </a:lnTo>
                    <a:lnTo>
                      <a:pt x="80963" y="63818"/>
                    </a:lnTo>
                    <a:lnTo>
                      <a:pt x="80963" y="71438"/>
                    </a:lnTo>
                    <a:lnTo>
                      <a:pt x="82868" y="71438"/>
                    </a:lnTo>
                    <a:lnTo>
                      <a:pt x="85725" y="64770"/>
                    </a:lnTo>
                    <a:lnTo>
                      <a:pt x="89535" y="58102"/>
                    </a:lnTo>
                    <a:lnTo>
                      <a:pt x="92393" y="51435"/>
                    </a:lnTo>
                    <a:lnTo>
                      <a:pt x="97155" y="44768"/>
                    </a:lnTo>
                    <a:lnTo>
                      <a:pt x="100965" y="39052"/>
                    </a:lnTo>
                    <a:lnTo>
                      <a:pt x="105728" y="32385"/>
                    </a:lnTo>
                    <a:lnTo>
                      <a:pt x="111443" y="26670"/>
                    </a:lnTo>
                    <a:lnTo>
                      <a:pt x="117157" y="20955"/>
                    </a:lnTo>
                    <a:lnTo>
                      <a:pt x="120015" y="19050"/>
                    </a:lnTo>
                    <a:lnTo>
                      <a:pt x="122872" y="16193"/>
                    </a:lnTo>
                    <a:lnTo>
                      <a:pt x="125730" y="14288"/>
                    </a:lnTo>
                    <a:lnTo>
                      <a:pt x="128588" y="12382"/>
                    </a:lnTo>
                    <a:lnTo>
                      <a:pt x="132397" y="9525"/>
                    </a:lnTo>
                    <a:lnTo>
                      <a:pt x="136207" y="7620"/>
                    </a:lnTo>
                    <a:lnTo>
                      <a:pt x="140018" y="6668"/>
                    </a:lnTo>
                    <a:lnTo>
                      <a:pt x="142875" y="4763"/>
                    </a:lnTo>
                    <a:lnTo>
                      <a:pt x="146685" y="3810"/>
                    </a:lnTo>
                    <a:lnTo>
                      <a:pt x="150495" y="2857"/>
                    </a:lnTo>
                    <a:lnTo>
                      <a:pt x="154305" y="1905"/>
                    </a:lnTo>
                    <a:lnTo>
                      <a:pt x="159068" y="952"/>
                    </a:lnTo>
                    <a:lnTo>
                      <a:pt x="162878" y="0"/>
                    </a:lnTo>
                    <a:lnTo>
                      <a:pt x="167640" y="0"/>
                    </a:lnTo>
                    <a:lnTo>
                      <a:pt x="171450" y="0"/>
                    </a:lnTo>
                    <a:lnTo>
                      <a:pt x="176213" y="0"/>
                    </a:lnTo>
                    <a:lnTo>
                      <a:pt x="179070" y="0"/>
                    </a:lnTo>
                    <a:lnTo>
                      <a:pt x="182880" y="0"/>
                    </a:lnTo>
                    <a:lnTo>
                      <a:pt x="186690" y="952"/>
                    </a:lnTo>
                    <a:lnTo>
                      <a:pt x="190500" y="1905"/>
                    </a:lnTo>
                    <a:lnTo>
                      <a:pt x="190500" y="83820"/>
                    </a:lnTo>
                    <a:lnTo>
                      <a:pt x="184785" y="82868"/>
                    </a:lnTo>
                    <a:lnTo>
                      <a:pt x="178118" y="81915"/>
                    </a:lnTo>
                    <a:lnTo>
                      <a:pt x="172403" y="80963"/>
                    </a:lnTo>
                    <a:lnTo>
                      <a:pt x="165735" y="80010"/>
                    </a:lnTo>
                    <a:lnTo>
                      <a:pt x="161925" y="80963"/>
                    </a:lnTo>
                    <a:lnTo>
                      <a:pt x="158115" y="80963"/>
                    </a:lnTo>
                    <a:lnTo>
                      <a:pt x="154305" y="81915"/>
                    </a:lnTo>
                    <a:lnTo>
                      <a:pt x="150495" y="81915"/>
                    </a:lnTo>
                    <a:lnTo>
                      <a:pt x="146685" y="82868"/>
                    </a:lnTo>
                    <a:lnTo>
                      <a:pt x="143828" y="83820"/>
                    </a:lnTo>
                    <a:lnTo>
                      <a:pt x="140018" y="84772"/>
                    </a:lnTo>
                    <a:lnTo>
                      <a:pt x="137160" y="85725"/>
                    </a:lnTo>
                    <a:lnTo>
                      <a:pt x="133350" y="87630"/>
                    </a:lnTo>
                    <a:lnTo>
                      <a:pt x="130493" y="89535"/>
                    </a:lnTo>
                    <a:lnTo>
                      <a:pt x="127635" y="91440"/>
                    </a:lnTo>
                    <a:lnTo>
                      <a:pt x="123825" y="92393"/>
                    </a:lnTo>
                    <a:lnTo>
                      <a:pt x="118110" y="97155"/>
                    </a:lnTo>
                    <a:lnTo>
                      <a:pt x="112395" y="101918"/>
                    </a:lnTo>
                    <a:lnTo>
                      <a:pt x="109538" y="104775"/>
                    </a:lnTo>
                    <a:lnTo>
                      <a:pt x="107632" y="108585"/>
                    </a:lnTo>
                    <a:lnTo>
                      <a:pt x="104775" y="111443"/>
                    </a:lnTo>
                    <a:lnTo>
                      <a:pt x="102870" y="115252"/>
                    </a:lnTo>
                    <a:lnTo>
                      <a:pt x="100965" y="118110"/>
                    </a:lnTo>
                    <a:lnTo>
                      <a:pt x="99060" y="121920"/>
                    </a:lnTo>
                    <a:lnTo>
                      <a:pt x="97155" y="125730"/>
                    </a:lnTo>
                    <a:lnTo>
                      <a:pt x="95250" y="129540"/>
                    </a:lnTo>
                    <a:lnTo>
                      <a:pt x="94297" y="134302"/>
                    </a:lnTo>
                    <a:lnTo>
                      <a:pt x="93345" y="139065"/>
                    </a:lnTo>
                    <a:lnTo>
                      <a:pt x="92393" y="143827"/>
                    </a:lnTo>
                    <a:lnTo>
                      <a:pt x="91440" y="148590"/>
                    </a:lnTo>
                    <a:lnTo>
                      <a:pt x="91440" y="153352"/>
                    </a:lnTo>
                    <a:lnTo>
                      <a:pt x="90488" y="159068"/>
                    </a:lnTo>
                    <a:lnTo>
                      <a:pt x="90488" y="164783"/>
                    </a:lnTo>
                    <a:lnTo>
                      <a:pt x="90488" y="169545"/>
                    </a:lnTo>
                    <a:lnTo>
                      <a:pt x="90488" y="369570"/>
                    </a:lnTo>
                    <a:lnTo>
                      <a:pt x="2857" y="36957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0536B040-BD7C-4073-F9FE-765D05EB4668}"/>
                  </a:ext>
                </a:extLst>
              </p:cNvPr>
              <p:cNvSpPr/>
              <p:nvPr/>
            </p:nvSpPr>
            <p:spPr>
              <a:xfrm>
                <a:off x="9226549" y="3972014"/>
                <a:ext cx="87630" cy="529590"/>
              </a:xfrm>
              <a:custGeom>
                <a:avLst/>
                <a:gdLst>
                  <a:gd name="connsiteX0" fmla="*/ 0 w 87630"/>
                  <a:gd name="connsiteY0" fmla="*/ 529590 h 529590"/>
                  <a:gd name="connsiteX1" fmla="*/ 0 w 87630"/>
                  <a:gd name="connsiteY1" fmla="*/ 0 h 529590"/>
                  <a:gd name="connsiteX2" fmla="*/ 87630 w 87630"/>
                  <a:gd name="connsiteY2" fmla="*/ 0 h 529590"/>
                  <a:gd name="connsiteX3" fmla="*/ 87630 w 87630"/>
                  <a:gd name="connsiteY3" fmla="*/ 529590 h 529590"/>
                  <a:gd name="connsiteX4" fmla="*/ 0 w 87630"/>
                  <a:gd name="connsiteY4" fmla="*/ 529590 h 529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630" h="529590">
                    <a:moveTo>
                      <a:pt x="0" y="529590"/>
                    </a:moveTo>
                    <a:lnTo>
                      <a:pt x="0" y="0"/>
                    </a:lnTo>
                    <a:lnTo>
                      <a:pt x="87630" y="0"/>
                    </a:lnTo>
                    <a:lnTo>
                      <a:pt x="87630" y="529590"/>
                    </a:lnTo>
                    <a:lnTo>
                      <a:pt x="0" y="52959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43429802-1B45-B646-D0D3-FA7B4AFCACCF}"/>
                  </a:ext>
                </a:extLst>
              </p:cNvPr>
              <p:cNvSpPr/>
              <p:nvPr/>
            </p:nvSpPr>
            <p:spPr>
              <a:xfrm>
                <a:off x="9359899" y="3972014"/>
                <a:ext cx="310515" cy="533400"/>
              </a:xfrm>
              <a:custGeom>
                <a:avLst/>
                <a:gdLst>
                  <a:gd name="connsiteX0" fmla="*/ 220980 w 310515"/>
                  <a:gd name="connsiteY0" fmla="*/ 0 h 533400"/>
                  <a:gd name="connsiteX1" fmla="*/ 307657 w 310515"/>
                  <a:gd name="connsiteY1" fmla="*/ 0 h 533400"/>
                  <a:gd name="connsiteX2" fmla="*/ 307657 w 310515"/>
                  <a:gd name="connsiteY2" fmla="*/ 466725 h 533400"/>
                  <a:gd name="connsiteX3" fmla="*/ 307657 w 310515"/>
                  <a:gd name="connsiteY3" fmla="*/ 477203 h 533400"/>
                  <a:gd name="connsiteX4" fmla="*/ 308610 w 310515"/>
                  <a:gd name="connsiteY4" fmla="*/ 486728 h 533400"/>
                  <a:gd name="connsiteX5" fmla="*/ 308610 w 310515"/>
                  <a:gd name="connsiteY5" fmla="*/ 496253 h 533400"/>
                  <a:gd name="connsiteX6" fmla="*/ 308610 w 310515"/>
                  <a:gd name="connsiteY6" fmla="*/ 504825 h 533400"/>
                  <a:gd name="connsiteX7" fmla="*/ 308610 w 310515"/>
                  <a:gd name="connsiteY7" fmla="*/ 512445 h 533400"/>
                  <a:gd name="connsiteX8" fmla="*/ 308610 w 310515"/>
                  <a:gd name="connsiteY8" fmla="*/ 519113 h 533400"/>
                  <a:gd name="connsiteX9" fmla="*/ 309563 w 310515"/>
                  <a:gd name="connsiteY9" fmla="*/ 524828 h 533400"/>
                  <a:gd name="connsiteX10" fmla="*/ 310515 w 310515"/>
                  <a:gd name="connsiteY10" fmla="*/ 529590 h 533400"/>
                  <a:gd name="connsiteX11" fmla="*/ 228600 w 310515"/>
                  <a:gd name="connsiteY11" fmla="*/ 529590 h 533400"/>
                  <a:gd name="connsiteX12" fmla="*/ 227647 w 310515"/>
                  <a:gd name="connsiteY12" fmla="*/ 522923 h 533400"/>
                  <a:gd name="connsiteX13" fmla="*/ 226695 w 310515"/>
                  <a:gd name="connsiteY13" fmla="*/ 516255 h 533400"/>
                  <a:gd name="connsiteX14" fmla="*/ 226695 w 310515"/>
                  <a:gd name="connsiteY14" fmla="*/ 509588 h 533400"/>
                  <a:gd name="connsiteX15" fmla="*/ 226695 w 310515"/>
                  <a:gd name="connsiteY15" fmla="*/ 502920 h 533400"/>
                  <a:gd name="connsiteX16" fmla="*/ 226695 w 310515"/>
                  <a:gd name="connsiteY16" fmla="*/ 496253 h 533400"/>
                  <a:gd name="connsiteX17" fmla="*/ 226695 w 310515"/>
                  <a:gd name="connsiteY17" fmla="*/ 488632 h 533400"/>
                  <a:gd name="connsiteX18" fmla="*/ 226695 w 310515"/>
                  <a:gd name="connsiteY18" fmla="*/ 481013 h 533400"/>
                  <a:gd name="connsiteX19" fmla="*/ 226695 w 310515"/>
                  <a:gd name="connsiteY19" fmla="*/ 472440 h 533400"/>
                  <a:gd name="connsiteX20" fmla="*/ 223838 w 310515"/>
                  <a:gd name="connsiteY20" fmla="*/ 472440 h 533400"/>
                  <a:gd name="connsiteX21" fmla="*/ 220028 w 310515"/>
                  <a:gd name="connsiteY21" fmla="*/ 480060 h 533400"/>
                  <a:gd name="connsiteX22" fmla="*/ 216218 w 310515"/>
                  <a:gd name="connsiteY22" fmla="*/ 486728 h 533400"/>
                  <a:gd name="connsiteX23" fmla="*/ 211455 w 310515"/>
                  <a:gd name="connsiteY23" fmla="*/ 493395 h 533400"/>
                  <a:gd name="connsiteX24" fmla="*/ 206693 w 310515"/>
                  <a:gd name="connsiteY24" fmla="*/ 499110 h 533400"/>
                  <a:gd name="connsiteX25" fmla="*/ 201930 w 310515"/>
                  <a:gd name="connsiteY25" fmla="*/ 504825 h 533400"/>
                  <a:gd name="connsiteX26" fmla="*/ 196215 w 310515"/>
                  <a:gd name="connsiteY26" fmla="*/ 509588 h 533400"/>
                  <a:gd name="connsiteX27" fmla="*/ 190500 w 310515"/>
                  <a:gd name="connsiteY27" fmla="*/ 514350 h 533400"/>
                  <a:gd name="connsiteX28" fmla="*/ 184785 w 310515"/>
                  <a:gd name="connsiteY28" fmla="*/ 518160 h 533400"/>
                  <a:gd name="connsiteX29" fmla="*/ 178118 w 310515"/>
                  <a:gd name="connsiteY29" fmla="*/ 521970 h 533400"/>
                  <a:gd name="connsiteX30" fmla="*/ 171450 w 310515"/>
                  <a:gd name="connsiteY30" fmla="*/ 524828 h 533400"/>
                  <a:gd name="connsiteX31" fmla="*/ 164782 w 310515"/>
                  <a:gd name="connsiteY31" fmla="*/ 527685 h 533400"/>
                  <a:gd name="connsiteX32" fmla="*/ 158115 w 310515"/>
                  <a:gd name="connsiteY32" fmla="*/ 529590 h 533400"/>
                  <a:gd name="connsiteX33" fmla="*/ 150495 w 310515"/>
                  <a:gd name="connsiteY33" fmla="*/ 531495 h 533400"/>
                  <a:gd name="connsiteX34" fmla="*/ 142875 w 310515"/>
                  <a:gd name="connsiteY34" fmla="*/ 532448 h 533400"/>
                  <a:gd name="connsiteX35" fmla="*/ 135255 w 310515"/>
                  <a:gd name="connsiteY35" fmla="*/ 533400 h 533400"/>
                  <a:gd name="connsiteX36" fmla="*/ 126682 w 310515"/>
                  <a:gd name="connsiteY36" fmla="*/ 533400 h 533400"/>
                  <a:gd name="connsiteX37" fmla="*/ 119063 w 310515"/>
                  <a:gd name="connsiteY37" fmla="*/ 533400 h 533400"/>
                  <a:gd name="connsiteX38" fmla="*/ 111443 w 310515"/>
                  <a:gd name="connsiteY38" fmla="*/ 532448 h 533400"/>
                  <a:gd name="connsiteX39" fmla="*/ 103822 w 310515"/>
                  <a:gd name="connsiteY39" fmla="*/ 531495 h 533400"/>
                  <a:gd name="connsiteX40" fmla="*/ 96203 w 310515"/>
                  <a:gd name="connsiteY40" fmla="*/ 530543 h 533400"/>
                  <a:gd name="connsiteX41" fmla="*/ 89535 w 310515"/>
                  <a:gd name="connsiteY41" fmla="*/ 528638 h 533400"/>
                  <a:gd name="connsiteX42" fmla="*/ 82868 w 310515"/>
                  <a:gd name="connsiteY42" fmla="*/ 525780 h 533400"/>
                  <a:gd name="connsiteX43" fmla="*/ 76200 w 310515"/>
                  <a:gd name="connsiteY43" fmla="*/ 522923 h 533400"/>
                  <a:gd name="connsiteX44" fmla="*/ 69532 w 310515"/>
                  <a:gd name="connsiteY44" fmla="*/ 520065 h 533400"/>
                  <a:gd name="connsiteX45" fmla="*/ 63818 w 310515"/>
                  <a:gd name="connsiteY45" fmla="*/ 516255 h 533400"/>
                  <a:gd name="connsiteX46" fmla="*/ 58103 w 310515"/>
                  <a:gd name="connsiteY46" fmla="*/ 512445 h 533400"/>
                  <a:gd name="connsiteX47" fmla="*/ 52388 w 310515"/>
                  <a:gd name="connsiteY47" fmla="*/ 508635 h 533400"/>
                  <a:gd name="connsiteX48" fmla="*/ 47625 w 310515"/>
                  <a:gd name="connsiteY48" fmla="*/ 503873 h 533400"/>
                  <a:gd name="connsiteX49" fmla="*/ 42863 w 310515"/>
                  <a:gd name="connsiteY49" fmla="*/ 499110 h 533400"/>
                  <a:gd name="connsiteX50" fmla="*/ 38100 w 310515"/>
                  <a:gd name="connsiteY50" fmla="*/ 493395 h 533400"/>
                  <a:gd name="connsiteX51" fmla="*/ 33338 w 310515"/>
                  <a:gd name="connsiteY51" fmla="*/ 487680 h 533400"/>
                  <a:gd name="connsiteX52" fmla="*/ 29528 w 310515"/>
                  <a:gd name="connsiteY52" fmla="*/ 481013 h 533400"/>
                  <a:gd name="connsiteX53" fmla="*/ 25718 w 310515"/>
                  <a:gd name="connsiteY53" fmla="*/ 474345 h 533400"/>
                  <a:gd name="connsiteX54" fmla="*/ 21907 w 310515"/>
                  <a:gd name="connsiteY54" fmla="*/ 467678 h 533400"/>
                  <a:gd name="connsiteX55" fmla="*/ 19050 w 310515"/>
                  <a:gd name="connsiteY55" fmla="*/ 461010 h 533400"/>
                  <a:gd name="connsiteX56" fmla="*/ 16193 w 310515"/>
                  <a:gd name="connsiteY56" fmla="*/ 453390 h 533400"/>
                  <a:gd name="connsiteX57" fmla="*/ 13335 w 310515"/>
                  <a:gd name="connsiteY57" fmla="*/ 445770 h 533400"/>
                  <a:gd name="connsiteX58" fmla="*/ 10478 w 310515"/>
                  <a:gd name="connsiteY58" fmla="*/ 438150 h 533400"/>
                  <a:gd name="connsiteX59" fmla="*/ 8572 w 310515"/>
                  <a:gd name="connsiteY59" fmla="*/ 430530 h 533400"/>
                  <a:gd name="connsiteX60" fmla="*/ 6668 w 310515"/>
                  <a:gd name="connsiteY60" fmla="*/ 421957 h 533400"/>
                  <a:gd name="connsiteX61" fmla="*/ 4763 w 310515"/>
                  <a:gd name="connsiteY61" fmla="*/ 413385 h 533400"/>
                  <a:gd name="connsiteX62" fmla="*/ 3810 w 310515"/>
                  <a:gd name="connsiteY62" fmla="*/ 404813 h 533400"/>
                  <a:gd name="connsiteX63" fmla="*/ 2857 w 310515"/>
                  <a:gd name="connsiteY63" fmla="*/ 396240 h 533400"/>
                  <a:gd name="connsiteX64" fmla="*/ 1905 w 310515"/>
                  <a:gd name="connsiteY64" fmla="*/ 386715 h 533400"/>
                  <a:gd name="connsiteX65" fmla="*/ 953 w 310515"/>
                  <a:gd name="connsiteY65" fmla="*/ 377190 h 533400"/>
                  <a:gd name="connsiteX66" fmla="*/ 0 w 310515"/>
                  <a:gd name="connsiteY66" fmla="*/ 367665 h 533400"/>
                  <a:gd name="connsiteX67" fmla="*/ 0 w 310515"/>
                  <a:gd name="connsiteY67" fmla="*/ 357188 h 533400"/>
                  <a:gd name="connsiteX68" fmla="*/ 0 w 310515"/>
                  <a:gd name="connsiteY68" fmla="*/ 346710 h 533400"/>
                  <a:gd name="connsiteX69" fmla="*/ 0 w 310515"/>
                  <a:gd name="connsiteY69" fmla="*/ 332423 h 533400"/>
                  <a:gd name="connsiteX70" fmla="*/ 953 w 310515"/>
                  <a:gd name="connsiteY70" fmla="*/ 318135 h 533400"/>
                  <a:gd name="connsiteX71" fmla="*/ 1905 w 310515"/>
                  <a:gd name="connsiteY71" fmla="*/ 304800 h 533400"/>
                  <a:gd name="connsiteX72" fmla="*/ 3810 w 310515"/>
                  <a:gd name="connsiteY72" fmla="*/ 291465 h 533400"/>
                  <a:gd name="connsiteX73" fmla="*/ 5715 w 310515"/>
                  <a:gd name="connsiteY73" fmla="*/ 279083 h 533400"/>
                  <a:gd name="connsiteX74" fmla="*/ 8572 w 310515"/>
                  <a:gd name="connsiteY74" fmla="*/ 266700 h 533400"/>
                  <a:gd name="connsiteX75" fmla="*/ 11430 w 310515"/>
                  <a:gd name="connsiteY75" fmla="*/ 255270 h 533400"/>
                  <a:gd name="connsiteX76" fmla="*/ 15240 w 310515"/>
                  <a:gd name="connsiteY76" fmla="*/ 244792 h 533400"/>
                  <a:gd name="connsiteX77" fmla="*/ 19050 w 310515"/>
                  <a:gd name="connsiteY77" fmla="*/ 234315 h 533400"/>
                  <a:gd name="connsiteX78" fmla="*/ 22860 w 310515"/>
                  <a:gd name="connsiteY78" fmla="*/ 224790 h 533400"/>
                  <a:gd name="connsiteX79" fmla="*/ 27622 w 310515"/>
                  <a:gd name="connsiteY79" fmla="*/ 216217 h 533400"/>
                  <a:gd name="connsiteX80" fmla="*/ 33338 w 310515"/>
                  <a:gd name="connsiteY80" fmla="*/ 207645 h 533400"/>
                  <a:gd name="connsiteX81" fmla="*/ 36195 w 310515"/>
                  <a:gd name="connsiteY81" fmla="*/ 203835 h 533400"/>
                  <a:gd name="connsiteX82" fmla="*/ 39053 w 310515"/>
                  <a:gd name="connsiteY82" fmla="*/ 200025 h 533400"/>
                  <a:gd name="connsiteX83" fmla="*/ 41910 w 310515"/>
                  <a:gd name="connsiteY83" fmla="*/ 196215 h 533400"/>
                  <a:gd name="connsiteX84" fmla="*/ 44768 w 310515"/>
                  <a:gd name="connsiteY84" fmla="*/ 192405 h 533400"/>
                  <a:gd name="connsiteX85" fmla="*/ 47625 w 310515"/>
                  <a:gd name="connsiteY85" fmla="*/ 189548 h 533400"/>
                  <a:gd name="connsiteX86" fmla="*/ 50482 w 310515"/>
                  <a:gd name="connsiteY86" fmla="*/ 186690 h 533400"/>
                  <a:gd name="connsiteX87" fmla="*/ 54293 w 310515"/>
                  <a:gd name="connsiteY87" fmla="*/ 183833 h 533400"/>
                  <a:gd name="connsiteX88" fmla="*/ 58103 w 310515"/>
                  <a:gd name="connsiteY88" fmla="*/ 180975 h 533400"/>
                  <a:gd name="connsiteX89" fmla="*/ 61913 w 310515"/>
                  <a:gd name="connsiteY89" fmla="*/ 178117 h 533400"/>
                  <a:gd name="connsiteX90" fmla="*/ 65722 w 310515"/>
                  <a:gd name="connsiteY90" fmla="*/ 175260 h 533400"/>
                  <a:gd name="connsiteX91" fmla="*/ 69532 w 310515"/>
                  <a:gd name="connsiteY91" fmla="*/ 173355 h 533400"/>
                  <a:gd name="connsiteX92" fmla="*/ 73343 w 310515"/>
                  <a:gd name="connsiteY92" fmla="*/ 171450 h 533400"/>
                  <a:gd name="connsiteX93" fmla="*/ 77153 w 310515"/>
                  <a:gd name="connsiteY93" fmla="*/ 169545 h 533400"/>
                  <a:gd name="connsiteX94" fmla="*/ 80963 w 310515"/>
                  <a:gd name="connsiteY94" fmla="*/ 167640 h 533400"/>
                  <a:gd name="connsiteX95" fmla="*/ 84772 w 310515"/>
                  <a:gd name="connsiteY95" fmla="*/ 165735 h 533400"/>
                  <a:gd name="connsiteX96" fmla="*/ 88582 w 310515"/>
                  <a:gd name="connsiteY96" fmla="*/ 164783 h 533400"/>
                  <a:gd name="connsiteX97" fmla="*/ 92393 w 310515"/>
                  <a:gd name="connsiteY97" fmla="*/ 163830 h 533400"/>
                  <a:gd name="connsiteX98" fmla="*/ 96203 w 310515"/>
                  <a:gd name="connsiteY98" fmla="*/ 162878 h 533400"/>
                  <a:gd name="connsiteX99" fmla="*/ 100965 w 310515"/>
                  <a:gd name="connsiteY99" fmla="*/ 161925 h 533400"/>
                  <a:gd name="connsiteX100" fmla="*/ 104775 w 310515"/>
                  <a:gd name="connsiteY100" fmla="*/ 160973 h 533400"/>
                  <a:gd name="connsiteX101" fmla="*/ 109538 w 310515"/>
                  <a:gd name="connsiteY101" fmla="*/ 160020 h 533400"/>
                  <a:gd name="connsiteX102" fmla="*/ 114300 w 310515"/>
                  <a:gd name="connsiteY102" fmla="*/ 160020 h 533400"/>
                  <a:gd name="connsiteX103" fmla="*/ 119063 w 310515"/>
                  <a:gd name="connsiteY103" fmla="*/ 160020 h 533400"/>
                  <a:gd name="connsiteX104" fmla="*/ 123825 w 310515"/>
                  <a:gd name="connsiteY104" fmla="*/ 160020 h 533400"/>
                  <a:gd name="connsiteX105" fmla="*/ 132397 w 310515"/>
                  <a:gd name="connsiteY105" fmla="*/ 160020 h 533400"/>
                  <a:gd name="connsiteX106" fmla="*/ 140970 w 310515"/>
                  <a:gd name="connsiteY106" fmla="*/ 160973 h 533400"/>
                  <a:gd name="connsiteX107" fmla="*/ 149543 w 310515"/>
                  <a:gd name="connsiteY107" fmla="*/ 161925 h 533400"/>
                  <a:gd name="connsiteX108" fmla="*/ 157163 w 310515"/>
                  <a:gd name="connsiteY108" fmla="*/ 163830 h 533400"/>
                  <a:gd name="connsiteX109" fmla="*/ 164782 w 310515"/>
                  <a:gd name="connsiteY109" fmla="*/ 166688 h 533400"/>
                  <a:gd name="connsiteX110" fmla="*/ 171450 w 310515"/>
                  <a:gd name="connsiteY110" fmla="*/ 169545 h 533400"/>
                  <a:gd name="connsiteX111" fmla="*/ 178118 w 310515"/>
                  <a:gd name="connsiteY111" fmla="*/ 173355 h 533400"/>
                  <a:gd name="connsiteX112" fmla="*/ 183832 w 310515"/>
                  <a:gd name="connsiteY112" fmla="*/ 177165 h 533400"/>
                  <a:gd name="connsiteX113" fmla="*/ 189547 w 310515"/>
                  <a:gd name="connsiteY113" fmla="*/ 181928 h 533400"/>
                  <a:gd name="connsiteX114" fmla="*/ 195263 w 310515"/>
                  <a:gd name="connsiteY114" fmla="*/ 186690 h 533400"/>
                  <a:gd name="connsiteX115" fmla="*/ 200025 w 310515"/>
                  <a:gd name="connsiteY115" fmla="*/ 191453 h 533400"/>
                  <a:gd name="connsiteX116" fmla="*/ 203835 w 310515"/>
                  <a:gd name="connsiteY116" fmla="*/ 196215 h 533400"/>
                  <a:gd name="connsiteX117" fmla="*/ 207645 w 310515"/>
                  <a:gd name="connsiteY117" fmla="*/ 201930 h 533400"/>
                  <a:gd name="connsiteX118" fmla="*/ 211455 w 310515"/>
                  <a:gd name="connsiteY118" fmla="*/ 207645 h 533400"/>
                  <a:gd name="connsiteX119" fmla="*/ 215265 w 310515"/>
                  <a:gd name="connsiteY119" fmla="*/ 213360 h 533400"/>
                  <a:gd name="connsiteX120" fmla="*/ 218122 w 310515"/>
                  <a:gd name="connsiteY120" fmla="*/ 219075 h 533400"/>
                  <a:gd name="connsiteX121" fmla="*/ 220028 w 310515"/>
                  <a:gd name="connsiteY121" fmla="*/ 219075 h 533400"/>
                  <a:gd name="connsiteX122" fmla="*/ 220028 w 310515"/>
                  <a:gd name="connsiteY122" fmla="*/ 0 h 533400"/>
                  <a:gd name="connsiteX123" fmla="*/ 220980 w 310515"/>
                  <a:gd name="connsiteY123" fmla="*/ 0 h 533400"/>
                  <a:gd name="connsiteX124" fmla="*/ 87630 w 310515"/>
                  <a:gd name="connsiteY124" fmla="*/ 343853 h 533400"/>
                  <a:gd name="connsiteX125" fmla="*/ 87630 w 310515"/>
                  <a:gd name="connsiteY125" fmla="*/ 354330 h 533400"/>
                  <a:gd name="connsiteX126" fmla="*/ 87630 w 310515"/>
                  <a:gd name="connsiteY126" fmla="*/ 364808 h 533400"/>
                  <a:gd name="connsiteX127" fmla="*/ 87630 w 310515"/>
                  <a:gd name="connsiteY127" fmla="*/ 374333 h 533400"/>
                  <a:gd name="connsiteX128" fmla="*/ 88582 w 310515"/>
                  <a:gd name="connsiteY128" fmla="*/ 383858 h 533400"/>
                  <a:gd name="connsiteX129" fmla="*/ 89535 w 310515"/>
                  <a:gd name="connsiteY129" fmla="*/ 392430 h 533400"/>
                  <a:gd name="connsiteX130" fmla="*/ 90488 w 310515"/>
                  <a:gd name="connsiteY130" fmla="*/ 401003 h 533400"/>
                  <a:gd name="connsiteX131" fmla="*/ 91440 w 310515"/>
                  <a:gd name="connsiteY131" fmla="*/ 408623 h 533400"/>
                  <a:gd name="connsiteX132" fmla="*/ 92393 w 310515"/>
                  <a:gd name="connsiteY132" fmla="*/ 415290 h 533400"/>
                  <a:gd name="connsiteX133" fmla="*/ 94297 w 310515"/>
                  <a:gd name="connsiteY133" fmla="*/ 421957 h 533400"/>
                  <a:gd name="connsiteX134" fmla="*/ 96203 w 310515"/>
                  <a:gd name="connsiteY134" fmla="*/ 427673 h 533400"/>
                  <a:gd name="connsiteX135" fmla="*/ 98107 w 310515"/>
                  <a:gd name="connsiteY135" fmla="*/ 433388 h 533400"/>
                  <a:gd name="connsiteX136" fmla="*/ 100013 w 310515"/>
                  <a:gd name="connsiteY136" fmla="*/ 439103 h 533400"/>
                  <a:gd name="connsiteX137" fmla="*/ 102870 w 310515"/>
                  <a:gd name="connsiteY137" fmla="*/ 443865 h 533400"/>
                  <a:gd name="connsiteX138" fmla="*/ 105728 w 310515"/>
                  <a:gd name="connsiteY138" fmla="*/ 448628 h 533400"/>
                  <a:gd name="connsiteX139" fmla="*/ 108585 w 310515"/>
                  <a:gd name="connsiteY139" fmla="*/ 452438 h 533400"/>
                  <a:gd name="connsiteX140" fmla="*/ 111443 w 310515"/>
                  <a:gd name="connsiteY140" fmla="*/ 456248 h 533400"/>
                  <a:gd name="connsiteX141" fmla="*/ 115253 w 310515"/>
                  <a:gd name="connsiteY141" fmla="*/ 459105 h 533400"/>
                  <a:gd name="connsiteX142" fmla="*/ 119063 w 310515"/>
                  <a:gd name="connsiteY142" fmla="*/ 461963 h 533400"/>
                  <a:gd name="connsiteX143" fmla="*/ 122872 w 310515"/>
                  <a:gd name="connsiteY143" fmla="*/ 464820 h 533400"/>
                  <a:gd name="connsiteX144" fmla="*/ 127635 w 310515"/>
                  <a:gd name="connsiteY144" fmla="*/ 466725 h 533400"/>
                  <a:gd name="connsiteX145" fmla="*/ 132397 w 310515"/>
                  <a:gd name="connsiteY145" fmla="*/ 467678 h 533400"/>
                  <a:gd name="connsiteX146" fmla="*/ 138113 w 310515"/>
                  <a:gd name="connsiteY146" fmla="*/ 468630 h 533400"/>
                  <a:gd name="connsiteX147" fmla="*/ 143828 w 310515"/>
                  <a:gd name="connsiteY147" fmla="*/ 469582 h 533400"/>
                  <a:gd name="connsiteX148" fmla="*/ 150495 w 310515"/>
                  <a:gd name="connsiteY148" fmla="*/ 469582 h 533400"/>
                  <a:gd name="connsiteX149" fmla="*/ 154305 w 310515"/>
                  <a:gd name="connsiteY149" fmla="*/ 469582 h 533400"/>
                  <a:gd name="connsiteX150" fmla="*/ 158115 w 310515"/>
                  <a:gd name="connsiteY150" fmla="*/ 469582 h 533400"/>
                  <a:gd name="connsiteX151" fmla="*/ 161925 w 310515"/>
                  <a:gd name="connsiteY151" fmla="*/ 468630 h 533400"/>
                  <a:gd name="connsiteX152" fmla="*/ 165735 w 310515"/>
                  <a:gd name="connsiteY152" fmla="*/ 467678 h 533400"/>
                  <a:gd name="connsiteX153" fmla="*/ 169545 w 310515"/>
                  <a:gd name="connsiteY153" fmla="*/ 466725 h 533400"/>
                  <a:gd name="connsiteX154" fmla="*/ 173355 w 310515"/>
                  <a:gd name="connsiteY154" fmla="*/ 465773 h 533400"/>
                  <a:gd name="connsiteX155" fmla="*/ 177165 w 310515"/>
                  <a:gd name="connsiteY155" fmla="*/ 463868 h 533400"/>
                  <a:gd name="connsiteX156" fmla="*/ 180975 w 310515"/>
                  <a:gd name="connsiteY156" fmla="*/ 461963 h 533400"/>
                  <a:gd name="connsiteX157" fmla="*/ 183832 w 310515"/>
                  <a:gd name="connsiteY157" fmla="*/ 459105 h 533400"/>
                  <a:gd name="connsiteX158" fmla="*/ 186690 w 310515"/>
                  <a:gd name="connsiteY158" fmla="*/ 456248 h 533400"/>
                  <a:gd name="connsiteX159" fmla="*/ 189547 w 310515"/>
                  <a:gd name="connsiteY159" fmla="*/ 453390 h 533400"/>
                  <a:gd name="connsiteX160" fmla="*/ 192405 w 310515"/>
                  <a:gd name="connsiteY160" fmla="*/ 450532 h 533400"/>
                  <a:gd name="connsiteX161" fmla="*/ 195263 w 310515"/>
                  <a:gd name="connsiteY161" fmla="*/ 447675 h 533400"/>
                  <a:gd name="connsiteX162" fmla="*/ 198120 w 310515"/>
                  <a:gd name="connsiteY162" fmla="*/ 443865 h 533400"/>
                  <a:gd name="connsiteX163" fmla="*/ 200025 w 310515"/>
                  <a:gd name="connsiteY163" fmla="*/ 440055 h 533400"/>
                  <a:gd name="connsiteX164" fmla="*/ 202882 w 310515"/>
                  <a:gd name="connsiteY164" fmla="*/ 436245 h 533400"/>
                  <a:gd name="connsiteX165" fmla="*/ 204788 w 310515"/>
                  <a:gd name="connsiteY165" fmla="*/ 431482 h 533400"/>
                  <a:gd name="connsiteX166" fmla="*/ 206693 w 310515"/>
                  <a:gd name="connsiteY166" fmla="*/ 427673 h 533400"/>
                  <a:gd name="connsiteX167" fmla="*/ 208597 w 310515"/>
                  <a:gd name="connsiteY167" fmla="*/ 422910 h 533400"/>
                  <a:gd name="connsiteX168" fmla="*/ 210503 w 310515"/>
                  <a:gd name="connsiteY168" fmla="*/ 418148 h 533400"/>
                  <a:gd name="connsiteX169" fmla="*/ 213360 w 310515"/>
                  <a:gd name="connsiteY169" fmla="*/ 407670 h 533400"/>
                  <a:gd name="connsiteX170" fmla="*/ 216218 w 310515"/>
                  <a:gd name="connsiteY170" fmla="*/ 397193 h 533400"/>
                  <a:gd name="connsiteX171" fmla="*/ 218122 w 310515"/>
                  <a:gd name="connsiteY171" fmla="*/ 385763 h 533400"/>
                  <a:gd name="connsiteX172" fmla="*/ 220028 w 310515"/>
                  <a:gd name="connsiteY172" fmla="*/ 373380 h 533400"/>
                  <a:gd name="connsiteX173" fmla="*/ 220980 w 310515"/>
                  <a:gd name="connsiteY173" fmla="*/ 360998 h 533400"/>
                  <a:gd name="connsiteX174" fmla="*/ 220980 w 310515"/>
                  <a:gd name="connsiteY174" fmla="*/ 347663 h 533400"/>
                  <a:gd name="connsiteX175" fmla="*/ 220980 w 310515"/>
                  <a:gd name="connsiteY175" fmla="*/ 338138 h 533400"/>
                  <a:gd name="connsiteX176" fmla="*/ 220980 w 310515"/>
                  <a:gd name="connsiteY176" fmla="*/ 329565 h 533400"/>
                  <a:gd name="connsiteX177" fmla="*/ 220980 w 310515"/>
                  <a:gd name="connsiteY177" fmla="*/ 320993 h 533400"/>
                  <a:gd name="connsiteX178" fmla="*/ 220028 w 310515"/>
                  <a:gd name="connsiteY178" fmla="*/ 313373 h 533400"/>
                  <a:gd name="connsiteX179" fmla="*/ 219075 w 310515"/>
                  <a:gd name="connsiteY179" fmla="*/ 304800 h 533400"/>
                  <a:gd name="connsiteX180" fmla="*/ 218122 w 310515"/>
                  <a:gd name="connsiteY180" fmla="*/ 297180 h 533400"/>
                  <a:gd name="connsiteX181" fmla="*/ 217170 w 310515"/>
                  <a:gd name="connsiteY181" fmla="*/ 289560 h 533400"/>
                  <a:gd name="connsiteX182" fmla="*/ 215265 w 310515"/>
                  <a:gd name="connsiteY182" fmla="*/ 282893 h 533400"/>
                  <a:gd name="connsiteX183" fmla="*/ 213360 w 310515"/>
                  <a:gd name="connsiteY183" fmla="*/ 276225 h 533400"/>
                  <a:gd name="connsiteX184" fmla="*/ 211455 w 310515"/>
                  <a:gd name="connsiteY184" fmla="*/ 270510 h 533400"/>
                  <a:gd name="connsiteX185" fmla="*/ 208597 w 310515"/>
                  <a:gd name="connsiteY185" fmla="*/ 264795 h 533400"/>
                  <a:gd name="connsiteX186" fmla="*/ 204788 w 310515"/>
                  <a:gd name="connsiteY186" fmla="*/ 258128 h 533400"/>
                  <a:gd name="connsiteX187" fmla="*/ 201930 w 310515"/>
                  <a:gd name="connsiteY187" fmla="*/ 253365 h 533400"/>
                  <a:gd name="connsiteX188" fmla="*/ 199072 w 310515"/>
                  <a:gd name="connsiteY188" fmla="*/ 248603 h 533400"/>
                  <a:gd name="connsiteX189" fmla="*/ 195263 w 310515"/>
                  <a:gd name="connsiteY189" fmla="*/ 243840 h 533400"/>
                  <a:gd name="connsiteX190" fmla="*/ 191453 w 310515"/>
                  <a:gd name="connsiteY190" fmla="*/ 240030 h 533400"/>
                  <a:gd name="connsiteX191" fmla="*/ 187643 w 310515"/>
                  <a:gd name="connsiteY191" fmla="*/ 236220 h 533400"/>
                  <a:gd name="connsiteX192" fmla="*/ 183832 w 310515"/>
                  <a:gd name="connsiteY192" fmla="*/ 233363 h 533400"/>
                  <a:gd name="connsiteX193" fmla="*/ 179070 w 310515"/>
                  <a:gd name="connsiteY193" fmla="*/ 230505 h 533400"/>
                  <a:gd name="connsiteX194" fmla="*/ 174307 w 310515"/>
                  <a:gd name="connsiteY194" fmla="*/ 228600 h 533400"/>
                  <a:gd name="connsiteX195" fmla="*/ 169545 w 310515"/>
                  <a:gd name="connsiteY195" fmla="*/ 226695 h 533400"/>
                  <a:gd name="connsiteX196" fmla="*/ 163830 w 310515"/>
                  <a:gd name="connsiteY196" fmla="*/ 225742 h 533400"/>
                  <a:gd name="connsiteX197" fmla="*/ 158115 w 310515"/>
                  <a:gd name="connsiteY197" fmla="*/ 224790 h 533400"/>
                  <a:gd name="connsiteX198" fmla="*/ 152400 w 310515"/>
                  <a:gd name="connsiteY198" fmla="*/ 224790 h 533400"/>
                  <a:gd name="connsiteX199" fmla="*/ 147638 w 310515"/>
                  <a:gd name="connsiteY199" fmla="*/ 224790 h 533400"/>
                  <a:gd name="connsiteX200" fmla="*/ 143828 w 310515"/>
                  <a:gd name="connsiteY200" fmla="*/ 224790 h 533400"/>
                  <a:gd name="connsiteX201" fmla="*/ 140018 w 310515"/>
                  <a:gd name="connsiteY201" fmla="*/ 225742 h 533400"/>
                  <a:gd name="connsiteX202" fmla="*/ 136207 w 310515"/>
                  <a:gd name="connsiteY202" fmla="*/ 226695 h 533400"/>
                  <a:gd name="connsiteX203" fmla="*/ 132397 w 310515"/>
                  <a:gd name="connsiteY203" fmla="*/ 227648 h 533400"/>
                  <a:gd name="connsiteX204" fmla="*/ 128588 w 310515"/>
                  <a:gd name="connsiteY204" fmla="*/ 228600 h 533400"/>
                  <a:gd name="connsiteX205" fmla="*/ 124778 w 310515"/>
                  <a:gd name="connsiteY205" fmla="*/ 230505 h 533400"/>
                  <a:gd name="connsiteX206" fmla="*/ 121920 w 310515"/>
                  <a:gd name="connsiteY206" fmla="*/ 232410 h 533400"/>
                  <a:gd name="connsiteX207" fmla="*/ 119063 w 310515"/>
                  <a:gd name="connsiteY207" fmla="*/ 234315 h 533400"/>
                  <a:gd name="connsiteX208" fmla="*/ 116205 w 310515"/>
                  <a:gd name="connsiteY208" fmla="*/ 237173 h 533400"/>
                  <a:gd name="connsiteX209" fmla="*/ 113347 w 310515"/>
                  <a:gd name="connsiteY209" fmla="*/ 240030 h 533400"/>
                  <a:gd name="connsiteX210" fmla="*/ 110490 w 310515"/>
                  <a:gd name="connsiteY210" fmla="*/ 242888 h 533400"/>
                  <a:gd name="connsiteX211" fmla="*/ 107632 w 310515"/>
                  <a:gd name="connsiteY211" fmla="*/ 245745 h 533400"/>
                  <a:gd name="connsiteX212" fmla="*/ 104775 w 310515"/>
                  <a:gd name="connsiteY212" fmla="*/ 248603 h 533400"/>
                  <a:gd name="connsiteX213" fmla="*/ 102870 w 310515"/>
                  <a:gd name="connsiteY213" fmla="*/ 251460 h 533400"/>
                  <a:gd name="connsiteX214" fmla="*/ 100965 w 310515"/>
                  <a:gd name="connsiteY214" fmla="*/ 255270 h 533400"/>
                  <a:gd name="connsiteX215" fmla="*/ 99060 w 310515"/>
                  <a:gd name="connsiteY215" fmla="*/ 259080 h 533400"/>
                  <a:gd name="connsiteX216" fmla="*/ 97155 w 310515"/>
                  <a:gd name="connsiteY216" fmla="*/ 262890 h 533400"/>
                  <a:gd name="connsiteX217" fmla="*/ 96203 w 310515"/>
                  <a:gd name="connsiteY217" fmla="*/ 266700 h 533400"/>
                  <a:gd name="connsiteX218" fmla="*/ 94297 w 310515"/>
                  <a:gd name="connsiteY218" fmla="*/ 271463 h 533400"/>
                  <a:gd name="connsiteX219" fmla="*/ 93345 w 310515"/>
                  <a:gd name="connsiteY219" fmla="*/ 276225 h 533400"/>
                  <a:gd name="connsiteX220" fmla="*/ 92393 w 310515"/>
                  <a:gd name="connsiteY220" fmla="*/ 280988 h 533400"/>
                  <a:gd name="connsiteX221" fmla="*/ 91440 w 310515"/>
                  <a:gd name="connsiteY221" fmla="*/ 286703 h 533400"/>
                  <a:gd name="connsiteX222" fmla="*/ 90488 w 310515"/>
                  <a:gd name="connsiteY222" fmla="*/ 292418 h 533400"/>
                  <a:gd name="connsiteX223" fmla="*/ 89535 w 310515"/>
                  <a:gd name="connsiteY223" fmla="*/ 303848 h 533400"/>
                  <a:gd name="connsiteX224" fmla="*/ 88582 w 310515"/>
                  <a:gd name="connsiteY224" fmla="*/ 316230 h 533400"/>
                  <a:gd name="connsiteX225" fmla="*/ 87630 w 310515"/>
                  <a:gd name="connsiteY225" fmla="*/ 329565 h 533400"/>
                  <a:gd name="connsiteX226" fmla="*/ 87630 w 310515"/>
                  <a:gd name="connsiteY226" fmla="*/ 343853 h 533400"/>
                  <a:gd name="connsiteX227" fmla="*/ 87630 w 310515"/>
                  <a:gd name="connsiteY227" fmla="*/ 343853 h 533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</a:cxnLst>
                <a:rect l="l" t="t" r="r" b="b"/>
                <a:pathLst>
                  <a:path w="310515" h="533400">
                    <a:moveTo>
                      <a:pt x="220980" y="0"/>
                    </a:moveTo>
                    <a:lnTo>
                      <a:pt x="307657" y="0"/>
                    </a:lnTo>
                    <a:lnTo>
                      <a:pt x="307657" y="466725"/>
                    </a:lnTo>
                    <a:lnTo>
                      <a:pt x="307657" y="477203"/>
                    </a:lnTo>
                    <a:lnTo>
                      <a:pt x="308610" y="486728"/>
                    </a:lnTo>
                    <a:lnTo>
                      <a:pt x="308610" y="496253"/>
                    </a:lnTo>
                    <a:lnTo>
                      <a:pt x="308610" y="504825"/>
                    </a:lnTo>
                    <a:lnTo>
                      <a:pt x="308610" y="512445"/>
                    </a:lnTo>
                    <a:lnTo>
                      <a:pt x="308610" y="519113"/>
                    </a:lnTo>
                    <a:lnTo>
                      <a:pt x="309563" y="524828"/>
                    </a:lnTo>
                    <a:lnTo>
                      <a:pt x="310515" y="529590"/>
                    </a:lnTo>
                    <a:lnTo>
                      <a:pt x="228600" y="529590"/>
                    </a:lnTo>
                    <a:lnTo>
                      <a:pt x="227647" y="522923"/>
                    </a:lnTo>
                    <a:lnTo>
                      <a:pt x="226695" y="516255"/>
                    </a:lnTo>
                    <a:lnTo>
                      <a:pt x="226695" y="509588"/>
                    </a:lnTo>
                    <a:lnTo>
                      <a:pt x="226695" y="502920"/>
                    </a:lnTo>
                    <a:lnTo>
                      <a:pt x="226695" y="496253"/>
                    </a:lnTo>
                    <a:lnTo>
                      <a:pt x="226695" y="488632"/>
                    </a:lnTo>
                    <a:lnTo>
                      <a:pt x="226695" y="481013"/>
                    </a:lnTo>
                    <a:lnTo>
                      <a:pt x="226695" y="472440"/>
                    </a:lnTo>
                    <a:lnTo>
                      <a:pt x="223838" y="472440"/>
                    </a:lnTo>
                    <a:lnTo>
                      <a:pt x="220028" y="480060"/>
                    </a:lnTo>
                    <a:lnTo>
                      <a:pt x="216218" y="486728"/>
                    </a:lnTo>
                    <a:lnTo>
                      <a:pt x="211455" y="493395"/>
                    </a:lnTo>
                    <a:lnTo>
                      <a:pt x="206693" y="499110"/>
                    </a:lnTo>
                    <a:lnTo>
                      <a:pt x="201930" y="504825"/>
                    </a:lnTo>
                    <a:lnTo>
                      <a:pt x="196215" y="509588"/>
                    </a:lnTo>
                    <a:lnTo>
                      <a:pt x="190500" y="514350"/>
                    </a:lnTo>
                    <a:lnTo>
                      <a:pt x="184785" y="518160"/>
                    </a:lnTo>
                    <a:lnTo>
                      <a:pt x="178118" y="521970"/>
                    </a:lnTo>
                    <a:lnTo>
                      <a:pt x="171450" y="524828"/>
                    </a:lnTo>
                    <a:lnTo>
                      <a:pt x="164782" y="527685"/>
                    </a:lnTo>
                    <a:lnTo>
                      <a:pt x="158115" y="529590"/>
                    </a:lnTo>
                    <a:lnTo>
                      <a:pt x="150495" y="531495"/>
                    </a:lnTo>
                    <a:lnTo>
                      <a:pt x="142875" y="532448"/>
                    </a:lnTo>
                    <a:lnTo>
                      <a:pt x="135255" y="533400"/>
                    </a:lnTo>
                    <a:lnTo>
                      <a:pt x="126682" y="533400"/>
                    </a:lnTo>
                    <a:lnTo>
                      <a:pt x="119063" y="533400"/>
                    </a:lnTo>
                    <a:lnTo>
                      <a:pt x="111443" y="532448"/>
                    </a:lnTo>
                    <a:lnTo>
                      <a:pt x="103822" y="531495"/>
                    </a:lnTo>
                    <a:lnTo>
                      <a:pt x="96203" y="530543"/>
                    </a:lnTo>
                    <a:lnTo>
                      <a:pt x="89535" y="528638"/>
                    </a:lnTo>
                    <a:lnTo>
                      <a:pt x="82868" y="525780"/>
                    </a:lnTo>
                    <a:lnTo>
                      <a:pt x="76200" y="522923"/>
                    </a:lnTo>
                    <a:lnTo>
                      <a:pt x="69532" y="520065"/>
                    </a:lnTo>
                    <a:lnTo>
                      <a:pt x="63818" y="516255"/>
                    </a:lnTo>
                    <a:lnTo>
                      <a:pt x="58103" y="512445"/>
                    </a:lnTo>
                    <a:lnTo>
                      <a:pt x="52388" y="508635"/>
                    </a:lnTo>
                    <a:lnTo>
                      <a:pt x="47625" y="503873"/>
                    </a:lnTo>
                    <a:lnTo>
                      <a:pt x="42863" y="499110"/>
                    </a:lnTo>
                    <a:lnTo>
                      <a:pt x="38100" y="493395"/>
                    </a:lnTo>
                    <a:lnTo>
                      <a:pt x="33338" y="487680"/>
                    </a:lnTo>
                    <a:lnTo>
                      <a:pt x="29528" y="481013"/>
                    </a:lnTo>
                    <a:lnTo>
                      <a:pt x="25718" y="474345"/>
                    </a:lnTo>
                    <a:lnTo>
                      <a:pt x="21907" y="467678"/>
                    </a:lnTo>
                    <a:lnTo>
                      <a:pt x="19050" y="461010"/>
                    </a:lnTo>
                    <a:lnTo>
                      <a:pt x="16193" y="453390"/>
                    </a:lnTo>
                    <a:lnTo>
                      <a:pt x="13335" y="445770"/>
                    </a:lnTo>
                    <a:lnTo>
                      <a:pt x="10478" y="438150"/>
                    </a:lnTo>
                    <a:lnTo>
                      <a:pt x="8572" y="430530"/>
                    </a:lnTo>
                    <a:lnTo>
                      <a:pt x="6668" y="421957"/>
                    </a:lnTo>
                    <a:lnTo>
                      <a:pt x="4763" y="413385"/>
                    </a:lnTo>
                    <a:lnTo>
                      <a:pt x="3810" y="404813"/>
                    </a:lnTo>
                    <a:lnTo>
                      <a:pt x="2857" y="396240"/>
                    </a:lnTo>
                    <a:lnTo>
                      <a:pt x="1905" y="386715"/>
                    </a:lnTo>
                    <a:lnTo>
                      <a:pt x="953" y="377190"/>
                    </a:lnTo>
                    <a:lnTo>
                      <a:pt x="0" y="367665"/>
                    </a:lnTo>
                    <a:lnTo>
                      <a:pt x="0" y="357188"/>
                    </a:lnTo>
                    <a:lnTo>
                      <a:pt x="0" y="346710"/>
                    </a:lnTo>
                    <a:lnTo>
                      <a:pt x="0" y="332423"/>
                    </a:lnTo>
                    <a:lnTo>
                      <a:pt x="953" y="318135"/>
                    </a:lnTo>
                    <a:lnTo>
                      <a:pt x="1905" y="304800"/>
                    </a:lnTo>
                    <a:lnTo>
                      <a:pt x="3810" y="291465"/>
                    </a:lnTo>
                    <a:lnTo>
                      <a:pt x="5715" y="279083"/>
                    </a:lnTo>
                    <a:lnTo>
                      <a:pt x="8572" y="266700"/>
                    </a:lnTo>
                    <a:lnTo>
                      <a:pt x="11430" y="255270"/>
                    </a:lnTo>
                    <a:lnTo>
                      <a:pt x="15240" y="244792"/>
                    </a:lnTo>
                    <a:lnTo>
                      <a:pt x="19050" y="234315"/>
                    </a:lnTo>
                    <a:lnTo>
                      <a:pt x="22860" y="224790"/>
                    </a:lnTo>
                    <a:lnTo>
                      <a:pt x="27622" y="216217"/>
                    </a:lnTo>
                    <a:lnTo>
                      <a:pt x="33338" y="207645"/>
                    </a:lnTo>
                    <a:lnTo>
                      <a:pt x="36195" y="203835"/>
                    </a:lnTo>
                    <a:lnTo>
                      <a:pt x="39053" y="200025"/>
                    </a:lnTo>
                    <a:lnTo>
                      <a:pt x="41910" y="196215"/>
                    </a:lnTo>
                    <a:lnTo>
                      <a:pt x="44768" y="192405"/>
                    </a:lnTo>
                    <a:lnTo>
                      <a:pt x="47625" y="189548"/>
                    </a:lnTo>
                    <a:lnTo>
                      <a:pt x="50482" y="186690"/>
                    </a:lnTo>
                    <a:lnTo>
                      <a:pt x="54293" y="183833"/>
                    </a:lnTo>
                    <a:lnTo>
                      <a:pt x="58103" y="180975"/>
                    </a:lnTo>
                    <a:lnTo>
                      <a:pt x="61913" y="178117"/>
                    </a:lnTo>
                    <a:lnTo>
                      <a:pt x="65722" y="175260"/>
                    </a:lnTo>
                    <a:lnTo>
                      <a:pt x="69532" y="173355"/>
                    </a:lnTo>
                    <a:lnTo>
                      <a:pt x="73343" y="171450"/>
                    </a:lnTo>
                    <a:lnTo>
                      <a:pt x="77153" y="169545"/>
                    </a:lnTo>
                    <a:lnTo>
                      <a:pt x="80963" y="167640"/>
                    </a:lnTo>
                    <a:lnTo>
                      <a:pt x="84772" y="165735"/>
                    </a:lnTo>
                    <a:lnTo>
                      <a:pt x="88582" y="164783"/>
                    </a:lnTo>
                    <a:lnTo>
                      <a:pt x="92393" y="163830"/>
                    </a:lnTo>
                    <a:lnTo>
                      <a:pt x="96203" y="162878"/>
                    </a:lnTo>
                    <a:lnTo>
                      <a:pt x="100965" y="161925"/>
                    </a:lnTo>
                    <a:lnTo>
                      <a:pt x="104775" y="160973"/>
                    </a:lnTo>
                    <a:lnTo>
                      <a:pt x="109538" y="160020"/>
                    </a:lnTo>
                    <a:lnTo>
                      <a:pt x="114300" y="160020"/>
                    </a:lnTo>
                    <a:lnTo>
                      <a:pt x="119063" y="160020"/>
                    </a:lnTo>
                    <a:lnTo>
                      <a:pt x="123825" y="160020"/>
                    </a:lnTo>
                    <a:lnTo>
                      <a:pt x="132397" y="160020"/>
                    </a:lnTo>
                    <a:lnTo>
                      <a:pt x="140970" y="160973"/>
                    </a:lnTo>
                    <a:lnTo>
                      <a:pt x="149543" y="161925"/>
                    </a:lnTo>
                    <a:lnTo>
                      <a:pt x="157163" y="163830"/>
                    </a:lnTo>
                    <a:lnTo>
                      <a:pt x="164782" y="166688"/>
                    </a:lnTo>
                    <a:lnTo>
                      <a:pt x="171450" y="169545"/>
                    </a:lnTo>
                    <a:lnTo>
                      <a:pt x="178118" y="173355"/>
                    </a:lnTo>
                    <a:lnTo>
                      <a:pt x="183832" y="177165"/>
                    </a:lnTo>
                    <a:lnTo>
                      <a:pt x="189547" y="181928"/>
                    </a:lnTo>
                    <a:lnTo>
                      <a:pt x="195263" y="186690"/>
                    </a:lnTo>
                    <a:lnTo>
                      <a:pt x="200025" y="191453"/>
                    </a:lnTo>
                    <a:lnTo>
                      <a:pt x="203835" y="196215"/>
                    </a:lnTo>
                    <a:lnTo>
                      <a:pt x="207645" y="201930"/>
                    </a:lnTo>
                    <a:lnTo>
                      <a:pt x="211455" y="207645"/>
                    </a:lnTo>
                    <a:lnTo>
                      <a:pt x="215265" y="213360"/>
                    </a:lnTo>
                    <a:lnTo>
                      <a:pt x="218122" y="219075"/>
                    </a:lnTo>
                    <a:lnTo>
                      <a:pt x="220028" y="219075"/>
                    </a:lnTo>
                    <a:lnTo>
                      <a:pt x="220028" y="0"/>
                    </a:lnTo>
                    <a:lnTo>
                      <a:pt x="220980" y="0"/>
                    </a:lnTo>
                    <a:close/>
                    <a:moveTo>
                      <a:pt x="87630" y="343853"/>
                    </a:moveTo>
                    <a:lnTo>
                      <a:pt x="87630" y="354330"/>
                    </a:lnTo>
                    <a:lnTo>
                      <a:pt x="87630" y="364808"/>
                    </a:lnTo>
                    <a:lnTo>
                      <a:pt x="87630" y="374333"/>
                    </a:lnTo>
                    <a:lnTo>
                      <a:pt x="88582" y="383858"/>
                    </a:lnTo>
                    <a:lnTo>
                      <a:pt x="89535" y="392430"/>
                    </a:lnTo>
                    <a:lnTo>
                      <a:pt x="90488" y="401003"/>
                    </a:lnTo>
                    <a:lnTo>
                      <a:pt x="91440" y="408623"/>
                    </a:lnTo>
                    <a:lnTo>
                      <a:pt x="92393" y="415290"/>
                    </a:lnTo>
                    <a:lnTo>
                      <a:pt x="94297" y="421957"/>
                    </a:lnTo>
                    <a:lnTo>
                      <a:pt x="96203" y="427673"/>
                    </a:lnTo>
                    <a:lnTo>
                      <a:pt x="98107" y="433388"/>
                    </a:lnTo>
                    <a:lnTo>
                      <a:pt x="100013" y="439103"/>
                    </a:lnTo>
                    <a:lnTo>
                      <a:pt x="102870" y="443865"/>
                    </a:lnTo>
                    <a:lnTo>
                      <a:pt x="105728" y="448628"/>
                    </a:lnTo>
                    <a:lnTo>
                      <a:pt x="108585" y="452438"/>
                    </a:lnTo>
                    <a:lnTo>
                      <a:pt x="111443" y="456248"/>
                    </a:lnTo>
                    <a:lnTo>
                      <a:pt x="115253" y="459105"/>
                    </a:lnTo>
                    <a:lnTo>
                      <a:pt x="119063" y="461963"/>
                    </a:lnTo>
                    <a:lnTo>
                      <a:pt x="122872" y="464820"/>
                    </a:lnTo>
                    <a:lnTo>
                      <a:pt x="127635" y="466725"/>
                    </a:lnTo>
                    <a:lnTo>
                      <a:pt x="132397" y="467678"/>
                    </a:lnTo>
                    <a:lnTo>
                      <a:pt x="138113" y="468630"/>
                    </a:lnTo>
                    <a:lnTo>
                      <a:pt x="143828" y="469582"/>
                    </a:lnTo>
                    <a:lnTo>
                      <a:pt x="150495" y="469582"/>
                    </a:lnTo>
                    <a:lnTo>
                      <a:pt x="154305" y="469582"/>
                    </a:lnTo>
                    <a:lnTo>
                      <a:pt x="158115" y="469582"/>
                    </a:lnTo>
                    <a:lnTo>
                      <a:pt x="161925" y="468630"/>
                    </a:lnTo>
                    <a:lnTo>
                      <a:pt x="165735" y="467678"/>
                    </a:lnTo>
                    <a:lnTo>
                      <a:pt x="169545" y="466725"/>
                    </a:lnTo>
                    <a:lnTo>
                      <a:pt x="173355" y="465773"/>
                    </a:lnTo>
                    <a:lnTo>
                      <a:pt x="177165" y="463868"/>
                    </a:lnTo>
                    <a:lnTo>
                      <a:pt x="180975" y="461963"/>
                    </a:lnTo>
                    <a:lnTo>
                      <a:pt x="183832" y="459105"/>
                    </a:lnTo>
                    <a:lnTo>
                      <a:pt x="186690" y="456248"/>
                    </a:lnTo>
                    <a:lnTo>
                      <a:pt x="189547" y="453390"/>
                    </a:lnTo>
                    <a:lnTo>
                      <a:pt x="192405" y="450532"/>
                    </a:lnTo>
                    <a:lnTo>
                      <a:pt x="195263" y="447675"/>
                    </a:lnTo>
                    <a:lnTo>
                      <a:pt x="198120" y="443865"/>
                    </a:lnTo>
                    <a:lnTo>
                      <a:pt x="200025" y="440055"/>
                    </a:lnTo>
                    <a:lnTo>
                      <a:pt x="202882" y="436245"/>
                    </a:lnTo>
                    <a:lnTo>
                      <a:pt x="204788" y="431482"/>
                    </a:lnTo>
                    <a:lnTo>
                      <a:pt x="206693" y="427673"/>
                    </a:lnTo>
                    <a:lnTo>
                      <a:pt x="208597" y="422910"/>
                    </a:lnTo>
                    <a:lnTo>
                      <a:pt x="210503" y="418148"/>
                    </a:lnTo>
                    <a:lnTo>
                      <a:pt x="213360" y="407670"/>
                    </a:lnTo>
                    <a:lnTo>
                      <a:pt x="216218" y="397193"/>
                    </a:lnTo>
                    <a:lnTo>
                      <a:pt x="218122" y="385763"/>
                    </a:lnTo>
                    <a:lnTo>
                      <a:pt x="220028" y="373380"/>
                    </a:lnTo>
                    <a:lnTo>
                      <a:pt x="220980" y="360998"/>
                    </a:lnTo>
                    <a:lnTo>
                      <a:pt x="220980" y="347663"/>
                    </a:lnTo>
                    <a:lnTo>
                      <a:pt x="220980" y="338138"/>
                    </a:lnTo>
                    <a:lnTo>
                      <a:pt x="220980" y="329565"/>
                    </a:lnTo>
                    <a:lnTo>
                      <a:pt x="220980" y="320993"/>
                    </a:lnTo>
                    <a:lnTo>
                      <a:pt x="220028" y="313373"/>
                    </a:lnTo>
                    <a:lnTo>
                      <a:pt x="219075" y="304800"/>
                    </a:lnTo>
                    <a:lnTo>
                      <a:pt x="218122" y="297180"/>
                    </a:lnTo>
                    <a:lnTo>
                      <a:pt x="217170" y="289560"/>
                    </a:lnTo>
                    <a:lnTo>
                      <a:pt x="215265" y="282893"/>
                    </a:lnTo>
                    <a:lnTo>
                      <a:pt x="213360" y="276225"/>
                    </a:lnTo>
                    <a:lnTo>
                      <a:pt x="211455" y="270510"/>
                    </a:lnTo>
                    <a:lnTo>
                      <a:pt x="208597" y="264795"/>
                    </a:lnTo>
                    <a:lnTo>
                      <a:pt x="204788" y="258128"/>
                    </a:lnTo>
                    <a:lnTo>
                      <a:pt x="201930" y="253365"/>
                    </a:lnTo>
                    <a:lnTo>
                      <a:pt x="199072" y="248603"/>
                    </a:lnTo>
                    <a:lnTo>
                      <a:pt x="195263" y="243840"/>
                    </a:lnTo>
                    <a:lnTo>
                      <a:pt x="191453" y="240030"/>
                    </a:lnTo>
                    <a:lnTo>
                      <a:pt x="187643" y="236220"/>
                    </a:lnTo>
                    <a:lnTo>
                      <a:pt x="183832" y="233363"/>
                    </a:lnTo>
                    <a:lnTo>
                      <a:pt x="179070" y="230505"/>
                    </a:lnTo>
                    <a:lnTo>
                      <a:pt x="174307" y="228600"/>
                    </a:lnTo>
                    <a:lnTo>
                      <a:pt x="169545" y="226695"/>
                    </a:lnTo>
                    <a:lnTo>
                      <a:pt x="163830" y="225742"/>
                    </a:lnTo>
                    <a:lnTo>
                      <a:pt x="158115" y="224790"/>
                    </a:lnTo>
                    <a:lnTo>
                      <a:pt x="152400" y="224790"/>
                    </a:lnTo>
                    <a:lnTo>
                      <a:pt x="147638" y="224790"/>
                    </a:lnTo>
                    <a:lnTo>
                      <a:pt x="143828" y="224790"/>
                    </a:lnTo>
                    <a:lnTo>
                      <a:pt x="140018" y="225742"/>
                    </a:lnTo>
                    <a:lnTo>
                      <a:pt x="136207" y="226695"/>
                    </a:lnTo>
                    <a:lnTo>
                      <a:pt x="132397" y="227648"/>
                    </a:lnTo>
                    <a:lnTo>
                      <a:pt x="128588" y="228600"/>
                    </a:lnTo>
                    <a:lnTo>
                      <a:pt x="124778" y="230505"/>
                    </a:lnTo>
                    <a:lnTo>
                      <a:pt x="121920" y="232410"/>
                    </a:lnTo>
                    <a:lnTo>
                      <a:pt x="119063" y="234315"/>
                    </a:lnTo>
                    <a:lnTo>
                      <a:pt x="116205" y="237173"/>
                    </a:lnTo>
                    <a:lnTo>
                      <a:pt x="113347" y="240030"/>
                    </a:lnTo>
                    <a:lnTo>
                      <a:pt x="110490" y="242888"/>
                    </a:lnTo>
                    <a:lnTo>
                      <a:pt x="107632" y="245745"/>
                    </a:lnTo>
                    <a:lnTo>
                      <a:pt x="104775" y="248603"/>
                    </a:lnTo>
                    <a:lnTo>
                      <a:pt x="102870" y="251460"/>
                    </a:lnTo>
                    <a:lnTo>
                      <a:pt x="100965" y="255270"/>
                    </a:lnTo>
                    <a:lnTo>
                      <a:pt x="99060" y="259080"/>
                    </a:lnTo>
                    <a:lnTo>
                      <a:pt x="97155" y="262890"/>
                    </a:lnTo>
                    <a:lnTo>
                      <a:pt x="96203" y="266700"/>
                    </a:lnTo>
                    <a:lnTo>
                      <a:pt x="94297" y="271463"/>
                    </a:lnTo>
                    <a:lnTo>
                      <a:pt x="93345" y="276225"/>
                    </a:lnTo>
                    <a:lnTo>
                      <a:pt x="92393" y="280988"/>
                    </a:lnTo>
                    <a:lnTo>
                      <a:pt x="91440" y="286703"/>
                    </a:lnTo>
                    <a:lnTo>
                      <a:pt x="90488" y="292418"/>
                    </a:lnTo>
                    <a:lnTo>
                      <a:pt x="89535" y="303848"/>
                    </a:lnTo>
                    <a:lnTo>
                      <a:pt x="88582" y="316230"/>
                    </a:lnTo>
                    <a:lnTo>
                      <a:pt x="87630" y="329565"/>
                    </a:lnTo>
                    <a:lnTo>
                      <a:pt x="87630" y="343853"/>
                    </a:lnTo>
                    <a:lnTo>
                      <a:pt x="87630" y="343853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480CA491-1730-1CB6-CD23-D69234EA544C}"/>
                  </a:ext>
                </a:extLst>
              </p:cNvPr>
              <p:cNvSpPr/>
              <p:nvPr/>
            </p:nvSpPr>
            <p:spPr>
              <a:xfrm>
                <a:off x="9913302" y="4008209"/>
                <a:ext cx="326707" cy="493394"/>
              </a:xfrm>
              <a:custGeom>
                <a:avLst/>
                <a:gdLst>
                  <a:gd name="connsiteX0" fmla="*/ 0 w 326707"/>
                  <a:gd name="connsiteY0" fmla="*/ 493395 h 493394"/>
                  <a:gd name="connsiteX1" fmla="*/ 0 w 326707"/>
                  <a:gd name="connsiteY1" fmla="*/ 0 h 493394"/>
                  <a:gd name="connsiteX2" fmla="*/ 90488 w 326707"/>
                  <a:gd name="connsiteY2" fmla="*/ 0 h 493394"/>
                  <a:gd name="connsiteX3" fmla="*/ 90488 w 326707"/>
                  <a:gd name="connsiteY3" fmla="*/ 200977 h 493394"/>
                  <a:gd name="connsiteX4" fmla="*/ 236220 w 326707"/>
                  <a:gd name="connsiteY4" fmla="*/ 200977 h 493394"/>
                  <a:gd name="connsiteX5" fmla="*/ 236220 w 326707"/>
                  <a:gd name="connsiteY5" fmla="*/ 0 h 493394"/>
                  <a:gd name="connsiteX6" fmla="*/ 326707 w 326707"/>
                  <a:gd name="connsiteY6" fmla="*/ 0 h 493394"/>
                  <a:gd name="connsiteX7" fmla="*/ 326707 w 326707"/>
                  <a:gd name="connsiteY7" fmla="*/ 493395 h 493394"/>
                  <a:gd name="connsiteX8" fmla="*/ 236220 w 326707"/>
                  <a:gd name="connsiteY8" fmla="*/ 493395 h 493394"/>
                  <a:gd name="connsiteX9" fmla="*/ 236220 w 326707"/>
                  <a:gd name="connsiteY9" fmla="*/ 275272 h 493394"/>
                  <a:gd name="connsiteX10" fmla="*/ 90488 w 326707"/>
                  <a:gd name="connsiteY10" fmla="*/ 275272 h 493394"/>
                  <a:gd name="connsiteX11" fmla="*/ 90488 w 326707"/>
                  <a:gd name="connsiteY11" fmla="*/ 493395 h 493394"/>
                  <a:gd name="connsiteX12" fmla="*/ 0 w 326707"/>
                  <a:gd name="connsiteY12" fmla="*/ 493395 h 493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26707" h="493394">
                    <a:moveTo>
                      <a:pt x="0" y="493395"/>
                    </a:moveTo>
                    <a:lnTo>
                      <a:pt x="0" y="0"/>
                    </a:lnTo>
                    <a:lnTo>
                      <a:pt x="90488" y="0"/>
                    </a:lnTo>
                    <a:lnTo>
                      <a:pt x="90488" y="200977"/>
                    </a:lnTo>
                    <a:lnTo>
                      <a:pt x="236220" y="200977"/>
                    </a:lnTo>
                    <a:lnTo>
                      <a:pt x="236220" y="0"/>
                    </a:lnTo>
                    <a:lnTo>
                      <a:pt x="326707" y="0"/>
                    </a:lnTo>
                    <a:lnTo>
                      <a:pt x="326707" y="493395"/>
                    </a:lnTo>
                    <a:lnTo>
                      <a:pt x="236220" y="493395"/>
                    </a:lnTo>
                    <a:lnTo>
                      <a:pt x="236220" y="275272"/>
                    </a:lnTo>
                    <a:lnTo>
                      <a:pt x="90488" y="275272"/>
                    </a:lnTo>
                    <a:lnTo>
                      <a:pt x="90488" y="493395"/>
                    </a:lnTo>
                    <a:lnTo>
                      <a:pt x="0" y="49339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32BFD99C-03E7-FFE3-FC06-AFFC9244EFB2}"/>
                  </a:ext>
                </a:extLst>
              </p:cNvPr>
              <p:cNvSpPr/>
              <p:nvPr/>
            </p:nvSpPr>
            <p:spPr>
              <a:xfrm>
                <a:off x="10289539" y="4132034"/>
                <a:ext cx="296227" cy="373380"/>
              </a:xfrm>
              <a:custGeom>
                <a:avLst/>
                <a:gdLst>
                  <a:gd name="connsiteX0" fmla="*/ 274320 w 296227"/>
                  <a:gd name="connsiteY0" fmla="*/ 281940 h 373380"/>
                  <a:gd name="connsiteX1" fmla="*/ 278130 w 296227"/>
                  <a:gd name="connsiteY1" fmla="*/ 351472 h 373380"/>
                  <a:gd name="connsiteX2" fmla="*/ 263842 w 296227"/>
                  <a:gd name="connsiteY2" fmla="*/ 357187 h 373380"/>
                  <a:gd name="connsiteX3" fmla="*/ 249555 w 296227"/>
                  <a:gd name="connsiteY3" fmla="*/ 361950 h 373380"/>
                  <a:gd name="connsiteX4" fmla="*/ 236220 w 296227"/>
                  <a:gd name="connsiteY4" fmla="*/ 365760 h 373380"/>
                  <a:gd name="connsiteX5" fmla="*/ 221932 w 296227"/>
                  <a:gd name="connsiteY5" fmla="*/ 368618 h 373380"/>
                  <a:gd name="connsiteX6" fmla="*/ 215265 w 296227"/>
                  <a:gd name="connsiteY6" fmla="*/ 369570 h 373380"/>
                  <a:gd name="connsiteX7" fmla="*/ 208597 w 296227"/>
                  <a:gd name="connsiteY7" fmla="*/ 370522 h 373380"/>
                  <a:gd name="connsiteX8" fmla="*/ 201930 w 296227"/>
                  <a:gd name="connsiteY8" fmla="*/ 371475 h 373380"/>
                  <a:gd name="connsiteX9" fmla="*/ 195263 w 296227"/>
                  <a:gd name="connsiteY9" fmla="*/ 372428 h 373380"/>
                  <a:gd name="connsiteX10" fmla="*/ 188595 w 296227"/>
                  <a:gd name="connsiteY10" fmla="*/ 373380 h 373380"/>
                  <a:gd name="connsiteX11" fmla="*/ 181928 w 296227"/>
                  <a:gd name="connsiteY11" fmla="*/ 373380 h 373380"/>
                  <a:gd name="connsiteX12" fmla="*/ 175260 w 296227"/>
                  <a:gd name="connsiteY12" fmla="*/ 373380 h 373380"/>
                  <a:gd name="connsiteX13" fmla="*/ 167640 w 296227"/>
                  <a:gd name="connsiteY13" fmla="*/ 373380 h 373380"/>
                  <a:gd name="connsiteX14" fmla="*/ 160972 w 296227"/>
                  <a:gd name="connsiteY14" fmla="*/ 373380 h 373380"/>
                  <a:gd name="connsiteX15" fmla="*/ 154305 w 296227"/>
                  <a:gd name="connsiteY15" fmla="*/ 373380 h 373380"/>
                  <a:gd name="connsiteX16" fmla="*/ 147638 w 296227"/>
                  <a:gd name="connsiteY16" fmla="*/ 373380 h 373380"/>
                  <a:gd name="connsiteX17" fmla="*/ 140970 w 296227"/>
                  <a:gd name="connsiteY17" fmla="*/ 372428 h 373380"/>
                  <a:gd name="connsiteX18" fmla="*/ 134303 w 296227"/>
                  <a:gd name="connsiteY18" fmla="*/ 371475 h 373380"/>
                  <a:gd name="connsiteX19" fmla="*/ 127635 w 296227"/>
                  <a:gd name="connsiteY19" fmla="*/ 370522 h 373380"/>
                  <a:gd name="connsiteX20" fmla="*/ 121920 w 296227"/>
                  <a:gd name="connsiteY20" fmla="*/ 369570 h 373380"/>
                  <a:gd name="connsiteX21" fmla="*/ 116205 w 296227"/>
                  <a:gd name="connsiteY21" fmla="*/ 368618 h 373380"/>
                  <a:gd name="connsiteX22" fmla="*/ 110490 w 296227"/>
                  <a:gd name="connsiteY22" fmla="*/ 366712 h 373380"/>
                  <a:gd name="connsiteX23" fmla="*/ 104775 w 296227"/>
                  <a:gd name="connsiteY23" fmla="*/ 364808 h 373380"/>
                  <a:gd name="connsiteX24" fmla="*/ 99060 w 296227"/>
                  <a:gd name="connsiteY24" fmla="*/ 362903 h 373380"/>
                  <a:gd name="connsiteX25" fmla="*/ 93345 w 296227"/>
                  <a:gd name="connsiteY25" fmla="*/ 360045 h 373380"/>
                  <a:gd name="connsiteX26" fmla="*/ 87630 w 296227"/>
                  <a:gd name="connsiteY26" fmla="*/ 358140 h 373380"/>
                  <a:gd name="connsiteX27" fmla="*/ 82867 w 296227"/>
                  <a:gd name="connsiteY27" fmla="*/ 355283 h 373380"/>
                  <a:gd name="connsiteX28" fmla="*/ 77153 w 296227"/>
                  <a:gd name="connsiteY28" fmla="*/ 352425 h 373380"/>
                  <a:gd name="connsiteX29" fmla="*/ 72390 w 296227"/>
                  <a:gd name="connsiteY29" fmla="*/ 349568 h 373380"/>
                  <a:gd name="connsiteX30" fmla="*/ 67628 w 296227"/>
                  <a:gd name="connsiteY30" fmla="*/ 346710 h 373380"/>
                  <a:gd name="connsiteX31" fmla="*/ 62865 w 296227"/>
                  <a:gd name="connsiteY31" fmla="*/ 343853 h 373380"/>
                  <a:gd name="connsiteX32" fmla="*/ 58103 w 296227"/>
                  <a:gd name="connsiteY32" fmla="*/ 340995 h 373380"/>
                  <a:gd name="connsiteX33" fmla="*/ 54292 w 296227"/>
                  <a:gd name="connsiteY33" fmla="*/ 337185 h 373380"/>
                  <a:gd name="connsiteX34" fmla="*/ 50482 w 296227"/>
                  <a:gd name="connsiteY34" fmla="*/ 333375 h 373380"/>
                  <a:gd name="connsiteX35" fmla="*/ 46672 w 296227"/>
                  <a:gd name="connsiteY35" fmla="*/ 329565 h 373380"/>
                  <a:gd name="connsiteX36" fmla="*/ 42863 w 296227"/>
                  <a:gd name="connsiteY36" fmla="*/ 325755 h 373380"/>
                  <a:gd name="connsiteX37" fmla="*/ 39053 w 296227"/>
                  <a:gd name="connsiteY37" fmla="*/ 321945 h 373380"/>
                  <a:gd name="connsiteX38" fmla="*/ 37147 w 296227"/>
                  <a:gd name="connsiteY38" fmla="*/ 317183 h 373380"/>
                  <a:gd name="connsiteX39" fmla="*/ 34290 w 296227"/>
                  <a:gd name="connsiteY39" fmla="*/ 313372 h 373380"/>
                  <a:gd name="connsiteX40" fmla="*/ 31432 w 296227"/>
                  <a:gd name="connsiteY40" fmla="*/ 308610 h 373380"/>
                  <a:gd name="connsiteX41" fmla="*/ 28575 w 296227"/>
                  <a:gd name="connsiteY41" fmla="*/ 303847 h 373380"/>
                  <a:gd name="connsiteX42" fmla="*/ 25717 w 296227"/>
                  <a:gd name="connsiteY42" fmla="*/ 299085 h 373380"/>
                  <a:gd name="connsiteX43" fmla="*/ 22860 w 296227"/>
                  <a:gd name="connsiteY43" fmla="*/ 294322 h 373380"/>
                  <a:gd name="connsiteX44" fmla="*/ 20003 w 296227"/>
                  <a:gd name="connsiteY44" fmla="*/ 289560 h 373380"/>
                  <a:gd name="connsiteX45" fmla="*/ 18097 w 296227"/>
                  <a:gd name="connsiteY45" fmla="*/ 284797 h 373380"/>
                  <a:gd name="connsiteX46" fmla="*/ 14288 w 296227"/>
                  <a:gd name="connsiteY46" fmla="*/ 274320 h 373380"/>
                  <a:gd name="connsiteX47" fmla="*/ 10478 w 296227"/>
                  <a:gd name="connsiteY47" fmla="*/ 263843 h 373380"/>
                  <a:gd name="connsiteX48" fmla="*/ 7620 w 296227"/>
                  <a:gd name="connsiteY48" fmla="*/ 253365 h 373380"/>
                  <a:gd name="connsiteX49" fmla="*/ 4763 w 296227"/>
                  <a:gd name="connsiteY49" fmla="*/ 241935 h 373380"/>
                  <a:gd name="connsiteX50" fmla="*/ 2857 w 296227"/>
                  <a:gd name="connsiteY50" fmla="*/ 229552 h 373380"/>
                  <a:gd name="connsiteX51" fmla="*/ 953 w 296227"/>
                  <a:gd name="connsiteY51" fmla="*/ 217170 h 373380"/>
                  <a:gd name="connsiteX52" fmla="*/ 0 w 296227"/>
                  <a:gd name="connsiteY52" fmla="*/ 204788 h 373380"/>
                  <a:gd name="connsiteX53" fmla="*/ 0 w 296227"/>
                  <a:gd name="connsiteY53" fmla="*/ 192405 h 373380"/>
                  <a:gd name="connsiteX54" fmla="*/ 0 w 296227"/>
                  <a:gd name="connsiteY54" fmla="*/ 179070 h 373380"/>
                  <a:gd name="connsiteX55" fmla="*/ 953 w 296227"/>
                  <a:gd name="connsiteY55" fmla="*/ 165735 h 373380"/>
                  <a:gd name="connsiteX56" fmla="*/ 2857 w 296227"/>
                  <a:gd name="connsiteY56" fmla="*/ 152400 h 373380"/>
                  <a:gd name="connsiteX57" fmla="*/ 4763 w 296227"/>
                  <a:gd name="connsiteY57" fmla="*/ 140018 h 373380"/>
                  <a:gd name="connsiteX58" fmla="*/ 7620 w 296227"/>
                  <a:gd name="connsiteY58" fmla="*/ 127635 h 373380"/>
                  <a:gd name="connsiteX59" fmla="*/ 10478 w 296227"/>
                  <a:gd name="connsiteY59" fmla="*/ 116205 h 373380"/>
                  <a:gd name="connsiteX60" fmla="*/ 14288 w 296227"/>
                  <a:gd name="connsiteY60" fmla="*/ 104775 h 373380"/>
                  <a:gd name="connsiteX61" fmla="*/ 18097 w 296227"/>
                  <a:gd name="connsiteY61" fmla="*/ 93345 h 373380"/>
                  <a:gd name="connsiteX62" fmla="*/ 20003 w 296227"/>
                  <a:gd name="connsiteY62" fmla="*/ 87630 h 373380"/>
                  <a:gd name="connsiteX63" fmla="*/ 22860 w 296227"/>
                  <a:gd name="connsiteY63" fmla="*/ 81915 h 373380"/>
                  <a:gd name="connsiteX64" fmla="*/ 25717 w 296227"/>
                  <a:gd name="connsiteY64" fmla="*/ 76200 h 373380"/>
                  <a:gd name="connsiteX65" fmla="*/ 28575 w 296227"/>
                  <a:gd name="connsiteY65" fmla="*/ 71438 h 373380"/>
                  <a:gd name="connsiteX66" fmla="*/ 31432 w 296227"/>
                  <a:gd name="connsiteY66" fmla="*/ 66675 h 373380"/>
                  <a:gd name="connsiteX67" fmla="*/ 34290 w 296227"/>
                  <a:gd name="connsiteY67" fmla="*/ 61913 h 373380"/>
                  <a:gd name="connsiteX68" fmla="*/ 37147 w 296227"/>
                  <a:gd name="connsiteY68" fmla="*/ 57150 h 373380"/>
                  <a:gd name="connsiteX69" fmla="*/ 40005 w 296227"/>
                  <a:gd name="connsiteY69" fmla="*/ 53340 h 373380"/>
                  <a:gd name="connsiteX70" fmla="*/ 43815 w 296227"/>
                  <a:gd name="connsiteY70" fmla="*/ 49530 h 373380"/>
                  <a:gd name="connsiteX71" fmla="*/ 46672 w 296227"/>
                  <a:gd name="connsiteY71" fmla="*/ 45720 h 373380"/>
                  <a:gd name="connsiteX72" fmla="*/ 50482 w 296227"/>
                  <a:gd name="connsiteY72" fmla="*/ 41910 h 373380"/>
                  <a:gd name="connsiteX73" fmla="*/ 54292 w 296227"/>
                  <a:gd name="connsiteY73" fmla="*/ 38100 h 373380"/>
                  <a:gd name="connsiteX74" fmla="*/ 58103 w 296227"/>
                  <a:gd name="connsiteY74" fmla="*/ 34290 h 373380"/>
                  <a:gd name="connsiteX75" fmla="*/ 61913 w 296227"/>
                  <a:gd name="connsiteY75" fmla="*/ 30480 h 373380"/>
                  <a:gd name="connsiteX76" fmla="*/ 65722 w 296227"/>
                  <a:gd name="connsiteY76" fmla="*/ 27622 h 373380"/>
                  <a:gd name="connsiteX77" fmla="*/ 69532 w 296227"/>
                  <a:gd name="connsiteY77" fmla="*/ 24765 h 373380"/>
                  <a:gd name="connsiteX78" fmla="*/ 73342 w 296227"/>
                  <a:gd name="connsiteY78" fmla="*/ 21907 h 373380"/>
                  <a:gd name="connsiteX79" fmla="*/ 78105 w 296227"/>
                  <a:gd name="connsiteY79" fmla="*/ 19050 h 373380"/>
                  <a:gd name="connsiteX80" fmla="*/ 81915 w 296227"/>
                  <a:gd name="connsiteY80" fmla="*/ 16193 h 373380"/>
                  <a:gd name="connsiteX81" fmla="*/ 86678 w 296227"/>
                  <a:gd name="connsiteY81" fmla="*/ 13335 h 373380"/>
                  <a:gd name="connsiteX82" fmla="*/ 91440 w 296227"/>
                  <a:gd name="connsiteY82" fmla="*/ 11430 h 373380"/>
                  <a:gd name="connsiteX83" fmla="*/ 96203 w 296227"/>
                  <a:gd name="connsiteY83" fmla="*/ 9525 h 373380"/>
                  <a:gd name="connsiteX84" fmla="*/ 100965 w 296227"/>
                  <a:gd name="connsiteY84" fmla="*/ 7620 h 373380"/>
                  <a:gd name="connsiteX85" fmla="*/ 105728 w 296227"/>
                  <a:gd name="connsiteY85" fmla="*/ 5715 h 373380"/>
                  <a:gd name="connsiteX86" fmla="*/ 110490 w 296227"/>
                  <a:gd name="connsiteY86" fmla="*/ 4763 h 373380"/>
                  <a:gd name="connsiteX87" fmla="*/ 115253 w 296227"/>
                  <a:gd name="connsiteY87" fmla="*/ 3810 h 373380"/>
                  <a:gd name="connsiteX88" fmla="*/ 120967 w 296227"/>
                  <a:gd name="connsiteY88" fmla="*/ 2857 h 373380"/>
                  <a:gd name="connsiteX89" fmla="*/ 126682 w 296227"/>
                  <a:gd name="connsiteY89" fmla="*/ 1905 h 373380"/>
                  <a:gd name="connsiteX90" fmla="*/ 132397 w 296227"/>
                  <a:gd name="connsiteY90" fmla="*/ 952 h 373380"/>
                  <a:gd name="connsiteX91" fmla="*/ 138113 w 296227"/>
                  <a:gd name="connsiteY91" fmla="*/ 0 h 373380"/>
                  <a:gd name="connsiteX92" fmla="*/ 143828 w 296227"/>
                  <a:gd name="connsiteY92" fmla="*/ 0 h 373380"/>
                  <a:gd name="connsiteX93" fmla="*/ 149542 w 296227"/>
                  <a:gd name="connsiteY93" fmla="*/ 0 h 373380"/>
                  <a:gd name="connsiteX94" fmla="*/ 157163 w 296227"/>
                  <a:gd name="connsiteY94" fmla="*/ 0 h 373380"/>
                  <a:gd name="connsiteX95" fmla="*/ 164782 w 296227"/>
                  <a:gd name="connsiteY95" fmla="*/ 0 h 373380"/>
                  <a:gd name="connsiteX96" fmla="*/ 172403 w 296227"/>
                  <a:gd name="connsiteY96" fmla="*/ 952 h 373380"/>
                  <a:gd name="connsiteX97" fmla="*/ 180022 w 296227"/>
                  <a:gd name="connsiteY97" fmla="*/ 1905 h 373380"/>
                  <a:gd name="connsiteX98" fmla="*/ 186690 w 296227"/>
                  <a:gd name="connsiteY98" fmla="*/ 2857 h 373380"/>
                  <a:gd name="connsiteX99" fmla="*/ 193357 w 296227"/>
                  <a:gd name="connsiteY99" fmla="*/ 4763 h 373380"/>
                  <a:gd name="connsiteX100" fmla="*/ 200025 w 296227"/>
                  <a:gd name="connsiteY100" fmla="*/ 6668 h 373380"/>
                  <a:gd name="connsiteX101" fmla="*/ 206692 w 296227"/>
                  <a:gd name="connsiteY101" fmla="*/ 9525 h 373380"/>
                  <a:gd name="connsiteX102" fmla="*/ 213360 w 296227"/>
                  <a:gd name="connsiteY102" fmla="*/ 12382 h 373380"/>
                  <a:gd name="connsiteX103" fmla="*/ 219075 w 296227"/>
                  <a:gd name="connsiteY103" fmla="*/ 15240 h 373380"/>
                  <a:gd name="connsiteX104" fmla="*/ 225742 w 296227"/>
                  <a:gd name="connsiteY104" fmla="*/ 19050 h 373380"/>
                  <a:gd name="connsiteX105" fmla="*/ 231457 w 296227"/>
                  <a:gd name="connsiteY105" fmla="*/ 22860 h 373380"/>
                  <a:gd name="connsiteX106" fmla="*/ 237172 w 296227"/>
                  <a:gd name="connsiteY106" fmla="*/ 26670 h 373380"/>
                  <a:gd name="connsiteX107" fmla="*/ 242888 w 296227"/>
                  <a:gd name="connsiteY107" fmla="*/ 31432 h 373380"/>
                  <a:gd name="connsiteX108" fmla="*/ 247650 w 296227"/>
                  <a:gd name="connsiteY108" fmla="*/ 36195 h 373380"/>
                  <a:gd name="connsiteX109" fmla="*/ 253365 w 296227"/>
                  <a:gd name="connsiteY109" fmla="*/ 41910 h 373380"/>
                  <a:gd name="connsiteX110" fmla="*/ 258128 w 296227"/>
                  <a:gd name="connsiteY110" fmla="*/ 47625 h 373380"/>
                  <a:gd name="connsiteX111" fmla="*/ 262890 w 296227"/>
                  <a:gd name="connsiteY111" fmla="*/ 54293 h 373380"/>
                  <a:gd name="connsiteX112" fmla="*/ 266700 w 296227"/>
                  <a:gd name="connsiteY112" fmla="*/ 60960 h 373380"/>
                  <a:gd name="connsiteX113" fmla="*/ 270510 w 296227"/>
                  <a:gd name="connsiteY113" fmla="*/ 67627 h 373380"/>
                  <a:gd name="connsiteX114" fmla="*/ 274320 w 296227"/>
                  <a:gd name="connsiteY114" fmla="*/ 75247 h 373380"/>
                  <a:gd name="connsiteX115" fmla="*/ 278130 w 296227"/>
                  <a:gd name="connsiteY115" fmla="*/ 82868 h 373380"/>
                  <a:gd name="connsiteX116" fmla="*/ 280988 w 296227"/>
                  <a:gd name="connsiteY116" fmla="*/ 91440 h 373380"/>
                  <a:gd name="connsiteX117" fmla="*/ 283845 w 296227"/>
                  <a:gd name="connsiteY117" fmla="*/ 100965 h 373380"/>
                  <a:gd name="connsiteX118" fmla="*/ 286703 w 296227"/>
                  <a:gd name="connsiteY118" fmla="*/ 110490 h 373380"/>
                  <a:gd name="connsiteX119" fmla="*/ 289560 w 296227"/>
                  <a:gd name="connsiteY119" fmla="*/ 120968 h 373380"/>
                  <a:gd name="connsiteX120" fmla="*/ 291465 w 296227"/>
                  <a:gd name="connsiteY120" fmla="*/ 131445 h 373380"/>
                  <a:gd name="connsiteX121" fmla="*/ 292417 w 296227"/>
                  <a:gd name="connsiteY121" fmla="*/ 142875 h 373380"/>
                  <a:gd name="connsiteX122" fmla="*/ 294322 w 296227"/>
                  <a:gd name="connsiteY122" fmla="*/ 154305 h 373380"/>
                  <a:gd name="connsiteX123" fmla="*/ 295275 w 296227"/>
                  <a:gd name="connsiteY123" fmla="*/ 166688 h 373380"/>
                  <a:gd name="connsiteX124" fmla="*/ 296228 w 296227"/>
                  <a:gd name="connsiteY124" fmla="*/ 179070 h 373380"/>
                  <a:gd name="connsiteX125" fmla="*/ 296228 w 296227"/>
                  <a:gd name="connsiteY125" fmla="*/ 192405 h 373380"/>
                  <a:gd name="connsiteX126" fmla="*/ 296228 w 296227"/>
                  <a:gd name="connsiteY126" fmla="*/ 209550 h 373380"/>
                  <a:gd name="connsiteX127" fmla="*/ 84772 w 296227"/>
                  <a:gd name="connsiteY127" fmla="*/ 209550 h 373380"/>
                  <a:gd name="connsiteX128" fmla="*/ 84772 w 296227"/>
                  <a:gd name="connsiteY128" fmla="*/ 215265 h 373380"/>
                  <a:gd name="connsiteX129" fmla="*/ 84772 w 296227"/>
                  <a:gd name="connsiteY129" fmla="*/ 221933 h 373380"/>
                  <a:gd name="connsiteX130" fmla="*/ 84772 w 296227"/>
                  <a:gd name="connsiteY130" fmla="*/ 227647 h 373380"/>
                  <a:gd name="connsiteX131" fmla="*/ 85725 w 296227"/>
                  <a:gd name="connsiteY131" fmla="*/ 233363 h 373380"/>
                  <a:gd name="connsiteX132" fmla="*/ 86678 w 296227"/>
                  <a:gd name="connsiteY132" fmla="*/ 239077 h 373380"/>
                  <a:gd name="connsiteX133" fmla="*/ 87630 w 296227"/>
                  <a:gd name="connsiteY133" fmla="*/ 244793 h 373380"/>
                  <a:gd name="connsiteX134" fmla="*/ 88582 w 296227"/>
                  <a:gd name="connsiteY134" fmla="*/ 249555 h 373380"/>
                  <a:gd name="connsiteX135" fmla="*/ 89535 w 296227"/>
                  <a:gd name="connsiteY135" fmla="*/ 254318 h 373380"/>
                  <a:gd name="connsiteX136" fmla="*/ 90488 w 296227"/>
                  <a:gd name="connsiteY136" fmla="*/ 259080 h 373380"/>
                  <a:gd name="connsiteX137" fmla="*/ 92392 w 296227"/>
                  <a:gd name="connsiteY137" fmla="*/ 263843 h 373380"/>
                  <a:gd name="connsiteX138" fmla="*/ 94297 w 296227"/>
                  <a:gd name="connsiteY138" fmla="*/ 267653 h 373380"/>
                  <a:gd name="connsiteX139" fmla="*/ 96203 w 296227"/>
                  <a:gd name="connsiteY139" fmla="*/ 271462 h 373380"/>
                  <a:gd name="connsiteX140" fmla="*/ 98107 w 296227"/>
                  <a:gd name="connsiteY140" fmla="*/ 275272 h 373380"/>
                  <a:gd name="connsiteX141" fmla="*/ 100965 w 296227"/>
                  <a:gd name="connsiteY141" fmla="*/ 279083 h 373380"/>
                  <a:gd name="connsiteX142" fmla="*/ 103822 w 296227"/>
                  <a:gd name="connsiteY142" fmla="*/ 282893 h 373380"/>
                  <a:gd name="connsiteX143" fmla="*/ 106680 w 296227"/>
                  <a:gd name="connsiteY143" fmla="*/ 285750 h 373380"/>
                  <a:gd name="connsiteX144" fmla="*/ 109538 w 296227"/>
                  <a:gd name="connsiteY144" fmla="*/ 288608 h 373380"/>
                  <a:gd name="connsiteX145" fmla="*/ 112395 w 296227"/>
                  <a:gd name="connsiteY145" fmla="*/ 291465 h 373380"/>
                  <a:gd name="connsiteX146" fmla="*/ 115253 w 296227"/>
                  <a:gd name="connsiteY146" fmla="*/ 294322 h 373380"/>
                  <a:gd name="connsiteX147" fmla="*/ 119063 w 296227"/>
                  <a:gd name="connsiteY147" fmla="*/ 297180 h 373380"/>
                  <a:gd name="connsiteX148" fmla="*/ 122872 w 296227"/>
                  <a:gd name="connsiteY148" fmla="*/ 298133 h 373380"/>
                  <a:gd name="connsiteX149" fmla="*/ 126682 w 296227"/>
                  <a:gd name="connsiteY149" fmla="*/ 300037 h 373380"/>
                  <a:gd name="connsiteX150" fmla="*/ 130492 w 296227"/>
                  <a:gd name="connsiteY150" fmla="*/ 301943 h 373380"/>
                  <a:gd name="connsiteX151" fmla="*/ 134303 w 296227"/>
                  <a:gd name="connsiteY151" fmla="*/ 303847 h 373380"/>
                  <a:gd name="connsiteX152" fmla="*/ 139065 w 296227"/>
                  <a:gd name="connsiteY152" fmla="*/ 304800 h 373380"/>
                  <a:gd name="connsiteX153" fmla="*/ 143828 w 296227"/>
                  <a:gd name="connsiteY153" fmla="*/ 305753 h 373380"/>
                  <a:gd name="connsiteX154" fmla="*/ 148590 w 296227"/>
                  <a:gd name="connsiteY154" fmla="*/ 306705 h 373380"/>
                  <a:gd name="connsiteX155" fmla="*/ 153353 w 296227"/>
                  <a:gd name="connsiteY155" fmla="*/ 307658 h 373380"/>
                  <a:gd name="connsiteX156" fmla="*/ 159067 w 296227"/>
                  <a:gd name="connsiteY156" fmla="*/ 308610 h 373380"/>
                  <a:gd name="connsiteX157" fmla="*/ 164782 w 296227"/>
                  <a:gd name="connsiteY157" fmla="*/ 309562 h 373380"/>
                  <a:gd name="connsiteX158" fmla="*/ 170497 w 296227"/>
                  <a:gd name="connsiteY158" fmla="*/ 309562 h 373380"/>
                  <a:gd name="connsiteX159" fmla="*/ 176213 w 296227"/>
                  <a:gd name="connsiteY159" fmla="*/ 309562 h 373380"/>
                  <a:gd name="connsiteX160" fmla="*/ 188595 w 296227"/>
                  <a:gd name="connsiteY160" fmla="*/ 309562 h 373380"/>
                  <a:gd name="connsiteX161" fmla="*/ 200025 w 296227"/>
                  <a:gd name="connsiteY161" fmla="*/ 308610 h 373380"/>
                  <a:gd name="connsiteX162" fmla="*/ 210503 w 296227"/>
                  <a:gd name="connsiteY162" fmla="*/ 307658 h 373380"/>
                  <a:gd name="connsiteX163" fmla="*/ 220028 w 296227"/>
                  <a:gd name="connsiteY163" fmla="*/ 305753 h 373380"/>
                  <a:gd name="connsiteX164" fmla="*/ 228600 w 296227"/>
                  <a:gd name="connsiteY164" fmla="*/ 303847 h 373380"/>
                  <a:gd name="connsiteX165" fmla="*/ 236220 w 296227"/>
                  <a:gd name="connsiteY165" fmla="*/ 300990 h 373380"/>
                  <a:gd name="connsiteX166" fmla="*/ 243840 w 296227"/>
                  <a:gd name="connsiteY166" fmla="*/ 298133 h 373380"/>
                  <a:gd name="connsiteX167" fmla="*/ 250507 w 296227"/>
                  <a:gd name="connsiteY167" fmla="*/ 295275 h 373380"/>
                  <a:gd name="connsiteX168" fmla="*/ 256222 w 296227"/>
                  <a:gd name="connsiteY168" fmla="*/ 292418 h 373380"/>
                  <a:gd name="connsiteX169" fmla="*/ 261938 w 296227"/>
                  <a:gd name="connsiteY169" fmla="*/ 288608 h 373380"/>
                  <a:gd name="connsiteX170" fmla="*/ 267653 w 296227"/>
                  <a:gd name="connsiteY170" fmla="*/ 284797 h 373380"/>
                  <a:gd name="connsiteX171" fmla="*/ 274320 w 296227"/>
                  <a:gd name="connsiteY171" fmla="*/ 281940 h 373380"/>
                  <a:gd name="connsiteX172" fmla="*/ 274320 w 296227"/>
                  <a:gd name="connsiteY172" fmla="*/ 281940 h 373380"/>
                  <a:gd name="connsiteX173" fmla="*/ 84772 w 296227"/>
                  <a:gd name="connsiteY173" fmla="*/ 155258 h 373380"/>
                  <a:gd name="connsiteX174" fmla="*/ 210503 w 296227"/>
                  <a:gd name="connsiteY174" fmla="*/ 155258 h 373380"/>
                  <a:gd name="connsiteX175" fmla="*/ 210503 w 296227"/>
                  <a:gd name="connsiteY175" fmla="*/ 142875 h 373380"/>
                  <a:gd name="connsiteX176" fmla="*/ 209550 w 296227"/>
                  <a:gd name="connsiteY176" fmla="*/ 132397 h 373380"/>
                  <a:gd name="connsiteX177" fmla="*/ 208597 w 296227"/>
                  <a:gd name="connsiteY177" fmla="*/ 121920 h 373380"/>
                  <a:gd name="connsiteX178" fmla="*/ 206692 w 296227"/>
                  <a:gd name="connsiteY178" fmla="*/ 112395 h 373380"/>
                  <a:gd name="connsiteX179" fmla="*/ 204788 w 296227"/>
                  <a:gd name="connsiteY179" fmla="*/ 103822 h 373380"/>
                  <a:gd name="connsiteX180" fmla="*/ 201930 w 296227"/>
                  <a:gd name="connsiteY180" fmla="*/ 95250 h 373380"/>
                  <a:gd name="connsiteX181" fmla="*/ 200978 w 296227"/>
                  <a:gd name="connsiteY181" fmla="*/ 91440 h 373380"/>
                  <a:gd name="connsiteX182" fmla="*/ 199072 w 296227"/>
                  <a:gd name="connsiteY182" fmla="*/ 87630 h 373380"/>
                  <a:gd name="connsiteX183" fmla="*/ 197167 w 296227"/>
                  <a:gd name="connsiteY183" fmla="*/ 83820 h 373380"/>
                  <a:gd name="connsiteX184" fmla="*/ 195263 w 296227"/>
                  <a:gd name="connsiteY184" fmla="*/ 80963 h 373380"/>
                  <a:gd name="connsiteX185" fmla="*/ 193357 w 296227"/>
                  <a:gd name="connsiteY185" fmla="*/ 78105 h 373380"/>
                  <a:gd name="connsiteX186" fmla="*/ 191453 w 296227"/>
                  <a:gd name="connsiteY186" fmla="*/ 75247 h 373380"/>
                  <a:gd name="connsiteX187" fmla="*/ 188595 w 296227"/>
                  <a:gd name="connsiteY187" fmla="*/ 72390 h 373380"/>
                  <a:gd name="connsiteX188" fmla="*/ 186690 w 296227"/>
                  <a:gd name="connsiteY188" fmla="*/ 70485 h 373380"/>
                  <a:gd name="connsiteX189" fmla="*/ 183832 w 296227"/>
                  <a:gd name="connsiteY189" fmla="*/ 67627 h 373380"/>
                  <a:gd name="connsiteX190" fmla="*/ 180975 w 296227"/>
                  <a:gd name="connsiteY190" fmla="*/ 65722 h 373380"/>
                  <a:gd name="connsiteX191" fmla="*/ 178117 w 296227"/>
                  <a:gd name="connsiteY191" fmla="*/ 63818 h 373380"/>
                  <a:gd name="connsiteX192" fmla="*/ 175260 w 296227"/>
                  <a:gd name="connsiteY192" fmla="*/ 61913 h 373380"/>
                  <a:gd name="connsiteX193" fmla="*/ 172403 w 296227"/>
                  <a:gd name="connsiteY193" fmla="*/ 60960 h 373380"/>
                  <a:gd name="connsiteX194" fmla="*/ 169545 w 296227"/>
                  <a:gd name="connsiteY194" fmla="*/ 60007 h 373380"/>
                  <a:gd name="connsiteX195" fmla="*/ 166688 w 296227"/>
                  <a:gd name="connsiteY195" fmla="*/ 59055 h 373380"/>
                  <a:gd name="connsiteX196" fmla="*/ 163830 w 296227"/>
                  <a:gd name="connsiteY196" fmla="*/ 58102 h 373380"/>
                  <a:gd name="connsiteX197" fmla="*/ 160020 w 296227"/>
                  <a:gd name="connsiteY197" fmla="*/ 57150 h 373380"/>
                  <a:gd name="connsiteX198" fmla="*/ 157163 w 296227"/>
                  <a:gd name="connsiteY198" fmla="*/ 57150 h 373380"/>
                  <a:gd name="connsiteX199" fmla="*/ 153353 w 296227"/>
                  <a:gd name="connsiteY199" fmla="*/ 57150 h 373380"/>
                  <a:gd name="connsiteX200" fmla="*/ 149542 w 296227"/>
                  <a:gd name="connsiteY200" fmla="*/ 57150 h 373380"/>
                  <a:gd name="connsiteX201" fmla="*/ 145732 w 296227"/>
                  <a:gd name="connsiteY201" fmla="*/ 57150 h 373380"/>
                  <a:gd name="connsiteX202" fmla="*/ 141922 w 296227"/>
                  <a:gd name="connsiteY202" fmla="*/ 57150 h 373380"/>
                  <a:gd name="connsiteX203" fmla="*/ 138113 w 296227"/>
                  <a:gd name="connsiteY203" fmla="*/ 58102 h 373380"/>
                  <a:gd name="connsiteX204" fmla="*/ 134303 w 296227"/>
                  <a:gd name="connsiteY204" fmla="*/ 59055 h 373380"/>
                  <a:gd name="connsiteX205" fmla="*/ 130492 w 296227"/>
                  <a:gd name="connsiteY205" fmla="*/ 60007 h 373380"/>
                  <a:gd name="connsiteX206" fmla="*/ 126682 w 296227"/>
                  <a:gd name="connsiteY206" fmla="*/ 60960 h 373380"/>
                  <a:gd name="connsiteX207" fmla="*/ 123825 w 296227"/>
                  <a:gd name="connsiteY207" fmla="*/ 61913 h 373380"/>
                  <a:gd name="connsiteX208" fmla="*/ 120967 w 296227"/>
                  <a:gd name="connsiteY208" fmla="*/ 63818 h 373380"/>
                  <a:gd name="connsiteX209" fmla="*/ 118110 w 296227"/>
                  <a:gd name="connsiteY209" fmla="*/ 65722 h 373380"/>
                  <a:gd name="connsiteX210" fmla="*/ 115253 w 296227"/>
                  <a:gd name="connsiteY210" fmla="*/ 67627 h 373380"/>
                  <a:gd name="connsiteX211" fmla="*/ 112395 w 296227"/>
                  <a:gd name="connsiteY211" fmla="*/ 69532 h 373380"/>
                  <a:gd name="connsiteX212" fmla="*/ 109538 w 296227"/>
                  <a:gd name="connsiteY212" fmla="*/ 72390 h 373380"/>
                  <a:gd name="connsiteX213" fmla="*/ 106680 w 296227"/>
                  <a:gd name="connsiteY213" fmla="*/ 75247 h 373380"/>
                  <a:gd name="connsiteX214" fmla="*/ 103822 w 296227"/>
                  <a:gd name="connsiteY214" fmla="*/ 78105 h 373380"/>
                  <a:gd name="connsiteX215" fmla="*/ 101917 w 296227"/>
                  <a:gd name="connsiteY215" fmla="*/ 80963 h 373380"/>
                  <a:gd name="connsiteX216" fmla="*/ 100013 w 296227"/>
                  <a:gd name="connsiteY216" fmla="*/ 84772 h 373380"/>
                  <a:gd name="connsiteX217" fmla="*/ 96203 w 296227"/>
                  <a:gd name="connsiteY217" fmla="*/ 92393 h 373380"/>
                  <a:gd name="connsiteX218" fmla="*/ 92392 w 296227"/>
                  <a:gd name="connsiteY218" fmla="*/ 100013 h 373380"/>
                  <a:gd name="connsiteX219" fmla="*/ 89535 w 296227"/>
                  <a:gd name="connsiteY219" fmla="*/ 107632 h 373380"/>
                  <a:gd name="connsiteX220" fmla="*/ 87630 w 296227"/>
                  <a:gd name="connsiteY220" fmla="*/ 116205 h 373380"/>
                  <a:gd name="connsiteX221" fmla="*/ 85725 w 296227"/>
                  <a:gd name="connsiteY221" fmla="*/ 124777 h 373380"/>
                  <a:gd name="connsiteX222" fmla="*/ 83820 w 296227"/>
                  <a:gd name="connsiteY222" fmla="*/ 133350 h 373380"/>
                  <a:gd name="connsiteX223" fmla="*/ 82867 w 296227"/>
                  <a:gd name="connsiteY223" fmla="*/ 142875 h 373380"/>
                  <a:gd name="connsiteX224" fmla="*/ 84772 w 296227"/>
                  <a:gd name="connsiteY224" fmla="*/ 155258 h 373380"/>
                  <a:gd name="connsiteX225" fmla="*/ 84772 w 296227"/>
                  <a:gd name="connsiteY225" fmla="*/ 155258 h 373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</a:cxnLst>
                <a:rect l="l" t="t" r="r" b="b"/>
                <a:pathLst>
                  <a:path w="296227" h="373380">
                    <a:moveTo>
                      <a:pt x="274320" y="281940"/>
                    </a:moveTo>
                    <a:lnTo>
                      <a:pt x="278130" y="351472"/>
                    </a:lnTo>
                    <a:lnTo>
                      <a:pt x="263842" y="357187"/>
                    </a:lnTo>
                    <a:lnTo>
                      <a:pt x="249555" y="361950"/>
                    </a:lnTo>
                    <a:lnTo>
                      <a:pt x="236220" y="365760"/>
                    </a:lnTo>
                    <a:lnTo>
                      <a:pt x="221932" y="368618"/>
                    </a:lnTo>
                    <a:lnTo>
                      <a:pt x="215265" y="369570"/>
                    </a:lnTo>
                    <a:lnTo>
                      <a:pt x="208597" y="370522"/>
                    </a:lnTo>
                    <a:lnTo>
                      <a:pt x="201930" y="371475"/>
                    </a:lnTo>
                    <a:lnTo>
                      <a:pt x="195263" y="372428"/>
                    </a:lnTo>
                    <a:lnTo>
                      <a:pt x="188595" y="373380"/>
                    </a:lnTo>
                    <a:lnTo>
                      <a:pt x="181928" y="373380"/>
                    </a:lnTo>
                    <a:lnTo>
                      <a:pt x="175260" y="373380"/>
                    </a:lnTo>
                    <a:lnTo>
                      <a:pt x="167640" y="373380"/>
                    </a:lnTo>
                    <a:lnTo>
                      <a:pt x="160972" y="373380"/>
                    </a:lnTo>
                    <a:lnTo>
                      <a:pt x="154305" y="373380"/>
                    </a:lnTo>
                    <a:lnTo>
                      <a:pt x="147638" y="373380"/>
                    </a:lnTo>
                    <a:lnTo>
                      <a:pt x="140970" y="372428"/>
                    </a:lnTo>
                    <a:lnTo>
                      <a:pt x="134303" y="371475"/>
                    </a:lnTo>
                    <a:lnTo>
                      <a:pt x="127635" y="370522"/>
                    </a:lnTo>
                    <a:lnTo>
                      <a:pt x="121920" y="369570"/>
                    </a:lnTo>
                    <a:lnTo>
                      <a:pt x="116205" y="368618"/>
                    </a:lnTo>
                    <a:lnTo>
                      <a:pt x="110490" y="366712"/>
                    </a:lnTo>
                    <a:lnTo>
                      <a:pt x="104775" y="364808"/>
                    </a:lnTo>
                    <a:lnTo>
                      <a:pt x="99060" y="362903"/>
                    </a:lnTo>
                    <a:lnTo>
                      <a:pt x="93345" y="360045"/>
                    </a:lnTo>
                    <a:lnTo>
                      <a:pt x="87630" y="358140"/>
                    </a:lnTo>
                    <a:lnTo>
                      <a:pt x="82867" y="355283"/>
                    </a:lnTo>
                    <a:lnTo>
                      <a:pt x="77153" y="352425"/>
                    </a:lnTo>
                    <a:lnTo>
                      <a:pt x="72390" y="349568"/>
                    </a:lnTo>
                    <a:lnTo>
                      <a:pt x="67628" y="346710"/>
                    </a:lnTo>
                    <a:lnTo>
                      <a:pt x="62865" y="343853"/>
                    </a:lnTo>
                    <a:lnTo>
                      <a:pt x="58103" y="340995"/>
                    </a:lnTo>
                    <a:lnTo>
                      <a:pt x="54292" y="337185"/>
                    </a:lnTo>
                    <a:lnTo>
                      <a:pt x="50482" y="333375"/>
                    </a:lnTo>
                    <a:lnTo>
                      <a:pt x="46672" y="329565"/>
                    </a:lnTo>
                    <a:lnTo>
                      <a:pt x="42863" y="325755"/>
                    </a:lnTo>
                    <a:lnTo>
                      <a:pt x="39053" y="321945"/>
                    </a:lnTo>
                    <a:lnTo>
                      <a:pt x="37147" y="317183"/>
                    </a:lnTo>
                    <a:lnTo>
                      <a:pt x="34290" y="313372"/>
                    </a:lnTo>
                    <a:lnTo>
                      <a:pt x="31432" y="308610"/>
                    </a:lnTo>
                    <a:lnTo>
                      <a:pt x="28575" y="303847"/>
                    </a:lnTo>
                    <a:lnTo>
                      <a:pt x="25717" y="299085"/>
                    </a:lnTo>
                    <a:lnTo>
                      <a:pt x="22860" y="294322"/>
                    </a:lnTo>
                    <a:lnTo>
                      <a:pt x="20003" y="289560"/>
                    </a:lnTo>
                    <a:lnTo>
                      <a:pt x="18097" y="284797"/>
                    </a:lnTo>
                    <a:lnTo>
                      <a:pt x="14288" y="274320"/>
                    </a:lnTo>
                    <a:lnTo>
                      <a:pt x="10478" y="263843"/>
                    </a:lnTo>
                    <a:lnTo>
                      <a:pt x="7620" y="253365"/>
                    </a:lnTo>
                    <a:lnTo>
                      <a:pt x="4763" y="241935"/>
                    </a:lnTo>
                    <a:lnTo>
                      <a:pt x="2857" y="229552"/>
                    </a:lnTo>
                    <a:lnTo>
                      <a:pt x="953" y="217170"/>
                    </a:lnTo>
                    <a:lnTo>
                      <a:pt x="0" y="204788"/>
                    </a:lnTo>
                    <a:lnTo>
                      <a:pt x="0" y="192405"/>
                    </a:lnTo>
                    <a:lnTo>
                      <a:pt x="0" y="179070"/>
                    </a:lnTo>
                    <a:lnTo>
                      <a:pt x="953" y="165735"/>
                    </a:lnTo>
                    <a:lnTo>
                      <a:pt x="2857" y="152400"/>
                    </a:lnTo>
                    <a:lnTo>
                      <a:pt x="4763" y="140018"/>
                    </a:lnTo>
                    <a:lnTo>
                      <a:pt x="7620" y="127635"/>
                    </a:lnTo>
                    <a:lnTo>
                      <a:pt x="10478" y="116205"/>
                    </a:lnTo>
                    <a:lnTo>
                      <a:pt x="14288" y="104775"/>
                    </a:lnTo>
                    <a:lnTo>
                      <a:pt x="18097" y="93345"/>
                    </a:lnTo>
                    <a:lnTo>
                      <a:pt x="20003" y="87630"/>
                    </a:lnTo>
                    <a:lnTo>
                      <a:pt x="22860" y="81915"/>
                    </a:lnTo>
                    <a:lnTo>
                      <a:pt x="25717" y="76200"/>
                    </a:lnTo>
                    <a:lnTo>
                      <a:pt x="28575" y="71438"/>
                    </a:lnTo>
                    <a:lnTo>
                      <a:pt x="31432" y="66675"/>
                    </a:lnTo>
                    <a:lnTo>
                      <a:pt x="34290" y="61913"/>
                    </a:lnTo>
                    <a:lnTo>
                      <a:pt x="37147" y="57150"/>
                    </a:lnTo>
                    <a:lnTo>
                      <a:pt x="40005" y="53340"/>
                    </a:lnTo>
                    <a:lnTo>
                      <a:pt x="43815" y="49530"/>
                    </a:lnTo>
                    <a:lnTo>
                      <a:pt x="46672" y="45720"/>
                    </a:lnTo>
                    <a:lnTo>
                      <a:pt x="50482" y="41910"/>
                    </a:lnTo>
                    <a:lnTo>
                      <a:pt x="54292" y="38100"/>
                    </a:lnTo>
                    <a:lnTo>
                      <a:pt x="58103" y="34290"/>
                    </a:lnTo>
                    <a:lnTo>
                      <a:pt x="61913" y="30480"/>
                    </a:lnTo>
                    <a:lnTo>
                      <a:pt x="65722" y="27622"/>
                    </a:lnTo>
                    <a:lnTo>
                      <a:pt x="69532" y="24765"/>
                    </a:lnTo>
                    <a:lnTo>
                      <a:pt x="73342" y="21907"/>
                    </a:lnTo>
                    <a:lnTo>
                      <a:pt x="78105" y="19050"/>
                    </a:lnTo>
                    <a:lnTo>
                      <a:pt x="81915" y="16193"/>
                    </a:lnTo>
                    <a:lnTo>
                      <a:pt x="86678" y="13335"/>
                    </a:lnTo>
                    <a:lnTo>
                      <a:pt x="91440" y="11430"/>
                    </a:lnTo>
                    <a:lnTo>
                      <a:pt x="96203" y="9525"/>
                    </a:lnTo>
                    <a:lnTo>
                      <a:pt x="100965" y="7620"/>
                    </a:lnTo>
                    <a:lnTo>
                      <a:pt x="105728" y="5715"/>
                    </a:lnTo>
                    <a:lnTo>
                      <a:pt x="110490" y="4763"/>
                    </a:lnTo>
                    <a:lnTo>
                      <a:pt x="115253" y="3810"/>
                    </a:lnTo>
                    <a:lnTo>
                      <a:pt x="120967" y="2857"/>
                    </a:lnTo>
                    <a:lnTo>
                      <a:pt x="126682" y="1905"/>
                    </a:lnTo>
                    <a:lnTo>
                      <a:pt x="132397" y="952"/>
                    </a:lnTo>
                    <a:lnTo>
                      <a:pt x="138113" y="0"/>
                    </a:lnTo>
                    <a:lnTo>
                      <a:pt x="143828" y="0"/>
                    </a:lnTo>
                    <a:lnTo>
                      <a:pt x="149542" y="0"/>
                    </a:lnTo>
                    <a:lnTo>
                      <a:pt x="157163" y="0"/>
                    </a:lnTo>
                    <a:lnTo>
                      <a:pt x="164782" y="0"/>
                    </a:lnTo>
                    <a:lnTo>
                      <a:pt x="172403" y="952"/>
                    </a:lnTo>
                    <a:lnTo>
                      <a:pt x="180022" y="1905"/>
                    </a:lnTo>
                    <a:lnTo>
                      <a:pt x="186690" y="2857"/>
                    </a:lnTo>
                    <a:lnTo>
                      <a:pt x="193357" y="4763"/>
                    </a:lnTo>
                    <a:lnTo>
                      <a:pt x="200025" y="6668"/>
                    </a:lnTo>
                    <a:lnTo>
                      <a:pt x="206692" y="9525"/>
                    </a:lnTo>
                    <a:lnTo>
                      <a:pt x="213360" y="12382"/>
                    </a:lnTo>
                    <a:lnTo>
                      <a:pt x="219075" y="15240"/>
                    </a:lnTo>
                    <a:lnTo>
                      <a:pt x="225742" y="19050"/>
                    </a:lnTo>
                    <a:lnTo>
                      <a:pt x="231457" y="22860"/>
                    </a:lnTo>
                    <a:lnTo>
                      <a:pt x="237172" y="26670"/>
                    </a:lnTo>
                    <a:lnTo>
                      <a:pt x="242888" y="31432"/>
                    </a:lnTo>
                    <a:lnTo>
                      <a:pt x="247650" y="36195"/>
                    </a:lnTo>
                    <a:lnTo>
                      <a:pt x="253365" y="41910"/>
                    </a:lnTo>
                    <a:lnTo>
                      <a:pt x="258128" y="47625"/>
                    </a:lnTo>
                    <a:lnTo>
                      <a:pt x="262890" y="54293"/>
                    </a:lnTo>
                    <a:lnTo>
                      <a:pt x="266700" y="60960"/>
                    </a:lnTo>
                    <a:lnTo>
                      <a:pt x="270510" y="67627"/>
                    </a:lnTo>
                    <a:lnTo>
                      <a:pt x="274320" y="75247"/>
                    </a:lnTo>
                    <a:lnTo>
                      <a:pt x="278130" y="82868"/>
                    </a:lnTo>
                    <a:lnTo>
                      <a:pt x="280988" y="91440"/>
                    </a:lnTo>
                    <a:lnTo>
                      <a:pt x="283845" y="100965"/>
                    </a:lnTo>
                    <a:lnTo>
                      <a:pt x="286703" y="110490"/>
                    </a:lnTo>
                    <a:lnTo>
                      <a:pt x="289560" y="120968"/>
                    </a:lnTo>
                    <a:lnTo>
                      <a:pt x="291465" y="131445"/>
                    </a:lnTo>
                    <a:lnTo>
                      <a:pt x="292417" y="142875"/>
                    </a:lnTo>
                    <a:lnTo>
                      <a:pt x="294322" y="154305"/>
                    </a:lnTo>
                    <a:lnTo>
                      <a:pt x="295275" y="166688"/>
                    </a:lnTo>
                    <a:lnTo>
                      <a:pt x="296228" y="179070"/>
                    </a:lnTo>
                    <a:lnTo>
                      <a:pt x="296228" y="192405"/>
                    </a:lnTo>
                    <a:lnTo>
                      <a:pt x="296228" y="209550"/>
                    </a:lnTo>
                    <a:lnTo>
                      <a:pt x="84772" y="209550"/>
                    </a:lnTo>
                    <a:lnTo>
                      <a:pt x="84772" y="215265"/>
                    </a:lnTo>
                    <a:lnTo>
                      <a:pt x="84772" y="221933"/>
                    </a:lnTo>
                    <a:lnTo>
                      <a:pt x="84772" y="227647"/>
                    </a:lnTo>
                    <a:lnTo>
                      <a:pt x="85725" y="233363"/>
                    </a:lnTo>
                    <a:lnTo>
                      <a:pt x="86678" y="239077"/>
                    </a:lnTo>
                    <a:lnTo>
                      <a:pt x="87630" y="244793"/>
                    </a:lnTo>
                    <a:lnTo>
                      <a:pt x="88582" y="249555"/>
                    </a:lnTo>
                    <a:lnTo>
                      <a:pt x="89535" y="254318"/>
                    </a:lnTo>
                    <a:lnTo>
                      <a:pt x="90488" y="259080"/>
                    </a:lnTo>
                    <a:lnTo>
                      <a:pt x="92392" y="263843"/>
                    </a:lnTo>
                    <a:lnTo>
                      <a:pt x="94297" y="267653"/>
                    </a:lnTo>
                    <a:lnTo>
                      <a:pt x="96203" y="271462"/>
                    </a:lnTo>
                    <a:lnTo>
                      <a:pt x="98107" y="275272"/>
                    </a:lnTo>
                    <a:lnTo>
                      <a:pt x="100965" y="279083"/>
                    </a:lnTo>
                    <a:lnTo>
                      <a:pt x="103822" y="282893"/>
                    </a:lnTo>
                    <a:lnTo>
                      <a:pt x="106680" y="285750"/>
                    </a:lnTo>
                    <a:lnTo>
                      <a:pt x="109538" y="288608"/>
                    </a:lnTo>
                    <a:lnTo>
                      <a:pt x="112395" y="291465"/>
                    </a:lnTo>
                    <a:lnTo>
                      <a:pt x="115253" y="294322"/>
                    </a:lnTo>
                    <a:lnTo>
                      <a:pt x="119063" y="297180"/>
                    </a:lnTo>
                    <a:lnTo>
                      <a:pt x="122872" y="298133"/>
                    </a:lnTo>
                    <a:lnTo>
                      <a:pt x="126682" y="300037"/>
                    </a:lnTo>
                    <a:lnTo>
                      <a:pt x="130492" y="301943"/>
                    </a:lnTo>
                    <a:lnTo>
                      <a:pt x="134303" y="303847"/>
                    </a:lnTo>
                    <a:lnTo>
                      <a:pt x="139065" y="304800"/>
                    </a:lnTo>
                    <a:lnTo>
                      <a:pt x="143828" y="305753"/>
                    </a:lnTo>
                    <a:lnTo>
                      <a:pt x="148590" y="306705"/>
                    </a:lnTo>
                    <a:lnTo>
                      <a:pt x="153353" y="307658"/>
                    </a:lnTo>
                    <a:lnTo>
                      <a:pt x="159067" y="308610"/>
                    </a:lnTo>
                    <a:lnTo>
                      <a:pt x="164782" y="309562"/>
                    </a:lnTo>
                    <a:lnTo>
                      <a:pt x="170497" y="309562"/>
                    </a:lnTo>
                    <a:lnTo>
                      <a:pt x="176213" y="309562"/>
                    </a:lnTo>
                    <a:lnTo>
                      <a:pt x="188595" y="309562"/>
                    </a:lnTo>
                    <a:lnTo>
                      <a:pt x="200025" y="308610"/>
                    </a:lnTo>
                    <a:lnTo>
                      <a:pt x="210503" y="307658"/>
                    </a:lnTo>
                    <a:lnTo>
                      <a:pt x="220028" y="305753"/>
                    </a:lnTo>
                    <a:lnTo>
                      <a:pt x="228600" y="303847"/>
                    </a:lnTo>
                    <a:lnTo>
                      <a:pt x="236220" y="300990"/>
                    </a:lnTo>
                    <a:lnTo>
                      <a:pt x="243840" y="298133"/>
                    </a:lnTo>
                    <a:lnTo>
                      <a:pt x="250507" y="295275"/>
                    </a:lnTo>
                    <a:lnTo>
                      <a:pt x="256222" y="292418"/>
                    </a:lnTo>
                    <a:lnTo>
                      <a:pt x="261938" y="288608"/>
                    </a:lnTo>
                    <a:lnTo>
                      <a:pt x="267653" y="284797"/>
                    </a:lnTo>
                    <a:lnTo>
                      <a:pt x="274320" y="281940"/>
                    </a:lnTo>
                    <a:lnTo>
                      <a:pt x="274320" y="281940"/>
                    </a:lnTo>
                    <a:close/>
                    <a:moveTo>
                      <a:pt x="84772" y="155258"/>
                    </a:moveTo>
                    <a:lnTo>
                      <a:pt x="210503" y="155258"/>
                    </a:lnTo>
                    <a:lnTo>
                      <a:pt x="210503" y="142875"/>
                    </a:lnTo>
                    <a:lnTo>
                      <a:pt x="209550" y="132397"/>
                    </a:lnTo>
                    <a:lnTo>
                      <a:pt x="208597" y="121920"/>
                    </a:lnTo>
                    <a:lnTo>
                      <a:pt x="206692" y="112395"/>
                    </a:lnTo>
                    <a:lnTo>
                      <a:pt x="204788" y="103822"/>
                    </a:lnTo>
                    <a:lnTo>
                      <a:pt x="201930" y="95250"/>
                    </a:lnTo>
                    <a:lnTo>
                      <a:pt x="200978" y="91440"/>
                    </a:lnTo>
                    <a:lnTo>
                      <a:pt x="199072" y="87630"/>
                    </a:lnTo>
                    <a:lnTo>
                      <a:pt x="197167" y="83820"/>
                    </a:lnTo>
                    <a:lnTo>
                      <a:pt x="195263" y="80963"/>
                    </a:lnTo>
                    <a:lnTo>
                      <a:pt x="193357" y="78105"/>
                    </a:lnTo>
                    <a:lnTo>
                      <a:pt x="191453" y="75247"/>
                    </a:lnTo>
                    <a:lnTo>
                      <a:pt x="188595" y="72390"/>
                    </a:lnTo>
                    <a:lnTo>
                      <a:pt x="186690" y="70485"/>
                    </a:lnTo>
                    <a:lnTo>
                      <a:pt x="183832" y="67627"/>
                    </a:lnTo>
                    <a:lnTo>
                      <a:pt x="180975" y="65722"/>
                    </a:lnTo>
                    <a:lnTo>
                      <a:pt x="178117" y="63818"/>
                    </a:lnTo>
                    <a:lnTo>
                      <a:pt x="175260" y="61913"/>
                    </a:lnTo>
                    <a:lnTo>
                      <a:pt x="172403" y="60960"/>
                    </a:lnTo>
                    <a:lnTo>
                      <a:pt x="169545" y="60007"/>
                    </a:lnTo>
                    <a:lnTo>
                      <a:pt x="166688" y="59055"/>
                    </a:lnTo>
                    <a:lnTo>
                      <a:pt x="163830" y="58102"/>
                    </a:lnTo>
                    <a:lnTo>
                      <a:pt x="160020" y="57150"/>
                    </a:lnTo>
                    <a:lnTo>
                      <a:pt x="157163" y="57150"/>
                    </a:lnTo>
                    <a:lnTo>
                      <a:pt x="153353" y="57150"/>
                    </a:lnTo>
                    <a:lnTo>
                      <a:pt x="149542" y="57150"/>
                    </a:lnTo>
                    <a:lnTo>
                      <a:pt x="145732" y="57150"/>
                    </a:lnTo>
                    <a:lnTo>
                      <a:pt x="141922" y="57150"/>
                    </a:lnTo>
                    <a:lnTo>
                      <a:pt x="138113" y="58102"/>
                    </a:lnTo>
                    <a:lnTo>
                      <a:pt x="134303" y="59055"/>
                    </a:lnTo>
                    <a:lnTo>
                      <a:pt x="130492" y="60007"/>
                    </a:lnTo>
                    <a:lnTo>
                      <a:pt x="126682" y="60960"/>
                    </a:lnTo>
                    <a:lnTo>
                      <a:pt x="123825" y="61913"/>
                    </a:lnTo>
                    <a:lnTo>
                      <a:pt x="120967" y="63818"/>
                    </a:lnTo>
                    <a:lnTo>
                      <a:pt x="118110" y="65722"/>
                    </a:lnTo>
                    <a:lnTo>
                      <a:pt x="115253" y="67627"/>
                    </a:lnTo>
                    <a:lnTo>
                      <a:pt x="112395" y="69532"/>
                    </a:lnTo>
                    <a:lnTo>
                      <a:pt x="109538" y="72390"/>
                    </a:lnTo>
                    <a:lnTo>
                      <a:pt x="106680" y="75247"/>
                    </a:lnTo>
                    <a:lnTo>
                      <a:pt x="103822" y="78105"/>
                    </a:lnTo>
                    <a:lnTo>
                      <a:pt x="101917" y="80963"/>
                    </a:lnTo>
                    <a:lnTo>
                      <a:pt x="100013" y="84772"/>
                    </a:lnTo>
                    <a:lnTo>
                      <a:pt x="96203" y="92393"/>
                    </a:lnTo>
                    <a:lnTo>
                      <a:pt x="92392" y="100013"/>
                    </a:lnTo>
                    <a:lnTo>
                      <a:pt x="89535" y="107632"/>
                    </a:lnTo>
                    <a:lnTo>
                      <a:pt x="87630" y="116205"/>
                    </a:lnTo>
                    <a:lnTo>
                      <a:pt x="85725" y="124777"/>
                    </a:lnTo>
                    <a:lnTo>
                      <a:pt x="83820" y="133350"/>
                    </a:lnTo>
                    <a:lnTo>
                      <a:pt x="82867" y="142875"/>
                    </a:lnTo>
                    <a:lnTo>
                      <a:pt x="84772" y="155258"/>
                    </a:lnTo>
                    <a:lnTo>
                      <a:pt x="84772" y="155258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C2514927-E0B1-6CEA-7972-BCB16381DDE4}"/>
                  </a:ext>
                </a:extLst>
              </p:cNvPr>
              <p:cNvSpPr/>
              <p:nvPr/>
            </p:nvSpPr>
            <p:spPr>
              <a:xfrm>
                <a:off x="10601959" y="4132986"/>
                <a:ext cx="296227" cy="374332"/>
              </a:xfrm>
              <a:custGeom>
                <a:avLst/>
                <a:gdLst>
                  <a:gd name="connsiteX0" fmla="*/ 40005 w 296227"/>
                  <a:gd name="connsiteY0" fmla="*/ 96203 h 374332"/>
                  <a:gd name="connsiteX1" fmla="*/ 35243 w 296227"/>
                  <a:gd name="connsiteY1" fmla="*/ 25718 h 374332"/>
                  <a:gd name="connsiteX2" fmla="*/ 47625 w 296227"/>
                  <a:gd name="connsiteY2" fmla="*/ 20003 h 374332"/>
                  <a:gd name="connsiteX3" fmla="*/ 60008 w 296227"/>
                  <a:gd name="connsiteY3" fmla="*/ 15240 h 374332"/>
                  <a:gd name="connsiteX4" fmla="*/ 73343 w 296227"/>
                  <a:gd name="connsiteY4" fmla="*/ 10478 h 374332"/>
                  <a:gd name="connsiteX5" fmla="*/ 86678 w 296227"/>
                  <a:gd name="connsiteY5" fmla="*/ 6668 h 374332"/>
                  <a:gd name="connsiteX6" fmla="*/ 93345 w 296227"/>
                  <a:gd name="connsiteY6" fmla="*/ 4763 h 374332"/>
                  <a:gd name="connsiteX7" fmla="*/ 100965 w 296227"/>
                  <a:gd name="connsiteY7" fmla="*/ 3810 h 374332"/>
                  <a:gd name="connsiteX8" fmla="*/ 108585 w 296227"/>
                  <a:gd name="connsiteY8" fmla="*/ 2857 h 374332"/>
                  <a:gd name="connsiteX9" fmla="*/ 116205 w 296227"/>
                  <a:gd name="connsiteY9" fmla="*/ 1905 h 374332"/>
                  <a:gd name="connsiteX10" fmla="*/ 124778 w 296227"/>
                  <a:gd name="connsiteY10" fmla="*/ 953 h 374332"/>
                  <a:gd name="connsiteX11" fmla="*/ 133350 w 296227"/>
                  <a:gd name="connsiteY11" fmla="*/ 0 h 374332"/>
                  <a:gd name="connsiteX12" fmla="*/ 141922 w 296227"/>
                  <a:gd name="connsiteY12" fmla="*/ 0 h 374332"/>
                  <a:gd name="connsiteX13" fmla="*/ 152400 w 296227"/>
                  <a:gd name="connsiteY13" fmla="*/ 0 h 374332"/>
                  <a:gd name="connsiteX14" fmla="*/ 165735 w 296227"/>
                  <a:gd name="connsiteY14" fmla="*/ 0 h 374332"/>
                  <a:gd name="connsiteX15" fmla="*/ 178118 w 296227"/>
                  <a:gd name="connsiteY15" fmla="*/ 953 h 374332"/>
                  <a:gd name="connsiteX16" fmla="*/ 189547 w 296227"/>
                  <a:gd name="connsiteY16" fmla="*/ 1905 h 374332"/>
                  <a:gd name="connsiteX17" fmla="*/ 200025 w 296227"/>
                  <a:gd name="connsiteY17" fmla="*/ 3810 h 374332"/>
                  <a:gd name="connsiteX18" fmla="*/ 210503 w 296227"/>
                  <a:gd name="connsiteY18" fmla="*/ 6668 h 374332"/>
                  <a:gd name="connsiteX19" fmla="*/ 220028 w 296227"/>
                  <a:gd name="connsiteY19" fmla="*/ 9525 h 374332"/>
                  <a:gd name="connsiteX20" fmla="*/ 223838 w 296227"/>
                  <a:gd name="connsiteY20" fmla="*/ 11430 h 374332"/>
                  <a:gd name="connsiteX21" fmla="*/ 228600 w 296227"/>
                  <a:gd name="connsiteY21" fmla="*/ 13335 h 374332"/>
                  <a:gd name="connsiteX22" fmla="*/ 232410 w 296227"/>
                  <a:gd name="connsiteY22" fmla="*/ 15240 h 374332"/>
                  <a:gd name="connsiteX23" fmla="*/ 236220 w 296227"/>
                  <a:gd name="connsiteY23" fmla="*/ 17145 h 374332"/>
                  <a:gd name="connsiteX24" fmla="*/ 243840 w 296227"/>
                  <a:gd name="connsiteY24" fmla="*/ 20955 h 374332"/>
                  <a:gd name="connsiteX25" fmla="*/ 250508 w 296227"/>
                  <a:gd name="connsiteY25" fmla="*/ 26670 h 374332"/>
                  <a:gd name="connsiteX26" fmla="*/ 253365 w 296227"/>
                  <a:gd name="connsiteY26" fmla="*/ 29528 h 374332"/>
                  <a:gd name="connsiteX27" fmla="*/ 256222 w 296227"/>
                  <a:gd name="connsiteY27" fmla="*/ 32385 h 374332"/>
                  <a:gd name="connsiteX28" fmla="*/ 259080 w 296227"/>
                  <a:gd name="connsiteY28" fmla="*/ 35243 h 374332"/>
                  <a:gd name="connsiteX29" fmla="*/ 261938 w 296227"/>
                  <a:gd name="connsiteY29" fmla="*/ 38100 h 374332"/>
                  <a:gd name="connsiteX30" fmla="*/ 263842 w 296227"/>
                  <a:gd name="connsiteY30" fmla="*/ 40957 h 374332"/>
                  <a:gd name="connsiteX31" fmla="*/ 266700 w 296227"/>
                  <a:gd name="connsiteY31" fmla="*/ 43815 h 374332"/>
                  <a:gd name="connsiteX32" fmla="*/ 268605 w 296227"/>
                  <a:gd name="connsiteY32" fmla="*/ 47625 h 374332"/>
                  <a:gd name="connsiteX33" fmla="*/ 271463 w 296227"/>
                  <a:gd name="connsiteY33" fmla="*/ 50482 h 374332"/>
                  <a:gd name="connsiteX34" fmla="*/ 273367 w 296227"/>
                  <a:gd name="connsiteY34" fmla="*/ 54293 h 374332"/>
                  <a:gd name="connsiteX35" fmla="*/ 275272 w 296227"/>
                  <a:gd name="connsiteY35" fmla="*/ 58103 h 374332"/>
                  <a:gd name="connsiteX36" fmla="*/ 277178 w 296227"/>
                  <a:gd name="connsiteY36" fmla="*/ 61913 h 374332"/>
                  <a:gd name="connsiteX37" fmla="*/ 279083 w 296227"/>
                  <a:gd name="connsiteY37" fmla="*/ 65723 h 374332"/>
                  <a:gd name="connsiteX38" fmla="*/ 281940 w 296227"/>
                  <a:gd name="connsiteY38" fmla="*/ 74295 h 374332"/>
                  <a:gd name="connsiteX39" fmla="*/ 283845 w 296227"/>
                  <a:gd name="connsiteY39" fmla="*/ 82868 h 374332"/>
                  <a:gd name="connsiteX40" fmla="*/ 285750 w 296227"/>
                  <a:gd name="connsiteY40" fmla="*/ 92393 h 374332"/>
                  <a:gd name="connsiteX41" fmla="*/ 287655 w 296227"/>
                  <a:gd name="connsiteY41" fmla="*/ 101918 h 374332"/>
                  <a:gd name="connsiteX42" fmla="*/ 288608 w 296227"/>
                  <a:gd name="connsiteY42" fmla="*/ 112395 h 374332"/>
                  <a:gd name="connsiteX43" fmla="*/ 289560 w 296227"/>
                  <a:gd name="connsiteY43" fmla="*/ 122873 h 374332"/>
                  <a:gd name="connsiteX44" fmla="*/ 290513 w 296227"/>
                  <a:gd name="connsiteY44" fmla="*/ 134303 h 374332"/>
                  <a:gd name="connsiteX45" fmla="*/ 290513 w 296227"/>
                  <a:gd name="connsiteY45" fmla="*/ 144780 h 374332"/>
                  <a:gd name="connsiteX46" fmla="*/ 290513 w 296227"/>
                  <a:gd name="connsiteY46" fmla="*/ 303847 h 374332"/>
                  <a:gd name="connsiteX47" fmla="*/ 290513 w 296227"/>
                  <a:gd name="connsiteY47" fmla="*/ 312420 h 374332"/>
                  <a:gd name="connsiteX48" fmla="*/ 290513 w 296227"/>
                  <a:gd name="connsiteY48" fmla="*/ 320993 h 374332"/>
                  <a:gd name="connsiteX49" fmla="*/ 290513 w 296227"/>
                  <a:gd name="connsiteY49" fmla="*/ 328613 h 374332"/>
                  <a:gd name="connsiteX50" fmla="*/ 291465 w 296227"/>
                  <a:gd name="connsiteY50" fmla="*/ 337185 h 374332"/>
                  <a:gd name="connsiteX51" fmla="*/ 292417 w 296227"/>
                  <a:gd name="connsiteY51" fmla="*/ 344805 h 374332"/>
                  <a:gd name="connsiteX52" fmla="*/ 293370 w 296227"/>
                  <a:gd name="connsiteY52" fmla="*/ 353378 h 374332"/>
                  <a:gd name="connsiteX53" fmla="*/ 294322 w 296227"/>
                  <a:gd name="connsiteY53" fmla="*/ 360997 h 374332"/>
                  <a:gd name="connsiteX54" fmla="*/ 296228 w 296227"/>
                  <a:gd name="connsiteY54" fmla="*/ 368618 h 374332"/>
                  <a:gd name="connsiteX55" fmla="*/ 217170 w 296227"/>
                  <a:gd name="connsiteY55" fmla="*/ 368618 h 374332"/>
                  <a:gd name="connsiteX56" fmla="*/ 216218 w 296227"/>
                  <a:gd name="connsiteY56" fmla="*/ 363855 h 374332"/>
                  <a:gd name="connsiteX57" fmla="*/ 215265 w 296227"/>
                  <a:gd name="connsiteY57" fmla="*/ 359093 h 374332"/>
                  <a:gd name="connsiteX58" fmla="*/ 214313 w 296227"/>
                  <a:gd name="connsiteY58" fmla="*/ 353378 h 374332"/>
                  <a:gd name="connsiteX59" fmla="*/ 213360 w 296227"/>
                  <a:gd name="connsiteY59" fmla="*/ 347663 h 374332"/>
                  <a:gd name="connsiteX60" fmla="*/ 212408 w 296227"/>
                  <a:gd name="connsiteY60" fmla="*/ 340995 h 374332"/>
                  <a:gd name="connsiteX61" fmla="*/ 212408 w 296227"/>
                  <a:gd name="connsiteY61" fmla="*/ 334328 h 374332"/>
                  <a:gd name="connsiteX62" fmla="*/ 212408 w 296227"/>
                  <a:gd name="connsiteY62" fmla="*/ 326708 h 374332"/>
                  <a:gd name="connsiteX63" fmla="*/ 212408 w 296227"/>
                  <a:gd name="connsiteY63" fmla="*/ 318135 h 374332"/>
                  <a:gd name="connsiteX64" fmla="*/ 211455 w 296227"/>
                  <a:gd name="connsiteY64" fmla="*/ 318135 h 374332"/>
                  <a:gd name="connsiteX65" fmla="*/ 206693 w 296227"/>
                  <a:gd name="connsiteY65" fmla="*/ 324803 h 374332"/>
                  <a:gd name="connsiteX66" fmla="*/ 200978 w 296227"/>
                  <a:gd name="connsiteY66" fmla="*/ 331470 h 374332"/>
                  <a:gd name="connsiteX67" fmla="*/ 196215 w 296227"/>
                  <a:gd name="connsiteY67" fmla="*/ 337185 h 374332"/>
                  <a:gd name="connsiteX68" fmla="*/ 190500 w 296227"/>
                  <a:gd name="connsiteY68" fmla="*/ 341947 h 374332"/>
                  <a:gd name="connsiteX69" fmla="*/ 184785 w 296227"/>
                  <a:gd name="connsiteY69" fmla="*/ 346710 h 374332"/>
                  <a:gd name="connsiteX70" fmla="*/ 179070 w 296227"/>
                  <a:gd name="connsiteY70" fmla="*/ 351472 h 374332"/>
                  <a:gd name="connsiteX71" fmla="*/ 173355 w 296227"/>
                  <a:gd name="connsiteY71" fmla="*/ 355283 h 374332"/>
                  <a:gd name="connsiteX72" fmla="*/ 167640 w 296227"/>
                  <a:gd name="connsiteY72" fmla="*/ 359093 h 374332"/>
                  <a:gd name="connsiteX73" fmla="*/ 161925 w 296227"/>
                  <a:gd name="connsiteY73" fmla="*/ 362903 h 374332"/>
                  <a:gd name="connsiteX74" fmla="*/ 155258 w 296227"/>
                  <a:gd name="connsiteY74" fmla="*/ 365760 h 374332"/>
                  <a:gd name="connsiteX75" fmla="*/ 148590 w 296227"/>
                  <a:gd name="connsiteY75" fmla="*/ 368618 h 374332"/>
                  <a:gd name="connsiteX76" fmla="*/ 140970 w 296227"/>
                  <a:gd name="connsiteY76" fmla="*/ 370522 h 374332"/>
                  <a:gd name="connsiteX77" fmla="*/ 133350 w 296227"/>
                  <a:gd name="connsiteY77" fmla="*/ 372428 h 374332"/>
                  <a:gd name="connsiteX78" fmla="*/ 125730 w 296227"/>
                  <a:gd name="connsiteY78" fmla="*/ 373380 h 374332"/>
                  <a:gd name="connsiteX79" fmla="*/ 117158 w 296227"/>
                  <a:gd name="connsiteY79" fmla="*/ 374333 h 374332"/>
                  <a:gd name="connsiteX80" fmla="*/ 108585 w 296227"/>
                  <a:gd name="connsiteY80" fmla="*/ 374333 h 374332"/>
                  <a:gd name="connsiteX81" fmla="*/ 100965 w 296227"/>
                  <a:gd name="connsiteY81" fmla="*/ 374333 h 374332"/>
                  <a:gd name="connsiteX82" fmla="*/ 94297 w 296227"/>
                  <a:gd name="connsiteY82" fmla="*/ 373380 h 374332"/>
                  <a:gd name="connsiteX83" fmla="*/ 87630 w 296227"/>
                  <a:gd name="connsiteY83" fmla="*/ 372428 h 374332"/>
                  <a:gd name="connsiteX84" fmla="*/ 80963 w 296227"/>
                  <a:gd name="connsiteY84" fmla="*/ 370522 h 374332"/>
                  <a:gd name="connsiteX85" fmla="*/ 74295 w 296227"/>
                  <a:gd name="connsiteY85" fmla="*/ 368618 h 374332"/>
                  <a:gd name="connsiteX86" fmla="*/ 67628 w 296227"/>
                  <a:gd name="connsiteY86" fmla="*/ 366713 h 374332"/>
                  <a:gd name="connsiteX87" fmla="*/ 60960 w 296227"/>
                  <a:gd name="connsiteY87" fmla="*/ 363855 h 374332"/>
                  <a:gd name="connsiteX88" fmla="*/ 54293 w 296227"/>
                  <a:gd name="connsiteY88" fmla="*/ 360997 h 374332"/>
                  <a:gd name="connsiteX89" fmla="*/ 48578 w 296227"/>
                  <a:gd name="connsiteY89" fmla="*/ 358140 h 374332"/>
                  <a:gd name="connsiteX90" fmla="*/ 42863 w 296227"/>
                  <a:gd name="connsiteY90" fmla="*/ 354330 h 374332"/>
                  <a:gd name="connsiteX91" fmla="*/ 37147 w 296227"/>
                  <a:gd name="connsiteY91" fmla="*/ 350520 h 374332"/>
                  <a:gd name="connsiteX92" fmla="*/ 31433 w 296227"/>
                  <a:gd name="connsiteY92" fmla="*/ 345758 h 374332"/>
                  <a:gd name="connsiteX93" fmla="*/ 26670 w 296227"/>
                  <a:gd name="connsiteY93" fmla="*/ 340995 h 374332"/>
                  <a:gd name="connsiteX94" fmla="*/ 22860 w 296227"/>
                  <a:gd name="connsiteY94" fmla="*/ 335280 h 374332"/>
                  <a:gd name="connsiteX95" fmla="*/ 19050 w 296227"/>
                  <a:gd name="connsiteY95" fmla="*/ 329565 h 374332"/>
                  <a:gd name="connsiteX96" fmla="*/ 15240 w 296227"/>
                  <a:gd name="connsiteY96" fmla="*/ 323850 h 374332"/>
                  <a:gd name="connsiteX97" fmla="*/ 11430 w 296227"/>
                  <a:gd name="connsiteY97" fmla="*/ 317183 h 374332"/>
                  <a:gd name="connsiteX98" fmla="*/ 8572 w 296227"/>
                  <a:gd name="connsiteY98" fmla="*/ 310515 h 374332"/>
                  <a:gd name="connsiteX99" fmla="*/ 5715 w 296227"/>
                  <a:gd name="connsiteY99" fmla="*/ 303847 h 374332"/>
                  <a:gd name="connsiteX100" fmla="*/ 3810 w 296227"/>
                  <a:gd name="connsiteY100" fmla="*/ 297180 h 374332"/>
                  <a:gd name="connsiteX101" fmla="*/ 1905 w 296227"/>
                  <a:gd name="connsiteY101" fmla="*/ 290513 h 374332"/>
                  <a:gd name="connsiteX102" fmla="*/ 953 w 296227"/>
                  <a:gd name="connsiteY102" fmla="*/ 282893 h 374332"/>
                  <a:gd name="connsiteX103" fmla="*/ 0 w 296227"/>
                  <a:gd name="connsiteY103" fmla="*/ 275272 h 374332"/>
                  <a:gd name="connsiteX104" fmla="*/ 0 w 296227"/>
                  <a:gd name="connsiteY104" fmla="*/ 266700 h 374332"/>
                  <a:gd name="connsiteX105" fmla="*/ 0 w 296227"/>
                  <a:gd name="connsiteY105" fmla="*/ 260985 h 374332"/>
                  <a:gd name="connsiteX106" fmla="*/ 0 w 296227"/>
                  <a:gd name="connsiteY106" fmla="*/ 255270 h 374332"/>
                  <a:gd name="connsiteX107" fmla="*/ 0 w 296227"/>
                  <a:gd name="connsiteY107" fmla="*/ 249555 h 374332"/>
                  <a:gd name="connsiteX108" fmla="*/ 953 w 296227"/>
                  <a:gd name="connsiteY108" fmla="*/ 243840 h 374332"/>
                  <a:gd name="connsiteX109" fmla="*/ 1905 w 296227"/>
                  <a:gd name="connsiteY109" fmla="*/ 238125 h 374332"/>
                  <a:gd name="connsiteX110" fmla="*/ 2858 w 296227"/>
                  <a:gd name="connsiteY110" fmla="*/ 233363 h 374332"/>
                  <a:gd name="connsiteX111" fmla="*/ 3810 w 296227"/>
                  <a:gd name="connsiteY111" fmla="*/ 228600 h 374332"/>
                  <a:gd name="connsiteX112" fmla="*/ 4763 w 296227"/>
                  <a:gd name="connsiteY112" fmla="*/ 223838 h 374332"/>
                  <a:gd name="connsiteX113" fmla="*/ 5715 w 296227"/>
                  <a:gd name="connsiteY113" fmla="*/ 219075 h 374332"/>
                  <a:gd name="connsiteX114" fmla="*/ 7620 w 296227"/>
                  <a:gd name="connsiteY114" fmla="*/ 214313 h 374332"/>
                  <a:gd name="connsiteX115" fmla="*/ 9525 w 296227"/>
                  <a:gd name="connsiteY115" fmla="*/ 210503 h 374332"/>
                  <a:gd name="connsiteX116" fmla="*/ 11430 w 296227"/>
                  <a:gd name="connsiteY116" fmla="*/ 206693 h 374332"/>
                  <a:gd name="connsiteX117" fmla="*/ 14288 w 296227"/>
                  <a:gd name="connsiteY117" fmla="*/ 202883 h 374332"/>
                  <a:gd name="connsiteX118" fmla="*/ 17145 w 296227"/>
                  <a:gd name="connsiteY118" fmla="*/ 199073 h 374332"/>
                  <a:gd name="connsiteX119" fmla="*/ 20003 w 296227"/>
                  <a:gd name="connsiteY119" fmla="*/ 195263 h 374332"/>
                  <a:gd name="connsiteX120" fmla="*/ 22860 w 296227"/>
                  <a:gd name="connsiteY120" fmla="*/ 191453 h 374332"/>
                  <a:gd name="connsiteX121" fmla="*/ 25718 w 296227"/>
                  <a:gd name="connsiteY121" fmla="*/ 188595 h 374332"/>
                  <a:gd name="connsiteX122" fmla="*/ 28575 w 296227"/>
                  <a:gd name="connsiteY122" fmla="*/ 184785 h 374332"/>
                  <a:gd name="connsiteX123" fmla="*/ 32385 w 296227"/>
                  <a:gd name="connsiteY123" fmla="*/ 181928 h 374332"/>
                  <a:gd name="connsiteX124" fmla="*/ 36195 w 296227"/>
                  <a:gd name="connsiteY124" fmla="*/ 179070 h 374332"/>
                  <a:gd name="connsiteX125" fmla="*/ 40005 w 296227"/>
                  <a:gd name="connsiteY125" fmla="*/ 176213 h 374332"/>
                  <a:gd name="connsiteX126" fmla="*/ 43815 w 296227"/>
                  <a:gd name="connsiteY126" fmla="*/ 173355 h 374332"/>
                  <a:gd name="connsiteX127" fmla="*/ 47625 w 296227"/>
                  <a:gd name="connsiteY127" fmla="*/ 170498 h 374332"/>
                  <a:gd name="connsiteX128" fmla="*/ 51435 w 296227"/>
                  <a:gd name="connsiteY128" fmla="*/ 167640 h 374332"/>
                  <a:gd name="connsiteX129" fmla="*/ 55245 w 296227"/>
                  <a:gd name="connsiteY129" fmla="*/ 164783 h 374332"/>
                  <a:gd name="connsiteX130" fmla="*/ 60008 w 296227"/>
                  <a:gd name="connsiteY130" fmla="*/ 162878 h 374332"/>
                  <a:gd name="connsiteX131" fmla="*/ 63818 w 296227"/>
                  <a:gd name="connsiteY131" fmla="*/ 160973 h 374332"/>
                  <a:gd name="connsiteX132" fmla="*/ 68580 w 296227"/>
                  <a:gd name="connsiteY132" fmla="*/ 159068 h 374332"/>
                  <a:gd name="connsiteX133" fmla="*/ 78105 w 296227"/>
                  <a:gd name="connsiteY133" fmla="*/ 155258 h 374332"/>
                  <a:gd name="connsiteX134" fmla="*/ 88583 w 296227"/>
                  <a:gd name="connsiteY134" fmla="*/ 152400 h 374332"/>
                  <a:gd name="connsiteX135" fmla="*/ 99060 w 296227"/>
                  <a:gd name="connsiteY135" fmla="*/ 149543 h 374332"/>
                  <a:gd name="connsiteX136" fmla="*/ 110490 w 296227"/>
                  <a:gd name="connsiteY136" fmla="*/ 147638 h 374332"/>
                  <a:gd name="connsiteX137" fmla="*/ 122872 w 296227"/>
                  <a:gd name="connsiteY137" fmla="*/ 145733 h 374332"/>
                  <a:gd name="connsiteX138" fmla="*/ 135255 w 296227"/>
                  <a:gd name="connsiteY138" fmla="*/ 144780 h 374332"/>
                  <a:gd name="connsiteX139" fmla="*/ 148590 w 296227"/>
                  <a:gd name="connsiteY139" fmla="*/ 143828 h 374332"/>
                  <a:gd name="connsiteX140" fmla="*/ 161925 w 296227"/>
                  <a:gd name="connsiteY140" fmla="*/ 142875 h 374332"/>
                  <a:gd name="connsiteX141" fmla="*/ 176213 w 296227"/>
                  <a:gd name="connsiteY141" fmla="*/ 142875 h 374332"/>
                  <a:gd name="connsiteX142" fmla="*/ 191453 w 296227"/>
                  <a:gd name="connsiteY142" fmla="*/ 142875 h 374332"/>
                  <a:gd name="connsiteX143" fmla="*/ 209550 w 296227"/>
                  <a:gd name="connsiteY143" fmla="*/ 142875 h 374332"/>
                  <a:gd name="connsiteX144" fmla="*/ 209550 w 296227"/>
                  <a:gd name="connsiteY144" fmla="*/ 129540 h 374332"/>
                  <a:gd name="connsiteX145" fmla="*/ 209550 w 296227"/>
                  <a:gd name="connsiteY145" fmla="*/ 121920 h 374332"/>
                  <a:gd name="connsiteX146" fmla="*/ 208597 w 296227"/>
                  <a:gd name="connsiteY146" fmla="*/ 115253 h 374332"/>
                  <a:gd name="connsiteX147" fmla="*/ 206693 w 296227"/>
                  <a:gd name="connsiteY147" fmla="*/ 108585 h 374332"/>
                  <a:gd name="connsiteX148" fmla="*/ 204788 w 296227"/>
                  <a:gd name="connsiteY148" fmla="*/ 101918 h 374332"/>
                  <a:gd name="connsiteX149" fmla="*/ 201930 w 296227"/>
                  <a:gd name="connsiteY149" fmla="*/ 96203 h 374332"/>
                  <a:gd name="connsiteX150" fmla="*/ 199072 w 296227"/>
                  <a:gd name="connsiteY150" fmla="*/ 90488 h 374332"/>
                  <a:gd name="connsiteX151" fmla="*/ 196215 w 296227"/>
                  <a:gd name="connsiteY151" fmla="*/ 85725 h 374332"/>
                  <a:gd name="connsiteX152" fmla="*/ 192405 w 296227"/>
                  <a:gd name="connsiteY152" fmla="*/ 80010 h 374332"/>
                  <a:gd name="connsiteX153" fmla="*/ 190500 w 296227"/>
                  <a:gd name="connsiteY153" fmla="*/ 78105 h 374332"/>
                  <a:gd name="connsiteX154" fmla="*/ 187643 w 296227"/>
                  <a:gd name="connsiteY154" fmla="*/ 75248 h 374332"/>
                  <a:gd name="connsiteX155" fmla="*/ 185738 w 296227"/>
                  <a:gd name="connsiteY155" fmla="*/ 73343 h 374332"/>
                  <a:gd name="connsiteX156" fmla="*/ 182880 w 296227"/>
                  <a:gd name="connsiteY156" fmla="*/ 71438 h 374332"/>
                  <a:gd name="connsiteX157" fmla="*/ 180022 w 296227"/>
                  <a:gd name="connsiteY157" fmla="*/ 69532 h 374332"/>
                  <a:gd name="connsiteX158" fmla="*/ 177165 w 296227"/>
                  <a:gd name="connsiteY158" fmla="*/ 67628 h 374332"/>
                  <a:gd name="connsiteX159" fmla="*/ 174308 w 296227"/>
                  <a:gd name="connsiteY159" fmla="*/ 66675 h 374332"/>
                  <a:gd name="connsiteX160" fmla="*/ 171450 w 296227"/>
                  <a:gd name="connsiteY160" fmla="*/ 65723 h 374332"/>
                  <a:gd name="connsiteX161" fmla="*/ 168593 w 296227"/>
                  <a:gd name="connsiteY161" fmla="*/ 64770 h 374332"/>
                  <a:gd name="connsiteX162" fmla="*/ 164783 w 296227"/>
                  <a:gd name="connsiteY162" fmla="*/ 63818 h 374332"/>
                  <a:gd name="connsiteX163" fmla="*/ 160972 w 296227"/>
                  <a:gd name="connsiteY163" fmla="*/ 62865 h 374332"/>
                  <a:gd name="connsiteX164" fmla="*/ 157163 w 296227"/>
                  <a:gd name="connsiteY164" fmla="*/ 61913 h 374332"/>
                  <a:gd name="connsiteX165" fmla="*/ 149543 w 296227"/>
                  <a:gd name="connsiteY165" fmla="*/ 60960 h 374332"/>
                  <a:gd name="connsiteX166" fmla="*/ 140970 w 296227"/>
                  <a:gd name="connsiteY166" fmla="*/ 60960 h 374332"/>
                  <a:gd name="connsiteX167" fmla="*/ 133350 w 296227"/>
                  <a:gd name="connsiteY167" fmla="*/ 60960 h 374332"/>
                  <a:gd name="connsiteX168" fmla="*/ 125730 w 296227"/>
                  <a:gd name="connsiteY168" fmla="*/ 61913 h 374332"/>
                  <a:gd name="connsiteX169" fmla="*/ 118110 w 296227"/>
                  <a:gd name="connsiteY169" fmla="*/ 62865 h 374332"/>
                  <a:gd name="connsiteX170" fmla="*/ 111443 w 296227"/>
                  <a:gd name="connsiteY170" fmla="*/ 63818 h 374332"/>
                  <a:gd name="connsiteX171" fmla="*/ 104775 w 296227"/>
                  <a:gd name="connsiteY171" fmla="*/ 64770 h 374332"/>
                  <a:gd name="connsiteX172" fmla="*/ 98108 w 296227"/>
                  <a:gd name="connsiteY172" fmla="*/ 66675 h 374332"/>
                  <a:gd name="connsiteX173" fmla="*/ 91440 w 296227"/>
                  <a:gd name="connsiteY173" fmla="*/ 68580 h 374332"/>
                  <a:gd name="connsiteX174" fmla="*/ 84772 w 296227"/>
                  <a:gd name="connsiteY174" fmla="*/ 71438 h 374332"/>
                  <a:gd name="connsiteX175" fmla="*/ 78105 w 296227"/>
                  <a:gd name="connsiteY175" fmla="*/ 74295 h 374332"/>
                  <a:gd name="connsiteX176" fmla="*/ 71438 w 296227"/>
                  <a:gd name="connsiteY176" fmla="*/ 77153 h 374332"/>
                  <a:gd name="connsiteX177" fmla="*/ 65722 w 296227"/>
                  <a:gd name="connsiteY177" fmla="*/ 80010 h 374332"/>
                  <a:gd name="connsiteX178" fmla="*/ 60008 w 296227"/>
                  <a:gd name="connsiteY178" fmla="*/ 82868 h 374332"/>
                  <a:gd name="connsiteX179" fmla="*/ 55245 w 296227"/>
                  <a:gd name="connsiteY179" fmla="*/ 85725 h 374332"/>
                  <a:gd name="connsiteX180" fmla="*/ 50483 w 296227"/>
                  <a:gd name="connsiteY180" fmla="*/ 88582 h 374332"/>
                  <a:gd name="connsiteX181" fmla="*/ 45720 w 296227"/>
                  <a:gd name="connsiteY181" fmla="*/ 91440 h 374332"/>
                  <a:gd name="connsiteX182" fmla="*/ 40005 w 296227"/>
                  <a:gd name="connsiteY182" fmla="*/ 96203 h 374332"/>
                  <a:gd name="connsiteX183" fmla="*/ 40005 w 296227"/>
                  <a:gd name="connsiteY183" fmla="*/ 96203 h 374332"/>
                  <a:gd name="connsiteX184" fmla="*/ 208597 w 296227"/>
                  <a:gd name="connsiteY184" fmla="*/ 211455 h 374332"/>
                  <a:gd name="connsiteX185" fmla="*/ 208597 w 296227"/>
                  <a:gd name="connsiteY185" fmla="*/ 191453 h 374332"/>
                  <a:gd name="connsiteX186" fmla="*/ 200025 w 296227"/>
                  <a:gd name="connsiteY186" fmla="*/ 191453 h 374332"/>
                  <a:gd name="connsiteX187" fmla="*/ 185738 w 296227"/>
                  <a:gd name="connsiteY187" fmla="*/ 191453 h 374332"/>
                  <a:gd name="connsiteX188" fmla="*/ 172403 w 296227"/>
                  <a:gd name="connsiteY188" fmla="*/ 192405 h 374332"/>
                  <a:gd name="connsiteX189" fmla="*/ 160020 w 296227"/>
                  <a:gd name="connsiteY189" fmla="*/ 193358 h 374332"/>
                  <a:gd name="connsiteX190" fmla="*/ 148590 w 296227"/>
                  <a:gd name="connsiteY190" fmla="*/ 195263 h 374332"/>
                  <a:gd name="connsiteX191" fmla="*/ 138113 w 296227"/>
                  <a:gd name="connsiteY191" fmla="*/ 197168 h 374332"/>
                  <a:gd name="connsiteX192" fmla="*/ 128588 w 296227"/>
                  <a:gd name="connsiteY192" fmla="*/ 200025 h 374332"/>
                  <a:gd name="connsiteX193" fmla="*/ 123825 w 296227"/>
                  <a:gd name="connsiteY193" fmla="*/ 200978 h 374332"/>
                  <a:gd name="connsiteX194" fmla="*/ 119063 w 296227"/>
                  <a:gd name="connsiteY194" fmla="*/ 202883 h 374332"/>
                  <a:gd name="connsiteX195" fmla="*/ 115253 w 296227"/>
                  <a:gd name="connsiteY195" fmla="*/ 204788 h 374332"/>
                  <a:gd name="connsiteX196" fmla="*/ 111443 w 296227"/>
                  <a:gd name="connsiteY196" fmla="*/ 206693 h 374332"/>
                  <a:gd name="connsiteX197" fmla="*/ 107633 w 296227"/>
                  <a:gd name="connsiteY197" fmla="*/ 208598 h 374332"/>
                  <a:gd name="connsiteX198" fmla="*/ 103822 w 296227"/>
                  <a:gd name="connsiteY198" fmla="*/ 210503 h 374332"/>
                  <a:gd name="connsiteX199" fmla="*/ 100965 w 296227"/>
                  <a:gd name="connsiteY199" fmla="*/ 212408 h 374332"/>
                  <a:gd name="connsiteX200" fmla="*/ 98108 w 296227"/>
                  <a:gd name="connsiteY200" fmla="*/ 215265 h 374332"/>
                  <a:gd name="connsiteX201" fmla="*/ 95250 w 296227"/>
                  <a:gd name="connsiteY201" fmla="*/ 218123 h 374332"/>
                  <a:gd name="connsiteX202" fmla="*/ 92393 w 296227"/>
                  <a:gd name="connsiteY202" fmla="*/ 220980 h 374332"/>
                  <a:gd name="connsiteX203" fmla="*/ 89535 w 296227"/>
                  <a:gd name="connsiteY203" fmla="*/ 223838 h 374332"/>
                  <a:gd name="connsiteX204" fmla="*/ 87630 w 296227"/>
                  <a:gd name="connsiteY204" fmla="*/ 226695 h 374332"/>
                  <a:gd name="connsiteX205" fmla="*/ 85725 w 296227"/>
                  <a:gd name="connsiteY205" fmla="*/ 230505 h 374332"/>
                  <a:gd name="connsiteX206" fmla="*/ 83820 w 296227"/>
                  <a:gd name="connsiteY206" fmla="*/ 234315 h 374332"/>
                  <a:gd name="connsiteX207" fmla="*/ 82868 w 296227"/>
                  <a:gd name="connsiteY207" fmla="*/ 238125 h 374332"/>
                  <a:gd name="connsiteX208" fmla="*/ 81915 w 296227"/>
                  <a:gd name="connsiteY208" fmla="*/ 241935 h 374332"/>
                  <a:gd name="connsiteX209" fmla="*/ 80963 w 296227"/>
                  <a:gd name="connsiteY209" fmla="*/ 245745 h 374332"/>
                  <a:gd name="connsiteX210" fmla="*/ 80010 w 296227"/>
                  <a:gd name="connsiteY210" fmla="*/ 250508 h 374332"/>
                  <a:gd name="connsiteX211" fmla="*/ 80010 w 296227"/>
                  <a:gd name="connsiteY211" fmla="*/ 255270 h 374332"/>
                  <a:gd name="connsiteX212" fmla="*/ 80010 w 296227"/>
                  <a:gd name="connsiteY212" fmla="*/ 259080 h 374332"/>
                  <a:gd name="connsiteX213" fmla="*/ 80010 w 296227"/>
                  <a:gd name="connsiteY213" fmla="*/ 264795 h 374332"/>
                  <a:gd name="connsiteX214" fmla="*/ 80963 w 296227"/>
                  <a:gd name="connsiteY214" fmla="*/ 270510 h 374332"/>
                  <a:gd name="connsiteX215" fmla="*/ 81915 w 296227"/>
                  <a:gd name="connsiteY215" fmla="*/ 276225 h 374332"/>
                  <a:gd name="connsiteX216" fmla="*/ 82868 w 296227"/>
                  <a:gd name="connsiteY216" fmla="*/ 281940 h 374332"/>
                  <a:gd name="connsiteX217" fmla="*/ 85725 w 296227"/>
                  <a:gd name="connsiteY217" fmla="*/ 286703 h 374332"/>
                  <a:gd name="connsiteX218" fmla="*/ 88583 w 296227"/>
                  <a:gd name="connsiteY218" fmla="*/ 291465 h 374332"/>
                  <a:gd name="connsiteX219" fmla="*/ 91440 w 296227"/>
                  <a:gd name="connsiteY219" fmla="*/ 295275 h 374332"/>
                  <a:gd name="connsiteX220" fmla="*/ 95250 w 296227"/>
                  <a:gd name="connsiteY220" fmla="*/ 299085 h 374332"/>
                  <a:gd name="connsiteX221" fmla="*/ 99060 w 296227"/>
                  <a:gd name="connsiteY221" fmla="*/ 302895 h 374332"/>
                  <a:gd name="connsiteX222" fmla="*/ 102870 w 296227"/>
                  <a:gd name="connsiteY222" fmla="*/ 305753 h 374332"/>
                  <a:gd name="connsiteX223" fmla="*/ 107633 w 296227"/>
                  <a:gd name="connsiteY223" fmla="*/ 308610 h 374332"/>
                  <a:gd name="connsiteX224" fmla="*/ 112395 w 296227"/>
                  <a:gd name="connsiteY224" fmla="*/ 311468 h 374332"/>
                  <a:gd name="connsiteX225" fmla="*/ 118110 w 296227"/>
                  <a:gd name="connsiteY225" fmla="*/ 312420 h 374332"/>
                  <a:gd name="connsiteX226" fmla="*/ 123825 w 296227"/>
                  <a:gd name="connsiteY226" fmla="*/ 313372 h 374332"/>
                  <a:gd name="connsiteX227" fmla="*/ 129540 w 296227"/>
                  <a:gd name="connsiteY227" fmla="*/ 314325 h 374332"/>
                  <a:gd name="connsiteX228" fmla="*/ 136208 w 296227"/>
                  <a:gd name="connsiteY228" fmla="*/ 314325 h 374332"/>
                  <a:gd name="connsiteX229" fmla="*/ 140970 w 296227"/>
                  <a:gd name="connsiteY229" fmla="*/ 314325 h 374332"/>
                  <a:gd name="connsiteX230" fmla="*/ 144780 w 296227"/>
                  <a:gd name="connsiteY230" fmla="*/ 314325 h 374332"/>
                  <a:gd name="connsiteX231" fmla="*/ 149543 w 296227"/>
                  <a:gd name="connsiteY231" fmla="*/ 314325 h 374332"/>
                  <a:gd name="connsiteX232" fmla="*/ 153353 w 296227"/>
                  <a:gd name="connsiteY232" fmla="*/ 313372 h 374332"/>
                  <a:gd name="connsiteX233" fmla="*/ 157163 w 296227"/>
                  <a:gd name="connsiteY233" fmla="*/ 312420 h 374332"/>
                  <a:gd name="connsiteX234" fmla="*/ 160972 w 296227"/>
                  <a:gd name="connsiteY234" fmla="*/ 311468 h 374332"/>
                  <a:gd name="connsiteX235" fmla="*/ 164783 w 296227"/>
                  <a:gd name="connsiteY235" fmla="*/ 310515 h 374332"/>
                  <a:gd name="connsiteX236" fmla="*/ 168593 w 296227"/>
                  <a:gd name="connsiteY236" fmla="*/ 309563 h 374332"/>
                  <a:gd name="connsiteX237" fmla="*/ 172403 w 296227"/>
                  <a:gd name="connsiteY237" fmla="*/ 306705 h 374332"/>
                  <a:gd name="connsiteX238" fmla="*/ 175260 w 296227"/>
                  <a:gd name="connsiteY238" fmla="*/ 304800 h 374332"/>
                  <a:gd name="connsiteX239" fmla="*/ 178118 w 296227"/>
                  <a:gd name="connsiteY239" fmla="*/ 302895 h 374332"/>
                  <a:gd name="connsiteX240" fmla="*/ 180975 w 296227"/>
                  <a:gd name="connsiteY240" fmla="*/ 300038 h 374332"/>
                  <a:gd name="connsiteX241" fmla="*/ 183833 w 296227"/>
                  <a:gd name="connsiteY241" fmla="*/ 297180 h 374332"/>
                  <a:gd name="connsiteX242" fmla="*/ 186690 w 296227"/>
                  <a:gd name="connsiteY242" fmla="*/ 294322 h 374332"/>
                  <a:gd name="connsiteX243" fmla="*/ 188595 w 296227"/>
                  <a:gd name="connsiteY243" fmla="*/ 291465 h 374332"/>
                  <a:gd name="connsiteX244" fmla="*/ 191453 w 296227"/>
                  <a:gd name="connsiteY244" fmla="*/ 288608 h 374332"/>
                  <a:gd name="connsiteX245" fmla="*/ 193358 w 296227"/>
                  <a:gd name="connsiteY245" fmla="*/ 284797 h 374332"/>
                  <a:gd name="connsiteX246" fmla="*/ 195263 w 296227"/>
                  <a:gd name="connsiteY246" fmla="*/ 280988 h 374332"/>
                  <a:gd name="connsiteX247" fmla="*/ 197168 w 296227"/>
                  <a:gd name="connsiteY247" fmla="*/ 277178 h 374332"/>
                  <a:gd name="connsiteX248" fmla="*/ 199072 w 296227"/>
                  <a:gd name="connsiteY248" fmla="*/ 273368 h 374332"/>
                  <a:gd name="connsiteX249" fmla="*/ 200025 w 296227"/>
                  <a:gd name="connsiteY249" fmla="*/ 269558 h 374332"/>
                  <a:gd name="connsiteX250" fmla="*/ 200978 w 296227"/>
                  <a:gd name="connsiteY250" fmla="*/ 265747 h 374332"/>
                  <a:gd name="connsiteX251" fmla="*/ 201930 w 296227"/>
                  <a:gd name="connsiteY251" fmla="*/ 260985 h 374332"/>
                  <a:gd name="connsiteX252" fmla="*/ 203835 w 296227"/>
                  <a:gd name="connsiteY252" fmla="*/ 256223 h 374332"/>
                  <a:gd name="connsiteX253" fmla="*/ 205740 w 296227"/>
                  <a:gd name="connsiteY253" fmla="*/ 246698 h 374332"/>
                  <a:gd name="connsiteX254" fmla="*/ 207645 w 296227"/>
                  <a:gd name="connsiteY254" fmla="*/ 236220 h 374332"/>
                  <a:gd name="connsiteX255" fmla="*/ 208597 w 296227"/>
                  <a:gd name="connsiteY255" fmla="*/ 224790 h 374332"/>
                  <a:gd name="connsiteX256" fmla="*/ 208597 w 296227"/>
                  <a:gd name="connsiteY256" fmla="*/ 211455 h 374332"/>
                  <a:gd name="connsiteX257" fmla="*/ 208597 w 296227"/>
                  <a:gd name="connsiteY257" fmla="*/ 211455 h 374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</a:cxnLst>
                <a:rect l="l" t="t" r="r" b="b"/>
                <a:pathLst>
                  <a:path w="296227" h="374332">
                    <a:moveTo>
                      <a:pt x="40005" y="96203"/>
                    </a:moveTo>
                    <a:lnTo>
                      <a:pt x="35243" y="25718"/>
                    </a:lnTo>
                    <a:lnTo>
                      <a:pt x="47625" y="20003"/>
                    </a:lnTo>
                    <a:lnTo>
                      <a:pt x="60008" y="15240"/>
                    </a:lnTo>
                    <a:lnTo>
                      <a:pt x="73343" y="10478"/>
                    </a:lnTo>
                    <a:lnTo>
                      <a:pt x="86678" y="6668"/>
                    </a:lnTo>
                    <a:lnTo>
                      <a:pt x="93345" y="4763"/>
                    </a:lnTo>
                    <a:lnTo>
                      <a:pt x="100965" y="3810"/>
                    </a:lnTo>
                    <a:lnTo>
                      <a:pt x="108585" y="2857"/>
                    </a:lnTo>
                    <a:lnTo>
                      <a:pt x="116205" y="1905"/>
                    </a:lnTo>
                    <a:lnTo>
                      <a:pt x="124778" y="953"/>
                    </a:lnTo>
                    <a:lnTo>
                      <a:pt x="133350" y="0"/>
                    </a:lnTo>
                    <a:lnTo>
                      <a:pt x="141922" y="0"/>
                    </a:lnTo>
                    <a:lnTo>
                      <a:pt x="152400" y="0"/>
                    </a:lnTo>
                    <a:lnTo>
                      <a:pt x="165735" y="0"/>
                    </a:lnTo>
                    <a:lnTo>
                      <a:pt x="178118" y="953"/>
                    </a:lnTo>
                    <a:lnTo>
                      <a:pt x="189547" y="1905"/>
                    </a:lnTo>
                    <a:lnTo>
                      <a:pt x="200025" y="3810"/>
                    </a:lnTo>
                    <a:lnTo>
                      <a:pt x="210503" y="6668"/>
                    </a:lnTo>
                    <a:lnTo>
                      <a:pt x="220028" y="9525"/>
                    </a:lnTo>
                    <a:lnTo>
                      <a:pt x="223838" y="11430"/>
                    </a:lnTo>
                    <a:lnTo>
                      <a:pt x="228600" y="13335"/>
                    </a:lnTo>
                    <a:lnTo>
                      <a:pt x="232410" y="15240"/>
                    </a:lnTo>
                    <a:lnTo>
                      <a:pt x="236220" y="17145"/>
                    </a:lnTo>
                    <a:lnTo>
                      <a:pt x="243840" y="20955"/>
                    </a:lnTo>
                    <a:lnTo>
                      <a:pt x="250508" y="26670"/>
                    </a:lnTo>
                    <a:lnTo>
                      <a:pt x="253365" y="29528"/>
                    </a:lnTo>
                    <a:lnTo>
                      <a:pt x="256222" y="32385"/>
                    </a:lnTo>
                    <a:lnTo>
                      <a:pt x="259080" y="35243"/>
                    </a:lnTo>
                    <a:lnTo>
                      <a:pt x="261938" y="38100"/>
                    </a:lnTo>
                    <a:lnTo>
                      <a:pt x="263842" y="40957"/>
                    </a:lnTo>
                    <a:lnTo>
                      <a:pt x="266700" y="43815"/>
                    </a:lnTo>
                    <a:lnTo>
                      <a:pt x="268605" y="47625"/>
                    </a:lnTo>
                    <a:lnTo>
                      <a:pt x="271463" y="50482"/>
                    </a:lnTo>
                    <a:lnTo>
                      <a:pt x="273367" y="54293"/>
                    </a:lnTo>
                    <a:lnTo>
                      <a:pt x="275272" y="58103"/>
                    </a:lnTo>
                    <a:lnTo>
                      <a:pt x="277178" y="61913"/>
                    </a:lnTo>
                    <a:lnTo>
                      <a:pt x="279083" y="65723"/>
                    </a:lnTo>
                    <a:lnTo>
                      <a:pt x="281940" y="74295"/>
                    </a:lnTo>
                    <a:lnTo>
                      <a:pt x="283845" y="82868"/>
                    </a:lnTo>
                    <a:lnTo>
                      <a:pt x="285750" y="92393"/>
                    </a:lnTo>
                    <a:lnTo>
                      <a:pt x="287655" y="101918"/>
                    </a:lnTo>
                    <a:lnTo>
                      <a:pt x="288608" y="112395"/>
                    </a:lnTo>
                    <a:lnTo>
                      <a:pt x="289560" y="122873"/>
                    </a:lnTo>
                    <a:lnTo>
                      <a:pt x="290513" y="134303"/>
                    </a:lnTo>
                    <a:lnTo>
                      <a:pt x="290513" y="144780"/>
                    </a:lnTo>
                    <a:lnTo>
                      <a:pt x="290513" y="303847"/>
                    </a:lnTo>
                    <a:lnTo>
                      <a:pt x="290513" y="312420"/>
                    </a:lnTo>
                    <a:lnTo>
                      <a:pt x="290513" y="320993"/>
                    </a:lnTo>
                    <a:lnTo>
                      <a:pt x="290513" y="328613"/>
                    </a:lnTo>
                    <a:lnTo>
                      <a:pt x="291465" y="337185"/>
                    </a:lnTo>
                    <a:lnTo>
                      <a:pt x="292417" y="344805"/>
                    </a:lnTo>
                    <a:lnTo>
                      <a:pt x="293370" y="353378"/>
                    </a:lnTo>
                    <a:lnTo>
                      <a:pt x="294322" y="360997"/>
                    </a:lnTo>
                    <a:lnTo>
                      <a:pt x="296228" y="368618"/>
                    </a:lnTo>
                    <a:lnTo>
                      <a:pt x="217170" y="368618"/>
                    </a:lnTo>
                    <a:lnTo>
                      <a:pt x="216218" y="363855"/>
                    </a:lnTo>
                    <a:lnTo>
                      <a:pt x="215265" y="359093"/>
                    </a:lnTo>
                    <a:lnTo>
                      <a:pt x="214313" y="353378"/>
                    </a:lnTo>
                    <a:lnTo>
                      <a:pt x="213360" y="347663"/>
                    </a:lnTo>
                    <a:lnTo>
                      <a:pt x="212408" y="340995"/>
                    </a:lnTo>
                    <a:lnTo>
                      <a:pt x="212408" y="334328"/>
                    </a:lnTo>
                    <a:lnTo>
                      <a:pt x="212408" y="326708"/>
                    </a:lnTo>
                    <a:lnTo>
                      <a:pt x="212408" y="318135"/>
                    </a:lnTo>
                    <a:lnTo>
                      <a:pt x="211455" y="318135"/>
                    </a:lnTo>
                    <a:lnTo>
                      <a:pt x="206693" y="324803"/>
                    </a:lnTo>
                    <a:lnTo>
                      <a:pt x="200978" y="331470"/>
                    </a:lnTo>
                    <a:lnTo>
                      <a:pt x="196215" y="337185"/>
                    </a:lnTo>
                    <a:lnTo>
                      <a:pt x="190500" y="341947"/>
                    </a:lnTo>
                    <a:lnTo>
                      <a:pt x="184785" y="346710"/>
                    </a:lnTo>
                    <a:lnTo>
                      <a:pt x="179070" y="351472"/>
                    </a:lnTo>
                    <a:lnTo>
                      <a:pt x="173355" y="355283"/>
                    </a:lnTo>
                    <a:lnTo>
                      <a:pt x="167640" y="359093"/>
                    </a:lnTo>
                    <a:lnTo>
                      <a:pt x="161925" y="362903"/>
                    </a:lnTo>
                    <a:lnTo>
                      <a:pt x="155258" y="365760"/>
                    </a:lnTo>
                    <a:lnTo>
                      <a:pt x="148590" y="368618"/>
                    </a:lnTo>
                    <a:lnTo>
                      <a:pt x="140970" y="370522"/>
                    </a:lnTo>
                    <a:lnTo>
                      <a:pt x="133350" y="372428"/>
                    </a:lnTo>
                    <a:lnTo>
                      <a:pt x="125730" y="373380"/>
                    </a:lnTo>
                    <a:lnTo>
                      <a:pt x="117158" y="374333"/>
                    </a:lnTo>
                    <a:lnTo>
                      <a:pt x="108585" y="374333"/>
                    </a:lnTo>
                    <a:lnTo>
                      <a:pt x="100965" y="374333"/>
                    </a:lnTo>
                    <a:lnTo>
                      <a:pt x="94297" y="373380"/>
                    </a:lnTo>
                    <a:lnTo>
                      <a:pt x="87630" y="372428"/>
                    </a:lnTo>
                    <a:lnTo>
                      <a:pt x="80963" y="370522"/>
                    </a:lnTo>
                    <a:lnTo>
                      <a:pt x="74295" y="368618"/>
                    </a:lnTo>
                    <a:lnTo>
                      <a:pt x="67628" y="366713"/>
                    </a:lnTo>
                    <a:lnTo>
                      <a:pt x="60960" y="363855"/>
                    </a:lnTo>
                    <a:lnTo>
                      <a:pt x="54293" y="360997"/>
                    </a:lnTo>
                    <a:lnTo>
                      <a:pt x="48578" y="358140"/>
                    </a:lnTo>
                    <a:lnTo>
                      <a:pt x="42863" y="354330"/>
                    </a:lnTo>
                    <a:lnTo>
                      <a:pt x="37147" y="350520"/>
                    </a:lnTo>
                    <a:lnTo>
                      <a:pt x="31433" y="345758"/>
                    </a:lnTo>
                    <a:lnTo>
                      <a:pt x="26670" y="340995"/>
                    </a:lnTo>
                    <a:lnTo>
                      <a:pt x="22860" y="335280"/>
                    </a:lnTo>
                    <a:lnTo>
                      <a:pt x="19050" y="329565"/>
                    </a:lnTo>
                    <a:lnTo>
                      <a:pt x="15240" y="323850"/>
                    </a:lnTo>
                    <a:lnTo>
                      <a:pt x="11430" y="317183"/>
                    </a:lnTo>
                    <a:lnTo>
                      <a:pt x="8572" y="310515"/>
                    </a:lnTo>
                    <a:lnTo>
                      <a:pt x="5715" y="303847"/>
                    </a:lnTo>
                    <a:lnTo>
                      <a:pt x="3810" y="297180"/>
                    </a:lnTo>
                    <a:lnTo>
                      <a:pt x="1905" y="290513"/>
                    </a:lnTo>
                    <a:lnTo>
                      <a:pt x="953" y="282893"/>
                    </a:lnTo>
                    <a:lnTo>
                      <a:pt x="0" y="275272"/>
                    </a:lnTo>
                    <a:lnTo>
                      <a:pt x="0" y="266700"/>
                    </a:lnTo>
                    <a:lnTo>
                      <a:pt x="0" y="260985"/>
                    </a:lnTo>
                    <a:lnTo>
                      <a:pt x="0" y="255270"/>
                    </a:lnTo>
                    <a:lnTo>
                      <a:pt x="0" y="249555"/>
                    </a:lnTo>
                    <a:lnTo>
                      <a:pt x="953" y="243840"/>
                    </a:lnTo>
                    <a:lnTo>
                      <a:pt x="1905" y="238125"/>
                    </a:lnTo>
                    <a:lnTo>
                      <a:pt x="2858" y="233363"/>
                    </a:lnTo>
                    <a:lnTo>
                      <a:pt x="3810" y="228600"/>
                    </a:lnTo>
                    <a:lnTo>
                      <a:pt x="4763" y="223838"/>
                    </a:lnTo>
                    <a:lnTo>
                      <a:pt x="5715" y="219075"/>
                    </a:lnTo>
                    <a:lnTo>
                      <a:pt x="7620" y="214313"/>
                    </a:lnTo>
                    <a:lnTo>
                      <a:pt x="9525" y="210503"/>
                    </a:lnTo>
                    <a:lnTo>
                      <a:pt x="11430" y="206693"/>
                    </a:lnTo>
                    <a:lnTo>
                      <a:pt x="14288" y="202883"/>
                    </a:lnTo>
                    <a:lnTo>
                      <a:pt x="17145" y="199073"/>
                    </a:lnTo>
                    <a:lnTo>
                      <a:pt x="20003" y="195263"/>
                    </a:lnTo>
                    <a:lnTo>
                      <a:pt x="22860" y="191453"/>
                    </a:lnTo>
                    <a:lnTo>
                      <a:pt x="25718" y="188595"/>
                    </a:lnTo>
                    <a:lnTo>
                      <a:pt x="28575" y="184785"/>
                    </a:lnTo>
                    <a:lnTo>
                      <a:pt x="32385" y="181928"/>
                    </a:lnTo>
                    <a:lnTo>
                      <a:pt x="36195" y="179070"/>
                    </a:lnTo>
                    <a:lnTo>
                      <a:pt x="40005" y="176213"/>
                    </a:lnTo>
                    <a:lnTo>
                      <a:pt x="43815" y="173355"/>
                    </a:lnTo>
                    <a:lnTo>
                      <a:pt x="47625" y="170498"/>
                    </a:lnTo>
                    <a:lnTo>
                      <a:pt x="51435" y="167640"/>
                    </a:lnTo>
                    <a:lnTo>
                      <a:pt x="55245" y="164783"/>
                    </a:lnTo>
                    <a:lnTo>
                      <a:pt x="60008" y="162878"/>
                    </a:lnTo>
                    <a:lnTo>
                      <a:pt x="63818" y="160973"/>
                    </a:lnTo>
                    <a:lnTo>
                      <a:pt x="68580" y="159068"/>
                    </a:lnTo>
                    <a:lnTo>
                      <a:pt x="78105" y="155258"/>
                    </a:lnTo>
                    <a:lnTo>
                      <a:pt x="88583" y="152400"/>
                    </a:lnTo>
                    <a:lnTo>
                      <a:pt x="99060" y="149543"/>
                    </a:lnTo>
                    <a:lnTo>
                      <a:pt x="110490" y="147638"/>
                    </a:lnTo>
                    <a:lnTo>
                      <a:pt x="122872" y="145733"/>
                    </a:lnTo>
                    <a:lnTo>
                      <a:pt x="135255" y="144780"/>
                    </a:lnTo>
                    <a:lnTo>
                      <a:pt x="148590" y="143828"/>
                    </a:lnTo>
                    <a:lnTo>
                      <a:pt x="161925" y="142875"/>
                    </a:lnTo>
                    <a:lnTo>
                      <a:pt x="176213" y="142875"/>
                    </a:lnTo>
                    <a:lnTo>
                      <a:pt x="191453" y="142875"/>
                    </a:lnTo>
                    <a:lnTo>
                      <a:pt x="209550" y="142875"/>
                    </a:lnTo>
                    <a:lnTo>
                      <a:pt x="209550" y="129540"/>
                    </a:lnTo>
                    <a:lnTo>
                      <a:pt x="209550" y="121920"/>
                    </a:lnTo>
                    <a:lnTo>
                      <a:pt x="208597" y="115253"/>
                    </a:lnTo>
                    <a:lnTo>
                      <a:pt x="206693" y="108585"/>
                    </a:lnTo>
                    <a:lnTo>
                      <a:pt x="204788" y="101918"/>
                    </a:lnTo>
                    <a:lnTo>
                      <a:pt x="201930" y="96203"/>
                    </a:lnTo>
                    <a:lnTo>
                      <a:pt x="199072" y="90488"/>
                    </a:lnTo>
                    <a:lnTo>
                      <a:pt x="196215" y="85725"/>
                    </a:lnTo>
                    <a:lnTo>
                      <a:pt x="192405" y="80010"/>
                    </a:lnTo>
                    <a:lnTo>
                      <a:pt x="190500" y="78105"/>
                    </a:lnTo>
                    <a:lnTo>
                      <a:pt x="187643" y="75248"/>
                    </a:lnTo>
                    <a:lnTo>
                      <a:pt x="185738" y="73343"/>
                    </a:lnTo>
                    <a:lnTo>
                      <a:pt x="182880" y="71438"/>
                    </a:lnTo>
                    <a:lnTo>
                      <a:pt x="180022" y="69532"/>
                    </a:lnTo>
                    <a:lnTo>
                      <a:pt x="177165" y="67628"/>
                    </a:lnTo>
                    <a:lnTo>
                      <a:pt x="174308" y="66675"/>
                    </a:lnTo>
                    <a:lnTo>
                      <a:pt x="171450" y="65723"/>
                    </a:lnTo>
                    <a:lnTo>
                      <a:pt x="168593" y="64770"/>
                    </a:lnTo>
                    <a:lnTo>
                      <a:pt x="164783" y="63818"/>
                    </a:lnTo>
                    <a:lnTo>
                      <a:pt x="160972" y="62865"/>
                    </a:lnTo>
                    <a:lnTo>
                      <a:pt x="157163" y="61913"/>
                    </a:lnTo>
                    <a:lnTo>
                      <a:pt x="149543" y="60960"/>
                    </a:lnTo>
                    <a:lnTo>
                      <a:pt x="140970" y="60960"/>
                    </a:lnTo>
                    <a:lnTo>
                      <a:pt x="133350" y="60960"/>
                    </a:lnTo>
                    <a:lnTo>
                      <a:pt x="125730" y="61913"/>
                    </a:lnTo>
                    <a:lnTo>
                      <a:pt x="118110" y="62865"/>
                    </a:lnTo>
                    <a:lnTo>
                      <a:pt x="111443" y="63818"/>
                    </a:lnTo>
                    <a:lnTo>
                      <a:pt x="104775" y="64770"/>
                    </a:lnTo>
                    <a:lnTo>
                      <a:pt x="98108" y="66675"/>
                    </a:lnTo>
                    <a:lnTo>
                      <a:pt x="91440" y="68580"/>
                    </a:lnTo>
                    <a:lnTo>
                      <a:pt x="84772" y="71438"/>
                    </a:lnTo>
                    <a:lnTo>
                      <a:pt x="78105" y="74295"/>
                    </a:lnTo>
                    <a:lnTo>
                      <a:pt x="71438" y="77153"/>
                    </a:lnTo>
                    <a:lnTo>
                      <a:pt x="65722" y="80010"/>
                    </a:lnTo>
                    <a:lnTo>
                      <a:pt x="60008" y="82868"/>
                    </a:lnTo>
                    <a:lnTo>
                      <a:pt x="55245" y="85725"/>
                    </a:lnTo>
                    <a:lnTo>
                      <a:pt x="50483" y="88582"/>
                    </a:lnTo>
                    <a:lnTo>
                      <a:pt x="45720" y="91440"/>
                    </a:lnTo>
                    <a:lnTo>
                      <a:pt x="40005" y="96203"/>
                    </a:lnTo>
                    <a:lnTo>
                      <a:pt x="40005" y="96203"/>
                    </a:lnTo>
                    <a:close/>
                    <a:moveTo>
                      <a:pt x="208597" y="211455"/>
                    </a:moveTo>
                    <a:lnTo>
                      <a:pt x="208597" y="191453"/>
                    </a:lnTo>
                    <a:lnTo>
                      <a:pt x="200025" y="191453"/>
                    </a:lnTo>
                    <a:lnTo>
                      <a:pt x="185738" y="191453"/>
                    </a:lnTo>
                    <a:lnTo>
                      <a:pt x="172403" y="192405"/>
                    </a:lnTo>
                    <a:lnTo>
                      <a:pt x="160020" y="193358"/>
                    </a:lnTo>
                    <a:lnTo>
                      <a:pt x="148590" y="195263"/>
                    </a:lnTo>
                    <a:lnTo>
                      <a:pt x="138113" y="197168"/>
                    </a:lnTo>
                    <a:lnTo>
                      <a:pt x="128588" y="200025"/>
                    </a:lnTo>
                    <a:lnTo>
                      <a:pt x="123825" y="200978"/>
                    </a:lnTo>
                    <a:lnTo>
                      <a:pt x="119063" y="202883"/>
                    </a:lnTo>
                    <a:lnTo>
                      <a:pt x="115253" y="204788"/>
                    </a:lnTo>
                    <a:lnTo>
                      <a:pt x="111443" y="206693"/>
                    </a:lnTo>
                    <a:lnTo>
                      <a:pt x="107633" y="208598"/>
                    </a:lnTo>
                    <a:lnTo>
                      <a:pt x="103822" y="210503"/>
                    </a:lnTo>
                    <a:lnTo>
                      <a:pt x="100965" y="212408"/>
                    </a:lnTo>
                    <a:lnTo>
                      <a:pt x="98108" y="215265"/>
                    </a:lnTo>
                    <a:lnTo>
                      <a:pt x="95250" y="218123"/>
                    </a:lnTo>
                    <a:lnTo>
                      <a:pt x="92393" y="220980"/>
                    </a:lnTo>
                    <a:lnTo>
                      <a:pt x="89535" y="223838"/>
                    </a:lnTo>
                    <a:lnTo>
                      <a:pt x="87630" y="226695"/>
                    </a:lnTo>
                    <a:lnTo>
                      <a:pt x="85725" y="230505"/>
                    </a:lnTo>
                    <a:lnTo>
                      <a:pt x="83820" y="234315"/>
                    </a:lnTo>
                    <a:lnTo>
                      <a:pt x="82868" y="238125"/>
                    </a:lnTo>
                    <a:lnTo>
                      <a:pt x="81915" y="241935"/>
                    </a:lnTo>
                    <a:lnTo>
                      <a:pt x="80963" y="245745"/>
                    </a:lnTo>
                    <a:lnTo>
                      <a:pt x="80010" y="250508"/>
                    </a:lnTo>
                    <a:lnTo>
                      <a:pt x="80010" y="255270"/>
                    </a:lnTo>
                    <a:lnTo>
                      <a:pt x="80010" y="259080"/>
                    </a:lnTo>
                    <a:lnTo>
                      <a:pt x="80010" y="264795"/>
                    </a:lnTo>
                    <a:lnTo>
                      <a:pt x="80963" y="270510"/>
                    </a:lnTo>
                    <a:lnTo>
                      <a:pt x="81915" y="276225"/>
                    </a:lnTo>
                    <a:lnTo>
                      <a:pt x="82868" y="281940"/>
                    </a:lnTo>
                    <a:lnTo>
                      <a:pt x="85725" y="286703"/>
                    </a:lnTo>
                    <a:lnTo>
                      <a:pt x="88583" y="291465"/>
                    </a:lnTo>
                    <a:lnTo>
                      <a:pt x="91440" y="295275"/>
                    </a:lnTo>
                    <a:lnTo>
                      <a:pt x="95250" y="299085"/>
                    </a:lnTo>
                    <a:lnTo>
                      <a:pt x="99060" y="302895"/>
                    </a:lnTo>
                    <a:lnTo>
                      <a:pt x="102870" y="305753"/>
                    </a:lnTo>
                    <a:lnTo>
                      <a:pt x="107633" y="308610"/>
                    </a:lnTo>
                    <a:lnTo>
                      <a:pt x="112395" y="311468"/>
                    </a:lnTo>
                    <a:lnTo>
                      <a:pt x="118110" y="312420"/>
                    </a:lnTo>
                    <a:lnTo>
                      <a:pt x="123825" y="313372"/>
                    </a:lnTo>
                    <a:lnTo>
                      <a:pt x="129540" y="314325"/>
                    </a:lnTo>
                    <a:lnTo>
                      <a:pt x="136208" y="314325"/>
                    </a:lnTo>
                    <a:lnTo>
                      <a:pt x="140970" y="314325"/>
                    </a:lnTo>
                    <a:lnTo>
                      <a:pt x="144780" y="314325"/>
                    </a:lnTo>
                    <a:lnTo>
                      <a:pt x="149543" y="314325"/>
                    </a:lnTo>
                    <a:lnTo>
                      <a:pt x="153353" y="313372"/>
                    </a:lnTo>
                    <a:lnTo>
                      <a:pt x="157163" y="312420"/>
                    </a:lnTo>
                    <a:lnTo>
                      <a:pt x="160972" y="311468"/>
                    </a:lnTo>
                    <a:lnTo>
                      <a:pt x="164783" y="310515"/>
                    </a:lnTo>
                    <a:lnTo>
                      <a:pt x="168593" y="309563"/>
                    </a:lnTo>
                    <a:lnTo>
                      <a:pt x="172403" y="306705"/>
                    </a:lnTo>
                    <a:lnTo>
                      <a:pt x="175260" y="304800"/>
                    </a:lnTo>
                    <a:lnTo>
                      <a:pt x="178118" y="302895"/>
                    </a:lnTo>
                    <a:lnTo>
                      <a:pt x="180975" y="300038"/>
                    </a:lnTo>
                    <a:lnTo>
                      <a:pt x="183833" y="297180"/>
                    </a:lnTo>
                    <a:lnTo>
                      <a:pt x="186690" y="294322"/>
                    </a:lnTo>
                    <a:lnTo>
                      <a:pt x="188595" y="291465"/>
                    </a:lnTo>
                    <a:lnTo>
                      <a:pt x="191453" y="288608"/>
                    </a:lnTo>
                    <a:lnTo>
                      <a:pt x="193358" y="284797"/>
                    </a:lnTo>
                    <a:lnTo>
                      <a:pt x="195263" y="280988"/>
                    </a:lnTo>
                    <a:lnTo>
                      <a:pt x="197168" y="277178"/>
                    </a:lnTo>
                    <a:lnTo>
                      <a:pt x="199072" y="273368"/>
                    </a:lnTo>
                    <a:lnTo>
                      <a:pt x="200025" y="269558"/>
                    </a:lnTo>
                    <a:lnTo>
                      <a:pt x="200978" y="265747"/>
                    </a:lnTo>
                    <a:lnTo>
                      <a:pt x="201930" y="260985"/>
                    </a:lnTo>
                    <a:lnTo>
                      <a:pt x="203835" y="256223"/>
                    </a:lnTo>
                    <a:lnTo>
                      <a:pt x="205740" y="246698"/>
                    </a:lnTo>
                    <a:lnTo>
                      <a:pt x="207645" y="236220"/>
                    </a:lnTo>
                    <a:lnTo>
                      <a:pt x="208597" y="224790"/>
                    </a:lnTo>
                    <a:lnTo>
                      <a:pt x="208597" y="211455"/>
                    </a:lnTo>
                    <a:lnTo>
                      <a:pt x="208597" y="21145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04DF0309-4B82-1AAE-9767-2C23EAF79BB7}"/>
                  </a:ext>
                </a:extLst>
              </p:cNvPr>
              <p:cNvSpPr/>
              <p:nvPr/>
            </p:nvSpPr>
            <p:spPr>
              <a:xfrm>
                <a:off x="10949622" y="3972014"/>
                <a:ext cx="87629" cy="529590"/>
              </a:xfrm>
              <a:custGeom>
                <a:avLst/>
                <a:gdLst>
                  <a:gd name="connsiteX0" fmla="*/ 0 w 87629"/>
                  <a:gd name="connsiteY0" fmla="*/ 529590 h 529590"/>
                  <a:gd name="connsiteX1" fmla="*/ 0 w 87629"/>
                  <a:gd name="connsiteY1" fmla="*/ 0 h 529590"/>
                  <a:gd name="connsiteX2" fmla="*/ 87630 w 87629"/>
                  <a:gd name="connsiteY2" fmla="*/ 0 h 529590"/>
                  <a:gd name="connsiteX3" fmla="*/ 87630 w 87629"/>
                  <a:gd name="connsiteY3" fmla="*/ 529590 h 529590"/>
                  <a:gd name="connsiteX4" fmla="*/ 0 w 87629"/>
                  <a:gd name="connsiteY4" fmla="*/ 529590 h 529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629" h="529590">
                    <a:moveTo>
                      <a:pt x="0" y="529590"/>
                    </a:moveTo>
                    <a:lnTo>
                      <a:pt x="0" y="0"/>
                    </a:lnTo>
                    <a:lnTo>
                      <a:pt x="87630" y="0"/>
                    </a:lnTo>
                    <a:lnTo>
                      <a:pt x="87630" y="529590"/>
                    </a:lnTo>
                    <a:lnTo>
                      <a:pt x="0" y="52959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59" name="Freeform 58">
                <a:extLst>
                  <a:ext uri="{FF2B5EF4-FFF2-40B4-BE49-F238E27FC236}">
                    <a16:creationId xmlns:a16="http://schemas.microsoft.com/office/drawing/2014/main" id="{4EC2D6D0-7CA9-3499-3982-B1220C8B568F}"/>
                  </a:ext>
                </a:extLst>
              </p:cNvPr>
              <p:cNvSpPr/>
              <p:nvPr/>
            </p:nvSpPr>
            <p:spPr>
              <a:xfrm>
                <a:off x="11066779" y="4035832"/>
                <a:ext cx="218122" cy="470534"/>
              </a:xfrm>
              <a:custGeom>
                <a:avLst/>
                <a:gdLst>
                  <a:gd name="connsiteX0" fmla="*/ 58102 w 218122"/>
                  <a:gd name="connsiteY0" fmla="*/ 100965 h 470534"/>
                  <a:gd name="connsiteX1" fmla="*/ 58102 w 218122"/>
                  <a:gd name="connsiteY1" fmla="*/ 26670 h 470534"/>
                  <a:gd name="connsiteX2" fmla="*/ 145732 w 218122"/>
                  <a:gd name="connsiteY2" fmla="*/ 0 h 470534"/>
                  <a:gd name="connsiteX3" fmla="*/ 145732 w 218122"/>
                  <a:gd name="connsiteY3" fmla="*/ 100965 h 470534"/>
                  <a:gd name="connsiteX4" fmla="*/ 218122 w 218122"/>
                  <a:gd name="connsiteY4" fmla="*/ 100965 h 470534"/>
                  <a:gd name="connsiteX5" fmla="*/ 218122 w 218122"/>
                  <a:gd name="connsiteY5" fmla="*/ 165735 h 470534"/>
                  <a:gd name="connsiteX6" fmla="*/ 145732 w 218122"/>
                  <a:gd name="connsiteY6" fmla="*/ 165735 h 470534"/>
                  <a:gd name="connsiteX7" fmla="*/ 145732 w 218122"/>
                  <a:gd name="connsiteY7" fmla="*/ 353378 h 470534"/>
                  <a:gd name="connsiteX8" fmla="*/ 145732 w 218122"/>
                  <a:gd name="connsiteY8" fmla="*/ 360045 h 470534"/>
                  <a:gd name="connsiteX9" fmla="*/ 145732 w 218122"/>
                  <a:gd name="connsiteY9" fmla="*/ 366712 h 470534"/>
                  <a:gd name="connsiteX10" fmla="*/ 146685 w 218122"/>
                  <a:gd name="connsiteY10" fmla="*/ 372427 h 470534"/>
                  <a:gd name="connsiteX11" fmla="*/ 148590 w 218122"/>
                  <a:gd name="connsiteY11" fmla="*/ 377190 h 470534"/>
                  <a:gd name="connsiteX12" fmla="*/ 149543 w 218122"/>
                  <a:gd name="connsiteY12" fmla="*/ 381952 h 470534"/>
                  <a:gd name="connsiteX13" fmla="*/ 150495 w 218122"/>
                  <a:gd name="connsiteY13" fmla="*/ 385762 h 470534"/>
                  <a:gd name="connsiteX14" fmla="*/ 153352 w 218122"/>
                  <a:gd name="connsiteY14" fmla="*/ 389573 h 470534"/>
                  <a:gd name="connsiteX15" fmla="*/ 155257 w 218122"/>
                  <a:gd name="connsiteY15" fmla="*/ 392430 h 470534"/>
                  <a:gd name="connsiteX16" fmla="*/ 158115 w 218122"/>
                  <a:gd name="connsiteY16" fmla="*/ 395287 h 470534"/>
                  <a:gd name="connsiteX17" fmla="*/ 160972 w 218122"/>
                  <a:gd name="connsiteY17" fmla="*/ 398145 h 470534"/>
                  <a:gd name="connsiteX18" fmla="*/ 163830 w 218122"/>
                  <a:gd name="connsiteY18" fmla="*/ 399098 h 470534"/>
                  <a:gd name="connsiteX19" fmla="*/ 167640 w 218122"/>
                  <a:gd name="connsiteY19" fmla="*/ 401002 h 470534"/>
                  <a:gd name="connsiteX20" fmla="*/ 171450 w 218122"/>
                  <a:gd name="connsiteY20" fmla="*/ 401955 h 470534"/>
                  <a:gd name="connsiteX21" fmla="*/ 175260 w 218122"/>
                  <a:gd name="connsiteY21" fmla="*/ 402908 h 470534"/>
                  <a:gd name="connsiteX22" fmla="*/ 180022 w 218122"/>
                  <a:gd name="connsiteY22" fmla="*/ 403860 h 470534"/>
                  <a:gd name="connsiteX23" fmla="*/ 184785 w 218122"/>
                  <a:gd name="connsiteY23" fmla="*/ 403860 h 470534"/>
                  <a:gd name="connsiteX24" fmla="*/ 189547 w 218122"/>
                  <a:gd name="connsiteY24" fmla="*/ 403860 h 470534"/>
                  <a:gd name="connsiteX25" fmla="*/ 194310 w 218122"/>
                  <a:gd name="connsiteY25" fmla="*/ 402908 h 470534"/>
                  <a:gd name="connsiteX26" fmla="*/ 198120 w 218122"/>
                  <a:gd name="connsiteY26" fmla="*/ 402908 h 470534"/>
                  <a:gd name="connsiteX27" fmla="*/ 202882 w 218122"/>
                  <a:gd name="connsiteY27" fmla="*/ 401955 h 470534"/>
                  <a:gd name="connsiteX28" fmla="*/ 206693 w 218122"/>
                  <a:gd name="connsiteY28" fmla="*/ 400050 h 470534"/>
                  <a:gd name="connsiteX29" fmla="*/ 210502 w 218122"/>
                  <a:gd name="connsiteY29" fmla="*/ 399098 h 470534"/>
                  <a:gd name="connsiteX30" fmla="*/ 214313 w 218122"/>
                  <a:gd name="connsiteY30" fmla="*/ 398145 h 470534"/>
                  <a:gd name="connsiteX31" fmla="*/ 218122 w 218122"/>
                  <a:gd name="connsiteY31" fmla="*/ 396240 h 470534"/>
                  <a:gd name="connsiteX32" fmla="*/ 218122 w 218122"/>
                  <a:gd name="connsiteY32" fmla="*/ 459105 h 470534"/>
                  <a:gd name="connsiteX33" fmla="*/ 211455 w 218122"/>
                  <a:gd name="connsiteY33" fmla="*/ 461962 h 470534"/>
                  <a:gd name="connsiteX34" fmla="*/ 204788 w 218122"/>
                  <a:gd name="connsiteY34" fmla="*/ 464820 h 470534"/>
                  <a:gd name="connsiteX35" fmla="*/ 197168 w 218122"/>
                  <a:gd name="connsiteY35" fmla="*/ 465773 h 470534"/>
                  <a:gd name="connsiteX36" fmla="*/ 190500 w 218122"/>
                  <a:gd name="connsiteY36" fmla="*/ 467677 h 470534"/>
                  <a:gd name="connsiteX37" fmla="*/ 182880 w 218122"/>
                  <a:gd name="connsiteY37" fmla="*/ 469583 h 470534"/>
                  <a:gd name="connsiteX38" fmla="*/ 175260 w 218122"/>
                  <a:gd name="connsiteY38" fmla="*/ 469583 h 470534"/>
                  <a:gd name="connsiteX39" fmla="*/ 167640 w 218122"/>
                  <a:gd name="connsiteY39" fmla="*/ 470535 h 470534"/>
                  <a:gd name="connsiteX40" fmla="*/ 159068 w 218122"/>
                  <a:gd name="connsiteY40" fmla="*/ 470535 h 470534"/>
                  <a:gd name="connsiteX41" fmla="*/ 153352 w 218122"/>
                  <a:gd name="connsiteY41" fmla="*/ 470535 h 470534"/>
                  <a:gd name="connsiteX42" fmla="*/ 146685 w 218122"/>
                  <a:gd name="connsiteY42" fmla="*/ 470535 h 470534"/>
                  <a:gd name="connsiteX43" fmla="*/ 140970 w 218122"/>
                  <a:gd name="connsiteY43" fmla="*/ 469583 h 470534"/>
                  <a:gd name="connsiteX44" fmla="*/ 136207 w 218122"/>
                  <a:gd name="connsiteY44" fmla="*/ 469583 h 470534"/>
                  <a:gd name="connsiteX45" fmla="*/ 130493 w 218122"/>
                  <a:gd name="connsiteY45" fmla="*/ 468630 h 470534"/>
                  <a:gd name="connsiteX46" fmla="*/ 124777 w 218122"/>
                  <a:gd name="connsiteY46" fmla="*/ 466725 h 470534"/>
                  <a:gd name="connsiteX47" fmla="*/ 120015 w 218122"/>
                  <a:gd name="connsiteY47" fmla="*/ 465773 h 470534"/>
                  <a:gd name="connsiteX48" fmla="*/ 115252 w 218122"/>
                  <a:gd name="connsiteY48" fmla="*/ 464820 h 470534"/>
                  <a:gd name="connsiteX49" fmla="*/ 110490 w 218122"/>
                  <a:gd name="connsiteY49" fmla="*/ 462915 h 470534"/>
                  <a:gd name="connsiteX50" fmla="*/ 105727 w 218122"/>
                  <a:gd name="connsiteY50" fmla="*/ 461010 h 470534"/>
                  <a:gd name="connsiteX51" fmla="*/ 101918 w 218122"/>
                  <a:gd name="connsiteY51" fmla="*/ 459105 h 470534"/>
                  <a:gd name="connsiteX52" fmla="*/ 98107 w 218122"/>
                  <a:gd name="connsiteY52" fmla="*/ 456248 h 470534"/>
                  <a:gd name="connsiteX53" fmla="*/ 94297 w 218122"/>
                  <a:gd name="connsiteY53" fmla="*/ 454343 h 470534"/>
                  <a:gd name="connsiteX54" fmla="*/ 90488 w 218122"/>
                  <a:gd name="connsiteY54" fmla="*/ 451485 h 470534"/>
                  <a:gd name="connsiteX55" fmla="*/ 86677 w 218122"/>
                  <a:gd name="connsiteY55" fmla="*/ 448627 h 470534"/>
                  <a:gd name="connsiteX56" fmla="*/ 83820 w 218122"/>
                  <a:gd name="connsiteY56" fmla="*/ 445770 h 470534"/>
                  <a:gd name="connsiteX57" fmla="*/ 80963 w 218122"/>
                  <a:gd name="connsiteY57" fmla="*/ 441960 h 470534"/>
                  <a:gd name="connsiteX58" fmla="*/ 78105 w 218122"/>
                  <a:gd name="connsiteY58" fmla="*/ 438150 h 470534"/>
                  <a:gd name="connsiteX59" fmla="*/ 75247 w 218122"/>
                  <a:gd name="connsiteY59" fmla="*/ 435293 h 470534"/>
                  <a:gd name="connsiteX60" fmla="*/ 72390 w 218122"/>
                  <a:gd name="connsiteY60" fmla="*/ 430530 h 470534"/>
                  <a:gd name="connsiteX61" fmla="*/ 69532 w 218122"/>
                  <a:gd name="connsiteY61" fmla="*/ 426720 h 470534"/>
                  <a:gd name="connsiteX62" fmla="*/ 67627 w 218122"/>
                  <a:gd name="connsiteY62" fmla="*/ 421958 h 470534"/>
                  <a:gd name="connsiteX63" fmla="*/ 65722 w 218122"/>
                  <a:gd name="connsiteY63" fmla="*/ 417195 h 470534"/>
                  <a:gd name="connsiteX64" fmla="*/ 64770 w 218122"/>
                  <a:gd name="connsiteY64" fmla="*/ 412433 h 470534"/>
                  <a:gd name="connsiteX65" fmla="*/ 62865 w 218122"/>
                  <a:gd name="connsiteY65" fmla="*/ 407670 h 470534"/>
                  <a:gd name="connsiteX66" fmla="*/ 61913 w 218122"/>
                  <a:gd name="connsiteY66" fmla="*/ 401955 h 470534"/>
                  <a:gd name="connsiteX67" fmla="*/ 60960 w 218122"/>
                  <a:gd name="connsiteY67" fmla="*/ 396240 h 470534"/>
                  <a:gd name="connsiteX68" fmla="*/ 59055 w 218122"/>
                  <a:gd name="connsiteY68" fmla="*/ 389573 h 470534"/>
                  <a:gd name="connsiteX69" fmla="*/ 59055 w 218122"/>
                  <a:gd name="connsiteY69" fmla="*/ 383858 h 470534"/>
                  <a:gd name="connsiteX70" fmla="*/ 58102 w 218122"/>
                  <a:gd name="connsiteY70" fmla="*/ 377190 h 470534"/>
                  <a:gd name="connsiteX71" fmla="*/ 58102 w 218122"/>
                  <a:gd name="connsiteY71" fmla="*/ 370523 h 470534"/>
                  <a:gd name="connsiteX72" fmla="*/ 58102 w 218122"/>
                  <a:gd name="connsiteY72" fmla="*/ 365760 h 470534"/>
                  <a:gd name="connsiteX73" fmla="*/ 58102 w 218122"/>
                  <a:gd name="connsiteY73" fmla="*/ 165735 h 470534"/>
                  <a:gd name="connsiteX74" fmla="*/ 0 w 218122"/>
                  <a:gd name="connsiteY74" fmla="*/ 165735 h 470534"/>
                  <a:gd name="connsiteX75" fmla="*/ 0 w 218122"/>
                  <a:gd name="connsiteY75" fmla="*/ 100965 h 470534"/>
                  <a:gd name="connsiteX76" fmla="*/ 58102 w 218122"/>
                  <a:gd name="connsiteY76" fmla="*/ 100965 h 470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218122" h="470534">
                    <a:moveTo>
                      <a:pt x="58102" y="100965"/>
                    </a:moveTo>
                    <a:lnTo>
                      <a:pt x="58102" y="26670"/>
                    </a:lnTo>
                    <a:lnTo>
                      <a:pt x="145732" y="0"/>
                    </a:lnTo>
                    <a:lnTo>
                      <a:pt x="145732" y="100965"/>
                    </a:lnTo>
                    <a:lnTo>
                      <a:pt x="218122" y="100965"/>
                    </a:lnTo>
                    <a:lnTo>
                      <a:pt x="218122" y="165735"/>
                    </a:lnTo>
                    <a:lnTo>
                      <a:pt x="145732" y="165735"/>
                    </a:lnTo>
                    <a:lnTo>
                      <a:pt x="145732" y="353378"/>
                    </a:lnTo>
                    <a:lnTo>
                      <a:pt x="145732" y="360045"/>
                    </a:lnTo>
                    <a:lnTo>
                      <a:pt x="145732" y="366712"/>
                    </a:lnTo>
                    <a:lnTo>
                      <a:pt x="146685" y="372427"/>
                    </a:lnTo>
                    <a:lnTo>
                      <a:pt x="148590" y="377190"/>
                    </a:lnTo>
                    <a:lnTo>
                      <a:pt x="149543" y="381952"/>
                    </a:lnTo>
                    <a:lnTo>
                      <a:pt x="150495" y="385762"/>
                    </a:lnTo>
                    <a:lnTo>
                      <a:pt x="153352" y="389573"/>
                    </a:lnTo>
                    <a:lnTo>
                      <a:pt x="155257" y="392430"/>
                    </a:lnTo>
                    <a:lnTo>
                      <a:pt x="158115" y="395287"/>
                    </a:lnTo>
                    <a:lnTo>
                      <a:pt x="160972" y="398145"/>
                    </a:lnTo>
                    <a:lnTo>
                      <a:pt x="163830" y="399098"/>
                    </a:lnTo>
                    <a:lnTo>
                      <a:pt x="167640" y="401002"/>
                    </a:lnTo>
                    <a:lnTo>
                      <a:pt x="171450" y="401955"/>
                    </a:lnTo>
                    <a:lnTo>
                      <a:pt x="175260" y="402908"/>
                    </a:lnTo>
                    <a:lnTo>
                      <a:pt x="180022" y="403860"/>
                    </a:lnTo>
                    <a:lnTo>
                      <a:pt x="184785" y="403860"/>
                    </a:lnTo>
                    <a:lnTo>
                      <a:pt x="189547" y="403860"/>
                    </a:lnTo>
                    <a:lnTo>
                      <a:pt x="194310" y="402908"/>
                    </a:lnTo>
                    <a:lnTo>
                      <a:pt x="198120" y="402908"/>
                    </a:lnTo>
                    <a:lnTo>
                      <a:pt x="202882" y="401955"/>
                    </a:lnTo>
                    <a:lnTo>
                      <a:pt x="206693" y="400050"/>
                    </a:lnTo>
                    <a:lnTo>
                      <a:pt x="210502" y="399098"/>
                    </a:lnTo>
                    <a:lnTo>
                      <a:pt x="214313" y="398145"/>
                    </a:lnTo>
                    <a:lnTo>
                      <a:pt x="218122" y="396240"/>
                    </a:lnTo>
                    <a:lnTo>
                      <a:pt x="218122" y="459105"/>
                    </a:lnTo>
                    <a:lnTo>
                      <a:pt x="211455" y="461962"/>
                    </a:lnTo>
                    <a:lnTo>
                      <a:pt x="204788" y="464820"/>
                    </a:lnTo>
                    <a:lnTo>
                      <a:pt x="197168" y="465773"/>
                    </a:lnTo>
                    <a:lnTo>
                      <a:pt x="190500" y="467677"/>
                    </a:lnTo>
                    <a:lnTo>
                      <a:pt x="182880" y="469583"/>
                    </a:lnTo>
                    <a:lnTo>
                      <a:pt x="175260" y="469583"/>
                    </a:lnTo>
                    <a:lnTo>
                      <a:pt x="167640" y="470535"/>
                    </a:lnTo>
                    <a:lnTo>
                      <a:pt x="159068" y="470535"/>
                    </a:lnTo>
                    <a:lnTo>
                      <a:pt x="153352" y="470535"/>
                    </a:lnTo>
                    <a:lnTo>
                      <a:pt x="146685" y="470535"/>
                    </a:lnTo>
                    <a:lnTo>
                      <a:pt x="140970" y="469583"/>
                    </a:lnTo>
                    <a:lnTo>
                      <a:pt x="136207" y="469583"/>
                    </a:lnTo>
                    <a:lnTo>
                      <a:pt x="130493" y="468630"/>
                    </a:lnTo>
                    <a:lnTo>
                      <a:pt x="124777" y="466725"/>
                    </a:lnTo>
                    <a:lnTo>
                      <a:pt x="120015" y="465773"/>
                    </a:lnTo>
                    <a:lnTo>
                      <a:pt x="115252" y="464820"/>
                    </a:lnTo>
                    <a:lnTo>
                      <a:pt x="110490" y="462915"/>
                    </a:lnTo>
                    <a:lnTo>
                      <a:pt x="105727" y="461010"/>
                    </a:lnTo>
                    <a:lnTo>
                      <a:pt x="101918" y="459105"/>
                    </a:lnTo>
                    <a:lnTo>
                      <a:pt x="98107" y="456248"/>
                    </a:lnTo>
                    <a:lnTo>
                      <a:pt x="94297" y="454343"/>
                    </a:lnTo>
                    <a:lnTo>
                      <a:pt x="90488" y="451485"/>
                    </a:lnTo>
                    <a:lnTo>
                      <a:pt x="86677" y="448627"/>
                    </a:lnTo>
                    <a:lnTo>
                      <a:pt x="83820" y="445770"/>
                    </a:lnTo>
                    <a:lnTo>
                      <a:pt x="80963" y="441960"/>
                    </a:lnTo>
                    <a:lnTo>
                      <a:pt x="78105" y="438150"/>
                    </a:lnTo>
                    <a:lnTo>
                      <a:pt x="75247" y="435293"/>
                    </a:lnTo>
                    <a:lnTo>
                      <a:pt x="72390" y="430530"/>
                    </a:lnTo>
                    <a:lnTo>
                      <a:pt x="69532" y="426720"/>
                    </a:lnTo>
                    <a:lnTo>
                      <a:pt x="67627" y="421958"/>
                    </a:lnTo>
                    <a:lnTo>
                      <a:pt x="65722" y="417195"/>
                    </a:lnTo>
                    <a:lnTo>
                      <a:pt x="64770" y="412433"/>
                    </a:lnTo>
                    <a:lnTo>
                      <a:pt x="62865" y="407670"/>
                    </a:lnTo>
                    <a:lnTo>
                      <a:pt x="61913" y="401955"/>
                    </a:lnTo>
                    <a:lnTo>
                      <a:pt x="60960" y="396240"/>
                    </a:lnTo>
                    <a:lnTo>
                      <a:pt x="59055" y="389573"/>
                    </a:lnTo>
                    <a:lnTo>
                      <a:pt x="59055" y="383858"/>
                    </a:lnTo>
                    <a:lnTo>
                      <a:pt x="58102" y="377190"/>
                    </a:lnTo>
                    <a:lnTo>
                      <a:pt x="58102" y="370523"/>
                    </a:lnTo>
                    <a:lnTo>
                      <a:pt x="58102" y="365760"/>
                    </a:lnTo>
                    <a:lnTo>
                      <a:pt x="58102" y="165735"/>
                    </a:lnTo>
                    <a:lnTo>
                      <a:pt x="0" y="165735"/>
                    </a:lnTo>
                    <a:lnTo>
                      <a:pt x="0" y="100965"/>
                    </a:lnTo>
                    <a:lnTo>
                      <a:pt x="58102" y="10096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60" name="Freeform 59">
                <a:extLst>
                  <a:ext uri="{FF2B5EF4-FFF2-40B4-BE49-F238E27FC236}">
                    <a16:creationId xmlns:a16="http://schemas.microsoft.com/office/drawing/2014/main" id="{6669E4B8-4E6A-53DC-34CA-CFF808B3978D}"/>
                  </a:ext>
                </a:extLst>
              </p:cNvPr>
              <p:cNvSpPr/>
              <p:nvPr/>
            </p:nvSpPr>
            <p:spPr>
              <a:xfrm>
                <a:off x="11307762" y="3972014"/>
                <a:ext cx="287655" cy="529590"/>
              </a:xfrm>
              <a:custGeom>
                <a:avLst/>
                <a:gdLst>
                  <a:gd name="connsiteX0" fmla="*/ 0 w 287655"/>
                  <a:gd name="connsiteY0" fmla="*/ 529590 h 529590"/>
                  <a:gd name="connsiteX1" fmla="*/ 0 w 287655"/>
                  <a:gd name="connsiteY1" fmla="*/ 0 h 529590"/>
                  <a:gd name="connsiteX2" fmla="*/ 87630 w 287655"/>
                  <a:gd name="connsiteY2" fmla="*/ 0 h 529590"/>
                  <a:gd name="connsiteX3" fmla="*/ 87630 w 287655"/>
                  <a:gd name="connsiteY3" fmla="*/ 212408 h 529590"/>
                  <a:gd name="connsiteX4" fmla="*/ 89535 w 287655"/>
                  <a:gd name="connsiteY4" fmla="*/ 212408 h 529590"/>
                  <a:gd name="connsiteX5" fmla="*/ 94298 w 287655"/>
                  <a:gd name="connsiteY5" fmla="*/ 206692 h 529590"/>
                  <a:gd name="connsiteX6" fmla="*/ 98107 w 287655"/>
                  <a:gd name="connsiteY6" fmla="*/ 200978 h 529590"/>
                  <a:gd name="connsiteX7" fmla="*/ 102870 w 287655"/>
                  <a:gd name="connsiteY7" fmla="*/ 196215 h 529590"/>
                  <a:gd name="connsiteX8" fmla="*/ 106680 w 287655"/>
                  <a:gd name="connsiteY8" fmla="*/ 191453 h 529590"/>
                  <a:gd name="connsiteX9" fmla="*/ 111443 w 287655"/>
                  <a:gd name="connsiteY9" fmla="*/ 186690 h 529590"/>
                  <a:gd name="connsiteX10" fmla="*/ 116205 w 287655"/>
                  <a:gd name="connsiteY10" fmla="*/ 181928 h 529590"/>
                  <a:gd name="connsiteX11" fmla="*/ 120968 w 287655"/>
                  <a:gd name="connsiteY11" fmla="*/ 178117 h 529590"/>
                  <a:gd name="connsiteX12" fmla="*/ 125730 w 287655"/>
                  <a:gd name="connsiteY12" fmla="*/ 174308 h 529590"/>
                  <a:gd name="connsiteX13" fmla="*/ 130493 w 287655"/>
                  <a:gd name="connsiteY13" fmla="*/ 171450 h 529590"/>
                  <a:gd name="connsiteX14" fmla="*/ 136207 w 287655"/>
                  <a:gd name="connsiteY14" fmla="*/ 168592 h 529590"/>
                  <a:gd name="connsiteX15" fmla="*/ 141923 w 287655"/>
                  <a:gd name="connsiteY15" fmla="*/ 165735 h 529590"/>
                  <a:gd name="connsiteX16" fmla="*/ 148590 w 287655"/>
                  <a:gd name="connsiteY16" fmla="*/ 163830 h 529590"/>
                  <a:gd name="connsiteX17" fmla="*/ 155257 w 287655"/>
                  <a:gd name="connsiteY17" fmla="*/ 162878 h 529590"/>
                  <a:gd name="connsiteX18" fmla="*/ 162877 w 287655"/>
                  <a:gd name="connsiteY18" fmla="*/ 161925 h 529590"/>
                  <a:gd name="connsiteX19" fmla="*/ 171450 w 287655"/>
                  <a:gd name="connsiteY19" fmla="*/ 160973 h 529590"/>
                  <a:gd name="connsiteX20" fmla="*/ 180023 w 287655"/>
                  <a:gd name="connsiteY20" fmla="*/ 160020 h 529590"/>
                  <a:gd name="connsiteX21" fmla="*/ 189548 w 287655"/>
                  <a:gd name="connsiteY21" fmla="*/ 160973 h 529590"/>
                  <a:gd name="connsiteX22" fmla="*/ 199073 w 287655"/>
                  <a:gd name="connsiteY22" fmla="*/ 161925 h 529590"/>
                  <a:gd name="connsiteX23" fmla="*/ 207645 w 287655"/>
                  <a:gd name="connsiteY23" fmla="*/ 162878 h 529590"/>
                  <a:gd name="connsiteX24" fmla="*/ 215265 w 287655"/>
                  <a:gd name="connsiteY24" fmla="*/ 164783 h 529590"/>
                  <a:gd name="connsiteX25" fmla="*/ 222885 w 287655"/>
                  <a:gd name="connsiteY25" fmla="*/ 167640 h 529590"/>
                  <a:gd name="connsiteX26" fmla="*/ 230505 w 287655"/>
                  <a:gd name="connsiteY26" fmla="*/ 170498 h 529590"/>
                  <a:gd name="connsiteX27" fmla="*/ 234315 w 287655"/>
                  <a:gd name="connsiteY27" fmla="*/ 172403 h 529590"/>
                  <a:gd name="connsiteX28" fmla="*/ 237173 w 287655"/>
                  <a:gd name="connsiteY28" fmla="*/ 174308 h 529590"/>
                  <a:gd name="connsiteX29" fmla="*/ 240030 w 287655"/>
                  <a:gd name="connsiteY29" fmla="*/ 176213 h 529590"/>
                  <a:gd name="connsiteX30" fmla="*/ 243840 w 287655"/>
                  <a:gd name="connsiteY30" fmla="*/ 178117 h 529590"/>
                  <a:gd name="connsiteX31" fmla="*/ 249555 w 287655"/>
                  <a:gd name="connsiteY31" fmla="*/ 182880 h 529590"/>
                  <a:gd name="connsiteX32" fmla="*/ 254318 w 287655"/>
                  <a:gd name="connsiteY32" fmla="*/ 187642 h 529590"/>
                  <a:gd name="connsiteX33" fmla="*/ 259080 w 287655"/>
                  <a:gd name="connsiteY33" fmla="*/ 193358 h 529590"/>
                  <a:gd name="connsiteX34" fmla="*/ 263843 w 287655"/>
                  <a:gd name="connsiteY34" fmla="*/ 199073 h 529590"/>
                  <a:gd name="connsiteX35" fmla="*/ 267652 w 287655"/>
                  <a:gd name="connsiteY35" fmla="*/ 204788 h 529590"/>
                  <a:gd name="connsiteX36" fmla="*/ 271463 w 287655"/>
                  <a:gd name="connsiteY36" fmla="*/ 211455 h 529590"/>
                  <a:gd name="connsiteX37" fmla="*/ 274320 w 287655"/>
                  <a:gd name="connsiteY37" fmla="*/ 219075 h 529590"/>
                  <a:gd name="connsiteX38" fmla="*/ 277177 w 287655"/>
                  <a:gd name="connsiteY38" fmla="*/ 225742 h 529590"/>
                  <a:gd name="connsiteX39" fmla="*/ 280035 w 287655"/>
                  <a:gd name="connsiteY39" fmla="*/ 233363 h 529590"/>
                  <a:gd name="connsiteX40" fmla="*/ 281940 w 287655"/>
                  <a:gd name="connsiteY40" fmla="*/ 241935 h 529590"/>
                  <a:gd name="connsiteX41" fmla="*/ 283845 w 287655"/>
                  <a:gd name="connsiteY41" fmla="*/ 249555 h 529590"/>
                  <a:gd name="connsiteX42" fmla="*/ 284798 w 287655"/>
                  <a:gd name="connsiteY42" fmla="*/ 258128 h 529590"/>
                  <a:gd name="connsiteX43" fmla="*/ 285750 w 287655"/>
                  <a:gd name="connsiteY43" fmla="*/ 267653 h 529590"/>
                  <a:gd name="connsiteX44" fmla="*/ 286702 w 287655"/>
                  <a:gd name="connsiteY44" fmla="*/ 276225 h 529590"/>
                  <a:gd name="connsiteX45" fmla="*/ 287655 w 287655"/>
                  <a:gd name="connsiteY45" fmla="*/ 285750 h 529590"/>
                  <a:gd name="connsiteX46" fmla="*/ 287655 w 287655"/>
                  <a:gd name="connsiteY46" fmla="*/ 295275 h 529590"/>
                  <a:gd name="connsiteX47" fmla="*/ 287655 w 287655"/>
                  <a:gd name="connsiteY47" fmla="*/ 529590 h 529590"/>
                  <a:gd name="connsiteX48" fmla="*/ 200025 w 287655"/>
                  <a:gd name="connsiteY48" fmla="*/ 529590 h 529590"/>
                  <a:gd name="connsiteX49" fmla="*/ 200025 w 287655"/>
                  <a:gd name="connsiteY49" fmla="*/ 310515 h 529590"/>
                  <a:gd name="connsiteX50" fmla="*/ 199073 w 287655"/>
                  <a:gd name="connsiteY50" fmla="*/ 300990 h 529590"/>
                  <a:gd name="connsiteX51" fmla="*/ 199073 w 287655"/>
                  <a:gd name="connsiteY51" fmla="*/ 291465 h 529590"/>
                  <a:gd name="connsiteX52" fmla="*/ 198120 w 287655"/>
                  <a:gd name="connsiteY52" fmla="*/ 281940 h 529590"/>
                  <a:gd name="connsiteX53" fmla="*/ 197168 w 287655"/>
                  <a:gd name="connsiteY53" fmla="*/ 274320 h 529590"/>
                  <a:gd name="connsiteX54" fmla="*/ 195263 w 287655"/>
                  <a:gd name="connsiteY54" fmla="*/ 267653 h 529590"/>
                  <a:gd name="connsiteX55" fmla="*/ 193357 w 287655"/>
                  <a:gd name="connsiteY55" fmla="*/ 260985 h 529590"/>
                  <a:gd name="connsiteX56" fmla="*/ 190500 w 287655"/>
                  <a:gd name="connsiteY56" fmla="*/ 255270 h 529590"/>
                  <a:gd name="connsiteX57" fmla="*/ 187643 w 287655"/>
                  <a:gd name="connsiteY57" fmla="*/ 250508 h 529590"/>
                  <a:gd name="connsiteX58" fmla="*/ 184785 w 287655"/>
                  <a:gd name="connsiteY58" fmla="*/ 245745 h 529590"/>
                  <a:gd name="connsiteX59" fmla="*/ 180975 w 287655"/>
                  <a:gd name="connsiteY59" fmla="*/ 241935 h 529590"/>
                  <a:gd name="connsiteX60" fmla="*/ 179070 w 287655"/>
                  <a:gd name="connsiteY60" fmla="*/ 240983 h 529590"/>
                  <a:gd name="connsiteX61" fmla="*/ 177165 w 287655"/>
                  <a:gd name="connsiteY61" fmla="*/ 239078 h 529590"/>
                  <a:gd name="connsiteX62" fmla="*/ 175260 w 287655"/>
                  <a:gd name="connsiteY62" fmla="*/ 237173 h 529590"/>
                  <a:gd name="connsiteX63" fmla="*/ 172402 w 287655"/>
                  <a:gd name="connsiteY63" fmla="*/ 236220 h 529590"/>
                  <a:gd name="connsiteX64" fmla="*/ 167640 w 287655"/>
                  <a:gd name="connsiteY64" fmla="*/ 234315 h 529590"/>
                  <a:gd name="connsiteX65" fmla="*/ 161925 w 287655"/>
                  <a:gd name="connsiteY65" fmla="*/ 232410 h 529590"/>
                  <a:gd name="connsiteX66" fmla="*/ 156210 w 287655"/>
                  <a:gd name="connsiteY66" fmla="*/ 232410 h 529590"/>
                  <a:gd name="connsiteX67" fmla="*/ 149543 w 287655"/>
                  <a:gd name="connsiteY67" fmla="*/ 231458 h 529590"/>
                  <a:gd name="connsiteX68" fmla="*/ 145732 w 287655"/>
                  <a:gd name="connsiteY68" fmla="*/ 231458 h 529590"/>
                  <a:gd name="connsiteX69" fmla="*/ 141923 w 287655"/>
                  <a:gd name="connsiteY69" fmla="*/ 232410 h 529590"/>
                  <a:gd name="connsiteX70" fmla="*/ 138113 w 287655"/>
                  <a:gd name="connsiteY70" fmla="*/ 232410 h 529590"/>
                  <a:gd name="connsiteX71" fmla="*/ 134302 w 287655"/>
                  <a:gd name="connsiteY71" fmla="*/ 233363 h 529590"/>
                  <a:gd name="connsiteX72" fmla="*/ 131445 w 287655"/>
                  <a:gd name="connsiteY72" fmla="*/ 234315 h 529590"/>
                  <a:gd name="connsiteX73" fmla="*/ 127635 w 287655"/>
                  <a:gd name="connsiteY73" fmla="*/ 235267 h 529590"/>
                  <a:gd name="connsiteX74" fmla="*/ 124777 w 287655"/>
                  <a:gd name="connsiteY74" fmla="*/ 236220 h 529590"/>
                  <a:gd name="connsiteX75" fmla="*/ 121920 w 287655"/>
                  <a:gd name="connsiteY75" fmla="*/ 238125 h 529590"/>
                  <a:gd name="connsiteX76" fmla="*/ 119063 w 287655"/>
                  <a:gd name="connsiteY76" fmla="*/ 239078 h 529590"/>
                  <a:gd name="connsiteX77" fmla="*/ 116205 w 287655"/>
                  <a:gd name="connsiteY77" fmla="*/ 240983 h 529590"/>
                  <a:gd name="connsiteX78" fmla="*/ 113348 w 287655"/>
                  <a:gd name="connsiteY78" fmla="*/ 242888 h 529590"/>
                  <a:gd name="connsiteX79" fmla="*/ 111443 w 287655"/>
                  <a:gd name="connsiteY79" fmla="*/ 244792 h 529590"/>
                  <a:gd name="connsiteX80" fmla="*/ 108585 w 287655"/>
                  <a:gd name="connsiteY80" fmla="*/ 247650 h 529590"/>
                  <a:gd name="connsiteX81" fmla="*/ 106680 w 287655"/>
                  <a:gd name="connsiteY81" fmla="*/ 250508 h 529590"/>
                  <a:gd name="connsiteX82" fmla="*/ 104775 w 287655"/>
                  <a:gd name="connsiteY82" fmla="*/ 252413 h 529590"/>
                  <a:gd name="connsiteX83" fmla="*/ 102870 w 287655"/>
                  <a:gd name="connsiteY83" fmla="*/ 255270 h 529590"/>
                  <a:gd name="connsiteX84" fmla="*/ 99060 w 287655"/>
                  <a:gd name="connsiteY84" fmla="*/ 261938 h 529590"/>
                  <a:gd name="connsiteX85" fmla="*/ 96202 w 287655"/>
                  <a:gd name="connsiteY85" fmla="*/ 267653 h 529590"/>
                  <a:gd name="connsiteX86" fmla="*/ 93345 w 287655"/>
                  <a:gd name="connsiteY86" fmla="*/ 275273 h 529590"/>
                  <a:gd name="connsiteX87" fmla="*/ 91440 w 287655"/>
                  <a:gd name="connsiteY87" fmla="*/ 282893 h 529590"/>
                  <a:gd name="connsiteX88" fmla="*/ 89535 w 287655"/>
                  <a:gd name="connsiteY88" fmla="*/ 290513 h 529590"/>
                  <a:gd name="connsiteX89" fmla="*/ 88582 w 287655"/>
                  <a:gd name="connsiteY89" fmla="*/ 299085 h 529590"/>
                  <a:gd name="connsiteX90" fmla="*/ 87630 w 287655"/>
                  <a:gd name="connsiteY90" fmla="*/ 307658 h 529590"/>
                  <a:gd name="connsiteX91" fmla="*/ 87630 w 287655"/>
                  <a:gd name="connsiteY91" fmla="*/ 317183 h 529590"/>
                  <a:gd name="connsiteX92" fmla="*/ 87630 w 287655"/>
                  <a:gd name="connsiteY92" fmla="*/ 529590 h 529590"/>
                  <a:gd name="connsiteX93" fmla="*/ 0 w 287655"/>
                  <a:gd name="connsiteY93" fmla="*/ 529590 h 529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287655" h="529590">
                    <a:moveTo>
                      <a:pt x="0" y="529590"/>
                    </a:moveTo>
                    <a:lnTo>
                      <a:pt x="0" y="0"/>
                    </a:lnTo>
                    <a:lnTo>
                      <a:pt x="87630" y="0"/>
                    </a:lnTo>
                    <a:lnTo>
                      <a:pt x="87630" y="212408"/>
                    </a:lnTo>
                    <a:lnTo>
                      <a:pt x="89535" y="212408"/>
                    </a:lnTo>
                    <a:lnTo>
                      <a:pt x="94298" y="206692"/>
                    </a:lnTo>
                    <a:lnTo>
                      <a:pt x="98107" y="200978"/>
                    </a:lnTo>
                    <a:lnTo>
                      <a:pt x="102870" y="196215"/>
                    </a:lnTo>
                    <a:lnTo>
                      <a:pt x="106680" y="191453"/>
                    </a:lnTo>
                    <a:lnTo>
                      <a:pt x="111443" y="186690"/>
                    </a:lnTo>
                    <a:lnTo>
                      <a:pt x="116205" y="181928"/>
                    </a:lnTo>
                    <a:lnTo>
                      <a:pt x="120968" y="178117"/>
                    </a:lnTo>
                    <a:lnTo>
                      <a:pt x="125730" y="174308"/>
                    </a:lnTo>
                    <a:lnTo>
                      <a:pt x="130493" y="171450"/>
                    </a:lnTo>
                    <a:lnTo>
                      <a:pt x="136207" y="168592"/>
                    </a:lnTo>
                    <a:lnTo>
                      <a:pt x="141923" y="165735"/>
                    </a:lnTo>
                    <a:lnTo>
                      <a:pt x="148590" y="163830"/>
                    </a:lnTo>
                    <a:lnTo>
                      <a:pt x="155257" y="162878"/>
                    </a:lnTo>
                    <a:lnTo>
                      <a:pt x="162877" y="161925"/>
                    </a:lnTo>
                    <a:lnTo>
                      <a:pt x="171450" y="160973"/>
                    </a:lnTo>
                    <a:lnTo>
                      <a:pt x="180023" y="160020"/>
                    </a:lnTo>
                    <a:lnTo>
                      <a:pt x="189548" y="160973"/>
                    </a:lnTo>
                    <a:lnTo>
                      <a:pt x="199073" y="161925"/>
                    </a:lnTo>
                    <a:lnTo>
                      <a:pt x="207645" y="162878"/>
                    </a:lnTo>
                    <a:lnTo>
                      <a:pt x="215265" y="164783"/>
                    </a:lnTo>
                    <a:lnTo>
                      <a:pt x="222885" y="167640"/>
                    </a:lnTo>
                    <a:lnTo>
                      <a:pt x="230505" y="170498"/>
                    </a:lnTo>
                    <a:lnTo>
                      <a:pt x="234315" y="172403"/>
                    </a:lnTo>
                    <a:lnTo>
                      <a:pt x="237173" y="174308"/>
                    </a:lnTo>
                    <a:lnTo>
                      <a:pt x="240030" y="176213"/>
                    </a:lnTo>
                    <a:lnTo>
                      <a:pt x="243840" y="178117"/>
                    </a:lnTo>
                    <a:lnTo>
                      <a:pt x="249555" y="182880"/>
                    </a:lnTo>
                    <a:lnTo>
                      <a:pt x="254318" y="187642"/>
                    </a:lnTo>
                    <a:lnTo>
                      <a:pt x="259080" y="193358"/>
                    </a:lnTo>
                    <a:lnTo>
                      <a:pt x="263843" y="199073"/>
                    </a:lnTo>
                    <a:lnTo>
                      <a:pt x="267652" y="204788"/>
                    </a:lnTo>
                    <a:lnTo>
                      <a:pt x="271463" y="211455"/>
                    </a:lnTo>
                    <a:lnTo>
                      <a:pt x="274320" y="219075"/>
                    </a:lnTo>
                    <a:lnTo>
                      <a:pt x="277177" y="225742"/>
                    </a:lnTo>
                    <a:lnTo>
                      <a:pt x="280035" y="233363"/>
                    </a:lnTo>
                    <a:lnTo>
                      <a:pt x="281940" y="241935"/>
                    </a:lnTo>
                    <a:lnTo>
                      <a:pt x="283845" y="249555"/>
                    </a:lnTo>
                    <a:lnTo>
                      <a:pt x="284798" y="258128"/>
                    </a:lnTo>
                    <a:lnTo>
                      <a:pt x="285750" y="267653"/>
                    </a:lnTo>
                    <a:lnTo>
                      <a:pt x="286702" y="276225"/>
                    </a:lnTo>
                    <a:lnTo>
                      <a:pt x="287655" y="285750"/>
                    </a:lnTo>
                    <a:lnTo>
                      <a:pt x="287655" y="295275"/>
                    </a:lnTo>
                    <a:lnTo>
                      <a:pt x="287655" y="529590"/>
                    </a:lnTo>
                    <a:lnTo>
                      <a:pt x="200025" y="529590"/>
                    </a:lnTo>
                    <a:lnTo>
                      <a:pt x="200025" y="310515"/>
                    </a:lnTo>
                    <a:lnTo>
                      <a:pt x="199073" y="300990"/>
                    </a:lnTo>
                    <a:lnTo>
                      <a:pt x="199073" y="291465"/>
                    </a:lnTo>
                    <a:lnTo>
                      <a:pt x="198120" y="281940"/>
                    </a:lnTo>
                    <a:lnTo>
                      <a:pt x="197168" y="274320"/>
                    </a:lnTo>
                    <a:lnTo>
                      <a:pt x="195263" y="267653"/>
                    </a:lnTo>
                    <a:lnTo>
                      <a:pt x="193357" y="260985"/>
                    </a:lnTo>
                    <a:lnTo>
                      <a:pt x="190500" y="255270"/>
                    </a:lnTo>
                    <a:lnTo>
                      <a:pt x="187643" y="250508"/>
                    </a:lnTo>
                    <a:lnTo>
                      <a:pt x="184785" y="245745"/>
                    </a:lnTo>
                    <a:lnTo>
                      <a:pt x="180975" y="241935"/>
                    </a:lnTo>
                    <a:lnTo>
                      <a:pt x="179070" y="240983"/>
                    </a:lnTo>
                    <a:lnTo>
                      <a:pt x="177165" y="239078"/>
                    </a:lnTo>
                    <a:lnTo>
                      <a:pt x="175260" y="237173"/>
                    </a:lnTo>
                    <a:lnTo>
                      <a:pt x="172402" y="236220"/>
                    </a:lnTo>
                    <a:lnTo>
                      <a:pt x="167640" y="234315"/>
                    </a:lnTo>
                    <a:lnTo>
                      <a:pt x="161925" y="232410"/>
                    </a:lnTo>
                    <a:lnTo>
                      <a:pt x="156210" y="232410"/>
                    </a:lnTo>
                    <a:lnTo>
                      <a:pt x="149543" y="231458"/>
                    </a:lnTo>
                    <a:lnTo>
                      <a:pt x="145732" y="231458"/>
                    </a:lnTo>
                    <a:lnTo>
                      <a:pt x="141923" y="232410"/>
                    </a:lnTo>
                    <a:lnTo>
                      <a:pt x="138113" y="232410"/>
                    </a:lnTo>
                    <a:lnTo>
                      <a:pt x="134302" y="233363"/>
                    </a:lnTo>
                    <a:lnTo>
                      <a:pt x="131445" y="234315"/>
                    </a:lnTo>
                    <a:lnTo>
                      <a:pt x="127635" y="235267"/>
                    </a:lnTo>
                    <a:lnTo>
                      <a:pt x="124777" y="236220"/>
                    </a:lnTo>
                    <a:lnTo>
                      <a:pt x="121920" y="238125"/>
                    </a:lnTo>
                    <a:lnTo>
                      <a:pt x="119063" y="239078"/>
                    </a:lnTo>
                    <a:lnTo>
                      <a:pt x="116205" y="240983"/>
                    </a:lnTo>
                    <a:lnTo>
                      <a:pt x="113348" y="242888"/>
                    </a:lnTo>
                    <a:lnTo>
                      <a:pt x="111443" y="244792"/>
                    </a:lnTo>
                    <a:lnTo>
                      <a:pt x="108585" y="247650"/>
                    </a:lnTo>
                    <a:lnTo>
                      <a:pt x="106680" y="250508"/>
                    </a:lnTo>
                    <a:lnTo>
                      <a:pt x="104775" y="252413"/>
                    </a:lnTo>
                    <a:lnTo>
                      <a:pt x="102870" y="255270"/>
                    </a:lnTo>
                    <a:lnTo>
                      <a:pt x="99060" y="261938"/>
                    </a:lnTo>
                    <a:lnTo>
                      <a:pt x="96202" y="267653"/>
                    </a:lnTo>
                    <a:lnTo>
                      <a:pt x="93345" y="275273"/>
                    </a:lnTo>
                    <a:lnTo>
                      <a:pt x="91440" y="282893"/>
                    </a:lnTo>
                    <a:lnTo>
                      <a:pt x="89535" y="290513"/>
                    </a:lnTo>
                    <a:lnTo>
                      <a:pt x="88582" y="299085"/>
                    </a:lnTo>
                    <a:lnTo>
                      <a:pt x="87630" y="307658"/>
                    </a:lnTo>
                    <a:lnTo>
                      <a:pt x="87630" y="317183"/>
                    </a:lnTo>
                    <a:lnTo>
                      <a:pt x="87630" y="529590"/>
                    </a:lnTo>
                    <a:lnTo>
                      <a:pt x="0" y="52959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C6E9478A-1A66-7536-D6BE-25F60D001023}"/>
                  </a:ext>
                </a:extLst>
              </p:cNvPr>
              <p:cNvSpPr/>
              <p:nvPr/>
            </p:nvSpPr>
            <p:spPr>
              <a:xfrm>
                <a:off x="8125459" y="4675912"/>
                <a:ext cx="393382" cy="506729"/>
              </a:xfrm>
              <a:custGeom>
                <a:avLst/>
                <a:gdLst>
                  <a:gd name="connsiteX0" fmla="*/ 92393 w 393382"/>
                  <a:gd name="connsiteY0" fmla="*/ 254317 h 506729"/>
                  <a:gd name="connsiteX1" fmla="*/ 92393 w 393382"/>
                  <a:gd name="connsiteY1" fmla="*/ 266700 h 506729"/>
                  <a:gd name="connsiteX2" fmla="*/ 92393 w 393382"/>
                  <a:gd name="connsiteY2" fmla="*/ 278130 h 506729"/>
                  <a:gd name="connsiteX3" fmla="*/ 92393 w 393382"/>
                  <a:gd name="connsiteY3" fmla="*/ 288607 h 506729"/>
                  <a:gd name="connsiteX4" fmla="*/ 93345 w 393382"/>
                  <a:gd name="connsiteY4" fmla="*/ 299085 h 506729"/>
                  <a:gd name="connsiteX5" fmla="*/ 94298 w 393382"/>
                  <a:gd name="connsiteY5" fmla="*/ 309563 h 506729"/>
                  <a:gd name="connsiteX6" fmla="*/ 95250 w 393382"/>
                  <a:gd name="connsiteY6" fmla="*/ 319088 h 506729"/>
                  <a:gd name="connsiteX7" fmla="*/ 97155 w 393382"/>
                  <a:gd name="connsiteY7" fmla="*/ 328613 h 506729"/>
                  <a:gd name="connsiteX8" fmla="*/ 99060 w 393382"/>
                  <a:gd name="connsiteY8" fmla="*/ 337185 h 506729"/>
                  <a:gd name="connsiteX9" fmla="*/ 100965 w 393382"/>
                  <a:gd name="connsiteY9" fmla="*/ 345758 h 506729"/>
                  <a:gd name="connsiteX10" fmla="*/ 102870 w 393382"/>
                  <a:gd name="connsiteY10" fmla="*/ 353377 h 506729"/>
                  <a:gd name="connsiteX11" fmla="*/ 105728 w 393382"/>
                  <a:gd name="connsiteY11" fmla="*/ 360997 h 506729"/>
                  <a:gd name="connsiteX12" fmla="*/ 108585 w 393382"/>
                  <a:gd name="connsiteY12" fmla="*/ 368617 h 506729"/>
                  <a:gd name="connsiteX13" fmla="*/ 111443 w 393382"/>
                  <a:gd name="connsiteY13" fmla="*/ 375285 h 506729"/>
                  <a:gd name="connsiteX14" fmla="*/ 114300 w 393382"/>
                  <a:gd name="connsiteY14" fmla="*/ 381952 h 506729"/>
                  <a:gd name="connsiteX15" fmla="*/ 117158 w 393382"/>
                  <a:gd name="connsiteY15" fmla="*/ 388620 h 506729"/>
                  <a:gd name="connsiteX16" fmla="*/ 120968 w 393382"/>
                  <a:gd name="connsiteY16" fmla="*/ 394335 h 506729"/>
                  <a:gd name="connsiteX17" fmla="*/ 124778 w 393382"/>
                  <a:gd name="connsiteY17" fmla="*/ 400050 h 506729"/>
                  <a:gd name="connsiteX18" fmla="*/ 128588 w 393382"/>
                  <a:gd name="connsiteY18" fmla="*/ 405765 h 506729"/>
                  <a:gd name="connsiteX19" fmla="*/ 132398 w 393382"/>
                  <a:gd name="connsiteY19" fmla="*/ 410527 h 506729"/>
                  <a:gd name="connsiteX20" fmla="*/ 136208 w 393382"/>
                  <a:gd name="connsiteY20" fmla="*/ 414338 h 506729"/>
                  <a:gd name="connsiteX21" fmla="*/ 140018 w 393382"/>
                  <a:gd name="connsiteY21" fmla="*/ 418147 h 506729"/>
                  <a:gd name="connsiteX22" fmla="*/ 144780 w 393382"/>
                  <a:gd name="connsiteY22" fmla="*/ 421958 h 506729"/>
                  <a:gd name="connsiteX23" fmla="*/ 148590 w 393382"/>
                  <a:gd name="connsiteY23" fmla="*/ 424815 h 506729"/>
                  <a:gd name="connsiteX24" fmla="*/ 153353 w 393382"/>
                  <a:gd name="connsiteY24" fmla="*/ 427672 h 506729"/>
                  <a:gd name="connsiteX25" fmla="*/ 158115 w 393382"/>
                  <a:gd name="connsiteY25" fmla="*/ 430530 h 506729"/>
                  <a:gd name="connsiteX26" fmla="*/ 162878 w 393382"/>
                  <a:gd name="connsiteY26" fmla="*/ 432435 h 506729"/>
                  <a:gd name="connsiteX27" fmla="*/ 167640 w 393382"/>
                  <a:gd name="connsiteY27" fmla="*/ 434340 h 506729"/>
                  <a:gd name="connsiteX28" fmla="*/ 173355 w 393382"/>
                  <a:gd name="connsiteY28" fmla="*/ 435292 h 506729"/>
                  <a:gd name="connsiteX29" fmla="*/ 179070 w 393382"/>
                  <a:gd name="connsiteY29" fmla="*/ 436245 h 506729"/>
                  <a:gd name="connsiteX30" fmla="*/ 184785 w 393382"/>
                  <a:gd name="connsiteY30" fmla="*/ 437197 h 506729"/>
                  <a:gd name="connsiteX31" fmla="*/ 190500 w 393382"/>
                  <a:gd name="connsiteY31" fmla="*/ 437197 h 506729"/>
                  <a:gd name="connsiteX32" fmla="*/ 196215 w 393382"/>
                  <a:gd name="connsiteY32" fmla="*/ 437197 h 506729"/>
                  <a:gd name="connsiteX33" fmla="*/ 201930 w 393382"/>
                  <a:gd name="connsiteY33" fmla="*/ 437197 h 506729"/>
                  <a:gd name="connsiteX34" fmla="*/ 207645 w 393382"/>
                  <a:gd name="connsiteY34" fmla="*/ 437197 h 506729"/>
                  <a:gd name="connsiteX35" fmla="*/ 213360 w 393382"/>
                  <a:gd name="connsiteY35" fmla="*/ 436245 h 506729"/>
                  <a:gd name="connsiteX36" fmla="*/ 219075 w 393382"/>
                  <a:gd name="connsiteY36" fmla="*/ 435292 h 506729"/>
                  <a:gd name="connsiteX37" fmla="*/ 223838 w 393382"/>
                  <a:gd name="connsiteY37" fmla="*/ 434340 h 506729"/>
                  <a:gd name="connsiteX38" fmla="*/ 228600 w 393382"/>
                  <a:gd name="connsiteY38" fmla="*/ 432435 h 506729"/>
                  <a:gd name="connsiteX39" fmla="*/ 233363 w 393382"/>
                  <a:gd name="connsiteY39" fmla="*/ 430530 h 506729"/>
                  <a:gd name="connsiteX40" fmla="*/ 238125 w 393382"/>
                  <a:gd name="connsiteY40" fmla="*/ 427672 h 506729"/>
                  <a:gd name="connsiteX41" fmla="*/ 242888 w 393382"/>
                  <a:gd name="connsiteY41" fmla="*/ 424815 h 506729"/>
                  <a:gd name="connsiteX42" fmla="*/ 246698 w 393382"/>
                  <a:gd name="connsiteY42" fmla="*/ 421958 h 506729"/>
                  <a:gd name="connsiteX43" fmla="*/ 251460 w 393382"/>
                  <a:gd name="connsiteY43" fmla="*/ 418147 h 506729"/>
                  <a:gd name="connsiteX44" fmla="*/ 255270 w 393382"/>
                  <a:gd name="connsiteY44" fmla="*/ 414338 h 506729"/>
                  <a:gd name="connsiteX45" fmla="*/ 259080 w 393382"/>
                  <a:gd name="connsiteY45" fmla="*/ 410527 h 506729"/>
                  <a:gd name="connsiteX46" fmla="*/ 262890 w 393382"/>
                  <a:gd name="connsiteY46" fmla="*/ 405765 h 506729"/>
                  <a:gd name="connsiteX47" fmla="*/ 266700 w 393382"/>
                  <a:gd name="connsiteY47" fmla="*/ 401002 h 506729"/>
                  <a:gd name="connsiteX48" fmla="*/ 270510 w 393382"/>
                  <a:gd name="connsiteY48" fmla="*/ 395288 h 506729"/>
                  <a:gd name="connsiteX49" fmla="*/ 274320 w 393382"/>
                  <a:gd name="connsiteY49" fmla="*/ 389572 h 506729"/>
                  <a:gd name="connsiteX50" fmla="*/ 277178 w 393382"/>
                  <a:gd name="connsiteY50" fmla="*/ 383858 h 506729"/>
                  <a:gd name="connsiteX51" fmla="*/ 280035 w 393382"/>
                  <a:gd name="connsiteY51" fmla="*/ 377190 h 506729"/>
                  <a:gd name="connsiteX52" fmla="*/ 282893 w 393382"/>
                  <a:gd name="connsiteY52" fmla="*/ 370522 h 506729"/>
                  <a:gd name="connsiteX53" fmla="*/ 285750 w 393382"/>
                  <a:gd name="connsiteY53" fmla="*/ 363855 h 506729"/>
                  <a:gd name="connsiteX54" fmla="*/ 287655 w 393382"/>
                  <a:gd name="connsiteY54" fmla="*/ 356235 h 506729"/>
                  <a:gd name="connsiteX55" fmla="*/ 289560 w 393382"/>
                  <a:gd name="connsiteY55" fmla="*/ 348615 h 506729"/>
                  <a:gd name="connsiteX56" fmla="*/ 291465 w 393382"/>
                  <a:gd name="connsiteY56" fmla="*/ 340042 h 506729"/>
                  <a:gd name="connsiteX57" fmla="*/ 293370 w 393382"/>
                  <a:gd name="connsiteY57" fmla="*/ 330517 h 506729"/>
                  <a:gd name="connsiteX58" fmla="*/ 294322 w 393382"/>
                  <a:gd name="connsiteY58" fmla="*/ 320992 h 506729"/>
                  <a:gd name="connsiteX59" fmla="*/ 295275 w 393382"/>
                  <a:gd name="connsiteY59" fmla="*/ 311467 h 506729"/>
                  <a:gd name="connsiteX60" fmla="*/ 296228 w 393382"/>
                  <a:gd name="connsiteY60" fmla="*/ 300990 h 506729"/>
                  <a:gd name="connsiteX61" fmla="*/ 297180 w 393382"/>
                  <a:gd name="connsiteY61" fmla="*/ 290513 h 506729"/>
                  <a:gd name="connsiteX62" fmla="*/ 298133 w 393382"/>
                  <a:gd name="connsiteY62" fmla="*/ 279082 h 506729"/>
                  <a:gd name="connsiteX63" fmla="*/ 298133 w 393382"/>
                  <a:gd name="connsiteY63" fmla="*/ 267653 h 506729"/>
                  <a:gd name="connsiteX64" fmla="*/ 298133 w 393382"/>
                  <a:gd name="connsiteY64" fmla="*/ 255270 h 506729"/>
                  <a:gd name="connsiteX65" fmla="*/ 298133 w 393382"/>
                  <a:gd name="connsiteY65" fmla="*/ 243840 h 506729"/>
                  <a:gd name="connsiteX66" fmla="*/ 298133 w 393382"/>
                  <a:gd name="connsiteY66" fmla="*/ 232410 h 506729"/>
                  <a:gd name="connsiteX67" fmla="*/ 297180 w 393382"/>
                  <a:gd name="connsiteY67" fmla="*/ 221932 h 506729"/>
                  <a:gd name="connsiteX68" fmla="*/ 296228 w 393382"/>
                  <a:gd name="connsiteY68" fmla="*/ 211455 h 506729"/>
                  <a:gd name="connsiteX69" fmla="*/ 295275 w 393382"/>
                  <a:gd name="connsiteY69" fmla="*/ 200977 h 506729"/>
                  <a:gd name="connsiteX70" fmla="*/ 294322 w 393382"/>
                  <a:gd name="connsiteY70" fmla="*/ 191452 h 506729"/>
                  <a:gd name="connsiteX71" fmla="*/ 293370 w 393382"/>
                  <a:gd name="connsiteY71" fmla="*/ 181927 h 506729"/>
                  <a:gd name="connsiteX72" fmla="*/ 291465 w 393382"/>
                  <a:gd name="connsiteY72" fmla="*/ 172402 h 506729"/>
                  <a:gd name="connsiteX73" fmla="*/ 289560 w 393382"/>
                  <a:gd name="connsiteY73" fmla="*/ 163830 h 506729"/>
                  <a:gd name="connsiteX74" fmla="*/ 287655 w 393382"/>
                  <a:gd name="connsiteY74" fmla="*/ 155257 h 506729"/>
                  <a:gd name="connsiteX75" fmla="*/ 284798 w 393382"/>
                  <a:gd name="connsiteY75" fmla="*/ 147638 h 506729"/>
                  <a:gd name="connsiteX76" fmla="*/ 281940 w 393382"/>
                  <a:gd name="connsiteY76" fmla="*/ 140017 h 506729"/>
                  <a:gd name="connsiteX77" fmla="*/ 279083 w 393382"/>
                  <a:gd name="connsiteY77" fmla="*/ 133350 h 506729"/>
                  <a:gd name="connsiteX78" fmla="*/ 277178 w 393382"/>
                  <a:gd name="connsiteY78" fmla="*/ 125730 h 506729"/>
                  <a:gd name="connsiteX79" fmla="*/ 273368 w 393382"/>
                  <a:gd name="connsiteY79" fmla="*/ 119063 h 506729"/>
                  <a:gd name="connsiteX80" fmla="*/ 270510 w 393382"/>
                  <a:gd name="connsiteY80" fmla="*/ 113347 h 506729"/>
                  <a:gd name="connsiteX81" fmla="*/ 266700 w 393382"/>
                  <a:gd name="connsiteY81" fmla="*/ 107632 h 506729"/>
                  <a:gd name="connsiteX82" fmla="*/ 262890 w 393382"/>
                  <a:gd name="connsiteY82" fmla="*/ 102870 h 506729"/>
                  <a:gd name="connsiteX83" fmla="*/ 259080 w 393382"/>
                  <a:gd name="connsiteY83" fmla="*/ 98107 h 506729"/>
                  <a:gd name="connsiteX84" fmla="*/ 255270 w 393382"/>
                  <a:gd name="connsiteY84" fmla="*/ 94297 h 506729"/>
                  <a:gd name="connsiteX85" fmla="*/ 251460 w 393382"/>
                  <a:gd name="connsiteY85" fmla="*/ 90488 h 506729"/>
                  <a:gd name="connsiteX86" fmla="*/ 247650 w 393382"/>
                  <a:gd name="connsiteY86" fmla="*/ 86677 h 506729"/>
                  <a:gd name="connsiteX87" fmla="*/ 242888 w 393382"/>
                  <a:gd name="connsiteY87" fmla="*/ 83820 h 506729"/>
                  <a:gd name="connsiteX88" fmla="*/ 238125 w 393382"/>
                  <a:gd name="connsiteY88" fmla="*/ 80963 h 506729"/>
                  <a:gd name="connsiteX89" fmla="*/ 233363 w 393382"/>
                  <a:gd name="connsiteY89" fmla="*/ 78105 h 506729"/>
                  <a:gd name="connsiteX90" fmla="*/ 228600 w 393382"/>
                  <a:gd name="connsiteY90" fmla="*/ 75247 h 506729"/>
                  <a:gd name="connsiteX91" fmla="*/ 223838 w 393382"/>
                  <a:gd name="connsiteY91" fmla="*/ 73342 h 506729"/>
                  <a:gd name="connsiteX92" fmla="*/ 218123 w 393382"/>
                  <a:gd name="connsiteY92" fmla="*/ 72390 h 506729"/>
                  <a:gd name="connsiteX93" fmla="*/ 212408 w 393382"/>
                  <a:gd name="connsiteY93" fmla="*/ 70485 h 506729"/>
                  <a:gd name="connsiteX94" fmla="*/ 206693 w 393382"/>
                  <a:gd name="connsiteY94" fmla="*/ 69532 h 506729"/>
                  <a:gd name="connsiteX95" fmla="*/ 200978 w 393382"/>
                  <a:gd name="connsiteY95" fmla="*/ 68580 h 506729"/>
                  <a:gd name="connsiteX96" fmla="*/ 195263 w 393382"/>
                  <a:gd name="connsiteY96" fmla="*/ 68580 h 506729"/>
                  <a:gd name="connsiteX97" fmla="*/ 189548 w 393382"/>
                  <a:gd name="connsiteY97" fmla="*/ 68580 h 506729"/>
                  <a:gd name="connsiteX98" fmla="*/ 183833 w 393382"/>
                  <a:gd name="connsiteY98" fmla="*/ 69532 h 506729"/>
                  <a:gd name="connsiteX99" fmla="*/ 178118 w 393382"/>
                  <a:gd name="connsiteY99" fmla="*/ 70485 h 506729"/>
                  <a:gd name="connsiteX100" fmla="*/ 172403 w 393382"/>
                  <a:gd name="connsiteY100" fmla="*/ 72390 h 506729"/>
                  <a:gd name="connsiteX101" fmla="*/ 167640 w 393382"/>
                  <a:gd name="connsiteY101" fmla="*/ 73342 h 506729"/>
                  <a:gd name="connsiteX102" fmla="*/ 161925 w 393382"/>
                  <a:gd name="connsiteY102" fmla="*/ 75247 h 506729"/>
                  <a:gd name="connsiteX103" fmla="*/ 157163 w 393382"/>
                  <a:gd name="connsiteY103" fmla="*/ 78105 h 506729"/>
                  <a:gd name="connsiteX104" fmla="*/ 152400 w 393382"/>
                  <a:gd name="connsiteY104" fmla="*/ 80963 h 506729"/>
                  <a:gd name="connsiteX105" fmla="*/ 147638 w 393382"/>
                  <a:gd name="connsiteY105" fmla="*/ 83820 h 506729"/>
                  <a:gd name="connsiteX106" fmla="*/ 142875 w 393382"/>
                  <a:gd name="connsiteY106" fmla="*/ 86677 h 506729"/>
                  <a:gd name="connsiteX107" fmla="*/ 139065 w 393382"/>
                  <a:gd name="connsiteY107" fmla="*/ 90488 h 506729"/>
                  <a:gd name="connsiteX108" fmla="*/ 135255 w 393382"/>
                  <a:gd name="connsiteY108" fmla="*/ 94297 h 506729"/>
                  <a:gd name="connsiteX109" fmla="*/ 131445 w 393382"/>
                  <a:gd name="connsiteY109" fmla="*/ 98107 h 506729"/>
                  <a:gd name="connsiteX110" fmla="*/ 127635 w 393382"/>
                  <a:gd name="connsiteY110" fmla="*/ 102870 h 506729"/>
                  <a:gd name="connsiteX111" fmla="*/ 123825 w 393382"/>
                  <a:gd name="connsiteY111" fmla="*/ 107632 h 506729"/>
                  <a:gd name="connsiteX112" fmla="*/ 120015 w 393382"/>
                  <a:gd name="connsiteY112" fmla="*/ 113347 h 506729"/>
                  <a:gd name="connsiteX113" fmla="*/ 116205 w 393382"/>
                  <a:gd name="connsiteY113" fmla="*/ 119063 h 506729"/>
                  <a:gd name="connsiteX114" fmla="*/ 113348 w 393382"/>
                  <a:gd name="connsiteY114" fmla="*/ 124777 h 506729"/>
                  <a:gd name="connsiteX115" fmla="*/ 110490 w 393382"/>
                  <a:gd name="connsiteY115" fmla="*/ 131445 h 506729"/>
                  <a:gd name="connsiteX116" fmla="*/ 107633 w 393382"/>
                  <a:gd name="connsiteY116" fmla="*/ 138113 h 506729"/>
                  <a:gd name="connsiteX117" fmla="*/ 104775 w 393382"/>
                  <a:gd name="connsiteY117" fmla="*/ 145732 h 506729"/>
                  <a:gd name="connsiteX118" fmla="*/ 102870 w 393382"/>
                  <a:gd name="connsiteY118" fmla="*/ 153352 h 506729"/>
                  <a:gd name="connsiteX119" fmla="*/ 100965 w 393382"/>
                  <a:gd name="connsiteY119" fmla="*/ 161925 h 506729"/>
                  <a:gd name="connsiteX120" fmla="*/ 99060 w 393382"/>
                  <a:gd name="connsiteY120" fmla="*/ 170497 h 506729"/>
                  <a:gd name="connsiteX121" fmla="*/ 97155 w 393382"/>
                  <a:gd name="connsiteY121" fmla="*/ 179070 h 506729"/>
                  <a:gd name="connsiteX122" fmla="*/ 95250 w 393382"/>
                  <a:gd name="connsiteY122" fmla="*/ 188595 h 506729"/>
                  <a:gd name="connsiteX123" fmla="*/ 94298 w 393382"/>
                  <a:gd name="connsiteY123" fmla="*/ 198120 h 506729"/>
                  <a:gd name="connsiteX124" fmla="*/ 93345 w 393382"/>
                  <a:gd name="connsiteY124" fmla="*/ 208597 h 506729"/>
                  <a:gd name="connsiteX125" fmla="*/ 92393 w 393382"/>
                  <a:gd name="connsiteY125" fmla="*/ 219075 h 506729"/>
                  <a:gd name="connsiteX126" fmla="*/ 92393 w 393382"/>
                  <a:gd name="connsiteY126" fmla="*/ 229552 h 506729"/>
                  <a:gd name="connsiteX127" fmla="*/ 92393 w 393382"/>
                  <a:gd name="connsiteY127" fmla="*/ 240982 h 506729"/>
                  <a:gd name="connsiteX128" fmla="*/ 92393 w 393382"/>
                  <a:gd name="connsiteY128" fmla="*/ 254317 h 506729"/>
                  <a:gd name="connsiteX129" fmla="*/ 92393 w 393382"/>
                  <a:gd name="connsiteY129" fmla="*/ 254317 h 506729"/>
                  <a:gd name="connsiteX130" fmla="*/ 0 w 393382"/>
                  <a:gd name="connsiteY130" fmla="*/ 255270 h 506729"/>
                  <a:gd name="connsiteX131" fmla="*/ 0 w 393382"/>
                  <a:gd name="connsiteY131" fmla="*/ 240030 h 506729"/>
                  <a:gd name="connsiteX132" fmla="*/ 953 w 393382"/>
                  <a:gd name="connsiteY132" fmla="*/ 224790 h 506729"/>
                  <a:gd name="connsiteX133" fmla="*/ 1905 w 393382"/>
                  <a:gd name="connsiteY133" fmla="*/ 210502 h 506729"/>
                  <a:gd name="connsiteX134" fmla="*/ 3810 w 393382"/>
                  <a:gd name="connsiteY134" fmla="*/ 196215 h 506729"/>
                  <a:gd name="connsiteX135" fmla="*/ 5715 w 393382"/>
                  <a:gd name="connsiteY135" fmla="*/ 182880 h 506729"/>
                  <a:gd name="connsiteX136" fmla="*/ 8573 w 393382"/>
                  <a:gd name="connsiteY136" fmla="*/ 169545 h 506729"/>
                  <a:gd name="connsiteX137" fmla="*/ 11430 w 393382"/>
                  <a:gd name="connsiteY137" fmla="*/ 157163 h 506729"/>
                  <a:gd name="connsiteX138" fmla="*/ 15240 w 393382"/>
                  <a:gd name="connsiteY138" fmla="*/ 144780 h 506729"/>
                  <a:gd name="connsiteX139" fmla="*/ 19050 w 393382"/>
                  <a:gd name="connsiteY139" fmla="*/ 133350 h 506729"/>
                  <a:gd name="connsiteX140" fmla="*/ 22860 w 393382"/>
                  <a:gd name="connsiteY140" fmla="*/ 121920 h 506729"/>
                  <a:gd name="connsiteX141" fmla="*/ 27623 w 393382"/>
                  <a:gd name="connsiteY141" fmla="*/ 111442 h 506729"/>
                  <a:gd name="connsiteX142" fmla="*/ 32385 w 393382"/>
                  <a:gd name="connsiteY142" fmla="*/ 100965 h 506729"/>
                  <a:gd name="connsiteX143" fmla="*/ 38100 w 393382"/>
                  <a:gd name="connsiteY143" fmla="*/ 91440 h 506729"/>
                  <a:gd name="connsiteX144" fmla="*/ 43815 w 393382"/>
                  <a:gd name="connsiteY144" fmla="*/ 81915 h 506729"/>
                  <a:gd name="connsiteX145" fmla="*/ 50483 w 393382"/>
                  <a:gd name="connsiteY145" fmla="*/ 73342 h 506729"/>
                  <a:gd name="connsiteX146" fmla="*/ 57150 w 393382"/>
                  <a:gd name="connsiteY146" fmla="*/ 64770 h 506729"/>
                  <a:gd name="connsiteX147" fmla="*/ 63818 w 393382"/>
                  <a:gd name="connsiteY147" fmla="*/ 57150 h 506729"/>
                  <a:gd name="connsiteX148" fmla="*/ 71438 w 393382"/>
                  <a:gd name="connsiteY148" fmla="*/ 50482 h 506729"/>
                  <a:gd name="connsiteX149" fmla="*/ 79058 w 393382"/>
                  <a:gd name="connsiteY149" fmla="*/ 43815 h 506729"/>
                  <a:gd name="connsiteX150" fmla="*/ 86678 w 393382"/>
                  <a:gd name="connsiteY150" fmla="*/ 37147 h 506729"/>
                  <a:gd name="connsiteX151" fmla="*/ 94298 w 393382"/>
                  <a:gd name="connsiteY151" fmla="*/ 31432 h 506729"/>
                  <a:gd name="connsiteX152" fmla="*/ 101918 w 393382"/>
                  <a:gd name="connsiteY152" fmla="*/ 25717 h 506729"/>
                  <a:gd name="connsiteX153" fmla="*/ 110490 w 393382"/>
                  <a:gd name="connsiteY153" fmla="*/ 20955 h 506729"/>
                  <a:gd name="connsiteX154" fmla="*/ 119063 w 393382"/>
                  <a:gd name="connsiteY154" fmla="*/ 17145 h 506729"/>
                  <a:gd name="connsiteX155" fmla="*/ 127635 w 393382"/>
                  <a:gd name="connsiteY155" fmla="*/ 13335 h 506729"/>
                  <a:gd name="connsiteX156" fmla="*/ 137160 w 393382"/>
                  <a:gd name="connsiteY156" fmla="*/ 9525 h 506729"/>
                  <a:gd name="connsiteX157" fmla="*/ 146685 w 393382"/>
                  <a:gd name="connsiteY157" fmla="*/ 6667 h 506729"/>
                  <a:gd name="connsiteX158" fmla="*/ 156210 w 393382"/>
                  <a:gd name="connsiteY158" fmla="*/ 3810 h 506729"/>
                  <a:gd name="connsiteX159" fmla="*/ 165735 w 393382"/>
                  <a:gd name="connsiteY159" fmla="*/ 1905 h 506729"/>
                  <a:gd name="connsiteX160" fmla="*/ 175260 w 393382"/>
                  <a:gd name="connsiteY160" fmla="*/ 952 h 506729"/>
                  <a:gd name="connsiteX161" fmla="*/ 185738 w 393382"/>
                  <a:gd name="connsiteY161" fmla="*/ 0 h 506729"/>
                  <a:gd name="connsiteX162" fmla="*/ 196215 w 393382"/>
                  <a:gd name="connsiteY162" fmla="*/ 0 h 506729"/>
                  <a:gd name="connsiteX163" fmla="*/ 202883 w 393382"/>
                  <a:gd name="connsiteY163" fmla="*/ 0 h 506729"/>
                  <a:gd name="connsiteX164" fmla="*/ 209550 w 393382"/>
                  <a:gd name="connsiteY164" fmla="*/ 0 h 506729"/>
                  <a:gd name="connsiteX165" fmla="*/ 216218 w 393382"/>
                  <a:gd name="connsiteY165" fmla="*/ 952 h 506729"/>
                  <a:gd name="connsiteX166" fmla="*/ 222885 w 393382"/>
                  <a:gd name="connsiteY166" fmla="*/ 1905 h 506729"/>
                  <a:gd name="connsiteX167" fmla="*/ 229553 w 393382"/>
                  <a:gd name="connsiteY167" fmla="*/ 2857 h 506729"/>
                  <a:gd name="connsiteX168" fmla="*/ 236220 w 393382"/>
                  <a:gd name="connsiteY168" fmla="*/ 4763 h 506729"/>
                  <a:gd name="connsiteX169" fmla="*/ 241935 w 393382"/>
                  <a:gd name="connsiteY169" fmla="*/ 5715 h 506729"/>
                  <a:gd name="connsiteX170" fmla="*/ 248603 w 393382"/>
                  <a:gd name="connsiteY170" fmla="*/ 6667 h 506729"/>
                  <a:gd name="connsiteX171" fmla="*/ 254318 w 393382"/>
                  <a:gd name="connsiteY171" fmla="*/ 8572 h 506729"/>
                  <a:gd name="connsiteX172" fmla="*/ 260033 w 393382"/>
                  <a:gd name="connsiteY172" fmla="*/ 10477 h 506729"/>
                  <a:gd name="connsiteX173" fmla="*/ 265748 w 393382"/>
                  <a:gd name="connsiteY173" fmla="*/ 12382 h 506729"/>
                  <a:gd name="connsiteX174" fmla="*/ 271463 w 393382"/>
                  <a:gd name="connsiteY174" fmla="*/ 15240 h 506729"/>
                  <a:gd name="connsiteX175" fmla="*/ 277178 w 393382"/>
                  <a:gd name="connsiteY175" fmla="*/ 18097 h 506729"/>
                  <a:gd name="connsiteX176" fmla="*/ 282893 w 393382"/>
                  <a:gd name="connsiteY176" fmla="*/ 20955 h 506729"/>
                  <a:gd name="connsiteX177" fmla="*/ 288608 w 393382"/>
                  <a:gd name="connsiteY177" fmla="*/ 23813 h 506729"/>
                  <a:gd name="connsiteX178" fmla="*/ 294322 w 393382"/>
                  <a:gd name="connsiteY178" fmla="*/ 26670 h 506729"/>
                  <a:gd name="connsiteX179" fmla="*/ 300038 w 393382"/>
                  <a:gd name="connsiteY179" fmla="*/ 30480 h 506729"/>
                  <a:gd name="connsiteX180" fmla="*/ 305753 w 393382"/>
                  <a:gd name="connsiteY180" fmla="*/ 34290 h 506729"/>
                  <a:gd name="connsiteX181" fmla="*/ 311468 w 393382"/>
                  <a:gd name="connsiteY181" fmla="*/ 38100 h 506729"/>
                  <a:gd name="connsiteX182" fmla="*/ 316230 w 393382"/>
                  <a:gd name="connsiteY182" fmla="*/ 41910 h 506729"/>
                  <a:gd name="connsiteX183" fmla="*/ 320993 w 393382"/>
                  <a:gd name="connsiteY183" fmla="*/ 46672 h 506729"/>
                  <a:gd name="connsiteX184" fmla="*/ 325755 w 393382"/>
                  <a:gd name="connsiteY184" fmla="*/ 51435 h 506729"/>
                  <a:gd name="connsiteX185" fmla="*/ 330518 w 393382"/>
                  <a:gd name="connsiteY185" fmla="*/ 56197 h 506729"/>
                  <a:gd name="connsiteX186" fmla="*/ 335280 w 393382"/>
                  <a:gd name="connsiteY186" fmla="*/ 60960 h 506729"/>
                  <a:gd name="connsiteX187" fmla="*/ 340043 w 393382"/>
                  <a:gd name="connsiteY187" fmla="*/ 66675 h 506729"/>
                  <a:gd name="connsiteX188" fmla="*/ 343853 w 393382"/>
                  <a:gd name="connsiteY188" fmla="*/ 72390 h 506729"/>
                  <a:gd name="connsiteX189" fmla="*/ 347663 w 393382"/>
                  <a:gd name="connsiteY189" fmla="*/ 78105 h 506729"/>
                  <a:gd name="connsiteX190" fmla="*/ 351472 w 393382"/>
                  <a:gd name="connsiteY190" fmla="*/ 84772 h 506729"/>
                  <a:gd name="connsiteX191" fmla="*/ 355283 w 393382"/>
                  <a:gd name="connsiteY191" fmla="*/ 91440 h 506729"/>
                  <a:gd name="connsiteX192" fmla="*/ 359093 w 393382"/>
                  <a:gd name="connsiteY192" fmla="*/ 98107 h 506729"/>
                  <a:gd name="connsiteX193" fmla="*/ 362903 w 393382"/>
                  <a:gd name="connsiteY193" fmla="*/ 104775 h 506729"/>
                  <a:gd name="connsiteX194" fmla="*/ 366713 w 393382"/>
                  <a:gd name="connsiteY194" fmla="*/ 111442 h 506729"/>
                  <a:gd name="connsiteX195" fmla="*/ 369570 w 393382"/>
                  <a:gd name="connsiteY195" fmla="*/ 118110 h 506729"/>
                  <a:gd name="connsiteX196" fmla="*/ 372428 w 393382"/>
                  <a:gd name="connsiteY196" fmla="*/ 125730 h 506729"/>
                  <a:gd name="connsiteX197" fmla="*/ 375285 w 393382"/>
                  <a:gd name="connsiteY197" fmla="*/ 133350 h 506729"/>
                  <a:gd name="connsiteX198" fmla="*/ 378143 w 393382"/>
                  <a:gd name="connsiteY198" fmla="*/ 140970 h 506729"/>
                  <a:gd name="connsiteX199" fmla="*/ 381000 w 393382"/>
                  <a:gd name="connsiteY199" fmla="*/ 148590 h 506729"/>
                  <a:gd name="connsiteX200" fmla="*/ 382905 w 393382"/>
                  <a:gd name="connsiteY200" fmla="*/ 157163 h 506729"/>
                  <a:gd name="connsiteX201" fmla="*/ 384810 w 393382"/>
                  <a:gd name="connsiteY201" fmla="*/ 165735 h 506729"/>
                  <a:gd name="connsiteX202" fmla="*/ 386715 w 393382"/>
                  <a:gd name="connsiteY202" fmla="*/ 174307 h 506729"/>
                  <a:gd name="connsiteX203" fmla="*/ 388620 w 393382"/>
                  <a:gd name="connsiteY203" fmla="*/ 182880 h 506729"/>
                  <a:gd name="connsiteX204" fmla="*/ 389572 w 393382"/>
                  <a:gd name="connsiteY204" fmla="*/ 192405 h 506729"/>
                  <a:gd name="connsiteX205" fmla="*/ 390525 w 393382"/>
                  <a:gd name="connsiteY205" fmla="*/ 201930 h 506729"/>
                  <a:gd name="connsiteX206" fmla="*/ 391478 w 393382"/>
                  <a:gd name="connsiteY206" fmla="*/ 211455 h 506729"/>
                  <a:gd name="connsiteX207" fmla="*/ 392430 w 393382"/>
                  <a:gd name="connsiteY207" fmla="*/ 220980 h 506729"/>
                  <a:gd name="connsiteX208" fmla="*/ 393383 w 393382"/>
                  <a:gd name="connsiteY208" fmla="*/ 231457 h 506729"/>
                  <a:gd name="connsiteX209" fmla="*/ 393383 w 393382"/>
                  <a:gd name="connsiteY209" fmla="*/ 241935 h 506729"/>
                  <a:gd name="connsiteX210" fmla="*/ 393383 w 393382"/>
                  <a:gd name="connsiteY210" fmla="*/ 252413 h 506729"/>
                  <a:gd name="connsiteX211" fmla="*/ 393383 w 393382"/>
                  <a:gd name="connsiteY211" fmla="*/ 262890 h 506729"/>
                  <a:gd name="connsiteX212" fmla="*/ 393383 w 393382"/>
                  <a:gd name="connsiteY212" fmla="*/ 273367 h 506729"/>
                  <a:gd name="connsiteX213" fmla="*/ 392430 w 393382"/>
                  <a:gd name="connsiteY213" fmla="*/ 282892 h 506729"/>
                  <a:gd name="connsiteX214" fmla="*/ 391478 w 393382"/>
                  <a:gd name="connsiteY214" fmla="*/ 292417 h 506729"/>
                  <a:gd name="connsiteX215" fmla="*/ 390525 w 393382"/>
                  <a:gd name="connsiteY215" fmla="*/ 301942 h 506729"/>
                  <a:gd name="connsiteX216" fmla="*/ 389572 w 393382"/>
                  <a:gd name="connsiteY216" fmla="*/ 311467 h 506729"/>
                  <a:gd name="connsiteX217" fmla="*/ 388620 w 393382"/>
                  <a:gd name="connsiteY217" fmla="*/ 320992 h 506729"/>
                  <a:gd name="connsiteX218" fmla="*/ 386715 w 393382"/>
                  <a:gd name="connsiteY218" fmla="*/ 330517 h 506729"/>
                  <a:gd name="connsiteX219" fmla="*/ 384810 w 393382"/>
                  <a:gd name="connsiteY219" fmla="*/ 339090 h 506729"/>
                  <a:gd name="connsiteX220" fmla="*/ 382905 w 393382"/>
                  <a:gd name="connsiteY220" fmla="*/ 347663 h 506729"/>
                  <a:gd name="connsiteX221" fmla="*/ 381000 w 393382"/>
                  <a:gd name="connsiteY221" fmla="*/ 356235 h 506729"/>
                  <a:gd name="connsiteX222" fmla="*/ 378143 w 393382"/>
                  <a:gd name="connsiteY222" fmla="*/ 363855 h 506729"/>
                  <a:gd name="connsiteX223" fmla="*/ 375285 w 393382"/>
                  <a:gd name="connsiteY223" fmla="*/ 371475 h 506729"/>
                  <a:gd name="connsiteX224" fmla="*/ 372428 w 393382"/>
                  <a:gd name="connsiteY224" fmla="*/ 379095 h 506729"/>
                  <a:gd name="connsiteX225" fmla="*/ 369570 w 393382"/>
                  <a:gd name="connsiteY225" fmla="*/ 386715 h 506729"/>
                  <a:gd name="connsiteX226" fmla="*/ 366713 w 393382"/>
                  <a:gd name="connsiteY226" fmla="*/ 394335 h 506729"/>
                  <a:gd name="connsiteX227" fmla="*/ 362903 w 393382"/>
                  <a:gd name="connsiteY227" fmla="*/ 401002 h 506729"/>
                  <a:gd name="connsiteX228" fmla="*/ 359093 w 393382"/>
                  <a:gd name="connsiteY228" fmla="*/ 407670 h 506729"/>
                  <a:gd name="connsiteX229" fmla="*/ 355283 w 393382"/>
                  <a:gd name="connsiteY229" fmla="*/ 414338 h 506729"/>
                  <a:gd name="connsiteX230" fmla="*/ 351472 w 393382"/>
                  <a:gd name="connsiteY230" fmla="*/ 421005 h 506729"/>
                  <a:gd name="connsiteX231" fmla="*/ 347663 w 393382"/>
                  <a:gd name="connsiteY231" fmla="*/ 426720 h 506729"/>
                  <a:gd name="connsiteX232" fmla="*/ 343853 w 393382"/>
                  <a:gd name="connsiteY232" fmla="*/ 432435 h 506729"/>
                  <a:gd name="connsiteX233" fmla="*/ 340043 w 393382"/>
                  <a:gd name="connsiteY233" fmla="*/ 438150 h 506729"/>
                  <a:gd name="connsiteX234" fmla="*/ 335280 w 393382"/>
                  <a:gd name="connsiteY234" fmla="*/ 443865 h 506729"/>
                  <a:gd name="connsiteX235" fmla="*/ 330518 w 393382"/>
                  <a:gd name="connsiteY235" fmla="*/ 449580 h 506729"/>
                  <a:gd name="connsiteX236" fmla="*/ 325755 w 393382"/>
                  <a:gd name="connsiteY236" fmla="*/ 454342 h 506729"/>
                  <a:gd name="connsiteX237" fmla="*/ 320993 w 393382"/>
                  <a:gd name="connsiteY237" fmla="*/ 459105 h 506729"/>
                  <a:gd name="connsiteX238" fmla="*/ 316230 w 393382"/>
                  <a:gd name="connsiteY238" fmla="*/ 462915 h 506729"/>
                  <a:gd name="connsiteX239" fmla="*/ 311468 w 393382"/>
                  <a:gd name="connsiteY239" fmla="*/ 466725 h 506729"/>
                  <a:gd name="connsiteX240" fmla="*/ 305753 w 393382"/>
                  <a:gd name="connsiteY240" fmla="*/ 470535 h 506729"/>
                  <a:gd name="connsiteX241" fmla="*/ 300038 w 393382"/>
                  <a:gd name="connsiteY241" fmla="*/ 474345 h 506729"/>
                  <a:gd name="connsiteX242" fmla="*/ 294322 w 393382"/>
                  <a:gd name="connsiteY242" fmla="*/ 478155 h 506729"/>
                  <a:gd name="connsiteX243" fmla="*/ 288608 w 393382"/>
                  <a:gd name="connsiteY243" fmla="*/ 481965 h 506729"/>
                  <a:gd name="connsiteX244" fmla="*/ 282893 w 393382"/>
                  <a:gd name="connsiteY244" fmla="*/ 484822 h 506729"/>
                  <a:gd name="connsiteX245" fmla="*/ 277178 w 393382"/>
                  <a:gd name="connsiteY245" fmla="*/ 487680 h 506729"/>
                  <a:gd name="connsiteX246" fmla="*/ 271463 w 393382"/>
                  <a:gd name="connsiteY246" fmla="*/ 490538 h 506729"/>
                  <a:gd name="connsiteX247" fmla="*/ 265748 w 393382"/>
                  <a:gd name="connsiteY247" fmla="*/ 493395 h 506729"/>
                  <a:gd name="connsiteX248" fmla="*/ 260033 w 393382"/>
                  <a:gd name="connsiteY248" fmla="*/ 496252 h 506729"/>
                  <a:gd name="connsiteX249" fmla="*/ 254318 w 393382"/>
                  <a:gd name="connsiteY249" fmla="*/ 498158 h 506729"/>
                  <a:gd name="connsiteX250" fmla="*/ 248603 w 393382"/>
                  <a:gd name="connsiteY250" fmla="*/ 500063 h 506729"/>
                  <a:gd name="connsiteX251" fmla="*/ 241935 w 393382"/>
                  <a:gd name="connsiteY251" fmla="*/ 501967 h 506729"/>
                  <a:gd name="connsiteX252" fmla="*/ 236220 w 393382"/>
                  <a:gd name="connsiteY252" fmla="*/ 502920 h 506729"/>
                  <a:gd name="connsiteX253" fmla="*/ 229553 w 393382"/>
                  <a:gd name="connsiteY253" fmla="*/ 503872 h 506729"/>
                  <a:gd name="connsiteX254" fmla="*/ 222885 w 393382"/>
                  <a:gd name="connsiteY254" fmla="*/ 504825 h 506729"/>
                  <a:gd name="connsiteX255" fmla="*/ 216218 w 393382"/>
                  <a:gd name="connsiteY255" fmla="*/ 505777 h 506729"/>
                  <a:gd name="connsiteX256" fmla="*/ 209550 w 393382"/>
                  <a:gd name="connsiteY256" fmla="*/ 506730 h 506729"/>
                  <a:gd name="connsiteX257" fmla="*/ 202883 w 393382"/>
                  <a:gd name="connsiteY257" fmla="*/ 506730 h 506729"/>
                  <a:gd name="connsiteX258" fmla="*/ 196215 w 393382"/>
                  <a:gd name="connsiteY258" fmla="*/ 506730 h 506729"/>
                  <a:gd name="connsiteX259" fmla="*/ 186690 w 393382"/>
                  <a:gd name="connsiteY259" fmla="*/ 506730 h 506729"/>
                  <a:gd name="connsiteX260" fmla="*/ 177165 w 393382"/>
                  <a:gd name="connsiteY260" fmla="*/ 505777 h 506729"/>
                  <a:gd name="connsiteX261" fmla="*/ 167640 w 393382"/>
                  <a:gd name="connsiteY261" fmla="*/ 504825 h 506729"/>
                  <a:gd name="connsiteX262" fmla="*/ 158115 w 393382"/>
                  <a:gd name="connsiteY262" fmla="*/ 502920 h 506729"/>
                  <a:gd name="connsiteX263" fmla="*/ 148590 w 393382"/>
                  <a:gd name="connsiteY263" fmla="*/ 501015 h 506729"/>
                  <a:gd name="connsiteX264" fmla="*/ 139065 w 393382"/>
                  <a:gd name="connsiteY264" fmla="*/ 498158 h 506729"/>
                  <a:gd name="connsiteX265" fmla="*/ 130493 w 393382"/>
                  <a:gd name="connsiteY265" fmla="*/ 495300 h 506729"/>
                  <a:gd name="connsiteX266" fmla="*/ 120968 w 393382"/>
                  <a:gd name="connsiteY266" fmla="*/ 491490 h 506729"/>
                  <a:gd name="connsiteX267" fmla="*/ 112395 w 393382"/>
                  <a:gd name="connsiteY267" fmla="*/ 487680 h 506729"/>
                  <a:gd name="connsiteX268" fmla="*/ 103823 w 393382"/>
                  <a:gd name="connsiteY268" fmla="*/ 482917 h 506729"/>
                  <a:gd name="connsiteX269" fmla="*/ 96203 w 393382"/>
                  <a:gd name="connsiteY269" fmla="*/ 478155 h 506729"/>
                  <a:gd name="connsiteX270" fmla="*/ 87630 w 393382"/>
                  <a:gd name="connsiteY270" fmla="*/ 472440 h 506729"/>
                  <a:gd name="connsiteX271" fmla="*/ 80010 w 393382"/>
                  <a:gd name="connsiteY271" fmla="*/ 466725 h 506729"/>
                  <a:gd name="connsiteX272" fmla="*/ 72390 w 393382"/>
                  <a:gd name="connsiteY272" fmla="*/ 460058 h 506729"/>
                  <a:gd name="connsiteX273" fmla="*/ 64770 w 393382"/>
                  <a:gd name="connsiteY273" fmla="*/ 453390 h 506729"/>
                  <a:gd name="connsiteX274" fmla="*/ 58103 w 393382"/>
                  <a:gd name="connsiteY274" fmla="*/ 445770 h 506729"/>
                  <a:gd name="connsiteX275" fmla="*/ 51435 w 393382"/>
                  <a:gd name="connsiteY275" fmla="*/ 438150 h 506729"/>
                  <a:gd name="connsiteX276" fmla="*/ 44768 w 393382"/>
                  <a:gd name="connsiteY276" fmla="*/ 429577 h 506729"/>
                  <a:gd name="connsiteX277" fmla="*/ 39053 w 393382"/>
                  <a:gd name="connsiteY277" fmla="*/ 420052 h 506729"/>
                  <a:gd name="connsiteX278" fmla="*/ 33338 w 393382"/>
                  <a:gd name="connsiteY278" fmla="*/ 410527 h 506729"/>
                  <a:gd name="connsiteX279" fmla="*/ 29528 w 393382"/>
                  <a:gd name="connsiteY279" fmla="*/ 401955 h 506729"/>
                  <a:gd name="connsiteX280" fmla="*/ 24765 w 393382"/>
                  <a:gd name="connsiteY280" fmla="*/ 391477 h 506729"/>
                  <a:gd name="connsiteX281" fmla="*/ 20955 w 393382"/>
                  <a:gd name="connsiteY281" fmla="*/ 380047 h 506729"/>
                  <a:gd name="connsiteX282" fmla="*/ 17145 w 393382"/>
                  <a:gd name="connsiteY282" fmla="*/ 367665 h 506729"/>
                  <a:gd name="connsiteX283" fmla="*/ 13335 w 393382"/>
                  <a:gd name="connsiteY283" fmla="*/ 355283 h 506729"/>
                  <a:gd name="connsiteX284" fmla="*/ 10478 w 393382"/>
                  <a:gd name="connsiteY284" fmla="*/ 341947 h 506729"/>
                  <a:gd name="connsiteX285" fmla="*/ 7620 w 393382"/>
                  <a:gd name="connsiteY285" fmla="*/ 328613 h 506729"/>
                  <a:gd name="connsiteX286" fmla="*/ 5715 w 393382"/>
                  <a:gd name="connsiteY286" fmla="*/ 315278 h 506729"/>
                  <a:gd name="connsiteX287" fmla="*/ 3810 w 393382"/>
                  <a:gd name="connsiteY287" fmla="*/ 300990 h 506729"/>
                  <a:gd name="connsiteX288" fmla="*/ 2858 w 393382"/>
                  <a:gd name="connsiteY288" fmla="*/ 285750 h 506729"/>
                  <a:gd name="connsiteX289" fmla="*/ 1905 w 393382"/>
                  <a:gd name="connsiteY289" fmla="*/ 270510 h 506729"/>
                  <a:gd name="connsiteX290" fmla="*/ 1905 w 393382"/>
                  <a:gd name="connsiteY290" fmla="*/ 255270 h 506729"/>
                  <a:gd name="connsiteX291" fmla="*/ 0 w 393382"/>
                  <a:gd name="connsiteY291" fmla="*/ 255270 h 506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</a:cxnLst>
                <a:rect l="l" t="t" r="r" b="b"/>
                <a:pathLst>
                  <a:path w="393382" h="506729">
                    <a:moveTo>
                      <a:pt x="92393" y="254317"/>
                    </a:moveTo>
                    <a:lnTo>
                      <a:pt x="92393" y="266700"/>
                    </a:lnTo>
                    <a:lnTo>
                      <a:pt x="92393" y="278130"/>
                    </a:lnTo>
                    <a:lnTo>
                      <a:pt x="92393" y="288607"/>
                    </a:lnTo>
                    <a:lnTo>
                      <a:pt x="93345" y="299085"/>
                    </a:lnTo>
                    <a:lnTo>
                      <a:pt x="94298" y="309563"/>
                    </a:lnTo>
                    <a:lnTo>
                      <a:pt x="95250" y="319088"/>
                    </a:lnTo>
                    <a:lnTo>
                      <a:pt x="97155" y="328613"/>
                    </a:lnTo>
                    <a:lnTo>
                      <a:pt x="99060" y="337185"/>
                    </a:lnTo>
                    <a:lnTo>
                      <a:pt x="100965" y="345758"/>
                    </a:lnTo>
                    <a:lnTo>
                      <a:pt x="102870" y="353377"/>
                    </a:lnTo>
                    <a:lnTo>
                      <a:pt x="105728" y="360997"/>
                    </a:lnTo>
                    <a:lnTo>
                      <a:pt x="108585" y="368617"/>
                    </a:lnTo>
                    <a:lnTo>
                      <a:pt x="111443" y="375285"/>
                    </a:lnTo>
                    <a:lnTo>
                      <a:pt x="114300" y="381952"/>
                    </a:lnTo>
                    <a:lnTo>
                      <a:pt x="117158" y="388620"/>
                    </a:lnTo>
                    <a:lnTo>
                      <a:pt x="120968" y="394335"/>
                    </a:lnTo>
                    <a:lnTo>
                      <a:pt x="124778" y="400050"/>
                    </a:lnTo>
                    <a:lnTo>
                      <a:pt x="128588" y="405765"/>
                    </a:lnTo>
                    <a:lnTo>
                      <a:pt x="132398" y="410527"/>
                    </a:lnTo>
                    <a:lnTo>
                      <a:pt x="136208" y="414338"/>
                    </a:lnTo>
                    <a:lnTo>
                      <a:pt x="140018" y="418147"/>
                    </a:lnTo>
                    <a:lnTo>
                      <a:pt x="144780" y="421958"/>
                    </a:lnTo>
                    <a:lnTo>
                      <a:pt x="148590" y="424815"/>
                    </a:lnTo>
                    <a:lnTo>
                      <a:pt x="153353" y="427672"/>
                    </a:lnTo>
                    <a:lnTo>
                      <a:pt x="158115" y="430530"/>
                    </a:lnTo>
                    <a:lnTo>
                      <a:pt x="162878" y="432435"/>
                    </a:lnTo>
                    <a:lnTo>
                      <a:pt x="167640" y="434340"/>
                    </a:lnTo>
                    <a:lnTo>
                      <a:pt x="173355" y="435292"/>
                    </a:lnTo>
                    <a:lnTo>
                      <a:pt x="179070" y="436245"/>
                    </a:lnTo>
                    <a:lnTo>
                      <a:pt x="184785" y="437197"/>
                    </a:lnTo>
                    <a:lnTo>
                      <a:pt x="190500" y="437197"/>
                    </a:lnTo>
                    <a:lnTo>
                      <a:pt x="196215" y="437197"/>
                    </a:lnTo>
                    <a:lnTo>
                      <a:pt x="201930" y="437197"/>
                    </a:lnTo>
                    <a:lnTo>
                      <a:pt x="207645" y="437197"/>
                    </a:lnTo>
                    <a:lnTo>
                      <a:pt x="213360" y="436245"/>
                    </a:lnTo>
                    <a:lnTo>
                      <a:pt x="219075" y="435292"/>
                    </a:lnTo>
                    <a:lnTo>
                      <a:pt x="223838" y="434340"/>
                    </a:lnTo>
                    <a:lnTo>
                      <a:pt x="228600" y="432435"/>
                    </a:lnTo>
                    <a:lnTo>
                      <a:pt x="233363" y="430530"/>
                    </a:lnTo>
                    <a:lnTo>
                      <a:pt x="238125" y="427672"/>
                    </a:lnTo>
                    <a:lnTo>
                      <a:pt x="242888" y="424815"/>
                    </a:lnTo>
                    <a:lnTo>
                      <a:pt x="246698" y="421958"/>
                    </a:lnTo>
                    <a:lnTo>
                      <a:pt x="251460" y="418147"/>
                    </a:lnTo>
                    <a:lnTo>
                      <a:pt x="255270" y="414338"/>
                    </a:lnTo>
                    <a:lnTo>
                      <a:pt x="259080" y="410527"/>
                    </a:lnTo>
                    <a:lnTo>
                      <a:pt x="262890" y="405765"/>
                    </a:lnTo>
                    <a:lnTo>
                      <a:pt x="266700" y="401002"/>
                    </a:lnTo>
                    <a:lnTo>
                      <a:pt x="270510" y="395288"/>
                    </a:lnTo>
                    <a:lnTo>
                      <a:pt x="274320" y="389572"/>
                    </a:lnTo>
                    <a:lnTo>
                      <a:pt x="277178" y="383858"/>
                    </a:lnTo>
                    <a:lnTo>
                      <a:pt x="280035" y="377190"/>
                    </a:lnTo>
                    <a:lnTo>
                      <a:pt x="282893" y="370522"/>
                    </a:lnTo>
                    <a:lnTo>
                      <a:pt x="285750" y="363855"/>
                    </a:lnTo>
                    <a:lnTo>
                      <a:pt x="287655" y="356235"/>
                    </a:lnTo>
                    <a:lnTo>
                      <a:pt x="289560" y="348615"/>
                    </a:lnTo>
                    <a:lnTo>
                      <a:pt x="291465" y="340042"/>
                    </a:lnTo>
                    <a:lnTo>
                      <a:pt x="293370" y="330517"/>
                    </a:lnTo>
                    <a:lnTo>
                      <a:pt x="294322" y="320992"/>
                    </a:lnTo>
                    <a:lnTo>
                      <a:pt x="295275" y="311467"/>
                    </a:lnTo>
                    <a:lnTo>
                      <a:pt x="296228" y="300990"/>
                    </a:lnTo>
                    <a:lnTo>
                      <a:pt x="297180" y="290513"/>
                    </a:lnTo>
                    <a:lnTo>
                      <a:pt x="298133" y="279082"/>
                    </a:lnTo>
                    <a:lnTo>
                      <a:pt x="298133" y="267653"/>
                    </a:lnTo>
                    <a:lnTo>
                      <a:pt x="298133" y="255270"/>
                    </a:lnTo>
                    <a:lnTo>
                      <a:pt x="298133" y="243840"/>
                    </a:lnTo>
                    <a:lnTo>
                      <a:pt x="298133" y="232410"/>
                    </a:lnTo>
                    <a:lnTo>
                      <a:pt x="297180" y="221932"/>
                    </a:lnTo>
                    <a:lnTo>
                      <a:pt x="296228" y="211455"/>
                    </a:lnTo>
                    <a:lnTo>
                      <a:pt x="295275" y="200977"/>
                    </a:lnTo>
                    <a:lnTo>
                      <a:pt x="294322" y="191452"/>
                    </a:lnTo>
                    <a:lnTo>
                      <a:pt x="293370" y="181927"/>
                    </a:lnTo>
                    <a:lnTo>
                      <a:pt x="291465" y="172402"/>
                    </a:lnTo>
                    <a:lnTo>
                      <a:pt x="289560" y="163830"/>
                    </a:lnTo>
                    <a:lnTo>
                      <a:pt x="287655" y="155257"/>
                    </a:lnTo>
                    <a:lnTo>
                      <a:pt x="284798" y="147638"/>
                    </a:lnTo>
                    <a:lnTo>
                      <a:pt x="281940" y="140017"/>
                    </a:lnTo>
                    <a:lnTo>
                      <a:pt x="279083" y="133350"/>
                    </a:lnTo>
                    <a:lnTo>
                      <a:pt x="277178" y="125730"/>
                    </a:lnTo>
                    <a:lnTo>
                      <a:pt x="273368" y="119063"/>
                    </a:lnTo>
                    <a:lnTo>
                      <a:pt x="270510" y="113347"/>
                    </a:lnTo>
                    <a:lnTo>
                      <a:pt x="266700" y="107632"/>
                    </a:lnTo>
                    <a:lnTo>
                      <a:pt x="262890" y="102870"/>
                    </a:lnTo>
                    <a:lnTo>
                      <a:pt x="259080" y="98107"/>
                    </a:lnTo>
                    <a:lnTo>
                      <a:pt x="255270" y="94297"/>
                    </a:lnTo>
                    <a:lnTo>
                      <a:pt x="251460" y="90488"/>
                    </a:lnTo>
                    <a:lnTo>
                      <a:pt x="247650" y="86677"/>
                    </a:lnTo>
                    <a:lnTo>
                      <a:pt x="242888" y="83820"/>
                    </a:lnTo>
                    <a:lnTo>
                      <a:pt x="238125" y="80963"/>
                    </a:lnTo>
                    <a:lnTo>
                      <a:pt x="233363" y="78105"/>
                    </a:lnTo>
                    <a:lnTo>
                      <a:pt x="228600" y="75247"/>
                    </a:lnTo>
                    <a:lnTo>
                      <a:pt x="223838" y="73342"/>
                    </a:lnTo>
                    <a:lnTo>
                      <a:pt x="218123" y="72390"/>
                    </a:lnTo>
                    <a:lnTo>
                      <a:pt x="212408" y="70485"/>
                    </a:lnTo>
                    <a:lnTo>
                      <a:pt x="206693" y="69532"/>
                    </a:lnTo>
                    <a:lnTo>
                      <a:pt x="200978" y="68580"/>
                    </a:lnTo>
                    <a:lnTo>
                      <a:pt x="195263" y="68580"/>
                    </a:lnTo>
                    <a:lnTo>
                      <a:pt x="189548" y="68580"/>
                    </a:lnTo>
                    <a:lnTo>
                      <a:pt x="183833" y="69532"/>
                    </a:lnTo>
                    <a:lnTo>
                      <a:pt x="178118" y="70485"/>
                    </a:lnTo>
                    <a:lnTo>
                      <a:pt x="172403" y="72390"/>
                    </a:lnTo>
                    <a:lnTo>
                      <a:pt x="167640" y="73342"/>
                    </a:lnTo>
                    <a:lnTo>
                      <a:pt x="161925" y="75247"/>
                    </a:lnTo>
                    <a:lnTo>
                      <a:pt x="157163" y="78105"/>
                    </a:lnTo>
                    <a:lnTo>
                      <a:pt x="152400" y="80963"/>
                    </a:lnTo>
                    <a:lnTo>
                      <a:pt x="147638" y="83820"/>
                    </a:lnTo>
                    <a:lnTo>
                      <a:pt x="142875" y="86677"/>
                    </a:lnTo>
                    <a:lnTo>
                      <a:pt x="139065" y="90488"/>
                    </a:lnTo>
                    <a:lnTo>
                      <a:pt x="135255" y="94297"/>
                    </a:lnTo>
                    <a:lnTo>
                      <a:pt x="131445" y="98107"/>
                    </a:lnTo>
                    <a:lnTo>
                      <a:pt x="127635" y="102870"/>
                    </a:lnTo>
                    <a:lnTo>
                      <a:pt x="123825" y="107632"/>
                    </a:lnTo>
                    <a:lnTo>
                      <a:pt x="120015" y="113347"/>
                    </a:lnTo>
                    <a:lnTo>
                      <a:pt x="116205" y="119063"/>
                    </a:lnTo>
                    <a:lnTo>
                      <a:pt x="113348" y="124777"/>
                    </a:lnTo>
                    <a:lnTo>
                      <a:pt x="110490" y="131445"/>
                    </a:lnTo>
                    <a:lnTo>
                      <a:pt x="107633" y="138113"/>
                    </a:lnTo>
                    <a:lnTo>
                      <a:pt x="104775" y="145732"/>
                    </a:lnTo>
                    <a:lnTo>
                      <a:pt x="102870" y="153352"/>
                    </a:lnTo>
                    <a:lnTo>
                      <a:pt x="100965" y="161925"/>
                    </a:lnTo>
                    <a:lnTo>
                      <a:pt x="99060" y="170497"/>
                    </a:lnTo>
                    <a:lnTo>
                      <a:pt x="97155" y="179070"/>
                    </a:lnTo>
                    <a:lnTo>
                      <a:pt x="95250" y="188595"/>
                    </a:lnTo>
                    <a:lnTo>
                      <a:pt x="94298" y="198120"/>
                    </a:lnTo>
                    <a:lnTo>
                      <a:pt x="93345" y="208597"/>
                    </a:lnTo>
                    <a:lnTo>
                      <a:pt x="92393" y="219075"/>
                    </a:lnTo>
                    <a:lnTo>
                      <a:pt x="92393" y="229552"/>
                    </a:lnTo>
                    <a:lnTo>
                      <a:pt x="92393" y="240982"/>
                    </a:lnTo>
                    <a:lnTo>
                      <a:pt x="92393" y="254317"/>
                    </a:lnTo>
                    <a:lnTo>
                      <a:pt x="92393" y="254317"/>
                    </a:lnTo>
                    <a:close/>
                    <a:moveTo>
                      <a:pt x="0" y="255270"/>
                    </a:moveTo>
                    <a:lnTo>
                      <a:pt x="0" y="240030"/>
                    </a:lnTo>
                    <a:lnTo>
                      <a:pt x="953" y="224790"/>
                    </a:lnTo>
                    <a:lnTo>
                      <a:pt x="1905" y="210502"/>
                    </a:lnTo>
                    <a:lnTo>
                      <a:pt x="3810" y="196215"/>
                    </a:lnTo>
                    <a:lnTo>
                      <a:pt x="5715" y="182880"/>
                    </a:lnTo>
                    <a:lnTo>
                      <a:pt x="8573" y="169545"/>
                    </a:lnTo>
                    <a:lnTo>
                      <a:pt x="11430" y="157163"/>
                    </a:lnTo>
                    <a:lnTo>
                      <a:pt x="15240" y="144780"/>
                    </a:lnTo>
                    <a:lnTo>
                      <a:pt x="19050" y="133350"/>
                    </a:lnTo>
                    <a:lnTo>
                      <a:pt x="22860" y="121920"/>
                    </a:lnTo>
                    <a:lnTo>
                      <a:pt x="27623" y="111442"/>
                    </a:lnTo>
                    <a:lnTo>
                      <a:pt x="32385" y="100965"/>
                    </a:lnTo>
                    <a:lnTo>
                      <a:pt x="38100" y="91440"/>
                    </a:lnTo>
                    <a:lnTo>
                      <a:pt x="43815" y="81915"/>
                    </a:lnTo>
                    <a:lnTo>
                      <a:pt x="50483" y="73342"/>
                    </a:lnTo>
                    <a:lnTo>
                      <a:pt x="57150" y="64770"/>
                    </a:lnTo>
                    <a:lnTo>
                      <a:pt x="63818" y="57150"/>
                    </a:lnTo>
                    <a:lnTo>
                      <a:pt x="71438" y="50482"/>
                    </a:lnTo>
                    <a:lnTo>
                      <a:pt x="79058" y="43815"/>
                    </a:lnTo>
                    <a:lnTo>
                      <a:pt x="86678" y="37147"/>
                    </a:lnTo>
                    <a:lnTo>
                      <a:pt x="94298" y="31432"/>
                    </a:lnTo>
                    <a:lnTo>
                      <a:pt x="101918" y="25717"/>
                    </a:lnTo>
                    <a:lnTo>
                      <a:pt x="110490" y="20955"/>
                    </a:lnTo>
                    <a:lnTo>
                      <a:pt x="119063" y="17145"/>
                    </a:lnTo>
                    <a:lnTo>
                      <a:pt x="127635" y="13335"/>
                    </a:lnTo>
                    <a:lnTo>
                      <a:pt x="137160" y="9525"/>
                    </a:lnTo>
                    <a:lnTo>
                      <a:pt x="146685" y="6667"/>
                    </a:lnTo>
                    <a:lnTo>
                      <a:pt x="156210" y="3810"/>
                    </a:lnTo>
                    <a:lnTo>
                      <a:pt x="165735" y="1905"/>
                    </a:lnTo>
                    <a:lnTo>
                      <a:pt x="175260" y="952"/>
                    </a:lnTo>
                    <a:lnTo>
                      <a:pt x="185738" y="0"/>
                    </a:lnTo>
                    <a:lnTo>
                      <a:pt x="196215" y="0"/>
                    </a:lnTo>
                    <a:lnTo>
                      <a:pt x="202883" y="0"/>
                    </a:lnTo>
                    <a:lnTo>
                      <a:pt x="209550" y="0"/>
                    </a:lnTo>
                    <a:lnTo>
                      <a:pt x="216218" y="952"/>
                    </a:lnTo>
                    <a:lnTo>
                      <a:pt x="222885" y="1905"/>
                    </a:lnTo>
                    <a:lnTo>
                      <a:pt x="229553" y="2857"/>
                    </a:lnTo>
                    <a:lnTo>
                      <a:pt x="236220" y="4763"/>
                    </a:lnTo>
                    <a:lnTo>
                      <a:pt x="241935" y="5715"/>
                    </a:lnTo>
                    <a:lnTo>
                      <a:pt x="248603" y="6667"/>
                    </a:lnTo>
                    <a:lnTo>
                      <a:pt x="254318" y="8572"/>
                    </a:lnTo>
                    <a:lnTo>
                      <a:pt x="260033" y="10477"/>
                    </a:lnTo>
                    <a:lnTo>
                      <a:pt x="265748" y="12382"/>
                    </a:lnTo>
                    <a:lnTo>
                      <a:pt x="271463" y="15240"/>
                    </a:lnTo>
                    <a:lnTo>
                      <a:pt x="277178" y="18097"/>
                    </a:lnTo>
                    <a:lnTo>
                      <a:pt x="282893" y="20955"/>
                    </a:lnTo>
                    <a:lnTo>
                      <a:pt x="288608" y="23813"/>
                    </a:lnTo>
                    <a:lnTo>
                      <a:pt x="294322" y="26670"/>
                    </a:lnTo>
                    <a:lnTo>
                      <a:pt x="300038" y="30480"/>
                    </a:lnTo>
                    <a:lnTo>
                      <a:pt x="305753" y="34290"/>
                    </a:lnTo>
                    <a:lnTo>
                      <a:pt x="311468" y="38100"/>
                    </a:lnTo>
                    <a:lnTo>
                      <a:pt x="316230" y="41910"/>
                    </a:lnTo>
                    <a:lnTo>
                      <a:pt x="320993" y="46672"/>
                    </a:lnTo>
                    <a:lnTo>
                      <a:pt x="325755" y="51435"/>
                    </a:lnTo>
                    <a:lnTo>
                      <a:pt x="330518" y="56197"/>
                    </a:lnTo>
                    <a:lnTo>
                      <a:pt x="335280" y="60960"/>
                    </a:lnTo>
                    <a:lnTo>
                      <a:pt x="340043" y="66675"/>
                    </a:lnTo>
                    <a:lnTo>
                      <a:pt x="343853" y="72390"/>
                    </a:lnTo>
                    <a:lnTo>
                      <a:pt x="347663" y="78105"/>
                    </a:lnTo>
                    <a:lnTo>
                      <a:pt x="351472" y="84772"/>
                    </a:lnTo>
                    <a:lnTo>
                      <a:pt x="355283" y="91440"/>
                    </a:lnTo>
                    <a:lnTo>
                      <a:pt x="359093" y="98107"/>
                    </a:lnTo>
                    <a:lnTo>
                      <a:pt x="362903" y="104775"/>
                    </a:lnTo>
                    <a:lnTo>
                      <a:pt x="366713" y="111442"/>
                    </a:lnTo>
                    <a:lnTo>
                      <a:pt x="369570" y="118110"/>
                    </a:lnTo>
                    <a:lnTo>
                      <a:pt x="372428" y="125730"/>
                    </a:lnTo>
                    <a:lnTo>
                      <a:pt x="375285" y="133350"/>
                    </a:lnTo>
                    <a:lnTo>
                      <a:pt x="378143" y="140970"/>
                    </a:lnTo>
                    <a:lnTo>
                      <a:pt x="381000" y="148590"/>
                    </a:lnTo>
                    <a:lnTo>
                      <a:pt x="382905" y="157163"/>
                    </a:lnTo>
                    <a:lnTo>
                      <a:pt x="384810" y="165735"/>
                    </a:lnTo>
                    <a:lnTo>
                      <a:pt x="386715" y="174307"/>
                    </a:lnTo>
                    <a:lnTo>
                      <a:pt x="388620" y="182880"/>
                    </a:lnTo>
                    <a:lnTo>
                      <a:pt x="389572" y="192405"/>
                    </a:lnTo>
                    <a:lnTo>
                      <a:pt x="390525" y="201930"/>
                    </a:lnTo>
                    <a:lnTo>
                      <a:pt x="391478" y="211455"/>
                    </a:lnTo>
                    <a:lnTo>
                      <a:pt x="392430" y="220980"/>
                    </a:lnTo>
                    <a:lnTo>
                      <a:pt x="393383" y="231457"/>
                    </a:lnTo>
                    <a:lnTo>
                      <a:pt x="393383" y="241935"/>
                    </a:lnTo>
                    <a:lnTo>
                      <a:pt x="393383" y="252413"/>
                    </a:lnTo>
                    <a:lnTo>
                      <a:pt x="393383" y="262890"/>
                    </a:lnTo>
                    <a:lnTo>
                      <a:pt x="393383" y="273367"/>
                    </a:lnTo>
                    <a:lnTo>
                      <a:pt x="392430" y="282892"/>
                    </a:lnTo>
                    <a:lnTo>
                      <a:pt x="391478" y="292417"/>
                    </a:lnTo>
                    <a:lnTo>
                      <a:pt x="390525" y="301942"/>
                    </a:lnTo>
                    <a:lnTo>
                      <a:pt x="389572" y="311467"/>
                    </a:lnTo>
                    <a:lnTo>
                      <a:pt x="388620" y="320992"/>
                    </a:lnTo>
                    <a:lnTo>
                      <a:pt x="386715" y="330517"/>
                    </a:lnTo>
                    <a:lnTo>
                      <a:pt x="384810" y="339090"/>
                    </a:lnTo>
                    <a:lnTo>
                      <a:pt x="382905" y="347663"/>
                    </a:lnTo>
                    <a:lnTo>
                      <a:pt x="381000" y="356235"/>
                    </a:lnTo>
                    <a:lnTo>
                      <a:pt x="378143" y="363855"/>
                    </a:lnTo>
                    <a:lnTo>
                      <a:pt x="375285" y="371475"/>
                    </a:lnTo>
                    <a:lnTo>
                      <a:pt x="372428" y="379095"/>
                    </a:lnTo>
                    <a:lnTo>
                      <a:pt x="369570" y="386715"/>
                    </a:lnTo>
                    <a:lnTo>
                      <a:pt x="366713" y="394335"/>
                    </a:lnTo>
                    <a:lnTo>
                      <a:pt x="362903" y="401002"/>
                    </a:lnTo>
                    <a:lnTo>
                      <a:pt x="359093" y="407670"/>
                    </a:lnTo>
                    <a:lnTo>
                      <a:pt x="355283" y="414338"/>
                    </a:lnTo>
                    <a:lnTo>
                      <a:pt x="351472" y="421005"/>
                    </a:lnTo>
                    <a:lnTo>
                      <a:pt x="347663" y="426720"/>
                    </a:lnTo>
                    <a:lnTo>
                      <a:pt x="343853" y="432435"/>
                    </a:lnTo>
                    <a:lnTo>
                      <a:pt x="340043" y="438150"/>
                    </a:lnTo>
                    <a:lnTo>
                      <a:pt x="335280" y="443865"/>
                    </a:lnTo>
                    <a:lnTo>
                      <a:pt x="330518" y="449580"/>
                    </a:lnTo>
                    <a:lnTo>
                      <a:pt x="325755" y="454342"/>
                    </a:lnTo>
                    <a:lnTo>
                      <a:pt x="320993" y="459105"/>
                    </a:lnTo>
                    <a:lnTo>
                      <a:pt x="316230" y="462915"/>
                    </a:lnTo>
                    <a:lnTo>
                      <a:pt x="311468" y="466725"/>
                    </a:lnTo>
                    <a:lnTo>
                      <a:pt x="305753" y="470535"/>
                    </a:lnTo>
                    <a:lnTo>
                      <a:pt x="300038" y="474345"/>
                    </a:lnTo>
                    <a:lnTo>
                      <a:pt x="294322" y="478155"/>
                    </a:lnTo>
                    <a:lnTo>
                      <a:pt x="288608" y="481965"/>
                    </a:lnTo>
                    <a:lnTo>
                      <a:pt x="282893" y="484822"/>
                    </a:lnTo>
                    <a:lnTo>
                      <a:pt x="277178" y="487680"/>
                    </a:lnTo>
                    <a:lnTo>
                      <a:pt x="271463" y="490538"/>
                    </a:lnTo>
                    <a:lnTo>
                      <a:pt x="265748" y="493395"/>
                    </a:lnTo>
                    <a:lnTo>
                      <a:pt x="260033" y="496252"/>
                    </a:lnTo>
                    <a:lnTo>
                      <a:pt x="254318" y="498158"/>
                    </a:lnTo>
                    <a:lnTo>
                      <a:pt x="248603" y="500063"/>
                    </a:lnTo>
                    <a:lnTo>
                      <a:pt x="241935" y="501967"/>
                    </a:lnTo>
                    <a:lnTo>
                      <a:pt x="236220" y="502920"/>
                    </a:lnTo>
                    <a:lnTo>
                      <a:pt x="229553" y="503872"/>
                    </a:lnTo>
                    <a:lnTo>
                      <a:pt x="222885" y="504825"/>
                    </a:lnTo>
                    <a:lnTo>
                      <a:pt x="216218" y="505777"/>
                    </a:lnTo>
                    <a:lnTo>
                      <a:pt x="209550" y="506730"/>
                    </a:lnTo>
                    <a:lnTo>
                      <a:pt x="202883" y="506730"/>
                    </a:lnTo>
                    <a:lnTo>
                      <a:pt x="196215" y="506730"/>
                    </a:lnTo>
                    <a:lnTo>
                      <a:pt x="186690" y="506730"/>
                    </a:lnTo>
                    <a:lnTo>
                      <a:pt x="177165" y="505777"/>
                    </a:lnTo>
                    <a:lnTo>
                      <a:pt x="167640" y="504825"/>
                    </a:lnTo>
                    <a:lnTo>
                      <a:pt x="158115" y="502920"/>
                    </a:lnTo>
                    <a:lnTo>
                      <a:pt x="148590" y="501015"/>
                    </a:lnTo>
                    <a:lnTo>
                      <a:pt x="139065" y="498158"/>
                    </a:lnTo>
                    <a:lnTo>
                      <a:pt x="130493" y="495300"/>
                    </a:lnTo>
                    <a:lnTo>
                      <a:pt x="120968" y="491490"/>
                    </a:lnTo>
                    <a:lnTo>
                      <a:pt x="112395" y="487680"/>
                    </a:lnTo>
                    <a:lnTo>
                      <a:pt x="103823" y="482917"/>
                    </a:lnTo>
                    <a:lnTo>
                      <a:pt x="96203" y="478155"/>
                    </a:lnTo>
                    <a:lnTo>
                      <a:pt x="87630" y="472440"/>
                    </a:lnTo>
                    <a:lnTo>
                      <a:pt x="80010" y="466725"/>
                    </a:lnTo>
                    <a:lnTo>
                      <a:pt x="72390" y="460058"/>
                    </a:lnTo>
                    <a:lnTo>
                      <a:pt x="64770" y="453390"/>
                    </a:lnTo>
                    <a:lnTo>
                      <a:pt x="58103" y="445770"/>
                    </a:lnTo>
                    <a:lnTo>
                      <a:pt x="51435" y="438150"/>
                    </a:lnTo>
                    <a:lnTo>
                      <a:pt x="44768" y="429577"/>
                    </a:lnTo>
                    <a:lnTo>
                      <a:pt x="39053" y="420052"/>
                    </a:lnTo>
                    <a:lnTo>
                      <a:pt x="33338" y="410527"/>
                    </a:lnTo>
                    <a:lnTo>
                      <a:pt x="29528" y="401955"/>
                    </a:lnTo>
                    <a:lnTo>
                      <a:pt x="24765" y="391477"/>
                    </a:lnTo>
                    <a:lnTo>
                      <a:pt x="20955" y="380047"/>
                    </a:lnTo>
                    <a:lnTo>
                      <a:pt x="17145" y="367665"/>
                    </a:lnTo>
                    <a:lnTo>
                      <a:pt x="13335" y="355283"/>
                    </a:lnTo>
                    <a:lnTo>
                      <a:pt x="10478" y="341947"/>
                    </a:lnTo>
                    <a:lnTo>
                      <a:pt x="7620" y="328613"/>
                    </a:lnTo>
                    <a:lnTo>
                      <a:pt x="5715" y="315278"/>
                    </a:lnTo>
                    <a:lnTo>
                      <a:pt x="3810" y="300990"/>
                    </a:lnTo>
                    <a:lnTo>
                      <a:pt x="2858" y="285750"/>
                    </a:lnTo>
                    <a:lnTo>
                      <a:pt x="1905" y="270510"/>
                    </a:lnTo>
                    <a:lnTo>
                      <a:pt x="1905" y="255270"/>
                    </a:lnTo>
                    <a:lnTo>
                      <a:pt x="0" y="25527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0E68B3F8-827D-19DC-2351-1B4C8F5878B6}"/>
                  </a:ext>
                </a:extLst>
              </p:cNvPr>
              <p:cNvSpPr/>
              <p:nvPr/>
            </p:nvSpPr>
            <p:spPr>
              <a:xfrm>
                <a:off x="8566467" y="4807356"/>
                <a:ext cx="190500" cy="369569"/>
              </a:xfrm>
              <a:custGeom>
                <a:avLst/>
                <a:gdLst>
                  <a:gd name="connsiteX0" fmla="*/ 1905 w 190500"/>
                  <a:gd name="connsiteY0" fmla="*/ 369570 h 369569"/>
                  <a:gd name="connsiteX1" fmla="*/ 1905 w 190500"/>
                  <a:gd name="connsiteY1" fmla="*/ 65723 h 369569"/>
                  <a:gd name="connsiteX2" fmla="*/ 1905 w 190500"/>
                  <a:gd name="connsiteY2" fmla="*/ 56198 h 369569"/>
                  <a:gd name="connsiteX3" fmla="*/ 1905 w 190500"/>
                  <a:gd name="connsiteY3" fmla="*/ 47625 h 369569"/>
                  <a:gd name="connsiteX4" fmla="*/ 1905 w 190500"/>
                  <a:gd name="connsiteY4" fmla="*/ 40005 h 369569"/>
                  <a:gd name="connsiteX5" fmla="*/ 1905 w 190500"/>
                  <a:gd name="connsiteY5" fmla="*/ 31433 h 369569"/>
                  <a:gd name="connsiteX6" fmla="*/ 1905 w 190500"/>
                  <a:gd name="connsiteY6" fmla="*/ 24765 h 369569"/>
                  <a:gd name="connsiteX7" fmla="*/ 952 w 190500"/>
                  <a:gd name="connsiteY7" fmla="*/ 18098 h 369569"/>
                  <a:gd name="connsiteX8" fmla="*/ 0 w 190500"/>
                  <a:gd name="connsiteY8" fmla="*/ 11430 h 369569"/>
                  <a:gd name="connsiteX9" fmla="*/ 0 w 190500"/>
                  <a:gd name="connsiteY9" fmla="*/ 5715 h 369569"/>
                  <a:gd name="connsiteX10" fmla="*/ 79057 w 190500"/>
                  <a:gd name="connsiteY10" fmla="*/ 5715 h 369569"/>
                  <a:gd name="connsiteX11" fmla="*/ 80010 w 190500"/>
                  <a:gd name="connsiteY11" fmla="*/ 11430 h 369569"/>
                  <a:gd name="connsiteX12" fmla="*/ 80010 w 190500"/>
                  <a:gd name="connsiteY12" fmla="*/ 18098 h 369569"/>
                  <a:gd name="connsiteX13" fmla="*/ 80010 w 190500"/>
                  <a:gd name="connsiteY13" fmla="*/ 26670 h 369569"/>
                  <a:gd name="connsiteX14" fmla="*/ 80963 w 190500"/>
                  <a:gd name="connsiteY14" fmla="*/ 36195 h 369569"/>
                  <a:gd name="connsiteX15" fmla="*/ 80963 w 190500"/>
                  <a:gd name="connsiteY15" fmla="*/ 45720 h 369569"/>
                  <a:gd name="connsiteX16" fmla="*/ 81915 w 190500"/>
                  <a:gd name="connsiteY16" fmla="*/ 55245 h 369569"/>
                  <a:gd name="connsiteX17" fmla="*/ 81915 w 190500"/>
                  <a:gd name="connsiteY17" fmla="*/ 63818 h 369569"/>
                  <a:gd name="connsiteX18" fmla="*/ 81915 w 190500"/>
                  <a:gd name="connsiteY18" fmla="*/ 72390 h 369569"/>
                  <a:gd name="connsiteX19" fmla="*/ 83820 w 190500"/>
                  <a:gd name="connsiteY19" fmla="*/ 72390 h 369569"/>
                  <a:gd name="connsiteX20" fmla="*/ 86677 w 190500"/>
                  <a:gd name="connsiteY20" fmla="*/ 65723 h 369569"/>
                  <a:gd name="connsiteX21" fmla="*/ 89535 w 190500"/>
                  <a:gd name="connsiteY21" fmla="*/ 59055 h 369569"/>
                  <a:gd name="connsiteX22" fmla="*/ 93345 w 190500"/>
                  <a:gd name="connsiteY22" fmla="*/ 52388 h 369569"/>
                  <a:gd name="connsiteX23" fmla="*/ 97155 w 190500"/>
                  <a:gd name="connsiteY23" fmla="*/ 45720 h 369569"/>
                  <a:gd name="connsiteX24" fmla="*/ 101917 w 190500"/>
                  <a:gd name="connsiteY24" fmla="*/ 40005 h 369569"/>
                  <a:gd name="connsiteX25" fmla="*/ 106680 w 190500"/>
                  <a:gd name="connsiteY25" fmla="*/ 33338 h 369569"/>
                  <a:gd name="connsiteX26" fmla="*/ 112395 w 190500"/>
                  <a:gd name="connsiteY26" fmla="*/ 27623 h 369569"/>
                  <a:gd name="connsiteX27" fmla="*/ 117157 w 190500"/>
                  <a:gd name="connsiteY27" fmla="*/ 21908 h 369569"/>
                  <a:gd name="connsiteX28" fmla="*/ 120967 w 190500"/>
                  <a:gd name="connsiteY28" fmla="*/ 20002 h 369569"/>
                  <a:gd name="connsiteX29" fmla="*/ 123825 w 190500"/>
                  <a:gd name="connsiteY29" fmla="*/ 17145 h 369569"/>
                  <a:gd name="connsiteX30" fmla="*/ 126682 w 190500"/>
                  <a:gd name="connsiteY30" fmla="*/ 15240 h 369569"/>
                  <a:gd name="connsiteX31" fmla="*/ 129540 w 190500"/>
                  <a:gd name="connsiteY31" fmla="*/ 12383 h 369569"/>
                  <a:gd name="connsiteX32" fmla="*/ 133350 w 190500"/>
                  <a:gd name="connsiteY32" fmla="*/ 10477 h 369569"/>
                  <a:gd name="connsiteX33" fmla="*/ 136207 w 190500"/>
                  <a:gd name="connsiteY33" fmla="*/ 9525 h 369569"/>
                  <a:gd name="connsiteX34" fmla="*/ 140017 w 190500"/>
                  <a:gd name="connsiteY34" fmla="*/ 7620 h 369569"/>
                  <a:gd name="connsiteX35" fmla="*/ 143827 w 190500"/>
                  <a:gd name="connsiteY35" fmla="*/ 5715 h 369569"/>
                  <a:gd name="connsiteX36" fmla="*/ 147638 w 190500"/>
                  <a:gd name="connsiteY36" fmla="*/ 4763 h 369569"/>
                  <a:gd name="connsiteX37" fmla="*/ 151447 w 190500"/>
                  <a:gd name="connsiteY37" fmla="*/ 3810 h 369569"/>
                  <a:gd name="connsiteX38" fmla="*/ 155257 w 190500"/>
                  <a:gd name="connsiteY38" fmla="*/ 2858 h 369569"/>
                  <a:gd name="connsiteX39" fmla="*/ 159067 w 190500"/>
                  <a:gd name="connsiteY39" fmla="*/ 1905 h 369569"/>
                  <a:gd name="connsiteX40" fmla="*/ 163830 w 190500"/>
                  <a:gd name="connsiteY40" fmla="*/ 952 h 369569"/>
                  <a:gd name="connsiteX41" fmla="*/ 167640 w 190500"/>
                  <a:gd name="connsiteY41" fmla="*/ 952 h 369569"/>
                  <a:gd name="connsiteX42" fmla="*/ 171450 w 190500"/>
                  <a:gd name="connsiteY42" fmla="*/ 952 h 369569"/>
                  <a:gd name="connsiteX43" fmla="*/ 175260 w 190500"/>
                  <a:gd name="connsiteY43" fmla="*/ 0 h 369569"/>
                  <a:gd name="connsiteX44" fmla="*/ 178117 w 190500"/>
                  <a:gd name="connsiteY44" fmla="*/ 952 h 369569"/>
                  <a:gd name="connsiteX45" fmla="*/ 181927 w 190500"/>
                  <a:gd name="connsiteY45" fmla="*/ 952 h 369569"/>
                  <a:gd name="connsiteX46" fmla="*/ 186690 w 190500"/>
                  <a:gd name="connsiteY46" fmla="*/ 1905 h 369569"/>
                  <a:gd name="connsiteX47" fmla="*/ 190500 w 190500"/>
                  <a:gd name="connsiteY47" fmla="*/ 2858 h 369569"/>
                  <a:gd name="connsiteX48" fmla="*/ 190500 w 190500"/>
                  <a:gd name="connsiteY48" fmla="*/ 83820 h 369569"/>
                  <a:gd name="connsiteX49" fmla="*/ 183832 w 190500"/>
                  <a:gd name="connsiteY49" fmla="*/ 82868 h 369569"/>
                  <a:gd name="connsiteX50" fmla="*/ 177165 w 190500"/>
                  <a:gd name="connsiteY50" fmla="*/ 81915 h 369569"/>
                  <a:gd name="connsiteX51" fmla="*/ 171450 w 190500"/>
                  <a:gd name="connsiteY51" fmla="*/ 80963 h 369569"/>
                  <a:gd name="connsiteX52" fmla="*/ 165735 w 190500"/>
                  <a:gd name="connsiteY52" fmla="*/ 80963 h 369569"/>
                  <a:gd name="connsiteX53" fmla="*/ 161925 w 190500"/>
                  <a:gd name="connsiteY53" fmla="*/ 80963 h 369569"/>
                  <a:gd name="connsiteX54" fmla="*/ 157163 w 190500"/>
                  <a:gd name="connsiteY54" fmla="*/ 80963 h 369569"/>
                  <a:gd name="connsiteX55" fmla="*/ 154305 w 190500"/>
                  <a:gd name="connsiteY55" fmla="*/ 81915 h 369569"/>
                  <a:gd name="connsiteX56" fmla="*/ 150495 w 190500"/>
                  <a:gd name="connsiteY56" fmla="*/ 81915 h 369569"/>
                  <a:gd name="connsiteX57" fmla="*/ 146685 w 190500"/>
                  <a:gd name="connsiteY57" fmla="*/ 82868 h 369569"/>
                  <a:gd name="connsiteX58" fmla="*/ 142875 w 190500"/>
                  <a:gd name="connsiteY58" fmla="*/ 83820 h 369569"/>
                  <a:gd name="connsiteX59" fmla="*/ 140017 w 190500"/>
                  <a:gd name="connsiteY59" fmla="*/ 84773 h 369569"/>
                  <a:gd name="connsiteX60" fmla="*/ 136207 w 190500"/>
                  <a:gd name="connsiteY60" fmla="*/ 85725 h 369569"/>
                  <a:gd name="connsiteX61" fmla="*/ 133350 w 190500"/>
                  <a:gd name="connsiteY61" fmla="*/ 87630 h 369569"/>
                  <a:gd name="connsiteX62" fmla="*/ 129540 w 190500"/>
                  <a:gd name="connsiteY62" fmla="*/ 89535 h 369569"/>
                  <a:gd name="connsiteX63" fmla="*/ 126682 w 190500"/>
                  <a:gd name="connsiteY63" fmla="*/ 91440 h 369569"/>
                  <a:gd name="connsiteX64" fmla="*/ 123825 w 190500"/>
                  <a:gd name="connsiteY64" fmla="*/ 93345 h 369569"/>
                  <a:gd name="connsiteX65" fmla="*/ 118110 w 190500"/>
                  <a:gd name="connsiteY65" fmla="*/ 97155 h 369569"/>
                  <a:gd name="connsiteX66" fmla="*/ 112395 w 190500"/>
                  <a:gd name="connsiteY66" fmla="*/ 102870 h 369569"/>
                  <a:gd name="connsiteX67" fmla="*/ 109538 w 190500"/>
                  <a:gd name="connsiteY67" fmla="*/ 105727 h 369569"/>
                  <a:gd name="connsiteX68" fmla="*/ 106680 w 190500"/>
                  <a:gd name="connsiteY68" fmla="*/ 108585 h 369569"/>
                  <a:gd name="connsiteX69" fmla="*/ 104775 w 190500"/>
                  <a:gd name="connsiteY69" fmla="*/ 111443 h 369569"/>
                  <a:gd name="connsiteX70" fmla="*/ 102870 w 190500"/>
                  <a:gd name="connsiteY70" fmla="*/ 115252 h 369569"/>
                  <a:gd name="connsiteX71" fmla="*/ 100013 w 190500"/>
                  <a:gd name="connsiteY71" fmla="*/ 118110 h 369569"/>
                  <a:gd name="connsiteX72" fmla="*/ 99060 w 190500"/>
                  <a:gd name="connsiteY72" fmla="*/ 121920 h 369569"/>
                  <a:gd name="connsiteX73" fmla="*/ 97155 w 190500"/>
                  <a:gd name="connsiteY73" fmla="*/ 125730 h 369569"/>
                  <a:gd name="connsiteX74" fmla="*/ 95250 w 190500"/>
                  <a:gd name="connsiteY74" fmla="*/ 130493 h 369569"/>
                  <a:gd name="connsiteX75" fmla="*/ 94297 w 190500"/>
                  <a:gd name="connsiteY75" fmla="*/ 134302 h 369569"/>
                  <a:gd name="connsiteX76" fmla="*/ 93345 w 190500"/>
                  <a:gd name="connsiteY76" fmla="*/ 139065 h 369569"/>
                  <a:gd name="connsiteX77" fmla="*/ 92392 w 190500"/>
                  <a:gd name="connsiteY77" fmla="*/ 143827 h 369569"/>
                  <a:gd name="connsiteX78" fmla="*/ 91440 w 190500"/>
                  <a:gd name="connsiteY78" fmla="*/ 148590 h 369569"/>
                  <a:gd name="connsiteX79" fmla="*/ 90488 w 190500"/>
                  <a:gd name="connsiteY79" fmla="*/ 154305 h 369569"/>
                  <a:gd name="connsiteX80" fmla="*/ 89535 w 190500"/>
                  <a:gd name="connsiteY80" fmla="*/ 159068 h 369569"/>
                  <a:gd name="connsiteX81" fmla="*/ 89535 w 190500"/>
                  <a:gd name="connsiteY81" fmla="*/ 164783 h 369569"/>
                  <a:gd name="connsiteX82" fmla="*/ 91440 w 190500"/>
                  <a:gd name="connsiteY82" fmla="*/ 170498 h 369569"/>
                  <a:gd name="connsiteX83" fmla="*/ 91440 w 190500"/>
                  <a:gd name="connsiteY83" fmla="*/ 369570 h 369569"/>
                  <a:gd name="connsiteX84" fmla="*/ 1905 w 190500"/>
                  <a:gd name="connsiteY84" fmla="*/ 369570 h 369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190500" h="369569">
                    <a:moveTo>
                      <a:pt x="1905" y="369570"/>
                    </a:moveTo>
                    <a:lnTo>
                      <a:pt x="1905" y="65723"/>
                    </a:lnTo>
                    <a:lnTo>
                      <a:pt x="1905" y="56198"/>
                    </a:lnTo>
                    <a:lnTo>
                      <a:pt x="1905" y="47625"/>
                    </a:lnTo>
                    <a:lnTo>
                      <a:pt x="1905" y="40005"/>
                    </a:lnTo>
                    <a:lnTo>
                      <a:pt x="1905" y="31433"/>
                    </a:lnTo>
                    <a:lnTo>
                      <a:pt x="1905" y="24765"/>
                    </a:lnTo>
                    <a:lnTo>
                      <a:pt x="952" y="18098"/>
                    </a:lnTo>
                    <a:lnTo>
                      <a:pt x="0" y="11430"/>
                    </a:lnTo>
                    <a:lnTo>
                      <a:pt x="0" y="5715"/>
                    </a:lnTo>
                    <a:lnTo>
                      <a:pt x="79057" y="5715"/>
                    </a:lnTo>
                    <a:lnTo>
                      <a:pt x="80010" y="11430"/>
                    </a:lnTo>
                    <a:lnTo>
                      <a:pt x="80010" y="18098"/>
                    </a:lnTo>
                    <a:lnTo>
                      <a:pt x="80010" y="26670"/>
                    </a:lnTo>
                    <a:lnTo>
                      <a:pt x="80963" y="36195"/>
                    </a:lnTo>
                    <a:lnTo>
                      <a:pt x="80963" y="45720"/>
                    </a:lnTo>
                    <a:lnTo>
                      <a:pt x="81915" y="55245"/>
                    </a:lnTo>
                    <a:lnTo>
                      <a:pt x="81915" y="63818"/>
                    </a:lnTo>
                    <a:lnTo>
                      <a:pt x="81915" y="72390"/>
                    </a:lnTo>
                    <a:lnTo>
                      <a:pt x="83820" y="72390"/>
                    </a:lnTo>
                    <a:lnTo>
                      <a:pt x="86677" y="65723"/>
                    </a:lnTo>
                    <a:lnTo>
                      <a:pt x="89535" y="59055"/>
                    </a:lnTo>
                    <a:lnTo>
                      <a:pt x="93345" y="52388"/>
                    </a:lnTo>
                    <a:lnTo>
                      <a:pt x="97155" y="45720"/>
                    </a:lnTo>
                    <a:lnTo>
                      <a:pt x="101917" y="40005"/>
                    </a:lnTo>
                    <a:lnTo>
                      <a:pt x="106680" y="33338"/>
                    </a:lnTo>
                    <a:lnTo>
                      <a:pt x="112395" y="27623"/>
                    </a:lnTo>
                    <a:lnTo>
                      <a:pt x="117157" y="21908"/>
                    </a:lnTo>
                    <a:lnTo>
                      <a:pt x="120967" y="20002"/>
                    </a:lnTo>
                    <a:lnTo>
                      <a:pt x="123825" y="17145"/>
                    </a:lnTo>
                    <a:lnTo>
                      <a:pt x="126682" y="15240"/>
                    </a:lnTo>
                    <a:lnTo>
                      <a:pt x="129540" y="12383"/>
                    </a:lnTo>
                    <a:lnTo>
                      <a:pt x="133350" y="10477"/>
                    </a:lnTo>
                    <a:lnTo>
                      <a:pt x="136207" y="9525"/>
                    </a:lnTo>
                    <a:lnTo>
                      <a:pt x="140017" y="7620"/>
                    </a:lnTo>
                    <a:lnTo>
                      <a:pt x="143827" y="5715"/>
                    </a:lnTo>
                    <a:lnTo>
                      <a:pt x="147638" y="4763"/>
                    </a:lnTo>
                    <a:lnTo>
                      <a:pt x="151447" y="3810"/>
                    </a:lnTo>
                    <a:lnTo>
                      <a:pt x="155257" y="2858"/>
                    </a:lnTo>
                    <a:lnTo>
                      <a:pt x="159067" y="1905"/>
                    </a:lnTo>
                    <a:lnTo>
                      <a:pt x="163830" y="952"/>
                    </a:lnTo>
                    <a:lnTo>
                      <a:pt x="167640" y="952"/>
                    </a:lnTo>
                    <a:lnTo>
                      <a:pt x="171450" y="952"/>
                    </a:lnTo>
                    <a:lnTo>
                      <a:pt x="175260" y="0"/>
                    </a:lnTo>
                    <a:lnTo>
                      <a:pt x="178117" y="952"/>
                    </a:lnTo>
                    <a:lnTo>
                      <a:pt x="181927" y="952"/>
                    </a:lnTo>
                    <a:lnTo>
                      <a:pt x="186690" y="1905"/>
                    </a:lnTo>
                    <a:lnTo>
                      <a:pt x="190500" y="2858"/>
                    </a:lnTo>
                    <a:lnTo>
                      <a:pt x="190500" y="83820"/>
                    </a:lnTo>
                    <a:lnTo>
                      <a:pt x="183832" y="82868"/>
                    </a:lnTo>
                    <a:lnTo>
                      <a:pt x="177165" y="81915"/>
                    </a:lnTo>
                    <a:lnTo>
                      <a:pt x="171450" y="80963"/>
                    </a:lnTo>
                    <a:lnTo>
                      <a:pt x="165735" y="80963"/>
                    </a:lnTo>
                    <a:lnTo>
                      <a:pt x="161925" y="80963"/>
                    </a:lnTo>
                    <a:lnTo>
                      <a:pt x="157163" y="80963"/>
                    </a:lnTo>
                    <a:lnTo>
                      <a:pt x="154305" y="81915"/>
                    </a:lnTo>
                    <a:lnTo>
                      <a:pt x="150495" y="81915"/>
                    </a:lnTo>
                    <a:lnTo>
                      <a:pt x="146685" y="82868"/>
                    </a:lnTo>
                    <a:lnTo>
                      <a:pt x="142875" y="83820"/>
                    </a:lnTo>
                    <a:lnTo>
                      <a:pt x="140017" y="84773"/>
                    </a:lnTo>
                    <a:lnTo>
                      <a:pt x="136207" y="85725"/>
                    </a:lnTo>
                    <a:lnTo>
                      <a:pt x="133350" y="87630"/>
                    </a:lnTo>
                    <a:lnTo>
                      <a:pt x="129540" y="89535"/>
                    </a:lnTo>
                    <a:lnTo>
                      <a:pt x="126682" y="91440"/>
                    </a:lnTo>
                    <a:lnTo>
                      <a:pt x="123825" y="93345"/>
                    </a:lnTo>
                    <a:lnTo>
                      <a:pt x="118110" y="97155"/>
                    </a:lnTo>
                    <a:lnTo>
                      <a:pt x="112395" y="102870"/>
                    </a:lnTo>
                    <a:lnTo>
                      <a:pt x="109538" y="105727"/>
                    </a:lnTo>
                    <a:lnTo>
                      <a:pt x="106680" y="108585"/>
                    </a:lnTo>
                    <a:lnTo>
                      <a:pt x="104775" y="111443"/>
                    </a:lnTo>
                    <a:lnTo>
                      <a:pt x="102870" y="115252"/>
                    </a:lnTo>
                    <a:lnTo>
                      <a:pt x="100013" y="118110"/>
                    </a:lnTo>
                    <a:lnTo>
                      <a:pt x="99060" y="121920"/>
                    </a:lnTo>
                    <a:lnTo>
                      <a:pt x="97155" y="125730"/>
                    </a:lnTo>
                    <a:lnTo>
                      <a:pt x="95250" y="130493"/>
                    </a:lnTo>
                    <a:lnTo>
                      <a:pt x="94297" y="134302"/>
                    </a:lnTo>
                    <a:lnTo>
                      <a:pt x="93345" y="139065"/>
                    </a:lnTo>
                    <a:lnTo>
                      <a:pt x="92392" y="143827"/>
                    </a:lnTo>
                    <a:lnTo>
                      <a:pt x="91440" y="148590"/>
                    </a:lnTo>
                    <a:lnTo>
                      <a:pt x="90488" y="154305"/>
                    </a:lnTo>
                    <a:lnTo>
                      <a:pt x="89535" y="159068"/>
                    </a:lnTo>
                    <a:lnTo>
                      <a:pt x="89535" y="164783"/>
                    </a:lnTo>
                    <a:lnTo>
                      <a:pt x="91440" y="170498"/>
                    </a:lnTo>
                    <a:lnTo>
                      <a:pt x="91440" y="369570"/>
                    </a:lnTo>
                    <a:lnTo>
                      <a:pt x="1905" y="36957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63" name="Freeform 62">
                <a:extLst>
                  <a:ext uri="{FF2B5EF4-FFF2-40B4-BE49-F238E27FC236}">
                    <a16:creationId xmlns:a16="http://schemas.microsoft.com/office/drawing/2014/main" id="{FB788DA9-1018-C108-9553-16ECB127E74E}"/>
                  </a:ext>
                </a:extLst>
              </p:cNvPr>
              <p:cNvSpPr/>
              <p:nvPr/>
            </p:nvSpPr>
            <p:spPr>
              <a:xfrm>
                <a:off x="8776017" y="4808309"/>
                <a:ext cx="312419" cy="525779"/>
              </a:xfrm>
              <a:custGeom>
                <a:avLst/>
                <a:gdLst>
                  <a:gd name="connsiteX0" fmla="*/ 88582 w 312419"/>
                  <a:gd name="connsiteY0" fmla="*/ 183833 h 525779"/>
                  <a:gd name="connsiteX1" fmla="*/ 88582 w 312419"/>
                  <a:gd name="connsiteY1" fmla="*/ 198120 h 525779"/>
                  <a:gd name="connsiteX2" fmla="*/ 89535 w 312419"/>
                  <a:gd name="connsiteY2" fmla="*/ 211455 h 525779"/>
                  <a:gd name="connsiteX3" fmla="*/ 90488 w 312419"/>
                  <a:gd name="connsiteY3" fmla="*/ 223838 h 525779"/>
                  <a:gd name="connsiteX4" fmla="*/ 92392 w 312419"/>
                  <a:gd name="connsiteY4" fmla="*/ 236220 h 525779"/>
                  <a:gd name="connsiteX5" fmla="*/ 93345 w 312419"/>
                  <a:gd name="connsiteY5" fmla="*/ 241935 h 525779"/>
                  <a:gd name="connsiteX6" fmla="*/ 94297 w 312419"/>
                  <a:gd name="connsiteY6" fmla="*/ 247650 h 525779"/>
                  <a:gd name="connsiteX7" fmla="*/ 95250 w 312419"/>
                  <a:gd name="connsiteY7" fmla="*/ 253365 h 525779"/>
                  <a:gd name="connsiteX8" fmla="*/ 96202 w 312419"/>
                  <a:gd name="connsiteY8" fmla="*/ 258128 h 525779"/>
                  <a:gd name="connsiteX9" fmla="*/ 97155 w 312419"/>
                  <a:gd name="connsiteY9" fmla="*/ 262890 h 525779"/>
                  <a:gd name="connsiteX10" fmla="*/ 99060 w 312419"/>
                  <a:gd name="connsiteY10" fmla="*/ 266700 h 525779"/>
                  <a:gd name="connsiteX11" fmla="*/ 100965 w 312419"/>
                  <a:gd name="connsiteY11" fmla="*/ 270510 h 525779"/>
                  <a:gd name="connsiteX12" fmla="*/ 102870 w 312419"/>
                  <a:gd name="connsiteY12" fmla="*/ 274320 h 525779"/>
                  <a:gd name="connsiteX13" fmla="*/ 104775 w 312419"/>
                  <a:gd name="connsiteY13" fmla="*/ 278130 h 525779"/>
                  <a:gd name="connsiteX14" fmla="*/ 106680 w 312419"/>
                  <a:gd name="connsiteY14" fmla="*/ 281940 h 525779"/>
                  <a:gd name="connsiteX15" fmla="*/ 109538 w 312419"/>
                  <a:gd name="connsiteY15" fmla="*/ 284798 h 525779"/>
                  <a:gd name="connsiteX16" fmla="*/ 111442 w 312419"/>
                  <a:gd name="connsiteY16" fmla="*/ 287655 h 525779"/>
                  <a:gd name="connsiteX17" fmla="*/ 114300 w 312419"/>
                  <a:gd name="connsiteY17" fmla="*/ 290513 h 525779"/>
                  <a:gd name="connsiteX18" fmla="*/ 117157 w 312419"/>
                  <a:gd name="connsiteY18" fmla="*/ 293370 h 525779"/>
                  <a:gd name="connsiteX19" fmla="*/ 120015 w 312419"/>
                  <a:gd name="connsiteY19" fmla="*/ 296228 h 525779"/>
                  <a:gd name="connsiteX20" fmla="*/ 122872 w 312419"/>
                  <a:gd name="connsiteY20" fmla="*/ 298133 h 525779"/>
                  <a:gd name="connsiteX21" fmla="*/ 125730 w 312419"/>
                  <a:gd name="connsiteY21" fmla="*/ 300038 h 525779"/>
                  <a:gd name="connsiteX22" fmla="*/ 128588 w 312419"/>
                  <a:gd name="connsiteY22" fmla="*/ 301942 h 525779"/>
                  <a:gd name="connsiteX23" fmla="*/ 131445 w 312419"/>
                  <a:gd name="connsiteY23" fmla="*/ 302895 h 525779"/>
                  <a:gd name="connsiteX24" fmla="*/ 134302 w 312419"/>
                  <a:gd name="connsiteY24" fmla="*/ 303848 h 525779"/>
                  <a:gd name="connsiteX25" fmla="*/ 137160 w 312419"/>
                  <a:gd name="connsiteY25" fmla="*/ 304800 h 525779"/>
                  <a:gd name="connsiteX26" fmla="*/ 140017 w 312419"/>
                  <a:gd name="connsiteY26" fmla="*/ 305753 h 525779"/>
                  <a:gd name="connsiteX27" fmla="*/ 142875 w 312419"/>
                  <a:gd name="connsiteY27" fmla="*/ 305753 h 525779"/>
                  <a:gd name="connsiteX28" fmla="*/ 145732 w 312419"/>
                  <a:gd name="connsiteY28" fmla="*/ 305753 h 525779"/>
                  <a:gd name="connsiteX29" fmla="*/ 150495 w 312419"/>
                  <a:gd name="connsiteY29" fmla="*/ 305753 h 525779"/>
                  <a:gd name="connsiteX30" fmla="*/ 155257 w 312419"/>
                  <a:gd name="connsiteY30" fmla="*/ 305753 h 525779"/>
                  <a:gd name="connsiteX31" fmla="*/ 160020 w 312419"/>
                  <a:gd name="connsiteY31" fmla="*/ 305753 h 525779"/>
                  <a:gd name="connsiteX32" fmla="*/ 164782 w 312419"/>
                  <a:gd name="connsiteY32" fmla="*/ 304800 h 525779"/>
                  <a:gd name="connsiteX33" fmla="*/ 168592 w 312419"/>
                  <a:gd name="connsiteY33" fmla="*/ 303848 h 525779"/>
                  <a:gd name="connsiteX34" fmla="*/ 172402 w 312419"/>
                  <a:gd name="connsiteY34" fmla="*/ 302895 h 525779"/>
                  <a:gd name="connsiteX35" fmla="*/ 176213 w 312419"/>
                  <a:gd name="connsiteY35" fmla="*/ 300990 h 525779"/>
                  <a:gd name="connsiteX36" fmla="*/ 180022 w 312419"/>
                  <a:gd name="connsiteY36" fmla="*/ 299085 h 525779"/>
                  <a:gd name="connsiteX37" fmla="*/ 183832 w 312419"/>
                  <a:gd name="connsiteY37" fmla="*/ 297180 h 525779"/>
                  <a:gd name="connsiteX38" fmla="*/ 186690 w 312419"/>
                  <a:gd name="connsiteY38" fmla="*/ 295275 h 525779"/>
                  <a:gd name="connsiteX39" fmla="*/ 190500 w 312419"/>
                  <a:gd name="connsiteY39" fmla="*/ 292417 h 525779"/>
                  <a:gd name="connsiteX40" fmla="*/ 193357 w 312419"/>
                  <a:gd name="connsiteY40" fmla="*/ 289560 h 525779"/>
                  <a:gd name="connsiteX41" fmla="*/ 196215 w 312419"/>
                  <a:gd name="connsiteY41" fmla="*/ 286703 h 525779"/>
                  <a:gd name="connsiteX42" fmla="*/ 199072 w 312419"/>
                  <a:gd name="connsiteY42" fmla="*/ 283845 h 525779"/>
                  <a:gd name="connsiteX43" fmla="*/ 201930 w 312419"/>
                  <a:gd name="connsiteY43" fmla="*/ 280035 h 525779"/>
                  <a:gd name="connsiteX44" fmla="*/ 204788 w 312419"/>
                  <a:gd name="connsiteY44" fmla="*/ 276225 h 525779"/>
                  <a:gd name="connsiteX45" fmla="*/ 206692 w 312419"/>
                  <a:gd name="connsiteY45" fmla="*/ 272415 h 525779"/>
                  <a:gd name="connsiteX46" fmla="*/ 208597 w 312419"/>
                  <a:gd name="connsiteY46" fmla="*/ 268605 h 525779"/>
                  <a:gd name="connsiteX47" fmla="*/ 210502 w 312419"/>
                  <a:gd name="connsiteY47" fmla="*/ 263842 h 525779"/>
                  <a:gd name="connsiteX48" fmla="*/ 212407 w 312419"/>
                  <a:gd name="connsiteY48" fmla="*/ 259080 h 525779"/>
                  <a:gd name="connsiteX49" fmla="*/ 213360 w 312419"/>
                  <a:gd name="connsiteY49" fmla="*/ 254317 h 525779"/>
                  <a:gd name="connsiteX50" fmla="*/ 214313 w 312419"/>
                  <a:gd name="connsiteY50" fmla="*/ 249555 h 525779"/>
                  <a:gd name="connsiteX51" fmla="*/ 215265 w 312419"/>
                  <a:gd name="connsiteY51" fmla="*/ 243840 h 525779"/>
                  <a:gd name="connsiteX52" fmla="*/ 217170 w 312419"/>
                  <a:gd name="connsiteY52" fmla="*/ 238125 h 525779"/>
                  <a:gd name="connsiteX53" fmla="*/ 219075 w 312419"/>
                  <a:gd name="connsiteY53" fmla="*/ 225742 h 525779"/>
                  <a:gd name="connsiteX54" fmla="*/ 220980 w 312419"/>
                  <a:gd name="connsiteY54" fmla="*/ 212408 h 525779"/>
                  <a:gd name="connsiteX55" fmla="*/ 221932 w 312419"/>
                  <a:gd name="connsiteY55" fmla="*/ 198120 h 525779"/>
                  <a:gd name="connsiteX56" fmla="*/ 221932 w 312419"/>
                  <a:gd name="connsiteY56" fmla="*/ 182880 h 525779"/>
                  <a:gd name="connsiteX57" fmla="*/ 221932 w 312419"/>
                  <a:gd name="connsiteY57" fmla="*/ 168593 h 525779"/>
                  <a:gd name="connsiteX58" fmla="*/ 220980 w 312419"/>
                  <a:gd name="connsiteY58" fmla="*/ 155258 h 525779"/>
                  <a:gd name="connsiteX59" fmla="*/ 220027 w 312419"/>
                  <a:gd name="connsiteY59" fmla="*/ 148590 h 525779"/>
                  <a:gd name="connsiteX60" fmla="*/ 219075 w 312419"/>
                  <a:gd name="connsiteY60" fmla="*/ 142875 h 525779"/>
                  <a:gd name="connsiteX61" fmla="*/ 218122 w 312419"/>
                  <a:gd name="connsiteY61" fmla="*/ 137160 h 525779"/>
                  <a:gd name="connsiteX62" fmla="*/ 217170 w 312419"/>
                  <a:gd name="connsiteY62" fmla="*/ 131445 h 525779"/>
                  <a:gd name="connsiteX63" fmla="*/ 216217 w 312419"/>
                  <a:gd name="connsiteY63" fmla="*/ 125730 h 525779"/>
                  <a:gd name="connsiteX64" fmla="*/ 214313 w 312419"/>
                  <a:gd name="connsiteY64" fmla="*/ 120968 h 525779"/>
                  <a:gd name="connsiteX65" fmla="*/ 212407 w 312419"/>
                  <a:gd name="connsiteY65" fmla="*/ 116205 h 525779"/>
                  <a:gd name="connsiteX66" fmla="*/ 210502 w 312419"/>
                  <a:gd name="connsiteY66" fmla="*/ 111443 h 525779"/>
                  <a:gd name="connsiteX67" fmla="*/ 208597 w 312419"/>
                  <a:gd name="connsiteY67" fmla="*/ 106680 h 525779"/>
                  <a:gd name="connsiteX68" fmla="*/ 206692 w 312419"/>
                  <a:gd name="connsiteY68" fmla="*/ 102870 h 525779"/>
                  <a:gd name="connsiteX69" fmla="*/ 204788 w 312419"/>
                  <a:gd name="connsiteY69" fmla="*/ 99060 h 525779"/>
                  <a:gd name="connsiteX70" fmla="*/ 201930 w 312419"/>
                  <a:gd name="connsiteY70" fmla="*/ 95250 h 525779"/>
                  <a:gd name="connsiteX71" fmla="*/ 200025 w 312419"/>
                  <a:gd name="connsiteY71" fmla="*/ 91440 h 525779"/>
                  <a:gd name="connsiteX72" fmla="*/ 197167 w 312419"/>
                  <a:gd name="connsiteY72" fmla="*/ 88583 h 525779"/>
                  <a:gd name="connsiteX73" fmla="*/ 194310 w 312419"/>
                  <a:gd name="connsiteY73" fmla="*/ 85725 h 525779"/>
                  <a:gd name="connsiteX74" fmla="*/ 191452 w 312419"/>
                  <a:gd name="connsiteY74" fmla="*/ 82868 h 525779"/>
                  <a:gd name="connsiteX75" fmla="*/ 188595 w 312419"/>
                  <a:gd name="connsiteY75" fmla="*/ 80010 h 525779"/>
                  <a:gd name="connsiteX76" fmla="*/ 185738 w 312419"/>
                  <a:gd name="connsiteY76" fmla="*/ 77153 h 525779"/>
                  <a:gd name="connsiteX77" fmla="*/ 182880 w 312419"/>
                  <a:gd name="connsiteY77" fmla="*/ 75248 h 525779"/>
                  <a:gd name="connsiteX78" fmla="*/ 180022 w 312419"/>
                  <a:gd name="connsiteY78" fmla="*/ 73343 h 525779"/>
                  <a:gd name="connsiteX79" fmla="*/ 177165 w 312419"/>
                  <a:gd name="connsiteY79" fmla="*/ 71438 h 525779"/>
                  <a:gd name="connsiteX80" fmla="*/ 173355 w 312419"/>
                  <a:gd name="connsiteY80" fmla="*/ 70485 h 525779"/>
                  <a:gd name="connsiteX81" fmla="*/ 169545 w 312419"/>
                  <a:gd name="connsiteY81" fmla="*/ 69533 h 525779"/>
                  <a:gd name="connsiteX82" fmla="*/ 165735 w 312419"/>
                  <a:gd name="connsiteY82" fmla="*/ 68580 h 525779"/>
                  <a:gd name="connsiteX83" fmla="*/ 161925 w 312419"/>
                  <a:gd name="connsiteY83" fmla="*/ 67628 h 525779"/>
                  <a:gd name="connsiteX84" fmla="*/ 158115 w 312419"/>
                  <a:gd name="connsiteY84" fmla="*/ 66675 h 525779"/>
                  <a:gd name="connsiteX85" fmla="*/ 154305 w 312419"/>
                  <a:gd name="connsiteY85" fmla="*/ 66675 h 525779"/>
                  <a:gd name="connsiteX86" fmla="*/ 150495 w 312419"/>
                  <a:gd name="connsiteY86" fmla="*/ 66675 h 525779"/>
                  <a:gd name="connsiteX87" fmla="*/ 146685 w 312419"/>
                  <a:gd name="connsiteY87" fmla="*/ 66675 h 525779"/>
                  <a:gd name="connsiteX88" fmla="*/ 142875 w 312419"/>
                  <a:gd name="connsiteY88" fmla="*/ 66675 h 525779"/>
                  <a:gd name="connsiteX89" fmla="*/ 139065 w 312419"/>
                  <a:gd name="connsiteY89" fmla="*/ 67628 h 525779"/>
                  <a:gd name="connsiteX90" fmla="*/ 135255 w 312419"/>
                  <a:gd name="connsiteY90" fmla="*/ 68580 h 525779"/>
                  <a:gd name="connsiteX91" fmla="*/ 131445 w 312419"/>
                  <a:gd name="connsiteY91" fmla="*/ 69533 h 525779"/>
                  <a:gd name="connsiteX92" fmla="*/ 127635 w 312419"/>
                  <a:gd name="connsiteY92" fmla="*/ 70485 h 525779"/>
                  <a:gd name="connsiteX93" fmla="*/ 124777 w 312419"/>
                  <a:gd name="connsiteY93" fmla="*/ 72390 h 525779"/>
                  <a:gd name="connsiteX94" fmla="*/ 121920 w 312419"/>
                  <a:gd name="connsiteY94" fmla="*/ 74295 h 525779"/>
                  <a:gd name="connsiteX95" fmla="*/ 119063 w 312419"/>
                  <a:gd name="connsiteY95" fmla="*/ 76200 h 525779"/>
                  <a:gd name="connsiteX96" fmla="*/ 116205 w 312419"/>
                  <a:gd name="connsiteY96" fmla="*/ 79058 h 525779"/>
                  <a:gd name="connsiteX97" fmla="*/ 113347 w 312419"/>
                  <a:gd name="connsiteY97" fmla="*/ 81915 h 525779"/>
                  <a:gd name="connsiteX98" fmla="*/ 110490 w 312419"/>
                  <a:gd name="connsiteY98" fmla="*/ 84773 h 525779"/>
                  <a:gd name="connsiteX99" fmla="*/ 107632 w 312419"/>
                  <a:gd name="connsiteY99" fmla="*/ 87630 h 525779"/>
                  <a:gd name="connsiteX100" fmla="*/ 105727 w 312419"/>
                  <a:gd name="connsiteY100" fmla="*/ 90488 h 525779"/>
                  <a:gd name="connsiteX101" fmla="*/ 103822 w 312419"/>
                  <a:gd name="connsiteY101" fmla="*/ 94298 h 525779"/>
                  <a:gd name="connsiteX102" fmla="*/ 101917 w 312419"/>
                  <a:gd name="connsiteY102" fmla="*/ 98108 h 525779"/>
                  <a:gd name="connsiteX103" fmla="*/ 100013 w 312419"/>
                  <a:gd name="connsiteY103" fmla="*/ 101918 h 525779"/>
                  <a:gd name="connsiteX104" fmla="*/ 98107 w 312419"/>
                  <a:gd name="connsiteY104" fmla="*/ 105728 h 525779"/>
                  <a:gd name="connsiteX105" fmla="*/ 96202 w 312419"/>
                  <a:gd name="connsiteY105" fmla="*/ 109538 h 525779"/>
                  <a:gd name="connsiteX106" fmla="*/ 95250 w 312419"/>
                  <a:gd name="connsiteY106" fmla="*/ 114300 h 525779"/>
                  <a:gd name="connsiteX107" fmla="*/ 92392 w 312419"/>
                  <a:gd name="connsiteY107" fmla="*/ 123825 h 525779"/>
                  <a:gd name="connsiteX108" fmla="*/ 90488 w 312419"/>
                  <a:gd name="connsiteY108" fmla="*/ 134303 h 525779"/>
                  <a:gd name="connsiteX109" fmla="*/ 88582 w 312419"/>
                  <a:gd name="connsiteY109" fmla="*/ 145733 h 525779"/>
                  <a:gd name="connsiteX110" fmla="*/ 87630 w 312419"/>
                  <a:gd name="connsiteY110" fmla="*/ 158115 h 525779"/>
                  <a:gd name="connsiteX111" fmla="*/ 86677 w 312419"/>
                  <a:gd name="connsiteY111" fmla="*/ 171450 h 525779"/>
                  <a:gd name="connsiteX112" fmla="*/ 88582 w 312419"/>
                  <a:gd name="connsiteY112" fmla="*/ 183833 h 525779"/>
                  <a:gd name="connsiteX113" fmla="*/ 88582 w 312419"/>
                  <a:gd name="connsiteY113" fmla="*/ 183833 h 525779"/>
                  <a:gd name="connsiteX114" fmla="*/ 17145 w 312419"/>
                  <a:gd name="connsiteY114" fmla="*/ 502920 h 525779"/>
                  <a:gd name="connsiteX115" fmla="*/ 21907 w 312419"/>
                  <a:gd name="connsiteY115" fmla="*/ 424815 h 525779"/>
                  <a:gd name="connsiteX116" fmla="*/ 28575 w 312419"/>
                  <a:gd name="connsiteY116" fmla="*/ 428625 h 525779"/>
                  <a:gd name="connsiteX117" fmla="*/ 35242 w 312419"/>
                  <a:gd name="connsiteY117" fmla="*/ 432435 h 525779"/>
                  <a:gd name="connsiteX118" fmla="*/ 41910 w 312419"/>
                  <a:gd name="connsiteY118" fmla="*/ 435292 h 525779"/>
                  <a:gd name="connsiteX119" fmla="*/ 48577 w 312419"/>
                  <a:gd name="connsiteY119" fmla="*/ 438150 h 525779"/>
                  <a:gd name="connsiteX120" fmla="*/ 55245 w 312419"/>
                  <a:gd name="connsiteY120" fmla="*/ 441008 h 525779"/>
                  <a:gd name="connsiteX121" fmla="*/ 61913 w 312419"/>
                  <a:gd name="connsiteY121" fmla="*/ 443865 h 525779"/>
                  <a:gd name="connsiteX122" fmla="*/ 68580 w 312419"/>
                  <a:gd name="connsiteY122" fmla="*/ 445770 h 525779"/>
                  <a:gd name="connsiteX123" fmla="*/ 75247 w 312419"/>
                  <a:gd name="connsiteY123" fmla="*/ 447675 h 525779"/>
                  <a:gd name="connsiteX124" fmla="*/ 81915 w 312419"/>
                  <a:gd name="connsiteY124" fmla="*/ 449580 h 525779"/>
                  <a:gd name="connsiteX125" fmla="*/ 88582 w 312419"/>
                  <a:gd name="connsiteY125" fmla="*/ 451485 h 525779"/>
                  <a:gd name="connsiteX126" fmla="*/ 95250 w 312419"/>
                  <a:gd name="connsiteY126" fmla="*/ 452438 h 525779"/>
                  <a:gd name="connsiteX127" fmla="*/ 101917 w 312419"/>
                  <a:gd name="connsiteY127" fmla="*/ 453390 h 525779"/>
                  <a:gd name="connsiteX128" fmla="*/ 108585 w 312419"/>
                  <a:gd name="connsiteY128" fmla="*/ 454342 h 525779"/>
                  <a:gd name="connsiteX129" fmla="*/ 115252 w 312419"/>
                  <a:gd name="connsiteY129" fmla="*/ 455295 h 525779"/>
                  <a:gd name="connsiteX130" fmla="*/ 121920 w 312419"/>
                  <a:gd name="connsiteY130" fmla="*/ 455295 h 525779"/>
                  <a:gd name="connsiteX131" fmla="*/ 128588 w 312419"/>
                  <a:gd name="connsiteY131" fmla="*/ 455295 h 525779"/>
                  <a:gd name="connsiteX132" fmla="*/ 138113 w 312419"/>
                  <a:gd name="connsiteY132" fmla="*/ 455295 h 525779"/>
                  <a:gd name="connsiteX133" fmla="*/ 146685 w 312419"/>
                  <a:gd name="connsiteY133" fmla="*/ 454342 h 525779"/>
                  <a:gd name="connsiteX134" fmla="*/ 155257 w 312419"/>
                  <a:gd name="connsiteY134" fmla="*/ 453390 h 525779"/>
                  <a:gd name="connsiteX135" fmla="*/ 162877 w 312419"/>
                  <a:gd name="connsiteY135" fmla="*/ 451485 h 525779"/>
                  <a:gd name="connsiteX136" fmla="*/ 169545 w 312419"/>
                  <a:gd name="connsiteY136" fmla="*/ 449580 h 525779"/>
                  <a:gd name="connsiteX137" fmla="*/ 176213 w 312419"/>
                  <a:gd name="connsiteY137" fmla="*/ 446723 h 525779"/>
                  <a:gd name="connsiteX138" fmla="*/ 179070 w 312419"/>
                  <a:gd name="connsiteY138" fmla="*/ 445770 h 525779"/>
                  <a:gd name="connsiteX139" fmla="*/ 181927 w 312419"/>
                  <a:gd name="connsiteY139" fmla="*/ 443865 h 525779"/>
                  <a:gd name="connsiteX140" fmla="*/ 184785 w 312419"/>
                  <a:gd name="connsiteY140" fmla="*/ 441960 h 525779"/>
                  <a:gd name="connsiteX141" fmla="*/ 187642 w 312419"/>
                  <a:gd name="connsiteY141" fmla="*/ 440055 h 525779"/>
                  <a:gd name="connsiteX142" fmla="*/ 192405 w 312419"/>
                  <a:gd name="connsiteY142" fmla="*/ 436245 h 525779"/>
                  <a:gd name="connsiteX143" fmla="*/ 197167 w 312419"/>
                  <a:gd name="connsiteY143" fmla="*/ 432435 h 525779"/>
                  <a:gd name="connsiteX144" fmla="*/ 200977 w 312419"/>
                  <a:gd name="connsiteY144" fmla="*/ 427673 h 525779"/>
                  <a:gd name="connsiteX145" fmla="*/ 204788 w 312419"/>
                  <a:gd name="connsiteY145" fmla="*/ 422910 h 525779"/>
                  <a:gd name="connsiteX146" fmla="*/ 207645 w 312419"/>
                  <a:gd name="connsiteY146" fmla="*/ 417195 h 525779"/>
                  <a:gd name="connsiteX147" fmla="*/ 210502 w 312419"/>
                  <a:gd name="connsiteY147" fmla="*/ 411480 h 525779"/>
                  <a:gd name="connsiteX148" fmla="*/ 213360 w 312419"/>
                  <a:gd name="connsiteY148" fmla="*/ 405765 h 525779"/>
                  <a:gd name="connsiteX149" fmla="*/ 215265 w 312419"/>
                  <a:gd name="connsiteY149" fmla="*/ 399098 h 525779"/>
                  <a:gd name="connsiteX150" fmla="*/ 217170 w 312419"/>
                  <a:gd name="connsiteY150" fmla="*/ 392430 h 525779"/>
                  <a:gd name="connsiteX151" fmla="*/ 219075 w 312419"/>
                  <a:gd name="connsiteY151" fmla="*/ 385763 h 525779"/>
                  <a:gd name="connsiteX152" fmla="*/ 220027 w 312419"/>
                  <a:gd name="connsiteY152" fmla="*/ 379095 h 525779"/>
                  <a:gd name="connsiteX153" fmla="*/ 220980 w 312419"/>
                  <a:gd name="connsiteY153" fmla="*/ 372428 h 525779"/>
                  <a:gd name="connsiteX154" fmla="*/ 221932 w 312419"/>
                  <a:gd name="connsiteY154" fmla="*/ 364808 h 525779"/>
                  <a:gd name="connsiteX155" fmla="*/ 221932 w 312419"/>
                  <a:gd name="connsiteY155" fmla="*/ 357188 h 525779"/>
                  <a:gd name="connsiteX156" fmla="*/ 221932 w 312419"/>
                  <a:gd name="connsiteY156" fmla="*/ 348615 h 525779"/>
                  <a:gd name="connsiteX157" fmla="*/ 221932 w 312419"/>
                  <a:gd name="connsiteY157" fmla="*/ 340042 h 525779"/>
                  <a:gd name="connsiteX158" fmla="*/ 221932 w 312419"/>
                  <a:gd name="connsiteY158" fmla="*/ 307658 h 525779"/>
                  <a:gd name="connsiteX159" fmla="*/ 220980 w 312419"/>
                  <a:gd name="connsiteY159" fmla="*/ 307658 h 525779"/>
                  <a:gd name="connsiteX160" fmla="*/ 217170 w 312419"/>
                  <a:gd name="connsiteY160" fmla="*/ 314325 h 525779"/>
                  <a:gd name="connsiteX161" fmla="*/ 213360 w 312419"/>
                  <a:gd name="connsiteY161" fmla="*/ 320040 h 525779"/>
                  <a:gd name="connsiteX162" fmla="*/ 209550 w 312419"/>
                  <a:gd name="connsiteY162" fmla="*/ 325755 h 525779"/>
                  <a:gd name="connsiteX163" fmla="*/ 205740 w 312419"/>
                  <a:gd name="connsiteY163" fmla="*/ 331470 h 525779"/>
                  <a:gd name="connsiteX164" fmla="*/ 200977 w 312419"/>
                  <a:gd name="connsiteY164" fmla="*/ 337185 h 525779"/>
                  <a:gd name="connsiteX165" fmla="*/ 196215 w 312419"/>
                  <a:gd name="connsiteY165" fmla="*/ 341948 h 525779"/>
                  <a:gd name="connsiteX166" fmla="*/ 190500 w 312419"/>
                  <a:gd name="connsiteY166" fmla="*/ 346710 h 525779"/>
                  <a:gd name="connsiteX167" fmla="*/ 184785 w 312419"/>
                  <a:gd name="connsiteY167" fmla="*/ 350520 h 525779"/>
                  <a:gd name="connsiteX168" fmla="*/ 181927 w 312419"/>
                  <a:gd name="connsiteY168" fmla="*/ 352425 h 525779"/>
                  <a:gd name="connsiteX169" fmla="*/ 179070 w 312419"/>
                  <a:gd name="connsiteY169" fmla="*/ 354330 h 525779"/>
                  <a:gd name="connsiteX170" fmla="*/ 176213 w 312419"/>
                  <a:gd name="connsiteY170" fmla="*/ 356235 h 525779"/>
                  <a:gd name="connsiteX171" fmla="*/ 173355 w 312419"/>
                  <a:gd name="connsiteY171" fmla="*/ 358140 h 525779"/>
                  <a:gd name="connsiteX172" fmla="*/ 169545 w 312419"/>
                  <a:gd name="connsiteY172" fmla="*/ 360045 h 525779"/>
                  <a:gd name="connsiteX173" fmla="*/ 165735 w 312419"/>
                  <a:gd name="connsiteY173" fmla="*/ 361950 h 525779"/>
                  <a:gd name="connsiteX174" fmla="*/ 161925 w 312419"/>
                  <a:gd name="connsiteY174" fmla="*/ 362903 h 525779"/>
                  <a:gd name="connsiteX175" fmla="*/ 160020 w 312419"/>
                  <a:gd name="connsiteY175" fmla="*/ 364808 h 525779"/>
                  <a:gd name="connsiteX176" fmla="*/ 151447 w 312419"/>
                  <a:gd name="connsiteY176" fmla="*/ 366713 h 525779"/>
                  <a:gd name="connsiteX177" fmla="*/ 142875 w 312419"/>
                  <a:gd name="connsiteY177" fmla="*/ 367665 h 525779"/>
                  <a:gd name="connsiteX178" fmla="*/ 134302 w 312419"/>
                  <a:gd name="connsiteY178" fmla="*/ 368617 h 525779"/>
                  <a:gd name="connsiteX179" fmla="*/ 124777 w 312419"/>
                  <a:gd name="connsiteY179" fmla="*/ 368617 h 525779"/>
                  <a:gd name="connsiteX180" fmla="*/ 120015 w 312419"/>
                  <a:gd name="connsiteY180" fmla="*/ 368617 h 525779"/>
                  <a:gd name="connsiteX181" fmla="*/ 114300 w 312419"/>
                  <a:gd name="connsiteY181" fmla="*/ 366713 h 525779"/>
                  <a:gd name="connsiteX182" fmla="*/ 108585 w 312419"/>
                  <a:gd name="connsiteY182" fmla="*/ 366713 h 525779"/>
                  <a:gd name="connsiteX183" fmla="*/ 103822 w 312419"/>
                  <a:gd name="connsiteY183" fmla="*/ 365760 h 525779"/>
                  <a:gd name="connsiteX184" fmla="*/ 98107 w 312419"/>
                  <a:gd name="connsiteY184" fmla="*/ 364808 h 525779"/>
                  <a:gd name="connsiteX185" fmla="*/ 92392 w 312419"/>
                  <a:gd name="connsiteY185" fmla="*/ 362903 h 525779"/>
                  <a:gd name="connsiteX186" fmla="*/ 87630 w 312419"/>
                  <a:gd name="connsiteY186" fmla="*/ 361950 h 525779"/>
                  <a:gd name="connsiteX187" fmla="*/ 81915 w 312419"/>
                  <a:gd name="connsiteY187" fmla="*/ 360045 h 525779"/>
                  <a:gd name="connsiteX188" fmla="*/ 76200 w 312419"/>
                  <a:gd name="connsiteY188" fmla="*/ 357188 h 525779"/>
                  <a:gd name="connsiteX189" fmla="*/ 70485 w 312419"/>
                  <a:gd name="connsiteY189" fmla="*/ 354330 h 525779"/>
                  <a:gd name="connsiteX190" fmla="*/ 64770 w 312419"/>
                  <a:gd name="connsiteY190" fmla="*/ 351473 h 525779"/>
                  <a:gd name="connsiteX191" fmla="*/ 59055 w 312419"/>
                  <a:gd name="connsiteY191" fmla="*/ 348615 h 525779"/>
                  <a:gd name="connsiteX192" fmla="*/ 54292 w 312419"/>
                  <a:gd name="connsiteY192" fmla="*/ 344805 h 525779"/>
                  <a:gd name="connsiteX193" fmla="*/ 49530 w 312419"/>
                  <a:gd name="connsiteY193" fmla="*/ 340995 h 525779"/>
                  <a:gd name="connsiteX194" fmla="*/ 44767 w 312419"/>
                  <a:gd name="connsiteY194" fmla="*/ 337185 h 525779"/>
                  <a:gd name="connsiteX195" fmla="*/ 40005 w 312419"/>
                  <a:gd name="connsiteY195" fmla="*/ 332423 h 525779"/>
                  <a:gd name="connsiteX196" fmla="*/ 36195 w 312419"/>
                  <a:gd name="connsiteY196" fmla="*/ 326708 h 525779"/>
                  <a:gd name="connsiteX197" fmla="*/ 32385 w 312419"/>
                  <a:gd name="connsiteY197" fmla="*/ 320992 h 525779"/>
                  <a:gd name="connsiteX198" fmla="*/ 27622 w 312419"/>
                  <a:gd name="connsiteY198" fmla="*/ 314325 h 525779"/>
                  <a:gd name="connsiteX199" fmla="*/ 23813 w 312419"/>
                  <a:gd name="connsiteY199" fmla="*/ 307658 h 525779"/>
                  <a:gd name="connsiteX200" fmla="*/ 20002 w 312419"/>
                  <a:gd name="connsiteY200" fmla="*/ 300038 h 525779"/>
                  <a:gd name="connsiteX201" fmla="*/ 16192 w 312419"/>
                  <a:gd name="connsiteY201" fmla="*/ 292417 h 525779"/>
                  <a:gd name="connsiteX202" fmla="*/ 13335 w 312419"/>
                  <a:gd name="connsiteY202" fmla="*/ 283845 h 525779"/>
                  <a:gd name="connsiteX203" fmla="*/ 10477 w 312419"/>
                  <a:gd name="connsiteY203" fmla="*/ 275273 h 525779"/>
                  <a:gd name="connsiteX204" fmla="*/ 7620 w 312419"/>
                  <a:gd name="connsiteY204" fmla="*/ 265748 h 525779"/>
                  <a:gd name="connsiteX205" fmla="*/ 4763 w 312419"/>
                  <a:gd name="connsiteY205" fmla="*/ 256223 h 525779"/>
                  <a:gd name="connsiteX206" fmla="*/ 2857 w 312419"/>
                  <a:gd name="connsiteY206" fmla="*/ 245745 h 525779"/>
                  <a:gd name="connsiteX207" fmla="*/ 1905 w 312419"/>
                  <a:gd name="connsiteY207" fmla="*/ 235267 h 525779"/>
                  <a:gd name="connsiteX208" fmla="*/ 952 w 312419"/>
                  <a:gd name="connsiteY208" fmla="*/ 224790 h 525779"/>
                  <a:gd name="connsiteX209" fmla="*/ 0 w 312419"/>
                  <a:gd name="connsiteY209" fmla="*/ 212408 h 525779"/>
                  <a:gd name="connsiteX210" fmla="*/ 0 w 312419"/>
                  <a:gd name="connsiteY210" fmla="*/ 200025 h 525779"/>
                  <a:gd name="connsiteX211" fmla="*/ 0 w 312419"/>
                  <a:gd name="connsiteY211" fmla="*/ 187643 h 525779"/>
                  <a:gd name="connsiteX212" fmla="*/ 0 w 312419"/>
                  <a:gd name="connsiteY212" fmla="*/ 174308 h 525779"/>
                  <a:gd name="connsiteX213" fmla="*/ 952 w 312419"/>
                  <a:gd name="connsiteY213" fmla="*/ 160973 h 525779"/>
                  <a:gd name="connsiteX214" fmla="*/ 1905 w 312419"/>
                  <a:gd name="connsiteY214" fmla="*/ 148590 h 525779"/>
                  <a:gd name="connsiteX215" fmla="*/ 2857 w 312419"/>
                  <a:gd name="connsiteY215" fmla="*/ 136208 h 525779"/>
                  <a:gd name="connsiteX216" fmla="*/ 4763 w 312419"/>
                  <a:gd name="connsiteY216" fmla="*/ 124778 h 525779"/>
                  <a:gd name="connsiteX217" fmla="*/ 7620 w 312419"/>
                  <a:gd name="connsiteY217" fmla="*/ 113348 h 525779"/>
                  <a:gd name="connsiteX218" fmla="*/ 10477 w 312419"/>
                  <a:gd name="connsiteY218" fmla="*/ 101918 h 525779"/>
                  <a:gd name="connsiteX219" fmla="*/ 13335 w 312419"/>
                  <a:gd name="connsiteY219" fmla="*/ 91440 h 525779"/>
                  <a:gd name="connsiteX220" fmla="*/ 17145 w 312419"/>
                  <a:gd name="connsiteY220" fmla="*/ 80963 h 525779"/>
                  <a:gd name="connsiteX221" fmla="*/ 20955 w 312419"/>
                  <a:gd name="connsiteY221" fmla="*/ 71438 h 525779"/>
                  <a:gd name="connsiteX222" fmla="*/ 25717 w 312419"/>
                  <a:gd name="connsiteY222" fmla="*/ 61913 h 525779"/>
                  <a:gd name="connsiteX223" fmla="*/ 31432 w 312419"/>
                  <a:gd name="connsiteY223" fmla="*/ 53340 h 525779"/>
                  <a:gd name="connsiteX224" fmla="*/ 34290 w 312419"/>
                  <a:gd name="connsiteY224" fmla="*/ 49530 h 525779"/>
                  <a:gd name="connsiteX225" fmla="*/ 37147 w 312419"/>
                  <a:gd name="connsiteY225" fmla="*/ 45720 h 525779"/>
                  <a:gd name="connsiteX226" fmla="*/ 40005 w 312419"/>
                  <a:gd name="connsiteY226" fmla="*/ 41910 h 525779"/>
                  <a:gd name="connsiteX227" fmla="*/ 42863 w 312419"/>
                  <a:gd name="connsiteY227" fmla="*/ 38100 h 525779"/>
                  <a:gd name="connsiteX228" fmla="*/ 45720 w 312419"/>
                  <a:gd name="connsiteY228" fmla="*/ 34290 h 525779"/>
                  <a:gd name="connsiteX229" fmla="*/ 49530 w 312419"/>
                  <a:gd name="connsiteY229" fmla="*/ 30480 h 525779"/>
                  <a:gd name="connsiteX230" fmla="*/ 53340 w 312419"/>
                  <a:gd name="connsiteY230" fmla="*/ 27623 h 525779"/>
                  <a:gd name="connsiteX231" fmla="*/ 57150 w 312419"/>
                  <a:gd name="connsiteY231" fmla="*/ 23813 h 525779"/>
                  <a:gd name="connsiteX232" fmla="*/ 60960 w 312419"/>
                  <a:gd name="connsiteY232" fmla="*/ 20955 h 525779"/>
                  <a:gd name="connsiteX233" fmla="*/ 64770 w 312419"/>
                  <a:gd name="connsiteY233" fmla="*/ 18098 h 525779"/>
                  <a:gd name="connsiteX234" fmla="*/ 68580 w 312419"/>
                  <a:gd name="connsiteY234" fmla="*/ 15240 h 525779"/>
                  <a:gd name="connsiteX235" fmla="*/ 72390 w 312419"/>
                  <a:gd name="connsiteY235" fmla="*/ 12383 h 525779"/>
                  <a:gd name="connsiteX236" fmla="*/ 77152 w 312419"/>
                  <a:gd name="connsiteY236" fmla="*/ 10478 h 525779"/>
                  <a:gd name="connsiteX237" fmla="*/ 80963 w 312419"/>
                  <a:gd name="connsiteY237" fmla="*/ 8573 h 525779"/>
                  <a:gd name="connsiteX238" fmla="*/ 85725 w 312419"/>
                  <a:gd name="connsiteY238" fmla="*/ 6668 h 525779"/>
                  <a:gd name="connsiteX239" fmla="*/ 90488 w 312419"/>
                  <a:gd name="connsiteY239" fmla="*/ 5715 h 525779"/>
                  <a:gd name="connsiteX240" fmla="*/ 95250 w 312419"/>
                  <a:gd name="connsiteY240" fmla="*/ 3810 h 525779"/>
                  <a:gd name="connsiteX241" fmla="*/ 100013 w 312419"/>
                  <a:gd name="connsiteY241" fmla="*/ 2858 h 525779"/>
                  <a:gd name="connsiteX242" fmla="*/ 105727 w 312419"/>
                  <a:gd name="connsiteY242" fmla="*/ 1905 h 525779"/>
                  <a:gd name="connsiteX243" fmla="*/ 110490 w 312419"/>
                  <a:gd name="connsiteY243" fmla="*/ 953 h 525779"/>
                  <a:gd name="connsiteX244" fmla="*/ 116205 w 312419"/>
                  <a:gd name="connsiteY244" fmla="*/ 0 h 525779"/>
                  <a:gd name="connsiteX245" fmla="*/ 121920 w 312419"/>
                  <a:gd name="connsiteY245" fmla="*/ 0 h 525779"/>
                  <a:gd name="connsiteX246" fmla="*/ 127635 w 312419"/>
                  <a:gd name="connsiteY246" fmla="*/ 0 h 525779"/>
                  <a:gd name="connsiteX247" fmla="*/ 133350 w 312419"/>
                  <a:gd name="connsiteY247" fmla="*/ 0 h 525779"/>
                  <a:gd name="connsiteX248" fmla="*/ 139065 w 312419"/>
                  <a:gd name="connsiteY248" fmla="*/ 0 h 525779"/>
                  <a:gd name="connsiteX249" fmla="*/ 144780 w 312419"/>
                  <a:gd name="connsiteY249" fmla="*/ 0 h 525779"/>
                  <a:gd name="connsiteX250" fmla="*/ 150495 w 312419"/>
                  <a:gd name="connsiteY250" fmla="*/ 953 h 525779"/>
                  <a:gd name="connsiteX251" fmla="*/ 156210 w 312419"/>
                  <a:gd name="connsiteY251" fmla="*/ 1905 h 525779"/>
                  <a:gd name="connsiteX252" fmla="*/ 161925 w 312419"/>
                  <a:gd name="connsiteY252" fmla="*/ 2858 h 525779"/>
                  <a:gd name="connsiteX253" fmla="*/ 167640 w 312419"/>
                  <a:gd name="connsiteY253" fmla="*/ 3810 h 525779"/>
                  <a:gd name="connsiteX254" fmla="*/ 172402 w 312419"/>
                  <a:gd name="connsiteY254" fmla="*/ 5715 h 525779"/>
                  <a:gd name="connsiteX255" fmla="*/ 177165 w 312419"/>
                  <a:gd name="connsiteY255" fmla="*/ 7620 h 525779"/>
                  <a:gd name="connsiteX256" fmla="*/ 181927 w 312419"/>
                  <a:gd name="connsiteY256" fmla="*/ 9525 h 525779"/>
                  <a:gd name="connsiteX257" fmla="*/ 185738 w 312419"/>
                  <a:gd name="connsiteY257" fmla="*/ 11430 h 525779"/>
                  <a:gd name="connsiteX258" fmla="*/ 189547 w 312419"/>
                  <a:gd name="connsiteY258" fmla="*/ 14288 h 525779"/>
                  <a:gd name="connsiteX259" fmla="*/ 193357 w 312419"/>
                  <a:gd name="connsiteY259" fmla="*/ 17145 h 525779"/>
                  <a:gd name="connsiteX260" fmla="*/ 197167 w 312419"/>
                  <a:gd name="connsiteY260" fmla="*/ 20003 h 525779"/>
                  <a:gd name="connsiteX261" fmla="*/ 200977 w 312419"/>
                  <a:gd name="connsiteY261" fmla="*/ 22860 h 525779"/>
                  <a:gd name="connsiteX262" fmla="*/ 203835 w 312419"/>
                  <a:gd name="connsiteY262" fmla="*/ 25718 h 525779"/>
                  <a:gd name="connsiteX263" fmla="*/ 206692 w 312419"/>
                  <a:gd name="connsiteY263" fmla="*/ 28575 h 525779"/>
                  <a:gd name="connsiteX264" fmla="*/ 212407 w 312419"/>
                  <a:gd name="connsiteY264" fmla="*/ 35243 h 525779"/>
                  <a:gd name="connsiteX265" fmla="*/ 218122 w 312419"/>
                  <a:gd name="connsiteY265" fmla="*/ 42863 h 525779"/>
                  <a:gd name="connsiteX266" fmla="*/ 223838 w 312419"/>
                  <a:gd name="connsiteY266" fmla="*/ 51435 h 525779"/>
                  <a:gd name="connsiteX267" fmla="*/ 229552 w 312419"/>
                  <a:gd name="connsiteY267" fmla="*/ 60960 h 525779"/>
                  <a:gd name="connsiteX268" fmla="*/ 232410 w 312419"/>
                  <a:gd name="connsiteY268" fmla="*/ 60960 h 525779"/>
                  <a:gd name="connsiteX269" fmla="*/ 232410 w 312419"/>
                  <a:gd name="connsiteY269" fmla="*/ 58103 h 525779"/>
                  <a:gd name="connsiteX270" fmla="*/ 233363 w 312419"/>
                  <a:gd name="connsiteY270" fmla="*/ 53340 h 525779"/>
                  <a:gd name="connsiteX271" fmla="*/ 233363 w 312419"/>
                  <a:gd name="connsiteY271" fmla="*/ 48578 h 525779"/>
                  <a:gd name="connsiteX272" fmla="*/ 233363 w 312419"/>
                  <a:gd name="connsiteY272" fmla="*/ 42863 h 525779"/>
                  <a:gd name="connsiteX273" fmla="*/ 233363 w 312419"/>
                  <a:gd name="connsiteY273" fmla="*/ 37148 h 525779"/>
                  <a:gd name="connsiteX274" fmla="*/ 233363 w 312419"/>
                  <a:gd name="connsiteY274" fmla="*/ 31433 h 525779"/>
                  <a:gd name="connsiteX275" fmla="*/ 233363 w 312419"/>
                  <a:gd name="connsiteY275" fmla="*/ 25718 h 525779"/>
                  <a:gd name="connsiteX276" fmla="*/ 234315 w 312419"/>
                  <a:gd name="connsiteY276" fmla="*/ 20955 h 525779"/>
                  <a:gd name="connsiteX277" fmla="*/ 234315 w 312419"/>
                  <a:gd name="connsiteY277" fmla="*/ 17145 h 525779"/>
                  <a:gd name="connsiteX278" fmla="*/ 234315 w 312419"/>
                  <a:gd name="connsiteY278" fmla="*/ 12383 h 525779"/>
                  <a:gd name="connsiteX279" fmla="*/ 234315 w 312419"/>
                  <a:gd name="connsiteY279" fmla="*/ 8573 h 525779"/>
                  <a:gd name="connsiteX280" fmla="*/ 234315 w 312419"/>
                  <a:gd name="connsiteY280" fmla="*/ 4763 h 525779"/>
                  <a:gd name="connsiteX281" fmla="*/ 312420 w 312419"/>
                  <a:gd name="connsiteY281" fmla="*/ 4763 h 525779"/>
                  <a:gd name="connsiteX282" fmla="*/ 311467 w 312419"/>
                  <a:gd name="connsiteY282" fmla="*/ 14288 h 525779"/>
                  <a:gd name="connsiteX283" fmla="*/ 310515 w 312419"/>
                  <a:gd name="connsiteY283" fmla="*/ 22860 h 525779"/>
                  <a:gd name="connsiteX284" fmla="*/ 310515 w 312419"/>
                  <a:gd name="connsiteY284" fmla="*/ 30480 h 525779"/>
                  <a:gd name="connsiteX285" fmla="*/ 310515 w 312419"/>
                  <a:gd name="connsiteY285" fmla="*/ 38100 h 525779"/>
                  <a:gd name="connsiteX286" fmla="*/ 310515 w 312419"/>
                  <a:gd name="connsiteY286" fmla="*/ 44768 h 525779"/>
                  <a:gd name="connsiteX287" fmla="*/ 310515 w 312419"/>
                  <a:gd name="connsiteY287" fmla="*/ 51435 h 525779"/>
                  <a:gd name="connsiteX288" fmla="*/ 310515 w 312419"/>
                  <a:gd name="connsiteY288" fmla="*/ 55245 h 525779"/>
                  <a:gd name="connsiteX289" fmla="*/ 310515 w 312419"/>
                  <a:gd name="connsiteY289" fmla="*/ 60008 h 525779"/>
                  <a:gd name="connsiteX290" fmla="*/ 310515 w 312419"/>
                  <a:gd name="connsiteY290" fmla="*/ 329565 h 525779"/>
                  <a:gd name="connsiteX291" fmla="*/ 310515 w 312419"/>
                  <a:gd name="connsiteY291" fmla="*/ 340995 h 525779"/>
                  <a:gd name="connsiteX292" fmla="*/ 310515 w 312419"/>
                  <a:gd name="connsiteY292" fmla="*/ 352425 h 525779"/>
                  <a:gd name="connsiteX293" fmla="*/ 309563 w 312419"/>
                  <a:gd name="connsiteY293" fmla="*/ 362903 h 525779"/>
                  <a:gd name="connsiteX294" fmla="*/ 308610 w 312419"/>
                  <a:gd name="connsiteY294" fmla="*/ 373380 h 525779"/>
                  <a:gd name="connsiteX295" fmla="*/ 302895 w 312419"/>
                  <a:gd name="connsiteY295" fmla="*/ 383858 h 525779"/>
                  <a:gd name="connsiteX296" fmla="*/ 300990 w 312419"/>
                  <a:gd name="connsiteY296" fmla="*/ 393383 h 525779"/>
                  <a:gd name="connsiteX297" fmla="*/ 299085 w 312419"/>
                  <a:gd name="connsiteY297" fmla="*/ 402908 h 525779"/>
                  <a:gd name="connsiteX298" fmla="*/ 296227 w 312419"/>
                  <a:gd name="connsiteY298" fmla="*/ 412433 h 525779"/>
                  <a:gd name="connsiteX299" fmla="*/ 293370 w 312419"/>
                  <a:gd name="connsiteY299" fmla="*/ 421005 h 525779"/>
                  <a:gd name="connsiteX300" fmla="*/ 290513 w 312419"/>
                  <a:gd name="connsiteY300" fmla="*/ 429578 h 525779"/>
                  <a:gd name="connsiteX301" fmla="*/ 287655 w 312419"/>
                  <a:gd name="connsiteY301" fmla="*/ 438150 h 525779"/>
                  <a:gd name="connsiteX302" fmla="*/ 283845 w 312419"/>
                  <a:gd name="connsiteY302" fmla="*/ 446723 h 525779"/>
                  <a:gd name="connsiteX303" fmla="*/ 280035 w 312419"/>
                  <a:gd name="connsiteY303" fmla="*/ 454342 h 525779"/>
                  <a:gd name="connsiteX304" fmla="*/ 276225 w 312419"/>
                  <a:gd name="connsiteY304" fmla="*/ 461963 h 525779"/>
                  <a:gd name="connsiteX305" fmla="*/ 272415 w 312419"/>
                  <a:gd name="connsiteY305" fmla="*/ 468630 h 525779"/>
                  <a:gd name="connsiteX306" fmla="*/ 267652 w 312419"/>
                  <a:gd name="connsiteY306" fmla="*/ 475298 h 525779"/>
                  <a:gd name="connsiteX307" fmla="*/ 262890 w 312419"/>
                  <a:gd name="connsiteY307" fmla="*/ 481013 h 525779"/>
                  <a:gd name="connsiteX308" fmla="*/ 258127 w 312419"/>
                  <a:gd name="connsiteY308" fmla="*/ 486728 h 525779"/>
                  <a:gd name="connsiteX309" fmla="*/ 252413 w 312419"/>
                  <a:gd name="connsiteY309" fmla="*/ 492442 h 525779"/>
                  <a:gd name="connsiteX310" fmla="*/ 245745 w 312419"/>
                  <a:gd name="connsiteY310" fmla="*/ 497205 h 525779"/>
                  <a:gd name="connsiteX311" fmla="*/ 239077 w 312419"/>
                  <a:gd name="connsiteY311" fmla="*/ 501967 h 525779"/>
                  <a:gd name="connsiteX312" fmla="*/ 232410 w 312419"/>
                  <a:gd name="connsiteY312" fmla="*/ 505778 h 525779"/>
                  <a:gd name="connsiteX313" fmla="*/ 224790 w 312419"/>
                  <a:gd name="connsiteY313" fmla="*/ 509588 h 525779"/>
                  <a:gd name="connsiteX314" fmla="*/ 217170 w 312419"/>
                  <a:gd name="connsiteY314" fmla="*/ 513398 h 525779"/>
                  <a:gd name="connsiteX315" fmla="*/ 208597 w 312419"/>
                  <a:gd name="connsiteY315" fmla="*/ 516255 h 525779"/>
                  <a:gd name="connsiteX316" fmla="*/ 200025 w 312419"/>
                  <a:gd name="connsiteY316" fmla="*/ 519113 h 525779"/>
                  <a:gd name="connsiteX317" fmla="*/ 191452 w 312419"/>
                  <a:gd name="connsiteY317" fmla="*/ 521017 h 525779"/>
                  <a:gd name="connsiteX318" fmla="*/ 181927 w 312419"/>
                  <a:gd name="connsiteY318" fmla="*/ 522923 h 525779"/>
                  <a:gd name="connsiteX319" fmla="*/ 171450 w 312419"/>
                  <a:gd name="connsiteY319" fmla="*/ 523875 h 525779"/>
                  <a:gd name="connsiteX320" fmla="*/ 160972 w 312419"/>
                  <a:gd name="connsiteY320" fmla="*/ 524828 h 525779"/>
                  <a:gd name="connsiteX321" fmla="*/ 150495 w 312419"/>
                  <a:gd name="connsiteY321" fmla="*/ 525780 h 525779"/>
                  <a:gd name="connsiteX322" fmla="*/ 140970 w 312419"/>
                  <a:gd name="connsiteY322" fmla="*/ 525780 h 525779"/>
                  <a:gd name="connsiteX323" fmla="*/ 131445 w 312419"/>
                  <a:gd name="connsiteY323" fmla="*/ 525780 h 525779"/>
                  <a:gd name="connsiteX324" fmla="*/ 122872 w 312419"/>
                  <a:gd name="connsiteY324" fmla="*/ 525780 h 525779"/>
                  <a:gd name="connsiteX325" fmla="*/ 114300 w 312419"/>
                  <a:gd name="connsiteY325" fmla="*/ 525780 h 525779"/>
                  <a:gd name="connsiteX326" fmla="*/ 105727 w 312419"/>
                  <a:gd name="connsiteY326" fmla="*/ 524828 h 525779"/>
                  <a:gd name="connsiteX327" fmla="*/ 97155 w 312419"/>
                  <a:gd name="connsiteY327" fmla="*/ 523875 h 525779"/>
                  <a:gd name="connsiteX328" fmla="*/ 89535 w 312419"/>
                  <a:gd name="connsiteY328" fmla="*/ 521970 h 525779"/>
                  <a:gd name="connsiteX329" fmla="*/ 81915 w 312419"/>
                  <a:gd name="connsiteY329" fmla="*/ 521017 h 525779"/>
                  <a:gd name="connsiteX330" fmla="*/ 74295 w 312419"/>
                  <a:gd name="connsiteY330" fmla="*/ 519113 h 525779"/>
                  <a:gd name="connsiteX331" fmla="*/ 66675 w 312419"/>
                  <a:gd name="connsiteY331" fmla="*/ 517208 h 525779"/>
                  <a:gd name="connsiteX332" fmla="*/ 59055 w 312419"/>
                  <a:gd name="connsiteY332" fmla="*/ 515303 h 525779"/>
                  <a:gd name="connsiteX333" fmla="*/ 51435 w 312419"/>
                  <a:gd name="connsiteY333" fmla="*/ 513398 h 525779"/>
                  <a:gd name="connsiteX334" fmla="*/ 44767 w 312419"/>
                  <a:gd name="connsiteY334" fmla="*/ 511492 h 525779"/>
                  <a:gd name="connsiteX335" fmla="*/ 38100 w 312419"/>
                  <a:gd name="connsiteY335" fmla="*/ 509588 h 525779"/>
                  <a:gd name="connsiteX336" fmla="*/ 31432 w 312419"/>
                  <a:gd name="connsiteY336" fmla="*/ 507683 h 525779"/>
                  <a:gd name="connsiteX337" fmla="*/ 24765 w 312419"/>
                  <a:gd name="connsiteY337" fmla="*/ 505778 h 525779"/>
                  <a:gd name="connsiteX338" fmla="*/ 17145 w 312419"/>
                  <a:gd name="connsiteY338" fmla="*/ 502920 h 525779"/>
                  <a:gd name="connsiteX339" fmla="*/ 17145 w 312419"/>
                  <a:gd name="connsiteY339" fmla="*/ 502920 h 525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</a:cxnLst>
                <a:rect l="l" t="t" r="r" b="b"/>
                <a:pathLst>
                  <a:path w="312419" h="525779">
                    <a:moveTo>
                      <a:pt x="88582" y="183833"/>
                    </a:moveTo>
                    <a:lnTo>
                      <a:pt x="88582" y="198120"/>
                    </a:lnTo>
                    <a:lnTo>
                      <a:pt x="89535" y="211455"/>
                    </a:lnTo>
                    <a:lnTo>
                      <a:pt x="90488" y="223838"/>
                    </a:lnTo>
                    <a:lnTo>
                      <a:pt x="92392" y="236220"/>
                    </a:lnTo>
                    <a:lnTo>
                      <a:pt x="93345" y="241935"/>
                    </a:lnTo>
                    <a:lnTo>
                      <a:pt x="94297" y="247650"/>
                    </a:lnTo>
                    <a:lnTo>
                      <a:pt x="95250" y="253365"/>
                    </a:lnTo>
                    <a:lnTo>
                      <a:pt x="96202" y="258128"/>
                    </a:lnTo>
                    <a:lnTo>
                      <a:pt x="97155" y="262890"/>
                    </a:lnTo>
                    <a:lnTo>
                      <a:pt x="99060" y="266700"/>
                    </a:lnTo>
                    <a:lnTo>
                      <a:pt x="100965" y="270510"/>
                    </a:lnTo>
                    <a:lnTo>
                      <a:pt x="102870" y="274320"/>
                    </a:lnTo>
                    <a:lnTo>
                      <a:pt x="104775" y="278130"/>
                    </a:lnTo>
                    <a:lnTo>
                      <a:pt x="106680" y="281940"/>
                    </a:lnTo>
                    <a:lnTo>
                      <a:pt x="109538" y="284798"/>
                    </a:lnTo>
                    <a:lnTo>
                      <a:pt x="111442" y="287655"/>
                    </a:lnTo>
                    <a:lnTo>
                      <a:pt x="114300" y="290513"/>
                    </a:lnTo>
                    <a:lnTo>
                      <a:pt x="117157" y="293370"/>
                    </a:lnTo>
                    <a:lnTo>
                      <a:pt x="120015" y="296228"/>
                    </a:lnTo>
                    <a:lnTo>
                      <a:pt x="122872" y="298133"/>
                    </a:lnTo>
                    <a:lnTo>
                      <a:pt x="125730" y="300038"/>
                    </a:lnTo>
                    <a:lnTo>
                      <a:pt x="128588" y="301942"/>
                    </a:lnTo>
                    <a:lnTo>
                      <a:pt x="131445" y="302895"/>
                    </a:lnTo>
                    <a:lnTo>
                      <a:pt x="134302" y="303848"/>
                    </a:lnTo>
                    <a:lnTo>
                      <a:pt x="137160" y="304800"/>
                    </a:lnTo>
                    <a:lnTo>
                      <a:pt x="140017" y="305753"/>
                    </a:lnTo>
                    <a:lnTo>
                      <a:pt x="142875" y="305753"/>
                    </a:lnTo>
                    <a:lnTo>
                      <a:pt x="145732" y="305753"/>
                    </a:lnTo>
                    <a:lnTo>
                      <a:pt x="150495" y="305753"/>
                    </a:lnTo>
                    <a:lnTo>
                      <a:pt x="155257" y="305753"/>
                    </a:lnTo>
                    <a:lnTo>
                      <a:pt x="160020" y="305753"/>
                    </a:lnTo>
                    <a:lnTo>
                      <a:pt x="164782" y="304800"/>
                    </a:lnTo>
                    <a:lnTo>
                      <a:pt x="168592" y="303848"/>
                    </a:lnTo>
                    <a:lnTo>
                      <a:pt x="172402" y="302895"/>
                    </a:lnTo>
                    <a:lnTo>
                      <a:pt x="176213" y="300990"/>
                    </a:lnTo>
                    <a:lnTo>
                      <a:pt x="180022" y="299085"/>
                    </a:lnTo>
                    <a:lnTo>
                      <a:pt x="183832" y="297180"/>
                    </a:lnTo>
                    <a:lnTo>
                      <a:pt x="186690" y="295275"/>
                    </a:lnTo>
                    <a:lnTo>
                      <a:pt x="190500" y="292417"/>
                    </a:lnTo>
                    <a:lnTo>
                      <a:pt x="193357" y="289560"/>
                    </a:lnTo>
                    <a:lnTo>
                      <a:pt x="196215" y="286703"/>
                    </a:lnTo>
                    <a:lnTo>
                      <a:pt x="199072" y="283845"/>
                    </a:lnTo>
                    <a:lnTo>
                      <a:pt x="201930" y="280035"/>
                    </a:lnTo>
                    <a:lnTo>
                      <a:pt x="204788" y="276225"/>
                    </a:lnTo>
                    <a:lnTo>
                      <a:pt x="206692" y="272415"/>
                    </a:lnTo>
                    <a:lnTo>
                      <a:pt x="208597" y="268605"/>
                    </a:lnTo>
                    <a:lnTo>
                      <a:pt x="210502" y="263842"/>
                    </a:lnTo>
                    <a:lnTo>
                      <a:pt x="212407" y="259080"/>
                    </a:lnTo>
                    <a:lnTo>
                      <a:pt x="213360" y="254317"/>
                    </a:lnTo>
                    <a:lnTo>
                      <a:pt x="214313" y="249555"/>
                    </a:lnTo>
                    <a:lnTo>
                      <a:pt x="215265" y="243840"/>
                    </a:lnTo>
                    <a:lnTo>
                      <a:pt x="217170" y="238125"/>
                    </a:lnTo>
                    <a:lnTo>
                      <a:pt x="219075" y="225742"/>
                    </a:lnTo>
                    <a:lnTo>
                      <a:pt x="220980" y="212408"/>
                    </a:lnTo>
                    <a:lnTo>
                      <a:pt x="221932" y="198120"/>
                    </a:lnTo>
                    <a:lnTo>
                      <a:pt x="221932" y="182880"/>
                    </a:lnTo>
                    <a:lnTo>
                      <a:pt x="221932" y="168593"/>
                    </a:lnTo>
                    <a:lnTo>
                      <a:pt x="220980" y="155258"/>
                    </a:lnTo>
                    <a:lnTo>
                      <a:pt x="220027" y="148590"/>
                    </a:lnTo>
                    <a:lnTo>
                      <a:pt x="219075" y="142875"/>
                    </a:lnTo>
                    <a:lnTo>
                      <a:pt x="218122" y="137160"/>
                    </a:lnTo>
                    <a:lnTo>
                      <a:pt x="217170" y="131445"/>
                    </a:lnTo>
                    <a:lnTo>
                      <a:pt x="216217" y="125730"/>
                    </a:lnTo>
                    <a:lnTo>
                      <a:pt x="214313" y="120968"/>
                    </a:lnTo>
                    <a:lnTo>
                      <a:pt x="212407" y="116205"/>
                    </a:lnTo>
                    <a:lnTo>
                      <a:pt x="210502" y="111443"/>
                    </a:lnTo>
                    <a:lnTo>
                      <a:pt x="208597" y="106680"/>
                    </a:lnTo>
                    <a:lnTo>
                      <a:pt x="206692" y="102870"/>
                    </a:lnTo>
                    <a:lnTo>
                      <a:pt x="204788" y="99060"/>
                    </a:lnTo>
                    <a:lnTo>
                      <a:pt x="201930" y="95250"/>
                    </a:lnTo>
                    <a:lnTo>
                      <a:pt x="200025" y="91440"/>
                    </a:lnTo>
                    <a:lnTo>
                      <a:pt x="197167" y="88583"/>
                    </a:lnTo>
                    <a:lnTo>
                      <a:pt x="194310" y="85725"/>
                    </a:lnTo>
                    <a:lnTo>
                      <a:pt x="191452" y="82868"/>
                    </a:lnTo>
                    <a:lnTo>
                      <a:pt x="188595" y="80010"/>
                    </a:lnTo>
                    <a:lnTo>
                      <a:pt x="185738" y="77153"/>
                    </a:lnTo>
                    <a:lnTo>
                      <a:pt x="182880" y="75248"/>
                    </a:lnTo>
                    <a:lnTo>
                      <a:pt x="180022" y="73343"/>
                    </a:lnTo>
                    <a:lnTo>
                      <a:pt x="177165" y="71438"/>
                    </a:lnTo>
                    <a:lnTo>
                      <a:pt x="173355" y="70485"/>
                    </a:lnTo>
                    <a:lnTo>
                      <a:pt x="169545" y="69533"/>
                    </a:lnTo>
                    <a:lnTo>
                      <a:pt x="165735" y="68580"/>
                    </a:lnTo>
                    <a:lnTo>
                      <a:pt x="161925" y="67628"/>
                    </a:lnTo>
                    <a:lnTo>
                      <a:pt x="158115" y="66675"/>
                    </a:lnTo>
                    <a:lnTo>
                      <a:pt x="154305" y="66675"/>
                    </a:lnTo>
                    <a:lnTo>
                      <a:pt x="150495" y="66675"/>
                    </a:lnTo>
                    <a:lnTo>
                      <a:pt x="146685" y="66675"/>
                    </a:lnTo>
                    <a:lnTo>
                      <a:pt x="142875" y="66675"/>
                    </a:lnTo>
                    <a:lnTo>
                      <a:pt x="139065" y="67628"/>
                    </a:lnTo>
                    <a:lnTo>
                      <a:pt x="135255" y="68580"/>
                    </a:lnTo>
                    <a:lnTo>
                      <a:pt x="131445" y="69533"/>
                    </a:lnTo>
                    <a:lnTo>
                      <a:pt x="127635" y="70485"/>
                    </a:lnTo>
                    <a:lnTo>
                      <a:pt x="124777" y="72390"/>
                    </a:lnTo>
                    <a:lnTo>
                      <a:pt x="121920" y="74295"/>
                    </a:lnTo>
                    <a:lnTo>
                      <a:pt x="119063" y="76200"/>
                    </a:lnTo>
                    <a:lnTo>
                      <a:pt x="116205" y="79058"/>
                    </a:lnTo>
                    <a:lnTo>
                      <a:pt x="113347" y="81915"/>
                    </a:lnTo>
                    <a:lnTo>
                      <a:pt x="110490" y="84773"/>
                    </a:lnTo>
                    <a:lnTo>
                      <a:pt x="107632" y="87630"/>
                    </a:lnTo>
                    <a:lnTo>
                      <a:pt x="105727" y="90488"/>
                    </a:lnTo>
                    <a:lnTo>
                      <a:pt x="103822" y="94298"/>
                    </a:lnTo>
                    <a:lnTo>
                      <a:pt x="101917" y="98108"/>
                    </a:lnTo>
                    <a:lnTo>
                      <a:pt x="100013" y="101918"/>
                    </a:lnTo>
                    <a:lnTo>
                      <a:pt x="98107" y="105728"/>
                    </a:lnTo>
                    <a:lnTo>
                      <a:pt x="96202" y="109538"/>
                    </a:lnTo>
                    <a:lnTo>
                      <a:pt x="95250" y="114300"/>
                    </a:lnTo>
                    <a:lnTo>
                      <a:pt x="92392" y="123825"/>
                    </a:lnTo>
                    <a:lnTo>
                      <a:pt x="90488" y="134303"/>
                    </a:lnTo>
                    <a:lnTo>
                      <a:pt x="88582" y="145733"/>
                    </a:lnTo>
                    <a:lnTo>
                      <a:pt x="87630" y="158115"/>
                    </a:lnTo>
                    <a:lnTo>
                      <a:pt x="86677" y="171450"/>
                    </a:lnTo>
                    <a:lnTo>
                      <a:pt x="88582" y="183833"/>
                    </a:lnTo>
                    <a:lnTo>
                      <a:pt x="88582" y="183833"/>
                    </a:lnTo>
                    <a:close/>
                    <a:moveTo>
                      <a:pt x="17145" y="502920"/>
                    </a:moveTo>
                    <a:lnTo>
                      <a:pt x="21907" y="424815"/>
                    </a:lnTo>
                    <a:lnTo>
                      <a:pt x="28575" y="428625"/>
                    </a:lnTo>
                    <a:lnTo>
                      <a:pt x="35242" y="432435"/>
                    </a:lnTo>
                    <a:lnTo>
                      <a:pt x="41910" y="435292"/>
                    </a:lnTo>
                    <a:lnTo>
                      <a:pt x="48577" y="438150"/>
                    </a:lnTo>
                    <a:lnTo>
                      <a:pt x="55245" y="441008"/>
                    </a:lnTo>
                    <a:lnTo>
                      <a:pt x="61913" y="443865"/>
                    </a:lnTo>
                    <a:lnTo>
                      <a:pt x="68580" y="445770"/>
                    </a:lnTo>
                    <a:lnTo>
                      <a:pt x="75247" y="447675"/>
                    </a:lnTo>
                    <a:lnTo>
                      <a:pt x="81915" y="449580"/>
                    </a:lnTo>
                    <a:lnTo>
                      <a:pt x="88582" y="451485"/>
                    </a:lnTo>
                    <a:lnTo>
                      <a:pt x="95250" y="452438"/>
                    </a:lnTo>
                    <a:lnTo>
                      <a:pt x="101917" y="453390"/>
                    </a:lnTo>
                    <a:lnTo>
                      <a:pt x="108585" y="454342"/>
                    </a:lnTo>
                    <a:lnTo>
                      <a:pt x="115252" y="455295"/>
                    </a:lnTo>
                    <a:lnTo>
                      <a:pt x="121920" y="455295"/>
                    </a:lnTo>
                    <a:lnTo>
                      <a:pt x="128588" y="455295"/>
                    </a:lnTo>
                    <a:lnTo>
                      <a:pt x="138113" y="455295"/>
                    </a:lnTo>
                    <a:lnTo>
                      <a:pt x="146685" y="454342"/>
                    </a:lnTo>
                    <a:lnTo>
                      <a:pt x="155257" y="453390"/>
                    </a:lnTo>
                    <a:lnTo>
                      <a:pt x="162877" y="451485"/>
                    </a:lnTo>
                    <a:lnTo>
                      <a:pt x="169545" y="449580"/>
                    </a:lnTo>
                    <a:lnTo>
                      <a:pt x="176213" y="446723"/>
                    </a:lnTo>
                    <a:lnTo>
                      <a:pt x="179070" y="445770"/>
                    </a:lnTo>
                    <a:lnTo>
                      <a:pt x="181927" y="443865"/>
                    </a:lnTo>
                    <a:lnTo>
                      <a:pt x="184785" y="441960"/>
                    </a:lnTo>
                    <a:lnTo>
                      <a:pt x="187642" y="440055"/>
                    </a:lnTo>
                    <a:lnTo>
                      <a:pt x="192405" y="436245"/>
                    </a:lnTo>
                    <a:lnTo>
                      <a:pt x="197167" y="432435"/>
                    </a:lnTo>
                    <a:lnTo>
                      <a:pt x="200977" y="427673"/>
                    </a:lnTo>
                    <a:lnTo>
                      <a:pt x="204788" y="422910"/>
                    </a:lnTo>
                    <a:lnTo>
                      <a:pt x="207645" y="417195"/>
                    </a:lnTo>
                    <a:lnTo>
                      <a:pt x="210502" y="411480"/>
                    </a:lnTo>
                    <a:lnTo>
                      <a:pt x="213360" y="405765"/>
                    </a:lnTo>
                    <a:lnTo>
                      <a:pt x="215265" y="399098"/>
                    </a:lnTo>
                    <a:lnTo>
                      <a:pt x="217170" y="392430"/>
                    </a:lnTo>
                    <a:lnTo>
                      <a:pt x="219075" y="385763"/>
                    </a:lnTo>
                    <a:lnTo>
                      <a:pt x="220027" y="379095"/>
                    </a:lnTo>
                    <a:lnTo>
                      <a:pt x="220980" y="372428"/>
                    </a:lnTo>
                    <a:lnTo>
                      <a:pt x="221932" y="364808"/>
                    </a:lnTo>
                    <a:lnTo>
                      <a:pt x="221932" y="357188"/>
                    </a:lnTo>
                    <a:lnTo>
                      <a:pt x="221932" y="348615"/>
                    </a:lnTo>
                    <a:lnTo>
                      <a:pt x="221932" y="340042"/>
                    </a:lnTo>
                    <a:lnTo>
                      <a:pt x="221932" y="307658"/>
                    </a:lnTo>
                    <a:lnTo>
                      <a:pt x="220980" y="307658"/>
                    </a:lnTo>
                    <a:lnTo>
                      <a:pt x="217170" y="314325"/>
                    </a:lnTo>
                    <a:lnTo>
                      <a:pt x="213360" y="320040"/>
                    </a:lnTo>
                    <a:lnTo>
                      <a:pt x="209550" y="325755"/>
                    </a:lnTo>
                    <a:lnTo>
                      <a:pt x="205740" y="331470"/>
                    </a:lnTo>
                    <a:lnTo>
                      <a:pt x="200977" y="337185"/>
                    </a:lnTo>
                    <a:lnTo>
                      <a:pt x="196215" y="341948"/>
                    </a:lnTo>
                    <a:lnTo>
                      <a:pt x="190500" y="346710"/>
                    </a:lnTo>
                    <a:lnTo>
                      <a:pt x="184785" y="350520"/>
                    </a:lnTo>
                    <a:lnTo>
                      <a:pt x="181927" y="352425"/>
                    </a:lnTo>
                    <a:lnTo>
                      <a:pt x="179070" y="354330"/>
                    </a:lnTo>
                    <a:lnTo>
                      <a:pt x="176213" y="356235"/>
                    </a:lnTo>
                    <a:lnTo>
                      <a:pt x="173355" y="358140"/>
                    </a:lnTo>
                    <a:lnTo>
                      <a:pt x="169545" y="360045"/>
                    </a:lnTo>
                    <a:lnTo>
                      <a:pt x="165735" y="361950"/>
                    </a:lnTo>
                    <a:lnTo>
                      <a:pt x="161925" y="362903"/>
                    </a:lnTo>
                    <a:lnTo>
                      <a:pt x="160020" y="364808"/>
                    </a:lnTo>
                    <a:lnTo>
                      <a:pt x="151447" y="366713"/>
                    </a:lnTo>
                    <a:lnTo>
                      <a:pt x="142875" y="367665"/>
                    </a:lnTo>
                    <a:lnTo>
                      <a:pt x="134302" y="368617"/>
                    </a:lnTo>
                    <a:lnTo>
                      <a:pt x="124777" y="368617"/>
                    </a:lnTo>
                    <a:lnTo>
                      <a:pt x="120015" y="368617"/>
                    </a:lnTo>
                    <a:lnTo>
                      <a:pt x="114300" y="366713"/>
                    </a:lnTo>
                    <a:lnTo>
                      <a:pt x="108585" y="366713"/>
                    </a:lnTo>
                    <a:lnTo>
                      <a:pt x="103822" y="365760"/>
                    </a:lnTo>
                    <a:lnTo>
                      <a:pt x="98107" y="364808"/>
                    </a:lnTo>
                    <a:lnTo>
                      <a:pt x="92392" y="362903"/>
                    </a:lnTo>
                    <a:lnTo>
                      <a:pt x="87630" y="361950"/>
                    </a:lnTo>
                    <a:lnTo>
                      <a:pt x="81915" y="360045"/>
                    </a:lnTo>
                    <a:lnTo>
                      <a:pt x="76200" y="357188"/>
                    </a:lnTo>
                    <a:lnTo>
                      <a:pt x="70485" y="354330"/>
                    </a:lnTo>
                    <a:lnTo>
                      <a:pt x="64770" y="351473"/>
                    </a:lnTo>
                    <a:lnTo>
                      <a:pt x="59055" y="348615"/>
                    </a:lnTo>
                    <a:lnTo>
                      <a:pt x="54292" y="344805"/>
                    </a:lnTo>
                    <a:lnTo>
                      <a:pt x="49530" y="340995"/>
                    </a:lnTo>
                    <a:lnTo>
                      <a:pt x="44767" y="337185"/>
                    </a:lnTo>
                    <a:lnTo>
                      <a:pt x="40005" y="332423"/>
                    </a:lnTo>
                    <a:lnTo>
                      <a:pt x="36195" y="326708"/>
                    </a:lnTo>
                    <a:lnTo>
                      <a:pt x="32385" y="320992"/>
                    </a:lnTo>
                    <a:lnTo>
                      <a:pt x="27622" y="314325"/>
                    </a:lnTo>
                    <a:lnTo>
                      <a:pt x="23813" y="307658"/>
                    </a:lnTo>
                    <a:lnTo>
                      <a:pt x="20002" y="300038"/>
                    </a:lnTo>
                    <a:lnTo>
                      <a:pt x="16192" y="292417"/>
                    </a:lnTo>
                    <a:lnTo>
                      <a:pt x="13335" y="283845"/>
                    </a:lnTo>
                    <a:lnTo>
                      <a:pt x="10477" y="275273"/>
                    </a:lnTo>
                    <a:lnTo>
                      <a:pt x="7620" y="265748"/>
                    </a:lnTo>
                    <a:lnTo>
                      <a:pt x="4763" y="256223"/>
                    </a:lnTo>
                    <a:lnTo>
                      <a:pt x="2857" y="245745"/>
                    </a:lnTo>
                    <a:lnTo>
                      <a:pt x="1905" y="235267"/>
                    </a:lnTo>
                    <a:lnTo>
                      <a:pt x="952" y="224790"/>
                    </a:lnTo>
                    <a:lnTo>
                      <a:pt x="0" y="212408"/>
                    </a:lnTo>
                    <a:lnTo>
                      <a:pt x="0" y="200025"/>
                    </a:lnTo>
                    <a:lnTo>
                      <a:pt x="0" y="187643"/>
                    </a:lnTo>
                    <a:lnTo>
                      <a:pt x="0" y="174308"/>
                    </a:lnTo>
                    <a:lnTo>
                      <a:pt x="952" y="160973"/>
                    </a:lnTo>
                    <a:lnTo>
                      <a:pt x="1905" y="148590"/>
                    </a:lnTo>
                    <a:lnTo>
                      <a:pt x="2857" y="136208"/>
                    </a:lnTo>
                    <a:lnTo>
                      <a:pt x="4763" y="124778"/>
                    </a:lnTo>
                    <a:lnTo>
                      <a:pt x="7620" y="113348"/>
                    </a:lnTo>
                    <a:lnTo>
                      <a:pt x="10477" y="101918"/>
                    </a:lnTo>
                    <a:lnTo>
                      <a:pt x="13335" y="91440"/>
                    </a:lnTo>
                    <a:lnTo>
                      <a:pt x="17145" y="80963"/>
                    </a:lnTo>
                    <a:lnTo>
                      <a:pt x="20955" y="71438"/>
                    </a:lnTo>
                    <a:lnTo>
                      <a:pt x="25717" y="61913"/>
                    </a:lnTo>
                    <a:lnTo>
                      <a:pt x="31432" y="53340"/>
                    </a:lnTo>
                    <a:lnTo>
                      <a:pt x="34290" y="49530"/>
                    </a:lnTo>
                    <a:lnTo>
                      <a:pt x="37147" y="45720"/>
                    </a:lnTo>
                    <a:lnTo>
                      <a:pt x="40005" y="41910"/>
                    </a:lnTo>
                    <a:lnTo>
                      <a:pt x="42863" y="38100"/>
                    </a:lnTo>
                    <a:lnTo>
                      <a:pt x="45720" y="34290"/>
                    </a:lnTo>
                    <a:lnTo>
                      <a:pt x="49530" y="30480"/>
                    </a:lnTo>
                    <a:lnTo>
                      <a:pt x="53340" y="27623"/>
                    </a:lnTo>
                    <a:lnTo>
                      <a:pt x="57150" y="23813"/>
                    </a:lnTo>
                    <a:lnTo>
                      <a:pt x="60960" y="20955"/>
                    </a:lnTo>
                    <a:lnTo>
                      <a:pt x="64770" y="18098"/>
                    </a:lnTo>
                    <a:lnTo>
                      <a:pt x="68580" y="15240"/>
                    </a:lnTo>
                    <a:lnTo>
                      <a:pt x="72390" y="12383"/>
                    </a:lnTo>
                    <a:lnTo>
                      <a:pt x="77152" y="10478"/>
                    </a:lnTo>
                    <a:lnTo>
                      <a:pt x="80963" y="8573"/>
                    </a:lnTo>
                    <a:lnTo>
                      <a:pt x="85725" y="6668"/>
                    </a:lnTo>
                    <a:lnTo>
                      <a:pt x="90488" y="5715"/>
                    </a:lnTo>
                    <a:lnTo>
                      <a:pt x="95250" y="3810"/>
                    </a:lnTo>
                    <a:lnTo>
                      <a:pt x="100013" y="2858"/>
                    </a:lnTo>
                    <a:lnTo>
                      <a:pt x="105727" y="1905"/>
                    </a:lnTo>
                    <a:lnTo>
                      <a:pt x="110490" y="953"/>
                    </a:lnTo>
                    <a:lnTo>
                      <a:pt x="116205" y="0"/>
                    </a:lnTo>
                    <a:lnTo>
                      <a:pt x="121920" y="0"/>
                    </a:lnTo>
                    <a:lnTo>
                      <a:pt x="127635" y="0"/>
                    </a:lnTo>
                    <a:lnTo>
                      <a:pt x="133350" y="0"/>
                    </a:lnTo>
                    <a:lnTo>
                      <a:pt x="139065" y="0"/>
                    </a:lnTo>
                    <a:lnTo>
                      <a:pt x="144780" y="0"/>
                    </a:lnTo>
                    <a:lnTo>
                      <a:pt x="150495" y="953"/>
                    </a:lnTo>
                    <a:lnTo>
                      <a:pt x="156210" y="1905"/>
                    </a:lnTo>
                    <a:lnTo>
                      <a:pt x="161925" y="2858"/>
                    </a:lnTo>
                    <a:lnTo>
                      <a:pt x="167640" y="3810"/>
                    </a:lnTo>
                    <a:lnTo>
                      <a:pt x="172402" y="5715"/>
                    </a:lnTo>
                    <a:lnTo>
                      <a:pt x="177165" y="7620"/>
                    </a:lnTo>
                    <a:lnTo>
                      <a:pt x="181927" y="9525"/>
                    </a:lnTo>
                    <a:lnTo>
                      <a:pt x="185738" y="11430"/>
                    </a:lnTo>
                    <a:lnTo>
                      <a:pt x="189547" y="14288"/>
                    </a:lnTo>
                    <a:lnTo>
                      <a:pt x="193357" y="17145"/>
                    </a:lnTo>
                    <a:lnTo>
                      <a:pt x="197167" y="20003"/>
                    </a:lnTo>
                    <a:lnTo>
                      <a:pt x="200977" y="22860"/>
                    </a:lnTo>
                    <a:lnTo>
                      <a:pt x="203835" y="25718"/>
                    </a:lnTo>
                    <a:lnTo>
                      <a:pt x="206692" y="28575"/>
                    </a:lnTo>
                    <a:lnTo>
                      <a:pt x="212407" y="35243"/>
                    </a:lnTo>
                    <a:lnTo>
                      <a:pt x="218122" y="42863"/>
                    </a:lnTo>
                    <a:lnTo>
                      <a:pt x="223838" y="51435"/>
                    </a:lnTo>
                    <a:lnTo>
                      <a:pt x="229552" y="60960"/>
                    </a:lnTo>
                    <a:lnTo>
                      <a:pt x="232410" y="60960"/>
                    </a:lnTo>
                    <a:lnTo>
                      <a:pt x="232410" y="58103"/>
                    </a:lnTo>
                    <a:lnTo>
                      <a:pt x="233363" y="53340"/>
                    </a:lnTo>
                    <a:lnTo>
                      <a:pt x="233363" y="48578"/>
                    </a:lnTo>
                    <a:lnTo>
                      <a:pt x="233363" y="42863"/>
                    </a:lnTo>
                    <a:lnTo>
                      <a:pt x="233363" y="37148"/>
                    </a:lnTo>
                    <a:lnTo>
                      <a:pt x="233363" y="31433"/>
                    </a:lnTo>
                    <a:lnTo>
                      <a:pt x="233363" y="25718"/>
                    </a:lnTo>
                    <a:lnTo>
                      <a:pt x="234315" y="20955"/>
                    </a:lnTo>
                    <a:lnTo>
                      <a:pt x="234315" y="17145"/>
                    </a:lnTo>
                    <a:lnTo>
                      <a:pt x="234315" y="12383"/>
                    </a:lnTo>
                    <a:lnTo>
                      <a:pt x="234315" y="8573"/>
                    </a:lnTo>
                    <a:lnTo>
                      <a:pt x="234315" y="4763"/>
                    </a:lnTo>
                    <a:lnTo>
                      <a:pt x="312420" y="4763"/>
                    </a:lnTo>
                    <a:lnTo>
                      <a:pt x="311467" y="14288"/>
                    </a:lnTo>
                    <a:lnTo>
                      <a:pt x="310515" y="22860"/>
                    </a:lnTo>
                    <a:lnTo>
                      <a:pt x="310515" y="30480"/>
                    </a:lnTo>
                    <a:lnTo>
                      <a:pt x="310515" y="38100"/>
                    </a:lnTo>
                    <a:lnTo>
                      <a:pt x="310515" y="44768"/>
                    </a:lnTo>
                    <a:lnTo>
                      <a:pt x="310515" y="51435"/>
                    </a:lnTo>
                    <a:lnTo>
                      <a:pt x="310515" y="55245"/>
                    </a:lnTo>
                    <a:lnTo>
                      <a:pt x="310515" y="60008"/>
                    </a:lnTo>
                    <a:lnTo>
                      <a:pt x="310515" y="329565"/>
                    </a:lnTo>
                    <a:lnTo>
                      <a:pt x="310515" y="340995"/>
                    </a:lnTo>
                    <a:lnTo>
                      <a:pt x="310515" y="352425"/>
                    </a:lnTo>
                    <a:lnTo>
                      <a:pt x="309563" y="362903"/>
                    </a:lnTo>
                    <a:lnTo>
                      <a:pt x="308610" y="373380"/>
                    </a:lnTo>
                    <a:lnTo>
                      <a:pt x="302895" y="383858"/>
                    </a:lnTo>
                    <a:lnTo>
                      <a:pt x="300990" y="393383"/>
                    </a:lnTo>
                    <a:lnTo>
                      <a:pt x="299085" y="402908"/>
                    </a:lnTo>
                    <a:lnTo>
                      <a:pt x="296227" y="412433"/>
                    </a:lnTo>
                    <a:lnTo>
                      <a:pt x="293370" y="421005"/>
                    </a:lnTo>
                    <a:lnTo>
                      <a:pt x="290513" y="429578"/>
                    </a:lnTo>
                    <a:lnTo>
                      <a:pt x="287655" y="438150"/>
                    </a:lnTo>
                    <a:lnTo>
                      <a:pt x="283845" y="446723"/>
                    </a:lnTo>
                    <a:lnTo>
                      <a:pt x="280035" y="454342"/>
                    </a:lnTo>
                    <a:lnTo>
                      <a:pt x="276225" y="461963"/>
                    </a:lnTo>
                    <a:lnTo>
                      <a:pt x="272415" y="468630"/>
                    </a:lnTo>
                    <a:lnTo>
                      <a:pt x="267652" y="475298"/>
                    </a:lnTo>
                    <a:lnTo>
                      <a:pt x="262890" y="481013"/>
                    </a:lnTo>
                    <a:lnTo>
                      <a:pt x="258127" y="486728"/>
                    </a:lnTo>
                    <a:lnTo>
                      <a:pt x="252413" y="492442"/>
                    </a:lnTo>
                    <a:lnTo>
                      <a:pt x="245745" y="497205"/>
                    </a:lnTo>
                    <a:lnTo>
                      <a:pt x="239077" y="501967"/>
                    </a:lnTo>
                    <a:lnTo>
                      <a:pt x="232410" y="505778"/>
                    </a:lnTo>
                    <a:lnTo>
                      <a:pt x="224790" y="509588"/>
                    </a:lnTo>
                    <a:lnTo>
                      <a:pt x="217170" y="513398"/>
                    </a:lnTo>
                    <a:lnTo>
                      <a:pt x="208597" y="516255"/>
                    </a:lnTo>
                    <a:lnTo>
                      <a:pt x="200025" y="519113"/>
                    </a:lnTo>
                    <a:lnTo>
                      <a:pt x="191452" y="521017"/>
                    </a:lnTo>
                    <a:lnTo>
                      <a:pt x="181927" y="522923"/>
                    </a:lnTo>
                    <a:lnTo>
                      <a:pt x="171450" y="523875"/>
                    </a:lnTo>
                    <a:lnTo>
                      <a:pt x="160972" y="524828"/>
                    </a:lnTo>
                    <a:lnTo>
                      <a:pt x="150495" y="525780"/>
                    </a:lnTo>
                    <a:lnTo>
                      <a:pt x="140970" y="525780"/>
                    </a:lnTo>
                    <a:lnTo>
                      <a:pt x="131445" y="525780"/>
                    </a:lnTo>
                    <a:lnTo>
                      <a:pt x="122872" y="525780"/>
                    </a:lnTo>
                    <a:lnTo>
                      <a:pt x="114300" y="525780"/>
                    </a:lnTo>
                    <a:lnTo>
                      <a:pt x="105727" y="524828"/>
                    </a:lnTo>
                    <a:lnTo>
                      <a:pt x="97155" y="523875"/>
                    </a:lnTo>
                    <a:lnTo>
                      <a:pt x="89535" y="521970"/>
                    </a:lnTo>
                    <a:lnTo>
                      <a:pt x="81915" y="521017"/>
                    </a:lnTo>
                    <a:lnTo>
                      <a:pt x="74295" y="519113"/>
                    </a:lnTo>
                    <a:lnTo>
                      <a:pt x="66675" y="517208"/>
                    </a:lnTo>
                    <a:lnTo>
                      <a:pt x="59055" y="515303"/>
                    </a:lnTo>
                    <a:lnTo>
                      <a:pt x="51435" y="513398"/>
                    </a:lnTo>
                    <a:lnTo>
                      <a:pt x="44767" y="511492"/>
                    </a:lnTo>
                    <a:lnTo>
                      <a:pt x="38100" y="509588"/>
                    </a:lnTo>
                    <a:lnTo>
                      <a:pt x="31432" y="507683"/>
                    </a:lnTo>
                    <a:lnTo>
                      <a:pt x="24765" y="505778"/>
                    </a:lnTo>
                    <a:lnTo>
                      <a:pt x="17145" y="502920"/>
                    </a:lnTo>
                    <a:lnTo>
                      <a:pt x="17145" y="50292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64" name="Freeform 63">
                <a:extLst>
                  <a:ext uri="{FF2B5EF4-FFF2-40B4-BE49-F238E27FC236}">
                    <a16:creationId xmlns:a16="http://schemas.microsoft.com/office/drawing/2014/main" id="{5B04D5F6-C4B4-6169-C381-ACB02C95A50E}"/>
                  </a:ext>
                </a:extLst>
              </p:cNvPr>
              <p:cNvSpPr/>
              <p:nvPr/>
            </p:nvSpPr>
            <p:spPr>
              <a:xfrm>
                <a:off x="9119869" y="4809262"/>
                <a:ext cx="294322" cy="370522"/>
              </a:xfrm>
              <a:custGeom>
                <a:avLst/>
                <a:gdLst>
                  <a:gd name="connsiteX0" fmla="*/ 40958 w 294322"/>
                  <a:gd name="connsiteY0" fmla="*/ 96202 h 370522"/>
                  <a:gd name="connsiteX1" fmla="*/ 36195 w 294322"/>
                  <a:gd name="connsiteY1" fmla="*/ 25717 h 370522"/>
                  <a:gd name="connsiteX2" fmla="*/ 48578 w 294322"/>
                  <a:gd name="connsiteY2" fmla="*/ 20002 h 370522"/>
                  <a:gd name="connsiteX3" fmla="*/ 60960 w 294322"/>
                  <a:gd name="connsiteY3" fmla="*/ 14288 h 370522"/>
                  <a:gd name="connsiteX4" fmla="*/ 74295 w 294322"/>
                  <a:gd name="connsiteY4" fmla="*/ 9525 h 370522"/>
                  <a:gd name="connsiteX5" fmla="*/ 87630 w 294322"/>
                  <a:gd name="connsiteY5" fmla="*/ 5715 h 370522"/>
                  <a:gd name="connsiteX6" fmla="*/ 94298 w 294322"/>
                  <a:gd name="connsiteY6" fmla="*/ 3810 h 370522"/>
                  <a:gd name="connsiteX7" fmla="*/ 100965 w 294322"/>
                  <a:gd name="connsiteY7" fmla="*/ 2857 h 370522"/>
                  <a:gd name="connsiteX8" fmla="*/ 108585 w 294322"/>
                  <a:gd name="connsiteY8" fmla="*/ 1905 h 370522"/>
                  <a:gd name="connsiteX9" fmla="*/ 116205 w 294322"/>
                  <a:gd name="connsiteY9" fmla="*/ 952 h 370522"/>
                  <a:gd name="connsiteX10" fmla="*/ 123825 w 294322"/>
                  <a:gd name="connsiteY10" fmla="*/ 0 h 370522"/>
                  <a:gd name="connsiteX11" fmla="*/ 132398 w 294322"/>
                  <a:gd name="connsiteY11" fmla="*/ 0 h 370522"/>
                  <a:gd name="connsiteX12" fmla="*/ 140970 w 294322"/>
                  <a:gd name="connsiteY12" fmla="*/ 0 h 370522"/>
                  <a:gd name="connsiteX13" fmla="*/ 150495 w 294322"/>
                  <a:gd name="connsiteY13" fmla="*/ 0 h 370522"/>
                  <a:gd name="connsiteX14" fmla="*/ 163830 w 294322"/>
                  <a:gd name="connsiteY14" fmla="*/ 0 h 370522"/>
                  <a:gd name="connsiteX15" fmla="*/ 176213 w 294322"/>
                  <a:gd name="connsiteY15" fmla="*/ 952 h 370522"/>
                  <a:gd name="connsiteX16" fmla="*/ 187643 w 294322"/>
                  <a:gd name="connsiteY16" fmla="*/ 1905 h 370522"/>
                  <a:gd name="connsiteX17" fmla="*/ 199073 w 294322"/>
                  <a:gd name="connsiteY17" fmla="*/ 3810 h 370522"/>
                  <a:gd name="connsiteX18" fmla="*/ 209550 w 294322"/>
                  <a:gd name="connsiteY18" fmla="*/ 5715 h 370522"/>
                  <a:gd name="connsiteX19" fmla="*/ 219075 w 294322"/>
                  <a:gd name="connsiteY19" fmla="*/ 8572 h 370522"/>
                  <a:gd name="connsiteX20" fmla="*/ 223838 w 294322"/>
                  <a:gd name="connsiteY20" fmla="*/ 10477 h 370522"/>
                  <a:gd name="connsiteX21" fmla="*/ 227648 w 294322"/>
                  <a:gd name="connsiteY21" fmla="*/ 12382 h 370522"/>
                  <a:gd name="connsiteX22" fmla="*/ 231458 w 294322"/>
                  <a:gd name="connsiteY22" fmla="*/ 14288 h 370522"/>
                  <a:gd name="connsiteX23" fmla="*/ 235268 w 294322"/>
                  <a:gd name="connsiteY23" fmla="*/ 16192 h 370522"/>
                  <a:gd name="connsiteX24" fmla="*/ 242888 w 294322"/>
                  <a:gd name="connsiteY24" fmla="*/ 20955 h 370522"/>
                  <a:gd name="connsiteX25" fmla="*/ 249555 w 294322"/>
                  <a:gd name="connsiteY25" fmla="*/ 25717 h 370522"/>
                  <a:gd name="connsiteX26" fmla="*/ 252413 w 294322"/>
                  <a:gd name="connsiteY26" fmla="*/ 28575 h 370522"/>
                  <a:gd name="connsiteX27" fmla="*/ 255270 w 294322"/>
                  <a:gd name="connsiteY27" fmla="*/ 31432 h 370522"/>
                  <a:gd name="connsiteX28" fmla="*/ 258128 w 294322"/>
                  <a:gd name="connsiteY28" fmla="*/ 34290 h 370522"/>
                  <a:gd name="connsiteX29" fmla="*/ 260985 w 294322"/>
                  <a:gd name="connsiteY29" fmla="*/ 37147 h 370522"/>
                  <a:gd name="connsiteX30" fmla="*/ 263843 w 294322"/>
                  <a:gd name="connsiteY30" fmla="*/ 40005 h 370522"/>
                  <a:gd name="connsiteX31" fmla="*/ 266700 w 294322"/>
                  <a:gd name="connsiteY31" fmla="*/ 42863 h 370522"/>
                  <a:gd name="connsiteX32" fmla="*/ 269558 w 294322"/>
                  <a:gd name="connsiteY32" fmla="*/ 45720 h 370522"/>
                  <a:gd name="connsiteX33" fmla="*/ 271463 w 294322"/>
                  <a:gd name="connsiteY33" fmla="*/ 49530 h 370522"/>
                  <a:gd name="connsiteX34" fmla="*/ 273368 w 294322"/>
                  <a:gd name="connsiteY34" fmla="*/ 53340 h 370522"/>
                  <a:gd name="connsiteX35" fmla="*/ 275273 w 294322"/>
                  <a:gd name="connsiteY35" fmla="*/ 57150 h 370522"/>
                  <a:gd name="connsiteX36" fmla="*/ 277178 w 294322"/>
                  <a:gd name="connsiteY36" fmla="*/ 60960 h 370522"/>
                  <a:gd name="connsiteX37" fmla="*/ 278130 w 294322"/>
                  <a:gd name="connsiteY37" fmla="*/ 64770 h 370522"/>
                  <a:gd name="connsiteX38" fmla="*/ 280988 w 294322"/>
                  <a:gd name="connsiteY38" fmla="*/ 72390 h 370522"/>
                  <a:gd name="connsiteX39" fmla="*/ 283845 w 294322"/>
                  <a:gd name="connsiteY39" fmla="*/ 80963 h 370522"/>
                  <a:gd name="connsiteX40" fmla="*/ 285750 w 294322"/>
                  <a:gd name="connsiteY40" fmla="*/ 90488 h 370522"/>
                  <a:gd name="connsiteX41" fmla="*/ 287655 w 294322"/>
                  <a:gd name="connsiteY41" fmla="*/ 100013 h 370522"/>
                  <a:gd name="connsiteX42" fmla="*/ 288608 w 294322"/>
                  <a:gd name="connsiteY42" fmla="*/ 110490 h 370522"/>
                  <a:gd name="connsiteX43" fmla="*/ 289560 w 294322"/>
                  <a:gd name="connsiteY43" fmla="*/ 120967 h 370522"/>
                  <a:gd name="connsiteX44" fmla="*/ 290513 w 294322"/>
                  <a:gd name="connsiteY44" fmla="*/ 132397 h 370522"/>
                  <a:gd name="connsiteX45" fmla="*/ 290513 w 294322"/>
                  <a:gd name="connsiteY45" fmla="*/ 143827 h 370522"/>
                  <a:gd name="connsiteX46" fmla="*/ 290513 w 294322"/>
                  <a:gd name="connsiteY46" fmla="*/ 302895 h 370522"/>
                  <a:gd name="connsiteX47" fmla="*/ 290513 w 294322"/>
                  <a:gd name="connsiteY47" fmla="*/ 310515 h 370522"/>
                  <a:gd name="connsiteX48" fmla="*/ 290513 w 294322"/>
                  <a:gd name="connsiteY48" fmla="*/ 319088 h 370522"/>
                  <a:gd name="connsiteX49" fmla="*/ 290513 w 294322"/>
                  <a:gd name="connsiteY49" fmla="*/ 326708 h 370522"/>
                  <a:gd name="connsiteX50" fmla="*/ 290513 w 294322"/>
                  <a:gd name="connsiteY50" fmla="*/ 334327 h 370522"/>
                  <a:gd name="connsiteX51" fmla="*/ 291465 w 294322"/>
                  <a:gd name="connsiteY51" fmla="*/ 342900 h 370522"/>
                  <a:gd name="connsiteX52" fmla="*/ 292418 w 294322"/>
                  <a:gd name="connsiteY52" fmla="*/ 350520 h 370522"/>
                  <a:gd name="connsiteX53" fmla="*/ 293370 w 294322"/>
                  <a:gd name="connsiteY53" fmla="*/ 358140 h 370522"/>
                  <a:gd name="connsiteX54" fmla="*/ 294323 w 294322"/>
                  <a:gd name="connsiteY54" fmla="*/ 365760 h 370522"/>
                  <a:gd name="connsiteX55" fmla="*/ 214313 w 294322"/>
                  <a:gd name="connsiteY55" fmla="*/ 365760 h 370522"/>
                  <a:gd name="connsiteX56" fmla="*/ 213360 w 294322"/>
                  <a:gd name="connsiteY56" fmla="*/ 360997 h 370522"/>
                  <a:gd name="connsiteX57" fmla="*/ 212408 w 294322"/>
                  <a:gd name="connsiteY57" fmla="*/ 356235 h 370522"/>
                  <a:gd name="connsiteX58" fmla="*/ 211455 w 294322"/>
                  <a:gd name="connsiteY58" fmla="*/ 350520 h 370522"/>
                  <a:gd name="connsiteX59" fmla="*/ 210503 w 294322"/>
                  <a:gd name="connsiteY59" fmla="*/ 344805 h 370522"/>
                  <a:gd name="connsiteX60" fmla="*/ 210503 w 294322"/>
                  <a:gd name="connsiteY60" fmla="*/ 338138 h 370522"/>
                  <a:gd name="connsiteX61" fmla="*/ 210503 w 294322"/>
                  <a:gd name="connsiteY61" fmla="*/ 331470 h 370522"/>
                  <a:gd name="connsiteX62" fmla="*/ 210503 w 294322"/>
                  <a:gd name="connsiteY62" fmla="*/ 323850 h 370522"/>
                  <a:gd name="connsiteX63" fmla="*/ 210503 w 294322"/>
                  <a:gd name="connsiteY63" fmla="*/ 316230 h 370522"/>
                  <a:gd name="connsiteX64" fmla="*/ 209550 w 294322"/>
                  <a:gd name="connsiteY64" fmla="*/ 316230 h 370522"/>
                  <a:gd name="connsiteX65" fmla="*/ 204788 w 294322"/>
                  <a:gd name="connsiteY65" fmla="*/ 322897 h 370522"/>
                  <a:gd name="connsiteX66" fmla="*/ 200025 w 294322"/>
                  <a:gd name="connsiteY66" fmla="*/ 328613 h 370522"/>
                  <a:gd name="connsiteX67" fmla="*/ 194310 w 294322"/>
                  <a:gd name="connsiteY67" fmla="*/ 334327 h 370522"/>
                  <a:gd name="connsiteX68" fmla="*/ 188595 w 294322"/>
                  <a:gd name="connsiteY68" fmla="*/ 340042 h 370522"/>
                  <a:gd name="connsiteX69" fmla="*/ 182880 w 294322"/>
                  <a:gd name="connsiteY69" fmla="*/ 344805 h 370522"/>
                  <a:gd name="connsiteX70" fmla="*/ 177165 w 294322"/>
                  <a:gd name="connsiteY70" fmla="*/ 348615 h 370522"/>
                  <a:gd name="connsiteX71" fmla="*/ 171450 w 294322"/>
                  <a:gd name="connsiteY71" fmla="*/ 352425 h 370522"/>
                  <a:gd name="connsiteX72" fmla="*/ 165735 w 294322"/>
                  <a:gd name="connsiteY72" fmla="*/ 356235 h 370522"/>
                  <a:gd name="connsiteX73" fmla="*/ 160020 w 294322"/>
                  <a:gd name="connsiteY73" fmla="*/ 359092 h 370522"/>
                  <a:gd name="connsiteX74" fmla="*/ 153353 w 294322"/>
                  <a:gd name="connsiteY74" fmla="*/ 361950 h 370522"/>
                  <a:gd name="connsiteX75" fmla="*/ 146685 w 294322"/>
                  <a:gd name="connsiteY75" fmla="*/ 364808 h 370522"/>
                  <a:gd name="connsiteX76" fmla="*/ 140018 w 294322"/>
                  <a:gd name="connsiteY76" fmla="*/ 366713 h 370522"/>
                  <a:gd name="connsiteX77" fmla="*/ 132398 w 294322"/>
                  <a:gd name="connsiteY77" fmla="*/ 368617 h 370522"/>
                  <a:gd name="connsiteX78" fmla="*/ 124778 w 294322"/>
                  <a:gd name="connsiteY78" fmla="*/ 369570 h 370522"/>
                  <a:gd name="connsiteX79" fmla="*/ 116205 w 294322"/>
                  <a:gd name="connsiteY79" fmla="*/ 370522 h 370522"/>
                  <a:gd name="connsiteX80" fmla="*/ 107633 w 294322"/>
                  <a:gd name="connsiteY80" fmla="*/ 370522 h 370522"/>
                  <a:gd name="connsiteX81" fmla="*/ 100965 w 294322"/>
                  <a:gd name="connsiteY81" fmla="*/ 370522 h 370522"/>
                  <a:gd name="connsiteX82" fmla="*/ 94298 w 294322"/>
                  <a:gd name="connsiteY82" fmla="*/ 369570 h 370522"/>
                  <a:gd name="connsiteX83" fmla="*/ 87630 w 294322"/>
                  <a:gd name="connsiteY83" fmla="*/ 368617 h 370522"/>
                  <a:gd name="connsiteX84" fmla="*/ 80963 w 294322"/>
                  <a:gd name="connsiteY84" fmla="*/ 367665 h 370522"/>
                  <a:gd name="connsiteX85" fmla="*/ 74295 w 294322"/>
                  <a:gd name="connsiteY85" fmla="*/ 365760 h 370522"/>
                  <a:gd name="connsiteX86" fmla="*/ 67628 w 294322"/>
                  <a:gd name="connsiteY86" fmla="*/ 362902 h 370522"/>
                  <a:gd name="connsiteX87" fmla="*/ 60960 w 294322"/>
                  <a:gd name="connsiteY87" fmla="*/ 360045 h 370522"/>
                  <a:gd name="connsiteX88" fmla="*/ 54293 w 294322"/>
                  <a:gd name="connsiteY88" fmla="*/ 357188 h 370522"/>
                  <a:gd name="connsiteX89" fmla="*/ 48578 w 294322"/>
                  <a:gd name="connsiteY89" fmla="*/ 353377 h 370522"/>
                  <a:gd name="connsiteX90" fmla="*/ 42863 w 294322"/>
                  <a:gd name="connsiteY90" fmla="*/ 349567 h 370522"/>
                  <a:gd name="connsiteX91" fmla="*/ 37148 w 294322"/>
                  <a:gd name="connsiteY91" fmla="*/ 345758 h 370522"/>
                  <a:gd name="connsiteX92" fmla="*/ 32385 w 294322"/>
                  <a:gd name="connsiteY92" fmla="*/ 340995 h 370522"/>
                  <a:gd name="connsiteX93" fmla="*/ 27623 w 294322"/>
                  <a:gd name="connsiteY93" fmla="*/ 336233 h 370522"/>
                  <a:gd name="connsiteX94" fmla="*/ 22860 w 294322"/>
                  <a:gd name="connsiteY94" fmla="*/ 330517 h 370522"/>
                  <a:gd name="connsiteX95" fmla="*/ 19050 w 294322"/>
                  <a:gd name="connsiteY95" fmla="*/ 324802 h 370522"/>
                  <a:gd name="connsiteX96" fmla="*/ 15240 w 294322"/>
                  <a:gd name="connsiteY96" fmla="*/ 319088 h 370522"/>
                  <a:gd name="connsiteX97" fmla="*/ 11430 w 294322"/>
                  <a:gd name="connsiteY97" fmla="*/ 313372 h 370522"/>
                  <a:gd name="connsiteX98" fmla="*/ 8573 w 294322"/>
                  <a:gd name="connsiteY98" fmla="*/ 306705 h 370522"/>
                  <a:gd name="connsiteX99" fmla="*/ 5715 w 294322"/>
                  <a:gd name="connsiteY99" fmla="*/ 300038 h 370522"/>
                  <a:gd name="connsiteX100" fmla="*/ 3810 w 294322"/>
                  <a:gd name="connsiteY100" fmla="*/ 293370 h 370522"/>
                  <a:gd name="connsiteX101" fmla="*/ 1905 w 294322"/>
                  <a:gd name="connsiteY101" fmla="*/ 285750 h 370522"/>
                  <a:gd name="connsiteX102" fmla="*/ 953 w 294322"/>
                  <a:gd name="connsiteY102" fmla="*/ 278130 h 370522"/>
                  <a:gd name="connsiteX103" fmla="*/ 0 w 294322"/>
                  <a:gd name="connsiteY103" fmla="*/ 270510 h 370522"/>
                  <a:gd name="connsiteX104" fmla="*/ 0 w 294322"/>
                  <a:gd name="connsiteY104" fmla="*/ 262890 h 370522"/>
                  <a:gd name="connsiteX105" fmla="*/ 0 w 294322"/>
                  <a:gd name="connsiteY105" fmla="*/ 257175 h 370522"/>
                  <a:gd name="connsiteX106" fmla="*/ 0 w 294322"/>
                  <a:gd name="connsiteY106" fmla="*/ 251460 h 370522"/>
                  <a:gd name="connsiteX107" fmla="*/ 953 w 294322"/>
                  <a:gd name="connsiteY107" fmla="*/ 245745 h 370522"/>
                  <a:gd name="connsiteX108" fmla="*/ 1905 w 294322"/>
                  <a:gd name="connsiteY108" fmla="*/ 240030 h 370522"/>
                  <a:gd name="connsiteX109" fmla="*/ 2858 w 294322"/>
                  <a:gd name="connsiteY109" fmla="*/ 234315 h 370522"/>
                  <a:gd name="connsiteX110" fmla="*/ 3810 w 294322"/>
                  <a:gd name="connsiteY110" fmla="*/ 229552 h 370522"/>
                  <a:gd name="connsiteX111" fmla="*/ 4763 w 294322"/>
                  <a:gd name="connsiteY111" fmla="*/ 224790 h 370522"/>
                  <a:gd name="connsiteX112" fmla="*/ 5715 w 294322"/>
                  <a:gd name="connsiteY112" fmla="*/ 220027 h 370522"/>
                  <a:gd name="connsiteX113" fmla="*/ 7620 w 294322"/>
                  <a:gd name="connsiteY113" fmla="*/ 215265 h 370522"/>
                  <a:gd name="connsiteX114" fmla="*/ 9525 w 294322"/>
                  <a:gd name="connsiteY114" fmla="*/ 211455 h 370522"/>
                  <a:gd name="connsiteX115" fmla="*/ 11430 w 294322"/>
                  <a:gd name="connsiteY115" fmla="*/ 207645 h 370522"/>
                  <a:gd name="connsiteX116" fmla="*/ 13335 w 294322"/>
                  <a:gd name="connsiteY116" fmla="*/ 203835 h 370522"/>
                  <a:gd name="connsiteX117" fmla="*/ 16193 w 294322"/>
                  <a:gd name="connsiteY117" fmla="*/ 200025 h 370522"/>
                  <a:gd name="connsiteX118" fmla="*/ 19050 w 294322"/>
                  <a:gd name="connsiteY118" fmla="*/ 196215 h 370522"/>
                  <a:gd name="connsiteX119" fmla="*/ 21908 w 294322"/>
                  <a:gd name="connsiteY119" fmla="*/ 192405 h 370522"/>
                  <a:gd name="connsiteX120" fmla="*/ 24765 w 294322"/>
                  <a:gd name="connsiteY120" fmla="*/ 188595 h 370522"/>
                  <a:gd name="connsiteX121" fmla="*/ 27623 w 294322"/>
                  <a:gd name="connsiteY121" fmla="*/ 185738 h 370522"/>
                  <a:gd name="connsiteX122" fmla="*/ 30480 w 294322"/>
                  <a:gd name="connsiteY122" fmla="*/ 182880 h 370522"/>
                  <a:gd name="connsiteX123" fmla="*/ 33338 w 294322"/>
                  <a:gd name="connsiteY123" fmla="*/ 180022 h 370522"/>
                  <a:gd name="connsiteX124" fmla="*/ 37148 w 294322"/>
                  <a:gd name="connsiteY124" fmla="*/ 177165 h 370522"/>
                  <a:gd name="connsiteX125" fmla="*/ 40958 w 294322"/>
                  <a:gd name="connsiteY125" fmla="*/ 174307 h 370522"/>
                  <a:gd name="connsiteX126" fmla="*/ 44768 w 294322"/>
                  <a:gd name="connsiteY126" fmla="*/ 171450 h 370522"/>
                  <a:gd name="connsiteX127" fmla="*/ 48578 w 294322"/>
                  <a:gd name="connsiteY127" fmla="*/ 168592 h 370522"/>
                  <a:gd name="connsiteX128" fmla="*/ 52388 w 294322"/>
                  <a:gd name="connsiteY128" fmla="*/ 165735 h 370522"/>
                  <a:gd name="connsiteX129" fmla="*/ 56198 w 294322"/>
                  <a:gd name="connsiteY129" fmla="*/ 163830 h 370522"/>
                  <a:gd name="connsiteX130" fmla="*/ 60008 w 294322"/>
                  <a:gd name="connsiteY130" fmla="*/ 160972 h 370522"/>
                  <a:gd name="connsiteX131" fmla="*/ 64770 w 294322"/>
                  <a:gd name="connsiteY131" fmla="*/ 159067 h 370522"/>
                  <a:gd name="connsiteX132" fmla="*/ 69533 w 294322"/>
                  <a:gd name="connsiteY132" fmla="*/ 157163 h 370522"/>
                  <a:gd name="connsiteX133" fmla="*/ 79058 w 294322"/>
                  <a:gd name="connsiteY133" fmla="*/ 153352 h 370522"/>
                  <a:gd name="connsiteX134" fmla="*/ 89535 w 294322"/>
                  <a:gd name="connsiteY134" fmla="*/ 150495 h 370522"/>
                  <a:gd name="connsiteX135" fmla="*/ 100013 w 294322"/>
                  <a:gd name="connsiteY135" fmla="*/ 147638 h 370522"/>
                  <a:gd name="connsiteX136" fmla="*/ 111443 w 294322"/>
                  <a:gd name="connsiteY136" fmla="*/ 145732 h 370522"/>
                  <a:gd name="connsiteX137" fmla="*/ 122873 w 294322"/>
                  <a:gd name="connsiteY137" fmla="*/ 143827 h 370522"/>
                  <a:gd name="connsiteX138" fmla="*/ 135255 w 294322"/>
                  <a:gd name="connsiteY138" fmla="*/ 142875 h 370522"/>
                  <a:gd name="connsiteX139" fmla="*/ 148590 w 294322"/>
                  <a:gd name="connsiteY139" fmla="*/ 141922 h 370522"/>
                  <a:gd name="connsiteX140" fmla="*/ 161925 w 294322"/>
                  <a:gd name="connsiteY140" fmla="*/ 140970 h 370522"/>
                  <a:gd name="connsiteX141" fmla="*/ 176213 w 294322"/>
                  <a:gd name="connsiteY141" fmla="*/ 140970 h 370522"/>
                  <a:gd name="connsiteX142" fmla="*/ 191453 w 294322"/>
                  <a:gd name="connsiteY142" fmla="*/ 140970 h 370522"/>
                  <a:gd name="connsiteX143" fmla="*/ 209550 w 294322"/>
                  <a:gd name="connsiteY143" fmla="*/ 140970 h 370522"/>
                  <a:gd name="connsiteX144" fmla="*/ 209550 w 294322"/>
                  <a:gd name="connsiteY144" fmla="*/ 127635 h 370522"/>
                  <a:gd name="connsiteX145" fmla="*/ 209550 w 294322"/>
                  <a:gd name="connsiteY145" fmla="*/ 120015 h 370522"/>
                  <a:gd name="connsiteX146" fmla="*/ 208598 w 294322"/>
                  <a:gd name="connsiteY146" fmla="*/ 113347 h 370522"/>
                  <a:gd name="connsiteX147" fmla="*/ 206693 w 294322"/>
                  <a:gd name="connsiteY147" fmla="*/ 106680 h 370522"/>
                  <a:gd name="connsiteX148" fmla="*/ 204788 w 294322"/>
                  <a:gd name="connsiteY148" fmla="*/ 100013 h 370522"/>
                  <a:gd name="connsiteX149" fmla="*/ 202883 w 294322"/>
                  <a:gd name="connsiteY149" fmla="*/ 94297 h 370522"/>
                  <a:gd name="connsiteX150" fmla="*/ 200025 w 294322"/>
                  <a:gd name="connsiteY150" fmla="*/ 88582 h 370522"/>
                  <a:gd name="connsiteX151" fmla="*/ 196215 w 294322"/>
                  <a:gd name="connsiteY151" fmla="*/ 82867 h 370522"/>
                  <a:gd name="connsiteX152" fmla="*/ 192405 w 294322"/>
                  <a:gd name="connsiteY152" fmla="*/ 78105 h 370522"/>
                  <a:gd name="connsiteX153" fmla="*/ 190500 w 294322"/>
                  <a:gd name="connsiteY153" fmla="*/ 75247 h 370522"/>
                  <a:gd name="connsiteX154" fmla="*/ 188595 w 294322"/>
                  <a:gd name="connsiteY154" fmla="*/ 73342 h 370522"/>
                  <a:gd name="connsiteX155" fmla="*/ 185738 w 294322"/>
                  <a:gd name="connsiteY155" fmla="*/ 71438 h 370522"/>
                  <a:gd name="connsiteX156" fmla="*/ 182880 w 294322"/>
                  <a:gd name="connsiteY156" fmla="*/ 69532 h 370522"/>
                  <a:gd name="connsiteX157" fmla="*/ 180023 w 294322"/>
                  <a:gd name="connsiteY157" fmla="*/ 67627 h 370522"/>
                  <a:gd name="connsiteX158" fmla="*/ 177165 w 294322"/>
                  <a:gd name="connsiteY158" fmla="*/ 66675 h 370522"/>
                  <a:gd name="connsiteX159" fmla="*/ 174308 w 294322"/>
                  <a:gd name="connsiteY159" fmla="*/ 65722 h 370522"/>
                  <a:gd name="connsiteX160" fmla="*/ 171450 w 294322"/>
                  <a:gd name="connsiteY160" fmla="*/ 64770 h 370522"/>
                  <a:gd name="connsiteX161" fmla="*/ 168593 w 294322"/>
                  <a:gd name="connsiteY161" fmla="*/ 63817 h 370522"/>
                  <a:gd name="connsiteX162" fmla="*/ 164783 w 294322"/>
                  <a:gd name="connsiteY162" fmla="*/ 62865 h 370522"/>
                  <a:gd name="connsiteX163" fmla="*/ 160973 w 294322"/>
                  <a:gd name="connsiteY163" fmla="*/ 61913 h 370522"/>
                  <a:gd name="connsiteX164" fmla="*/ 157163 w 294322"/>
                  <a:gd name="connsiteY164" fmla="*/ 60960 h 370522"/>
                  <a:gd name="connsiteX165" fmla="*/ 149543 w 294322"/>
                  <a:gd name="connsiteY165" fmla="*/ 60007 h 370522"/>
                  <a:gd name="connsiteX166" fmla="*/ 140970 w 294322"/>
                  <a:gd name="connsiteY166" fmla="*/ 60007 h 370522"/>
                  <a:gd name="connsiteX167" fmla="*/ 133350 w 294322"/>
                  <a:gd name="connsiteY167" fmla="*/ 60007 h 370522"/>
                  <a:gd name="connsiteX168" fmla="*/ 125730 w 294322"/>
                  <a:gd name="connsiteY168" fmla="*/ 60960 h 370522"/>
                  <a:gd name="connsiteX169" fmla="*/ 118110 w 294322"/>
                  <a:gd name="connsiteY169" fmla="*/ 61913 h 370522"/>
                  <a:gd name="connsiteX170" fmla="*/ 111443 w 294322"/>
                  <a:gd name="connsiteY170" fmla="*/ 62865 h 370522"/>
                  <a:gd name="connsiteX171" fmla="*/ 103823 w 294322"/>
                  <a:gd name="connsiteY171" fmla="*/ 64770 h 370522"/>
                  <a:gd name="connsiteX172" fmla="*/ 97155 w 294322"/>
                  <a:gd name="connsiteY172" fmla="*/ 66675 h 370522"/>
                  <a:gd name="connsiteX173" fmla="*/ 90488 w 294322"/>
                  <a:gd name="connsiteY173" fmla="*/ 69532 h 370522"/>
                  <a:gd name="connsiteX174" fmla="*/ 83820 w 294322"/>
                  <a:gd name="connsiteY174" fmla="*/ 72390 h 370522"/>
                  <a:gd name="connsiteX175" fmla="*/ 77153 w 294322"/>
                  <a:gd name="connsiteY175" fmla="*/ 75247 h 370522"/>
                  <a:gd name="connsiteX176" fmla="*/ 70485 w 294322"/>
                  <a:gd name="connsiteY176" fmla="*/ 78105 h 370522"/>
                  <a:gd name="connsiteX177" fmla="*/ 64770 w 294322"/>
                  <a:gd name="connsiteY177" fmla="*/ 80963 h 370522"/>
                  <a:gd name="connsiteX178" fmla="*/ 59055 w 294322"/>
                  <a:gd name="connsiteY178" fmla="*/ 83820 h 370522"/>
                  <a:gd name="connsiteX179" fmla="*/ 53340 w 294322"/>
                  <a:gd name="connsiteY179" fmla="*/ 86677 h 370522"/>
                  <a:gd name="connsiteX180" fmla="*/ 48578 w 294322"/>
                  <a:gd name="connsiteY180" fmla="*/ 89535 h 370522"/>
                  <a:gd name="connsiteX181" fmla="*/ 44768 w 294322"/>
                  <a:gd name="connsiteY181" fmla="*/ 92392 h 370522"/>
                  <a:gd name="connsiteX182" fmla="*/ 40958 w 294322"/>
                  <a:gd name="connsiteY182" fmla="*/ 96202 h 370522"/>
                  <a:gd name="connsiteX183" fmla="*/ 40958 w 294322"/>
                  <a:gd name="connsiteY183" fmla="*/ 96202 h 370522"/>
                  <a:gd name="connsiteX184" fmla="*/ 210503 w 294322"/>
                  <a:gd name="connsiteY184" fmla="*/ 211455 h 370522"/>
                  <a:gd name="connsiteX185" fmla="*/ 210503 w 294322"/>
                  <a:gd name="connsiteY185" fmla="*/ 191452 h 370522"/>
                  <a:gd name="connsiteX186" fmla="*/ 202883 w 294322"/>
                  <a:gd name="connsiteY186" fmla="*/ 191452 h 370522"/>
                  <a:gd name="connsiteX187" fmla="*/ 187643 w 294322"/>
                  <a:gd name="connsiteY187" fmla="*/ 191452 h 370522"/>
                  <a:gd name="connsiteX188" fmla="*/ 174308 w 294322"/>
                  <a:gd name="connsiteY188" fmla="*/ 192405 h 370522"/>
                  <a:gd name="connsiteX189" fmla="*/ 161925 w 294322"/>
                  <a:gd name="connsiteY189" fmla="*/ 193358 h 370522"/>
                  <a:gd name="connsiteX190" fmla="*/ 149543 w 294322"/>
                  <a:gd name="connsiteY190" fmla="*/ 195263 h 370522"/>
                  <a:gd name="connsiteX191" fmla="*/ 139065 w 294322"/>
                  <a:gd name="connsiteY191" fmla="*/ 197167 h 370522"/>
                  <a:gd name="connsiteX192" fmla="*/ 129540 w 294322"/>
                  <a:gd name="connsiteY192" fmla="*/ 200025 h 370522"/>
                  <a:gd name="connsiteX193" fmla="*/ 124778 w 294322"/>
                  <a:gd name="connsiteY193" fmla="*/ 201930 h 370522"/>
                  <a:gd name="connsiteX194" fmla="*/ 120968 w 294322"/>
                  <a:gd name="connsiteY194" fmla="*/ 202883 h 370522"/>
                  <a:gd name="connsiteX195" fmla="*/ 117158 w 294322"/>
                  <a:gd name="connsiteY195" fmla="*/ 204788 h 370522"/>
                  <a:gd name="connsiteX196" fmla="*/ 113348 w 294322"/>
                  <a:gd name="connsiteY196" fmla="*/ 206692 h 370522"/>
                  <a:gd name="connsiteX197" fmla="*/ 109538 w 294322"/>
                  <a:gd name="connsiteY197" fmla="*/ 208597 h 370522"/>
                  <a:gd name="connsiteX198" fmla="*/ 106680 w 294322"/>
                  <a:gd name="connsiteY198" fmla="*/ 210502 h 370522"/>
                  <a:gd name="connsiteX199" fmla="*/ 103823 w 294322"/>
                  <a:gd name="connsiteY199" fmla="*/ 213360 h 370522"/>
                  <a:gd name="connsiteX200" fmla="*/ 100965 w 294322"/>
                  <a:gd name="connsiteY200" fmla="*/ 216217 h 370522"/>
                  <a:gd name="connsiteX201" fmla="*/ 98108 w 294322"/>
                  <a:gd name="connsiteY201" fmla="*/ 219075 h 370522"/>
                  <a:gd name="connsiteX202" fmla="*/ 95250 w 294322"/>
                  <a:gd name="connsiteY202" fmla="*/ 221933 h 370522"/>
                  <a:gd name="connsiteX203" fmla="*/ 93345 w 294322"/>
                  <a:gd name="connsiteY203" fmla="*/ 224790 h 370522"/>
                  <a:gd name="connsiteX204" fmla="*/ 91440 w 294322"/>
                  <a:gd name="connsiteY204" fmla="*/ 227647 h 370522"/>
                  <a:gd name="connsiteX205" fmla="*/ 89535 w 294322"/>
                  <a:gd name="connsiteY205" fmla="*/ 231458 h 370522"/>
                  <a:gd name="connsiteX206" fmla="*/ 88583 w 294322"/>
                  <a:gd name="connsiteY206" fmla="*/ 235267 h 370522"/>
                  <a:gd name="connsiteX207" fmla="*/ 86678 w 294322"/>
                  <a:gd name="connsiteY207" fmla="*/ 239077 h 370522"/>
                  <a:gd name="connsiteX208" fmla="*/ 85725 w 294322"/>
                  <a:gd name="connsiteY208" fmla="*/ 242888 h 370522"/>
                  <a:gd name="connsiteX209" fmla="*/ 84773 w 294322"/>
                  <a:gd name="connsiteY209" fmla="*/ 246697 h 370522"/>
                  <a:gd name="connsiteX210" fmla="*/ 82868 w 294322"/>
                  <a:gd name="connsiteY210" fmla="*/ 249555 h 370522"/>
                  <a:gd name="connsiteX211" fmla="*/ 82868 w 294322"/>
                  <a:gd name="connsiteY211" fmla="*/ 254317 h 370522"/>
                  <a:gd name="connsiteX212" fmla="*/ 82868 w 294322"/>
                  <a:gd name="connsiteY212" fmla="*/ 259080 h 370522"/>
                  <a:gd name="connsiteX213" fmla="*/ 82868 w 294322"/>
                  <a:gd name="connsiteY213" fmla="*/ 264795 h 370522"/>
                  <a:gd name="connsiteX214" fmla="*/ 83820 w 294322"/>
                  <a:gd name="connsiteY214" fmla="*/ 270510 h 370522"/>
                  <a:gd name="connsiteX215" fmla="*/ 84773 w 294322"/>
                  <a:gd name="connsiteY215" fmla="*/ 276225 h 370522"/>
                  <a:gd name="connsiteX216" fmla="*/ 86678 w 294322"/>
                  <a:gd name="connsiteY216" fmla="*/ 280988 h 370522"/>
                  <a:gd name="connsiteX217" fmla="*/ 88583 w 294322"/>
                  <a:gd name="connsiteY217" fmla="*/ 285750 h 370522"/>
                  <a:gd name="connsiteX218" fmla="*/ 91440 w 294322"/>
                  <a:gd name="connsiteY218" fmla="*/ 290513 h 370522"/>
                  <a:gd name="connsiteX219" fmla="*/ 94298 w 294322"/>
                  <a:gd name="connsiteY219" fmla="*/ 294322 h 370522"/>
                  <a:gd name="connsiteX220" fmla="*/ 98108 w 294322"/>
                  <a:gd name="connsiteY220" fmla="*/ 298133 h 370522"/>
                  <a:gd name="connsiteX221" fmla="*/ 101918 w 294322"/>
                  <a:gd name="connsiteY221" fmla="*/ 301942 h 370522"/>
                  <a:gd name="connsiteX222" fmla="*/ 105728 w 294322"/>
                  <a:gd name="connsiteY222" fmla="*/ 304800 h 370522"/>
                  <a:gd name="connsiteX223" fmla="*/ 110490 w 294322"/>
                  <a:gd name="connsiteY223" fmla="*/ 307658 h 370522"/>
                  <a:gd name="connsiteX224" fmla="*/ 115253 w 294322"/>
                  <a:gd name="connsiteY224" fmla="*/ 309563 h 370522"/>
                  <a:gd name="connsiteX225" fmla="*/ 120968 w 294322"/>
                  <a:gd name="connsiteY225" fmla="*/ 311467 h 370522"/>
                  <a:gd name="connsiteX226" fmla="*/ 126683 w 294322"/>
                  <a:gd name="connsiteY226" fmla="*/ 312420 h 370522"/>
                  <a:gd name="connsiteX227" fmla="*/ 132398 w 294322"/>
                  <a:gd name="connsiteY227" fmla="*/ 313372 h 370522"/>
                  <a:gd name="connsiteX228" fmla="*/ 139065 w 294322"/>
                  <a:gd name="connsiteY228" fmla="*/ 313372 h 370522"/>
                  <a:gd name="connsiteX229" fmla="*/ 143828 w 294322"/>
                  <a:gd name="connsiteY229" fmla="*/ 313372 h 370522"/>
                  <a:gd name="connsiteX230" fmla="*/ 148590 w 294322"/>
                  <a:gd name="connsiteY230" fmla="*/ 313372 h 370522"/>
                  <a:gd name="connsiteX231" fmla="*/ 152400 w 294322"/>
                  <a:gd name="connsiteY231" fmla="*/ 312420 h 370522"/>
                  <a:gd name="connsiteX232" fmla="*/ 156210 w 294322"/>
                  <a:gd name="connsiteY232" fmla="*/ 311467 h 370522"/>
                  <a:gd name="connsiteX233" fmla="*/ 160020 w 294322"/>
                  <a:gd name="connsiteY233" fmla="*/ 310515 h 370522"/>
                  <a:gd name="connsiteX234" fmla="*/ 163830 w 294322"/>
                  <a:gd name="connsiteY234" fmla="*/ 309563 h 370522"/>
                  <a:gd name="connsiteX235" fmla="*/ 167640 w 294322"/>
                  <a:gd name="connsiteY235" fmla="*/ 308610 h 370522"/>
                  <a:gd name="connsiteX236" fmla="*/ 171450 w 294322"/>
                  <a:gd name="connsiteY236" fmla="*/ 306705 h 370522"/>
                  <a:gd name="connsiteX237" fmla="*/ 175260 w 294322"/>
                  <a:gd name="connsiteY237" fmla="*/ 304800 h 370522"/>
                  <a:gd name="connsiteX238" fmla="*/ 178118 w 294322"/>
                  <a:gd name="connsiteY238" fmla="*/ 302895 h 370522"/>
                  <a:gd name="connsiteX239" fmla="*/ 180975 w 294322"/>
                  <a:gd name="connsiteY239" fmla="*/ 300990 h 370522"/>
                  <a:gd name="connsiteX240" fmla="*/ 183833 w 294322"/>
                  <a:gd name="connsiteY240" fmla="*/ 298133 h 370522"/>
                  <a:gd name="connsiteX241" fmla="*/ 186690 w 294322"/>
                  <a:gd name="connsiteY241" fmla="*/ 295275 h 370522"/>
                  <a:gd name="connsiteX242" fmla="*/ 189548 w 294322"/>
                  <a:gd name="connsiteY242" fmla="*/ 292417 h 370522"/>
                  <a:gd name="connsiteX243" fmla="*/ 192405 w 294322"/>
                  <a:gd name="connsiteY243" fmla="*/ 289560 h 370522"/>
                  <a:gd name="connsiteX244" fmla="*/ 194310 w 294322"/>
                  <a:gd name="connsiteY244" fmla="*/ 286702 h 370522"/>
                  <a:gd name="connsiteX245" fmla="*/ 196215 w 294322"/>
                  <a:gd name="connsiteY245" fmla="*/ 282892 h 370522"/>
                  <a:gd name="connsiteX246" fmla="*/ 198120 w 294322"/>
                  <a:gd name="connsiteY246" fmla="*/ 279083 h 370522"/>
                  <a:gd name="connsiteX247" fmla="*/ 200025 w 294322"/>
                  <a:gd name="connsiteY247" fmla="*/ 275272 h 370522"/>
                  <a:gd name="connsiteX248" fmla="*/ 201930 w 294322"/>
                  <a:gd name="connsiteY248" fmla="*/ 271463 h 370522"/>
                  <a:gd name="connsiteX249" fmla="*/ 202883 w 294322"/>
                  <a:gd name="connsiteY249" fmla="*/ 267652 h 370522"/>
                  <a:gd name="connsiteX250" fmla="*/ 203835 w 294322"/>
                  <a:gd name="connsiteY250" fmla="*/ 263842 h 370522"/>
                  <a:gd name="connsiteX251" fmla="*/ 204788 w 294322"/>
                  <a:gd name="connsiteY251" fmla="*/ 259080 h 370522"/>
                  <a:gd name="connsiteX252" fmla="*/ 205740 w 294322"/>
                  <a:gd name="connsiteY252" fmla="*/ 254317 h 370522"/>
                  <a:gd name="connsiteX253" fmla="*/ 207645 w 294322"/>
                  <a:gd name="connsiteY253" fmla="*/ 243840 h 370522"/>
                  <a:gd name="connsiteX254" fmla="*/ 209550 w 294322"/>
                  <a:gd name="connsiteY254" fmla="*/ 233363 h 370522"/>
                  <a:gd name="connsiteX255" fmla="*/ 210503 w 294322"/>
                  <a:gd name="connsiteY255" fmla="*/ 221933 h 370522"/>
                  <a:gd name="connsiteX256" fmla="*/ 210503 w 294322"/>
                  <a:gd name="connsiteY256" fmla="*/ 211455 h 370522"/>
                  <a:gd name="connsiteX257" fmla="*/ 210503 w 294322"/>
                  <a:gd name="connsiteY257" fmla="*/ 211455 h 370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</a:cxnLst>
                <a:rect l="l" t="t" r="r" b="b"/>
                <a:pathLst>
                  <a:path w="294322" h="370522">
                    <a:moveTo>
                      <a:pt x="40958" y="96202"/>
                    </a:moveTo>
                    <a:lnTo>
                      <a:pt x="36195" y="25717"/>
                    </a:lnTo>
                    <a:lnTo>
                      <a:pt x="48578" y="20002"/>
                    </a:lnTo>
                    <a:lnTo>
                      <a:pt x="60960" y="14288"/>
                    </a:lnTo>
                    <a:lnTo>
                      <a:pt x="74295" y="9525"/>
                    </a:lnTo>
                    <a:lnTo>
                      <a:pt x="87630" y="5715"/>
                    </a:lnTo>
                    <a:lnTo>
                      <a:pt x="94298" y="3810"/>
                    </a:lnTo>
                    <a:lnTo>
                      <a:pt x="100965" y="2857"/>
                    </a:lnTo>
                    <a:lnTo>
                      <a:pt x="108585" y="1905"/>
                    </a:lnTo>
                    <a:lnTo>
                      <a:pt x="116205" y="952"/>
                    </a:lnTo>
                    <a:lnTo>
                      <a:pt x="123825" y="0"/>
                    </a:lnTo>
                    <a:lnTo>
                      <a:pt x="132398" y="0"/>
                    </a:lnTo>
                    <a:lnTo>
                      <a:pt x="140970" y="0"/>
                    </a:lnTo>
                    <a:lnTo>
                      <a:pt x="150495" y="0"/>
                    </a:lnTo>
                    <a:lnTo>
                      <a:pt x="163830" y="0"/>
                    </a:lnTo>
                    <a:lnTo>
                      <a:pt x="176213" y="952"/>
                    </a:lnTo>
                    <a:lnTo>
                      <a:pt x="187643" y="1905"/>
                    </a:lnTo>
                    <a:lnTo>
                      <a:pt x="199073" y="3810"/>
                    </a:lnTo>
                    <a:lnTo>
                      <a:pt x="209550" y="5715"/>
                    </a:lnTo>
                    <a:lnTo>
                      <a:pt x="219075" y="8572"/>
                    </a:lnTo>
                    <a:lnTo>
                      <a:pt x="223838" y="10477"/>
                    </a:lnTo>
                    <a:lnTo>
                      <a:pt x="227648" y="12382"/>
                    </a:lnTo>
                    <a:lnTo>
                      <a:pt x="231458" y="14288"/>
                    </a:lnTo>
                    <a:lnTo>
                      <a:pt x="235268" y="16192"/>
                    </a:lnTo>
                    <a:lnTo>
                      <a:pt x="242888" y="20955"/>
                    </a:lnTo>
                    <a:lnTo>
                      <a:pt x="249555" y="25717"/>
                    </a:lnTo>
                    <a:lnTo>
                      <a:pt x="252413" y="28575"/>
                    </a:lnTo>
                    <a:lnTo>
                      <a:pt x="255270" y="31432"/>
                    </a:lnTo>
                    <a:lnTo>
                      <a:pt x="258128" y="34290"/>
                    </a:lnTo>
                    <a:lnTo>
                      <a:pt x="260985" y="37147"/>
                    </a:lnTo>
                    <a:lnTo>
                      <a:pt x="263843" y="40005"/>
                    </a:lnTo>
                    <a:lnTo>
                      <a:pt x="266700" y="42863"/>
                    </a:lnTo>
                    <a:lnTo>
                      <a:pt x="269558" y="45720"/>
                    </a:lnTo>
                    <a:lnTo>
                      <a:pt x="271463" y="49530"/>
                    </a:lnTo>
                    <a:lnTo>
                      <a:pt x="273368" y="53340"/>
                    </a:lnTo>
                    <a:lnTo>
                      <a:pt x="275273" y="57150"/>
                    </a:lnTo>
                    <a:lnTo>
                      <a:pt x="277178" y="60960"/>
                    </a:lnTo>
                    <a:lnTo>
                      <a:pt x="278130" y="64770"/>
                    </a:lnTo>
                    <a:lnTo>
                      <a:pt x="280988" y="72390"/>
                    </a:lnTo>
                    <a:lnTo>
                      <a:pt x="283845" y="80963"/>
                    </a:lnTo>
                    <a:lnTo>
                      <a:pt x="285750" y="90488"/>
                    </a:lnTo>
                    <a:lnTo>
                      <a:pt x="287655" y="100013"/>
                    </a:lnTo>
                    <a:lnTo>
                      <a:pt x="288608" y="110490"/>
                    </a:lnTo>
                    <a:lnTo>
                      <a:pt x="289560" y="120967"/>
                    </a:lnTo>
                    <a:lnTo>
                      <a:pt x="290513" y="132397"/>
                    </a:lnTo>
                    <a:lnTo>
                      <a:pt x="290513" y="143827"/>
                    </a:lnTo>
                    <a:lnTo>
                      <a:pt x="290513" y="302895"/>
                    </a:lnTo>
                    <a:lnTo>
                      <a:pt x="290513" y="310515"/>
                    </a:lnTo>
                    <a:lnTo>
                      <a:pt x="290513" y="319088"/>
                    </a:lnTo>
                    <a:lnTo>
                      <a:pt x="290513" y="326708"/>
                    </a:lnTo>
                    <a:lnTo>
                      <a:pt x="290513" y="334327"/>
                    </a:lnTo>
                    <a:lnTo>
                      <a:pt x="291465" y="342900"/>
                    </a:lnTo>
                    <a:lnTo>
                      <a:pt x="292418" y="350520"/>
                    </a:lnTo>
                    <a:lnTo>
                      <a:pt x="293370" y="358140"/>
                    </a:lnTo>
                    <a:lnTo>
                      <a:pt x="294323" y="365760"/>
                    </a:lnTo>
                    <a:lnTo>
                      <a:pt x="214313" y="365760"/>
                    </a:lnTo>
                    <a:lnTo>
                      <a:pt x="213360" y="360997"/>
                    </a:lnTo>
                    <a:lnTo>
                      <a:pt x="212408" y="356235"/>
                    </a:lnTo>
                    <a:lnTo>
                      <a:pt x="211455" y="350520"/>
                    </a:lnTo>
                    <a:lnTo>
                      <a:pt x="210503" y="344805"/>
                    </a:lnTo>
                    <a:lnTo>
                      <a:pt x="210503" y="338138"/>
                    </a:lnTo>
                    <a:lnTo>
                      <a:pt x="210503" y="331470"/>
                    </a:lnTo>
                    <a:lnTo>
                      <a:pt x="210503" y="323850"/>
                    </a:lnTo>
                    <a:lnTo>
                      <a:pt x="210503" y="316230"/>
                    </a:lnTo>
                    <a:lnTo>
                      <a:pt x="209550" y="316230"/>
                    </a:lnTo>
                    <a:lnTo>
                      <a:pt x="204788" y="322897"/>
                    </a:lnTo>
                    <a:lnTo>
                      <a:pt x="200025" y="328613"/>
                    </a:lnTo>
                    <a:lnTo>
                      <a:pt x="194310" y="334327"/>
                    </a:lnTo>
                    <a:lnTo>
                      <a:pt x="188595" y="340042"/>
                    </a:lnTo>
                    <a:lnTo>
                      <a:pt x="182880" y="344805"/>
                    </a:lnTo>
                    <a:lnTo>
                      <a:pt x="177165" y="348615"/>
                    </a:lnTo>
                    <a:lnTo>
                      <a:pt x="171450" y="352425"/>
                    </a:lnTo>
                    <a:lnTo>
                      <a:pt x="165735" y="356235"/>
                    </a:lnTo>
                    <a:lnTo>
                      <a:pt x="160020" y="359092"/>
                    </a:lnTo>
                    <a:lnTo>
                      <a:pt x="153353" y="361950"/>
                    </a:lnTo>
                    <a:lnTo>
                      <a:pt x="146685" y="364808"/>
                    </a:lnTo>
                    <a:lnTo>
                      <a:pt x="140018" y="366713"/>
                    </a:lnTo>
                    <a:lnTo>
                      <a:pt x="132398" y="368617"/>
                    </a:lnTo>
                    <a:lnTo>
                      <a:pt x="124778" y="369570"/>
                    </a:lnTo>
                    <a:lnTo>
                      <a:pt x="116205" y="370522"/>
                    </a:lnTo>
                    <a:lnTo>
                      <a:pt x="107633" y="370522"/>
                    </a:lnTo>
                    <a:lnTo>
                      <a:pt x="100965" y="370522"/>
                    </a:lnTo>
                    <a:lnTo>
                      <a:pt x="94298" y="369570"/>
                    </a:lnTo>
                    <a:lnTo>
                      <a:pt x="87630" y="368617"/>
                    </a:lnTo>
                    <a:lnTo>
                      <a:pt x="80963" y="367665"/>
                    </a:lnTo>
                    <a:lnTo>
                      <a:pt x="74295" y="365760"/>
                    </a:lnTo>
                    <a:lnTo>
                      <a:pt x="67628" y="362902"/>
                    </a:lnTo>
                    <a:lnTo>
                      <a:pt x="60960" y="360045"/>
                    </a:lnTo>
                    <a:lnTo>
                      <a:pt x="54293" y="357188"/>
                    </a:lnTo>
                    <a:lnTo>
                      <a:pt x="48578" y="353377"/>
                    </a:lnTo>
                    <a:lnTo>
                      <a:pt x="42863" y="349567"/>
                    </a:lnTo>
                    <a:lnTo>
                      <a:pt x="37148" y="345758"/>
                    </a:lnTo>
                    <a:lnTo>
                      <a:pt x="32385" y="340995"/>
                    </a:lnTo>
                    <a:lnTo>
                      <a:pt x="27623" y="336233"/>
                    </a:lnTo>
                    <a:lnTo>
                      <a:pt x="22860" y="330517"/>
                    </a:lnTo>
                    <a:lnTo>
                      <a:pt x="19050" y="324802"/>
                    </a:lnTo>
                    <a:lnTo>
                      <a:pt x="15240" y="319088"/>
                    </a:lnTo>
                    <a:lnTo>
                      <a:pt x="11430" y="313372"/>
                    </a:lnTo>
                    <a:lnTo>
                      <a:pt x="8573" y="306705"/>
                    </a:lnTo>
                    <a:lnTo>
                      <a:pt x="5715" y="300038"/>
                    </a:lnTo>
                    <a:lnTo>
                      <a:pt x="3810" y="293370"/>
                    </a:lnTo>
                    <a:lnTo>
                      <a:pt x="1905" y="285750"/>
                    </a:lnTo>
                    <a:lnTo>
                      <a:pt x="953" y="278130"/>
                    </a:lnTo>
                    <a:lnTo>
                      <a:pt x="0" y="270510"/>
                    </a:lnTo>
                    <a:lnTo>
                      <a:pt x="0" y="262890"/>
                    </a:lnTo>
                    <a:lnTo>
                      <a:pt x="0" y="257175"/>
                    </a:lnTo>
                    <a:lnTo>
                      <a:pt x="0" y="251460"/>
                    </a:lnTo>
                    <a:lnTo>
                      <a:pt x="953" y="245745"/>
                    </a:lnTo>
                    <a:lnTo>
                      <a:pt x="1905" y="240030"/>
                    </a:lnTo>
                    <a:lnTo>
                      <a:pt x="2858" y="234315"/>
                    </a:lnTo>
                    <a:lnTo>
                      <a:pt x="3810" y="229552"/>
                    </a:lnTo>
                    <a:lnTo>
                      <a:pt x="4763" y="224790"/>
                    </a:lnTo>
                    <a:lnTo>
                      <a:pt x="5715" y="220027"/>
                    </a:lnTo>
                    <a:lnTo>
                      <a:pt x="7620" y="215265"/>
                    </a:lnTo>
                    <a:lnTo>
                      <a:pt x="9525" y="211455"/>
                    </a:lnTo>
                    <a:lnTo>
                      <a:pt x="11430" y="207645"/>
                    </a:lnTo>
                    <a:lnTo>
                      <a:pt x="13335" y="203835"/>
                    </a:lnTo>
                    <a:lnTo>
                      <a:pt x="16193" y="200025"/>
                    </a:lnTo>
                    <a:lnTo>
                      <a:pt x="19050" y="196215"/>
                    </a:lnTo>
                    <a:lnTo>
                      <a:pt x="21908" y="192405"/>
                    </a:lnTo>
                    <a:lnTo>
                      <a:pt x="24765" y="188595"/>
                    </a:lnTo>
                    <a:lnTo>
                      <a:pt x="27623" y="185738"/>
                    </a:lnTo>
                    <a:lnTo>
                      <a:pt x="30480" y="182880"/>
                    </a:lnTo>
                    <a:lnTo>
                      <a:pt x="33338" y="180022"/>
                    </a:lnTo>
                    <a:lnTo>
                      <a:pt x="37148" y="177165"/>
                    </a:lnTo>
                    <a:lnTo>
                      <a:pt x="40958" y="174307"/>
                    </a:lnTo>
                    <a:lnTo>
                      <a:pt x="44768" y="171450"/>
                    </a:lnTo>
                    <a:lnTo>
                      <a:pt x="48578" y="168592"/>
                    </a:lnTo>
                    <a:lnTo>
                      <a:pt x="52388" y="165735"/>
                    </a:lnTo>
                    <a:lnTo>
                      <a:pt x="56198" y="163830"/>
                    </a:lnTo>
                    <a:lnTo>
                      <a:pt x="60008" y="160972"/>
                    </a:lnTo>
                    <a:lnTo>
                      <a:pt x="64770" y="159067"/>
                    </a:lnTo>
                    <a:lnTo>
                      <a:pt x="69533" y="157163"/>
                    </a:lnTo>
                    <a:lnTo>
                      <a:pt x="79058" y="153352"/>
                    </a:lnTo>
                    <a:lnTo>
                      <a:pt x="89535" y="150495"/>
                    </a:lnTo>
                    <a:lnTo>
                      <a:pt x="100013" y="147638"/>
                    </a:lnTo>
                    <a:lnTo>
                      <a:pt x="111443" y="145732"/>
                    </a:lnTo>
                    <a:lnTo>
                      <a:pt x="122873" y="143827"/>
                    </a:lnTo>
                    <a:lnTo>
                      <a:pt x="135255" y="142875"/>
                    </a:lnTo>
                    <a:lnTo>
                      <a:pt x="148590" y="141922"/>
                    </a:lnTo>
                    <a:lnTo>
                      <a:pt x="161925" y="140970"/>
                    </a:lnTo>
                    <a:lnTo>
                      <a:pt x="176213" y="140970"/>
                    </a:lnTo>
                    <a:lnTo>
                      <a:pt x="191453" y="140970"/>
                    </a:lnTo>
                    <a:lnTo>
                      <a:pt x="209550" y="140970"/>
                    </a:lnTo>
                    <a:lnTo>
                      <a:pt x="209550" y="127635"/>
                    </a:lnTo>
                    <a:lnTo>
                      <a:pt x="209550" y="120015"/>
                    </a:lnTo>
                    <a:lnTo>
                      <a:pt x="208598" y="113347"/>
                    </a:lnTo>
                    <a:lnTo>
                      <a:pt x="206693" y="106680"/>
                    </a:lnTo>
                    <a:lnTo>
                      <a:pt x="204788" y="100013"/>
                    </a:lnTo>
                    <a:lnTo>
                      <a:pt x="202883" y="94297"/>
                    </a:lnTo>
                    <a:lnTo>
                      <a:pt x="200025" y="88582"/>
                    </a:lnTo>
                    <a:lnTo>
                      <a:pt x="196215" y="82867"/>
                    </a:lnTo>
                    <a:lnTo>
                      <a:pt x="192405" y="78105"/>
                    </a:lnTo>
                    <a:lnTo>
                      <a:pt x="190500" y="75247"/>
                    </a:lnTo>
                    <a:lnTo>
                      <a:pt x="188595" y="73342"/>
                    </a:lnTo>
                    <a:lnTo>
                      <a:pt x="185738" y="71438"/>
                    </a:lnTo>
                    <a:lnTo>
                      <a:pt x="182880" y="69532"/>
                    </a:lnTo>
                    <a:lnTo>
                      <a:pt x="180023" y="67627"/>
                    </a:lnTo>
                    <a:lnTo>
                      <a:pt x="177165" y="66675"/>
                    </a:lnTo>
                    <a:lnTo>
                      <a:pt x="174308" y="65722"/>
                    </a:lnTo>
                    <a:lnTo>
                      <a:pt x="171450" y="64770"/>
                    </a:lnTo>
                    <a:lnTo>
                      <a:pt x="168593" y="63817"/>
                    </a:lnTo>
                    <a:lnTo>
                      <a:pt x="164783" y="62865"/>
                    </a:lnTo>
                    <a:lnTo>
                      <a:pt x="160973" y="61913"/>
                    </a:lnTo>
                    <a:lnTo>
                      <a:pt x="157163" y="60960"/>
                    </a:lnTo>
                    <a:lnTo>
                      <a:pt x="149543" y="60007"/>
                    </a:lnTo>
                    <a:lnTo>
                      <a:pt x="140970" y="60007"/>
                    </a:lnTo>
                    <a:lnTo>
                      <a:pt x="133350" y="60007"/>
                    </a:lnTo>
                    <a:lnTo>
                      <a:pt x="125730" y="60960"/>
                    </a:lnTo>
                    <a:lnTo>
                      <a:pt x="118110" y="61913"/>
                    </a:lnTo>
                    <a:lnTo>
                      <a:pt x="111443" y="62865"/>
                    </a:lnTo>
                    <a:lnTo>
                      <a:pt x="103823" y="64770"/>
                    </a:lnTo>
                    <a:lnTo>
                      <a:pt x="97155" y="66675"/>
                    </a:lnTo>
                    <a:lnTo>
                      <a:pt x="90488" y="69532"/>
                    </a:lnTo>
                    <a:lnTo>
                      <a:pt x="83820" y="72390"/>
                    </a:lnTo>
                    <a:lnTo>
                      <a:pt x="77153" y="75247"/>
                    </a:lnTo>
                    <a:lnTo>
                      <a:pt x="70485" y="78105"/>
                    </a:lnTo>
                    <a:lnTo>
                      <a:pt x="64770" y="80963"/>
                    </a:lnTo>
                    <a:lnTo>
                      <a:pt x="59055" y="83820"/>
                    </a:lnTo>
                    <a:lnTo>
                      <a:pt x="53340" y="86677"/>
                    </a:lnTo>
                    <a:lnTo>
                      <a:pt x="48578" y="89535"/>
                    </a:lnTo>
                    <a:lnTo>
                      <a:pt x="44768" y="92392"/>
                    </a:lnTo>
                    <a:lnTo>
                      <a:pt x="40958" y="96202"/>
                    </a:lnTo>
                    <a:lnTo>
                      <a:pt x="40958" y="96202"/>
                    </a:lnTo>
                    <a:close/>
                    <a:moveTo>
                      <a:pt x="210503" y="211455"/>
                    </a:moveTo>
                    <a:lnTo>
                      <a:pt x="210503" y="191452"/>
                    </a:lnTo>
                    <a:lnTo>
                      <a:pt x="202883" y="191452"/>
                    </a:lnTo>
                    <a:lnTo>
                      <a:pt x="187643" y="191452"/>
                    </a:lnTo>
                    <a:lnTo>
                      <a:pt x="174308" y="192405"/>
                    </a:lnTo>
                    <a:lnTo>
                      <a:pt x="161925" y="193358"/>
                    </a:lnTo>
                    <a:lnTo>
                      <a:pt x="149543" y="195263"/>
                    </a:lnTo>
                    <a:lnTo>
                      <a:pt x="139065" y="197167"/>
                    </a:lnTo>
                    <a:lnTo>
                      <a:pt x="129540" y="200025"/>
                    </a:lnTo>
                    <a:lnTo>
                      <a:pt x="124778" y="201930"/>
                    </a:lnTo>
                    <a:lnTo>
                      <a:pt x="120968" y="202883"/>
                    </a:lnTo>
                    <a:lnTo>
                      <a:pt x="117158" y="204788"/>
                    </a:lnTo>
                    <a:lnTo>
                      <a:pt x="113348" y="206692"/>
                    </a:lnTo>
                    <a:lnTo>
                      <a:pt x="109538" y="208597"/>
                    </a:lnTo>
                    <a:lnTo>
                      <a:pt x="106680" y="210502"/>
                    </a:lnTo>
                    <a:lnTo>
                      <a:pt x="103823" y="213360"/>
                    </a:lnTo>
                    <a:lnTo>
                      <a:pt x="100965" y="216217"/>
                    </a:lnTo>
                    <a:lnTo>
                      <a:pt x="98108" y="219075"/>
                    </a:lnTo>
                    <a:lnTo>
                      <a:pt x="95250" y="221933"/>
                    </a:lnTo>
                    <a:lnTo>
                      <a:pt x="93345" y="224790"/>
                    </a:lnTo>
                    <a:lnTo>
                      <a:pt x="91440" y="227647"/>
                    </a:lnTo>
                    <a:lnTo>
                      <a:pt x="89535" y="231458"/>
                    </a:lnTo>
                    <a:lnTo>
                      <a:pt x="88583" y="235267"/>
                    </a:lnTo>
                    <a:lnTo>
                      <a:pt x="86678" y="239077"/>
                    </a:lnTo>
                    <a:lnTo>
                      <a:pt x="85725" y="242888"/>
                    </a:lnTo>
                    <a:lnTo>
                      <a:pt x="84773" y="246697"/>
                    </a:lnTo>
                    <a:lnTo>
                      <a:pt x="82868" y="249555"/>
                    </a:lnTo>
                    <a:lnTo>
                      <a:pt x="82868" y="254317"/>
                    </a:lnTo>
                    <a:lnTo>
                      <a:pt x="82868" y="259080"/>
                    </a:lnTo>
                    <a:lnTo>
                      <a:pt x="82868" y="264795"/>
                    </a:lnTo>
                    <a:lnTo>
                      <a:pt x="83820" y="270510"/>
                    </a:lnTo>
                    <a:lnTo>
                      <a:pt x="84773" y="276225"/>
                    </a:lnTo>
                    <a:lnTo>
                      <a:pt x="86678" y="280988"/>
                    </a:lnTo>
                    <a:lnTo>
                      <a:pt x="88583" y="285750"/>
                    </a:lnTo>
                    <a:lnTo>
                      <a:pt x="91440" y="290513"/>
                    </a:lnTo>
                    <a:lnTo>
                      <a:pt x="94298" y="294322"/>
                    </a:lnTo>
                    <a:lnTo>
                      <a:pt x="98108" y="298133"/>
                    </a:lnTo>
                    <a:lnTo>
                      <a:pt x="101918" y="301942"/>
                    </a:lnTo>
                    <a:lnTo>
                      <a:pt x="105728" y="304800"/>
                    </a:lnTo>
                    <a:lnTo>
                      <a:pt x="110490" y="307658"/>
                    </a:lnTo>
                    <a:lnTo>
                      <a:pt x="115253" y="309563"/>
                    </a:lnTo>
                    <a:lnTo>
                      <a:pt x="120968" y="311467"/>
                    </a:lnTo>
                    <a:lnTo>
                      <a:pt x="126683" y="312420"/>
                    </a:lnTo>
                    <a:lnTo>
                      <a:pt x="132398" y="313372"/>
                    </a:lnTo>
                    <a:lnTo>
                      <a:pt x="139065" y="313372"/>
                    </a:lnTo>
                    <a:lnTo>
                      <a:pt x="143828" y="313372"/>
                    </a:lnTo>
                    <a:lnTo>
                      <a:pt x="148590" y="313372"/>
                    </a:lnTo>
                    <a:lnTo>
                      <a:pt x="152400" y="312420"/>
                    </a:lnTo>
                    <a:lnTo>
                      <a:pt x="156210" y="311467"/>
                    </a:lnTo>
                    <a:lnTo>
                      <a:pt x="160020" y="310515"/>
                    </a:lnTo>
                    <a:lnTo>
                      <a:pt x="163830" y="309563"/>
                    </a:lnTo>
                    <a:lnTo>
                      <a:pt x="167640" y="308610"/>
                    </a:lnTo>
                    <a:lnTo>
                      <a:pt x="171450" y="306705"/>
                    </a:lnTo>
                    <a:lnTo>
                      <a:pt x="175260" y="304800"/>
                    </a:lnTo>
                    <a:lnTo>
                      <a:pt x="178118" y="302895"/>
                    </a:lnTo>
                    <a:lnTo>
                      <a:pt x="180975" y="300990"/>
                    </a:lnTo>
                    <a:lnTo>
                      <a:pt x="183833" y="298133"/>
                    </a:lnTo>
                    <a:lnTo>
                      <a:pt x="186690" y="295275"/>
                    </a:lnTo>
                    <a:lnTo>
                      <a:pt x="189548" y="292417"/>
                    </a:lnTo>
                    <a:lnTo>
                      <a:pt x="192405" y="289560"/>
                    </a:lnTo>
                    <a:lnTo>
                      <a:pt x="194310" y="286702"/>
                    </a:lnTo>
                    <a:lnTo>
                      <a:pt x="196215" y="282892"/>
                    </a:lnTo>
                    <a:lnTo>
                      <a:pt x="198120" y="279083"/>
                    </a:lnTo>
                    <a:lnTo>
                      <a:pt x="200025" y="275272"/>
                    </a:lnTo>
                    <a:lnTo>
                      <a:pt x="201930" y="271463"/>
                    </a:lnTo>
                    <a:lnTo>
                      <a:pt x="202883" y="267652"/>
                    </a:lnTo>
                    <a:lnTo>
                      <a:pt x="203835" y="263842"/>
                    </a:lnTo>
                    <a:lnTo>
                      <a:pt x="204788" y="259080"/>
                    </a:lnTo>
                    <a:lnTo>
                      <a:pt x="205740" y="254317"/>
                    </a:lnTo>
                    <a:lnTo>
                      <a:pt x="207645" y="243840"/>
                    </a:lnTo>
                    <a:lnTo>
                      <a:pt x="209550" y="233363"/>
                    </a:lnTo>
                    <a:lnTo>
                      <a:pt x="210503" y="221933"/>
                    </a:lnTo>
                    <a:lnTo>
                      <a:pt x="210503" y="211455"/>
                    </a:lnTo>
                    <a:lnTo>
                      <a:pt x="210503" y="21145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65" name="Freeform 64">
                <a:extLst>
                  <a:ext uri="{FF2B5EF4-FFF2-40B4-BE49-F238E27FC236}">
                    <a16:creationId xmlns:a16="http://schemas.microsoft.com/office/drawing/2014/main" id="{56EE79D0-28B5-EA20-A3CF-5635F08453B1}"/>
                  </a:ext>
                </a:extLst>
              </p:cNvPr>
              <p:cNvSpPr/>
              <p:nvPr/>
            </p:nvSpPr>
            <p:spPr>
              <a:xfrm>
                <a:off x="9466579" y="4807356"/>
                <a:ext cx="289559" cy="369569"/>
              </a:xfrm>
              <a:custGeom>
                <a:avLst/>
                <a:gdLst>
                  <a:gd name="connsiteX0" fmla="*/ 2857 w 289559"/>
                  <a:gd name="connsiteY0" fmla="*/ 369570 h 369569"/>
                  <a:gd name="connsiteX1" fmla="*/ 2857 w 289559"/>
                  <a:gd name="connsiteY1" fmla="*/ 65723 h 369569"/>
                  <a:gd name="connsiteX2" fmla="*/ 2857 w 289559"/>
                  <a:gd name="connsiteY2" fmla="*/ 56198 h 369569"/>
                  <a:gd name="connsiteX3" fmla="*/ 3810 w 289559"/>
                  <a:gd name="connsiteY3" fmla="*/ 47625 h 369569"/>
                  <a:gd name="connsiteX4" fmla="*/ 3810 w 289559"/>
                  <a:gd name="connsiteY4" fmla="*/ 39052 h 369569"/>
                  <a:gd name="connsiteX5" fmla="*/ 2857 w 289559"/>
                  <a:gd name="connsiteY5" fmla="*/ 31433 h 369569"/>
                  <a:gd name="connsiteX6" fmla="*/ 1905 w 289559"/>
                  <a:gd name="connsiteY6" fmla="*/ 24765 h 369569"/>
                  <a:gd name="connsiteX7" fmla="*/ 1905 w 289559"/>
                  <a:gd name="connsiteY7" fmla="*/ 17145 h 369569"/>
                  <a:gd name="connsiteX8" fmla="*/ 952 w 289559"/>
                  <a:gd name="connsiteY8" fmla="*/ 11430 h 369569"/>
                  <a:gd name="connsiteX9" fmla="*/ 0 w 289559"/>
                  <a:gd name="connsiteY9" fmla="*/ 5715 h 369569"/>
                  <a:gd name="connsiteX10" fmla="*/ 82867 w 289559"/>
                  <a:gd name="connsiteY10" fmla="*/ 5715 h 369569"/>
                  <a:gd name="connsiteX11" fmla="*/ 82867 w 289559"/>
                  <a:gd name="connsiteY11" fmla="*/ 11430 h 369569"/>
                  <a:gd name="connsiteX12" fmla="*/ 82867 w 289559"/>
                  <a:gd name="connsiteY12" fmla="*/ 17145 h 369569"/>
                  <a:gd name="connsiteX13" fmla="*/ 82867 w 289559"/>
                  <a:gd name="connsiteY13" fmla="*/ 23813 h 369569"/>
                  <a:gd name="connsiteX14" fmla="*/ 83820 w 289559"/>
                  <a:gd name="connsiteY14" fmla="*/ 31433 h 369569"/>
                  <a:gd name="connsiteX15" fmla="*/ 84772 w 289559"/>
                  <a:gd name="connsiteY15" fmla="*/ 39052 h 369569"/>
                  <a:gd name="connsiteX16" fmla="*/ 84772 w 289559"/>
                  <a:gd name="connsiteY16" fmla="*/ 46673 h 369569"/>
                  <a:gd name="connsiteX17" fmla="*/ 84772 w 289559"/>
                  <a:gd name="connsiteY17" fmla="*/ 54293 h 369569"/>
                  <a:gd name="connsiteX18" fmla="*/ 84772 w 289559"/>
                  <a:gd name="connsiteY18" fmla="*/ 60960 h 369569"/>
                  <a:gd name="connsiteX19" fmla="*/ 87630 w 289559"/>
                  <a:gd name="connsiteY19" fmla="*/ 60960 h 369569"/>
                  <a:gd name="connsiteX20" fmla="*/ 86677 w 289559"/>
                  <a:gd name="connsiteY20" fmla="*/ 60960 h 369569"/>
                  <a:gd name="connsiteX21" fmla="*/ 90488 w 289559"/>
                  <a:gd name="connsiteY21" fmla="*/ 55245 h 369569"/>
                  <a:gd name="connsiteX22" fmla="*/ 94297 w 289559"/>
                  <a:gd name="connsiteY22" fmla="*/ 48577 h 369569"/>
                  <a:gd name="connsiteX23" fmla="*/ 99060 w 289559"/>
                  <a:gd name="connsiteY23" fmla="*/ 42863 h 369569"/>
                  <a:gd name="connsiteX24" fmla="*/ 103822 w 289559"/>
                  <a:gd name="connsiteY24" fmla="*/ 37148 h 369569"/>
                  <a:gd name="connsiteX25" fmla="*/ 107632 w 289559"/>
                  <a:gd name="connsiteY25" fmla="*/ 32385 h 369569"/>
                  <a:gd name="connsiteX26" fmla="*/ 112395 w 289559"/>
                  <a:gd name="connsiteY26" fmla="*/ 26670 h 369569"/>
                  <a:gd name="connsiteX27" fmla="*/ 118110 w 289559"/>
                  <a:gd name="connsiteY27" fmla="*/ 21908 h 369569"/>
                  <a:gd name="connsiteX28" fmla="*/ 122872 w 289559"/>
                  <a:gd name="connsiteY28" fmla="*/ 18098 h 369569"/>
                  <a:gd name="connsiteX29" fmla="*/ 125730 w 289559"/>
                  <a:gd name="connsiteY29" fmla="*/ 15240 h 369569"/>
                  <a:gd name="connsiteX30" fmla="*/ 128588 w 289559"/>
                  <a:gd name="connsiteY30" fmla="*/ 13335 h 369569"/>
                  <a:gd name="connsiteX31" fmla="*/ 131445 w 289559"/>
                  <a:gd name="connsiteY31" fmla="*/ 11430 h 369569"/>
                  <a:gd name="connsiteX32" fmla="*/ 135255 w 289559"/>
                  <a:gd name="connsiteY32" fmla="*/ 9525 h 369569"/>
                  <a:gd name="connsiteX33" fmla="*/ 138113 w 289559"/>
                  <a:gd name="connsiteY33" fmla="*/ 8573 h 369569"/>
                  <a:gd name="connsiteX34" fmla="*/ 141922 w 289559"/>
                  <a:gd name="connsiteY34" fmla="*/ 6668 h 369569"/>
                  <a:gd name="connsiteX35" fmla="*/ 145732 w 289559"/>
                  <a:gd name="connsiteY35" fmla="*/ 5715 h 369569"/>
                  <a:gd name="connsiteX36" fmla="*/ 148590 w 289559"/>
                  <a:gd name="connsiteY36" fmla="*/ 4763 h 369569"/>
                  <a:gd name="connsiteX37" fmla="*/ 156210 w 289559"/>
                  <a:gd name="connsiteY37" fmla="*/ 2858 h 369569"/>
                  <a:gd name="connsiteX38" fmla="*/ 164782 w 289559"/>
                  <a:gd name="connsiteY38" fmla="*/ 952 h 369569"/>
                  <a:gd name="connsiteX39" fmla="*/ 173355 w 289559"/>
                  <a:gd name="connsiteY39" fmla="*/ 0 h 369569"/>
                  <a:gd name="connsiteX40" fmla="*/ 182880 w 289559"/>
                  <a:gd name="connsiteY40" fmla="*/ 0 h 369569"/>
                  <a:gd name="connsiteX41" fmla="*/ 192405 w 289559"/>
                  <a:gd name="connsiteY41" fmla="*/ 0 h 369569"/>
                  <a:gd name="connsiteX42" fmla="*/ 201930 w 289559"/>
                  <a:gd name="connsiteY42" fmla="*/ 952 h 369569"/>
                  <a:gd name="connsiteX43" fmla="*/ 210502 w 289559"/>
                  <a:gd name="connsiteY43" fmla="*/ 2858 h 369569"/>
                  <a:gd name="connsiteX44" fmla="*/ 218122 w 289559"/>
                  <a:gd name="connsiteY44" fmla="*/ 4763 h 369569"/>
                  <a:gd name="connsiteX45" fmla="*/ 226695 w 289559"/>
                  <a:gd name="connsiteY45" fmla="*/ 6668 h 369569"/>
                  <a:gd name="connsiteX46" fmla="*/ 233363 w 289559"/>
                  <a:gd name="connsiteY46" fmla="*/ 9525 h 369569"/>
                  <a:gd name="connsiteX47" fmla="*/ 237172 w 289559"/>
                  <a:gd name="connsiteY47" fmla="*/ 11430 h 369569"/>
                  <a:gd name="connsiteX48" fmla="*/ 240030 w 289559"/>
                  <a:gd name="connsiteY48" fmla="*/ 13335 h 369569"/>
                  <a:gd name="connsiteX49" fmla="*/ 242888 w 289559"/>
                  <a:gd name="connsiteY49" fmla="*/ 15240 h 369569"/>
                  <a:gd name="connsiteX50" fmla="*/ 245745 w 289559"/>
                  <a:gd name="connsiteY50" fmla="*/ 18098 h 369569"/>
                  <a:gd name="connsiteX51" fmla="*/ 251460 w 289559"/>
                  <a:gd name="connsiteY51" fmla="*/ 21908 h 369569"/>
                  <a:gd name="connsiteX52" fmla="*/ 257175 w 289559"/>
                  <a:gd name="connsiteY52" fmla="*/ 26670 h 369569"/>
                  <a:gd name="connsiteX53" fmla="*/ 261938 w 289559"/>
                  <a:gd name="connsiteY53" fmla="*/ 32385 h 369569"/>
                  <a:gd name="connsiteX54" fmla="*/ 266700 w 289559"/>
                  <a:gd name="connsiteY54" fmla="*/ 38100 h 369569"/>
                  <a:gd name="connsiteX55" fmla="*/ 270510 w 289559"/>
                  <a:gd name="connsiteY55" fmla="*/ 44768 h 369569"/>
                  <a:gd name="connsiteX56" fmla="*/ 274320 w 289559"/>
                  <a:gd name="connsiteY56" fmla="*/ 51435 h 369569"/>
                  <a:gd name="connsiteX57" fmla="*/ 277177 w 289559"/>
                  <a:gd name="connsiteY57" fmla="*/ 58102 h 369569"/>
                  <a:gd name="connsiteX58" fmla="*/ 280035 w 289559"/>
                  <a:gd name="connsiteY58" fmla="*/ 65723 h 369569"/>
                  <a:gd name="connsiteX59" fmla="*/ 281940 w 289559"/>
                  <a:gd name="connsiteY59" fmla="*/ 73343 h 369569"/>
                  <a:gd name="connsiteX60" fmla="*/ 284797 w 289559"/>
                  <a:gd name="connsiteY60" fmla="*/ 80963 h 369569"/>
                  <a:gd name="connsiteX61" fmla="*/ 285750 w 289559"/>
                  <a:gd name="connsiteY61" fmla="*/ 89535 h 369569"/>
                  <a:gd name="connsiteX62" fmla="*/ 287655 w 289559"/>
                  <a:gd name="connsiteY62" fmla="*/ 98108 h 369569"/>
                  <a:gd name="connsiteX63" fmla="*/ 288607 w 289559"/>
                  <a:gd name="connsiteY63" fmla="*/ 106680 h 369569"/>
                  <a:gd name="connsiteX64" fmla="*/ 289560 w 289559"/>
                  <a:gd name="connsiteY64" fmla="*/ 115252 h 369569"/>
                  <a:gd name="connsiteX65" fmla="*/ 289560 w 289559"/>
                  <a:gd name="connsiteY65" fmla="*/ 124777 h 369569"/>
                  <a:gd name="connsiteX66" fmla="*/ 289560 w 289559"/>
                  <a:gd name="connsiteY66" fmla="*/ 134302 h 369569"/>
                  <a:gd name="connsiteX67" fmla="*/ 289560 w 289559"/>
                  <a:gd name="connsiteY67" fmla="*/ 369570 h 369569"/>
                  <a:gd name="connsiteX68" fmla="*/ 201930 w 289559"/>
                  <a:gd name="connsiteY68" fmla="*/ 369570 h 369569"/>
                  <a:gd name="connsiteX69" fmla="*/ 201930 w 289559"/>
                  <a:gd name="connsiteY69" fmla="*/ 151448 h 369569"/>
                  <a:gd name="connsiteX70" fmla="*/ 201930 w 289559"/>
                  <a:gd name="connsiteY70" fmla="*/ 140970 h 369569"/>
                  <a:gd name="connsiteX71" fmla="*/ 201930 w 289559"/>
                  <a:gd name="connsiteY71" fmla="*/ 131445 h 369569"/>
                  <a:gd name="connsiteX72" fmla="*/ 200977 w 289559"/>
                  <a:gd name="connsiteY72" fmla="*/ 122873 h 369569"/>
                  <a:gd name="connsiteX73" fmla="*/ 199072 w 289559"/>
                  <a:gd name="connsiteY73" fmla="*/ 115252 h 369569"/>
                  <a:gd name="connsiteX74" fmla="*/ 198120 w 289559"/>
                  <a:gd name="connsiteY74" fmla="*/ 107633 h 369569"/>
                  <a:gd name="connsiteX75" fmla="*/ 195263 w 289559"/>
                  <a:gd name="connsiteY75" fmla="*/ 101918 h 369569"/>
                  <a:gd name="connsiteX76" fmla="*/ 193357 w 289559"/>
                  <a:gd name="connsiteY76" fmla="*/ 95250 h 369569"/>
                  <a:gd name="connsiteX77" fmla="*/ 190500 w 289559"/>
                  <a:gd name="connsiteY77" fmla="*/ 90488 h 369569"/>
                  <a:gd name="connsiteX78" fmla="*/ 187642 w 289559"/>
                  <a:gd name="connsiteY78" fmla="*/ 86677 h 369569"/>
                  <a:gd name="connsiteX79" fmla="*/ 183832 w 289559"/>
                  <a:gd name="connsiteY79" fmla="*/ 82868 h 369569"/>
                  <a:gd name="connsiteX80" fmla="*/ 181927 w 289559"/>
                  <a:gd name="connsiteY80" fmla="*/ 80963 h 369569"/>
                  <a:gd name="connsiteX81" fmla="*/ 180022 w 289559"/>
                  <a:gd name="connsiteY81" fmla="*/ 80010 h 369569"/>
                  <a:gd name="connsiteX82" fmla="*/ 177165 w 289559"/>
                  <a:gd name="connsiteY82" fmla="*/ 78105 h 369569"/>
                  <a:gd name="connsiteX83" fmla="*/ 175260 w 289559"/>
                  <a:gd name="connsiteY83" fmla="*/ 77152 h 369569"/>
                  <a:gd name="connsiteX84" fmla="*/ 169545 w 289559"/>
                  <a:gd name="connsiteY84" fmla="*/ 75248 h 369569"/>
                  <a:gd name="connsiteX85" fmla="*/ 164782 w 289559"/>
                  <a:gd name="connsiteY85" fmla="*/ 74295 h 369569"/>
                  <a:gd name="connsiteX86" fmla="*/ 159067 w 289559"/>
                  <a:gd name="connsiteY86" fmla="*/ 72390 h 369569"/>
                  <a:gd name="connsiteX87" fmla="*/ 152400 w 289559"/>
                  <a:gd name="connsiteY87" fmla="*/ 72390 h 369569"/>
                  <a:gd name="connsiteX88" fmla="*/ 148590 w 289559"/>
                  <a:gd name="connsiteY88" fmla="*/ 72390 h 369569"/>
                  <a:gd name="connsiteX89" fmla="*/ 144780 w 289559"/>
                  <a:gd name="connsiteY89" fmla="*/ 72390 h 369569"/>
                  <a:gd name="connsiteX90" fmla="*/ 140970 w 289559"/>
                  <a:gd name="connsiteY90" fmla="*/ 73343 h 369569"/>
                  <a:gd name="connsiteX91" fmla="*/ 137160 w 289559"/>
                  <a:gd name="connsiteY91" fmla="*/ 74295 h 369569"/>
                  <a:gd name="connsiteX92" fmla="*/ 134302 w 289559"/>
                  <a:gd name="connsiteY92" fmla="*/ 75248 h 369569"/>
                  <a:gd name="connsiteX93" fmla="*/ 130492 w 289559"/>
                  <a:gd name="connsiteY93" fmla="*/ 76200 h 369569"/>
                  <a:gd name="connsiteX94" fmla="*/ 127635 w 289559"/>
                  <a:gd name="connsiteY94" fmla="*/ 77152 h 369569"/>
                  <a:gd name="connsiteX95" fmla="*/ 124777 w 289559"/>
                  <a:gd name="connsiteY95" fmla="*/ 78105 h 369569"/>
                  <a:gd name="connsiteX96" fmla="*/ 121920 w 289559"/>
                  <a:gd name="connsiteY96" fmla="*/ 80010 h 369569"/>
                  <a:gd name="connsiteX97" fmla="*/ 119063 w 289559"/>
                  <a:gd name="connsiteY97" fmla="*/ 81915 h 369569"/>
                  <a:gd name="connsiteX98" fmla="*/ 116205 w 289559"/>
                  <a:gd name="connsiteY98" fmla="*/ 83820 h 369569"/>
                  <a:gd name="connsiteX99" fmla="*/ 113347 w 289559"/>
                  <a:gd name="connsiteY99" fmla="*/ 85725 h 369569"/>
                  <a:gd name="connsiteX100" fmla="*/ 111442 w 289559"/>
                  <a:gd name="connsiteY100" fmla="*/ 88583 h 369569"/>
                  <a:gd name="connsiteX101" fmla="*/ 109538 w 289559"/>
                  <a:gd name="connsiteY101" fmla="*/ 90488 h 369569"/>
                  <a:gd name="connsiteX102" fmla="*/ 106680 w 289559"/>
                  <a:gd name="connsiteY102" fmla="*/ 93345 h 369569"/>
                  <a:gd name="connsiteX103" fmla="*/ 105727 w 289559"/>
                  <a:gd name="connsiteY103" fmla="*/ 96202 h 369569"/>
                  <a:gd name="connsiteX104" fmla="*/ 101917 w 289559"/>
                  <a:gd name="connsiteY104" fmla="*/ 101918 h 369569"/>
                  <a:gd name="connsiteX105" fmla="*/ 99060 w 289559"/>
                  <a:gd name="connsiteY105" fmla="*/ 108585 h 369569"/>
                  <a:gd name="connsiteX106" fmla="*/ 96202 w 289559"/>
                  <a:gd name="connsiteY106" fmla="*/ 116205 h 369569"/>
                  <a:gd name="connsiteX107" fmla="*/ 94297 w 289559"/>
                  <a:gd name="connsiteY107" fmla="*/ 122873 h 369569"/>
                  <a:gd name="connsiteX108" fmla="*/ 92392 w 289559"/>
                  <a:gd name="connsiteY108" fmla="*/ 131445 h 369569"/>
                  <a:gd name="connsiteX109" fmla="*/ 91440 w 289559"/>
                  <a:gd name="connsiteY109" fmla="*/ 140018 h 369569"/>
                  <a:gd name="connsiteX110" fmla="*/ 90488 w 289559"/>
                  <a:gd name="connsiteY110" fmla="*/ 148590 h 369569"/>
                  <a:gd name="connsiteX111" fmla="*/ 90488 w 289559"/>
                  <a:gd name="connsiteY111" fmla="*/ 158115 h 369569"/>
                  <a:gd name="connsiteX112" fmla="*/ 90488 w 289559"/>
                  <a:gd name="connsiteY112" fmla="*/ 369570 h 369569"/>
                  <a:gd name="connsiteX113" fmla="*/ 2857 w 289559"/>
                  <a:gd name="connsiteY113" fmla="*/ 369570 h 369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</a:cxnLst>
                <a:rect l="l" t="t" r="r" b="b"/>
                <a:pathLst>
                  <a:path w="289559" h="369569">
                    <a:moveTo>
                      <a:pt x="2857" y="369570"/>
                    </a:moveTo>
                    <a:lnTo>
                      <a:pt x="2857" y="65723"/>
                    </a:lnTo>
                    <a:lnTo>
                      <a:pt x="2857" y="56198"/>
                    </a:lnTo>
                    <a:lnTo>
                      <a:pt x="3810" y="47625"/>
                    </a:lnTo>
                    <a:lnTo>
                      <a:pt x="3810" y="39052"/>
                    </a:lnTo>
                    <a:lnTo>
                      <a:pt x="2857" y="31433"/>
                    </a:lnTo>
                    <a:lnTo>
                      <a:pt x="1905" y="24765"/>
                    </a:lnTo>
                    <a:lnTo>
                      <a:pt x="1905" y="17145"/>
                    </a:lnTo>
                    <a:lnTo>
                      <a:pt x="952" y="11430"/>
                    </a:lnTo>
                    <a:lnTo>
                      <a:pt x="0" y="5715"/>
                    </a:lnTo>
                    <a:lnTo>
                      <a:pt x="82867" y="5715"/>
                    </a:lnTo>
                    <a:lnTo>
                      <a:pt x="82867" y="11430"/>
                    </a:lnTo>
                    <a:lnTo>
                      <a:pt x="82867" y="17145"/>
                    </a:lnTo>
                    <a:lnTo>
                      <a:pt x="82867" y="23813"/>
                    </a:lnTo>
                    <a:lnTo>
                      <a:pt x="83820" y="31433"/>
                    </a:lnTo>
                    <a:lnTo>
                      <a:pt x="84772" y="39052"/>
                    </a:lnTo>
                    <a:lnTo>
                      <a:pt x="84772" y="46673"/>
                    </a:lnTo>
                    <a:lnTo>
                      <a:pt x="84772" y="54293"/>
                    </a:lnTo>
                    <a:lnTo>
                      <a:pt x="84772" y="60960"/>
                    </a:lnTo>
                    <a:lnTo>
                      <a:pt x="87630" y="60960"/>
                    </a:lnTo>
                    <a:lnTo>
                      <a:pt x="86677" y="60960"/>
                    </a:lnTo>
                    <a:lnTo>
                      <a:pt x="90488" y="55245"/>
                    </a:lnTo>
                    <a:lnTo>
                      <a:pt x="94297" y="48577"/>
                    </a:lnTo>
                    <a:lnTo>
                      <a:pt x="99060" y="42863"/>
                    </a:lnTo>
                    <a:lnTo>
                      <a:pt x="103822" y="37148"/>
                    </a:lnTo>
                    <a:lnTo>
                      <a:pt x="107632" y="32385"/>
                    </a:lnTo>
                    <a:lnTo>
                      <a:pt x="112395" y="26670"/>
                    </a:lnTo>
                    <a:lnTo>
                      <a:pt x="118110" y="21908"/>
                    </a:lnTo>
                    <a:lnTo>
                      <a:pt x="122872" y="18098"/>
                    </a:lnTo>
                    <a:lnTo>
                      <a:pt x="125730" y="15240"/>
                    </a:lnTo>
                    <a:lnTo>
                      <a:pt x="128588" y="13335"/>
                    </a:lnTo>
                    <a:lnTo>
                      <a:pt x="131445" y="11430"/>
                    </a:lnTo>
                    <a:lnTo>
                      <a:pt x="135255" y="9525"/>
                    </a:lnTo>
                    <a:lnTo>
                      <a:pt x="138113" y="8573"/>
                    </a:lnTo>
                    <a:lnTo>
                      <a:pt x="141922" y="6668"/>
                    </a:lnTo>
                    <a:lnTo>
                      <a:pt x="145732" y="5715"/>
                    </a:lnTo>
                    <a:lnTo>
                      <a:pt x="148590" y="4763"/>
                    </a:lnTo>
                    <a:lnTo>
                      <a:pt x="156210" y="2858"/>
                    </a:lnTo>
                    <a:lnTo>
                      <a:pt x="164782" y="952"/>
                    </a:lnTo>
                    <a:lnTo>
                      <a:pt x="173355" y="0"/>
                    </a:lnTo>
                    <a:lnTo>
                      <a:pt x="182880" y="0"/>
                    </a:lnTo>
                    <a:lnTo>
                      <a:pt x="192405" y="0"/>
                    </a:lnTo>
                    <a:lnTo>
                      <a:pt x="201930" y="952"/>
                    </a:lnTo>
                    <a:lnTo>
                      <a:pt x="210502" y="2858"/>
                    </a:lnTo>
                    <a:lnTo>
                      <a:pt x="218122" y="4763"/>
                    </a:lnTo>
                    <a:lnTo>
                      <a:pt x="226695" y="6668"/>
                    </a:lnTo>
                    <a:lnTo>
                      <a:pt x="233363" y="9525"/>
                    </a:lnTo>
                    <a:lnTo>
                      <a:pt x="237172" y="11430"/>
                    </a:lnTo>
                    <a:lnTo>
                      <a:pt x="240030" y="13335"/>
                    </a:lnTo>
                    <a:lnTo>
                      <a:pt x="242888" y="15240"/>
                    </a:lnTo>
                    <a:lnTo>
                      <a:pt x="245745" y="18098"/>
                    </a:lnTo>
                    <a:lnTo>
                      <a:pt x="251460" y="21908"/>
                    </a:lnTo>
                    <a:lnTo>
                      <a:pt x="257175" y="26670"/>
                    </a:lnTo>
                    <a:lnTo>
                      <a:pt x="261938" y="32385"/>
                    </a:lnTo>
                    <a:lnTo>
                      <a:pt x="266700" y="38100"/>
                    </a:lnTo>
                    <a:lnTo>
                      <a:pt x="270510" y="44768"/>
                    </a:lnTo>
                    <a:lnTo>
                      <a:pt x="274320" y="51435"/>
                    </a:lnTo>
                    <a:lnTo>
                      <a:pt x="277177" y="58102"/>
                    </a:lnTo>
                    <a:lnTo>
                      <a:pt x="280035" y="65723"/>
                    </a:lnTo>
                    <a:lnTo>
                      <a:pt x="281940" y="73343"/>
                    </a:lnTo>
                    <a:lnTo>
                      <a:pt x="284797" y="80963"/>
                    </a:lnTo>
                    <a:lnTo>
                      <a:pt x="285750" y="89535"/>
                    </a:lnTo>
                    <a:lnTo>
                      <a:pt x="287655" y="98108"/>
                    </a:lnTo>
                    <a:lnTo>
                      <a:pt x="288607" y="106680"/>
                    </a:lnTo>
                    <a:lnTo>
                      <a:pt x="289560" y="115252"/>
                    </a:lnTo>
                    <a:lnTo>
                      <a:pt x="289560" y="124777"/>
                    </a:lnTo>
                    <a:lnTo>
                      <a:pt x="289560" y="134302"/>
                    </a:lnTo>
                    <a:lnTo>
                      <a:pt x="289560" y="369570"/>
                    </a:lnTo>
                    <a:lnTo>
                      <a:pt x="201930" y="369570"/>
                    </a:lnTo>
                    <a:lnTo>
                      <a:pt x="201930" y="151448"/>
                    </a:lnTo>
                    <a:lnTo>
                      <a:pt x="201930" y="140970"/>
                    </a:lnTo>
                    <a:lnTo>
                      <a:pt x="201930" y="131445"/>
                    </a:lnTo>
                    <a:lnTo>
                      <a:pt x="200977" y="122873"/>
                    </a:lnTo>
                    <a:lnTo>
                      <a:pt x="199072" y="115252"/>
                    </a:lnTo>
                    <a:lnTo>
                      <a:pt x="198120" y="107633"/>
                    </a:lnTo>
                    <a:lnTo>
                      <a:pt x="195263" y="101918"/>
                    </a:lnTo>
                    <a:lnTo>
                      <a:pt x="193357" y="95250"/>
                    </a:lnTo>
                    <a:lnTo>
                      <a:pt x="190500" y="90488"/>
                    </a:lnTo>
                    <a:lnTo>
                      <a:pt x="187642" y="86677"/>
                    </a:lnTo>
                    <a:lnTo>
                      <a:pt x="183832" y="82868"/>
                    </a:lnTo>
                    <a:lnTo>
                      <a:pt x="181927" y="80963"/>
                    </a:lnTo>
                    <a:lnTo>
                      <a:pt x="180022" y="80010"/>
                    </a:lnTo>
                    <a:lnTo>
                      <a:pt x="177165" y="78105"/>
                    </a:lnTo>
                    <a:lnTo>
                      <a:pt x="175260" y="77152"/>
                    </a:lnTo>
                    <a:lnTo>
                      <a:pt x="169545" y="75248"/>
                    </a:lnTo>
                    <a:lnTo>
                      <a:pt x="164782" y="74295"/>
                    </a:lnTo>
                    <a:lnTo>
                      <a:pt x="159067" y="72390"/>
                    </a:lnTo>
                    <a:lnTo>
                      <a:pt x="152400" y="72390"/>
                    </a:lnTo>
                    <a:lnTo>
                      <a:pt x="148590" y="72390"/>
                    </a:lnTo>
                    <a:lnTo>
                      <a:pt x="144780" y="72390"/>
                    </a:lnTo>
                    <a:lnTo>
                      <a:pt x="140970" y="73343"/>
                    </a:lnTo>
                    <a:lnTo>
                      <a:pt x="137160" y="74295"/>
                    </a:lnTo>
                    <a:lnTo>
                      <a:pt x="134302" y="75248"/>
                    </a:lnTo>
                    <a:lnTo>
                      <a:pt x="130492" y="76200"/>
                    </a:lnTo>
                    <a:lnTo>
                      <a:pt x="127635" y="77152"/>
                    </a:lnTo>
                    <a:lnTo>
                      <a:pt x="124777" y="78105"/>
                    </a:lnTo>
                    <a:lnTo>
                      <a:pt x="121920" y="80010"/>
                    </a:lnTo>
                    <a:lnTo>
                      <a:pt x="119063" y="81915"/>
                    </a:lnTo>
                    <a:lnTo>
                      <a:pt x="116205" y="83820"/>
                    </a:lnTo>
                    <a:lnTo>
                      <a:pt x="113347" y="85725"/>
                    </a:lnTo>
                    <a:lnTo>
                      <a:pt x="111442" y="88583"/>
                    </a:lnTo>
                    <a:lnTo>
                      <a:pt x="109538" y="90488"/>
                    </a:lnTo>
                    <a:lnTo>
                      <a:pt x="106680" y="93345"/>
                    </a:lnTo>
                    <a:lnTo>
                      <a:pt x="105727" y="96202"/>
                    </a:lnTo>
                    <a:lnTo>
                      <a:pt x="101917" y="101918"/>
                    </a:lnTo>
                    <a:lnTo>
                      <a:pt x="99060" y="108585"/>
                    </a:lnTo>
                    <a:lnTo>
                      <a:pt x="96202" y="116205"/>
                    </a:lnTo>
                    <a:lnTo>
                      <a:pt x="94297" y="122873"/>
                    </a:lnTo>
                    <a:lnTo>
                      <a:pt x="92392" y="131445"/>
                    </a:lnTo>
                    <a:lnTo>
                      <a:pt x="91440" y="140018"/>
                    </a:lnTo>
                    <a:lnTo>
                      <a:pt x="90488" y="148590"/>
                    </a:lnTo>
                    <a:lnTo>
                      <a:pt x="90488" y="158115"/>
                    </a:lnTo>
                    <a:lnTo>
                      <a:pt x="90488" y="369570"/>
                    </a:lnTo>
                    <a:lnTo>
                      <a:pt x="2857" y="36957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66" name="Freeform 65">
                <a:extLst>
                  <a:ext uri="{FF2B5EF4-FFF2-40B4-BE49-F238E27FC236}">
                    <a16:creationId xmlns:a16="http://schemas.microsoft.com/office/drawing/2014/main" id="{FB81D317-C07E-DE67-F31A-C66341EA1683}"/>
                  </a:ext>
                </a:extLst>
              </p:cNvPr>
              <p:cNvSpPr/>
              <p:nvPr/>
            </p:nvSpPr>
            <p:spPr>
              <a:xfrm>
                <a:off x="9819956" y="4658767"/>
                <a:ext cx="90487" cy="518159"/>
              </a:xfrm>
              <a:custGeom>
                <a:avLst/>
                <a:gdLst>
                  <a:gd name="connsiteX0" fmla="*/ 953 w 90487"/>
                  <a:gd name="connsiteY0" fmla="*/ 518160 h 518159"/>
                  <a:gd name="connsiteX1" fmla="*/ 953 w 90487"/>
                  <a:gd name="connsiteY1" fmla="*/ 155258 h 518159"/>
                  <a:gd name="connsiteX2" fmla="*/ 88583 w 90487"/>
                  <a:gd name="connsiteY2" fmla="*/ 155258 h 518159"/>
                  <a:gd name="connsiteX3" fmla="*/ 88583 w 90487"/>
                  <a:gd name="connsiteY3" fmla="*/ 518160 h 518159"/>
                  <a:gd name="connsiteX4" fmla="*/ 953 w 90487"/>
                  <a:gd name="connsiteY4" fmla="*/ 518160 h 518159"/>
                  <a:gd name="connsiteX5" fmla="*/ 953 w 90487"/>
                  <a:gd name="connsiteY5" fmla="*/ 518160 h 518159"/>
                  <a:gd name="connsiteX6" fmla="*/ 0 w 90487"/>
                  <a:gd name="connsiteY6" fmla="*/ 85725 h 518159"/>
                  <a:gd name="connsiteX7" fmla="*/ 0 w 90487"/>
                  <a:gd name="connsiteY7" fmla="*/ 0 h 518159"/>
                  <a:gd name="connsiteX8" fmla="*/ 90488 w 90487"/>
                  <a:gd name="connsiteY8" fmla="*/ 0 h 518159"/>
                  <a:gd name="connsiteX9" fmla="*/ 90488 w 90487"/>
                  <a:gd name="connsiteY9" fmla="*/ 86677 h 518159"/>
                  <a:gd name="connsiteX10" fmla="*/ 0 w 90487"/>
                  <a:gd name="connsiteY10" fmla="*/ 86677 h 518159"/>
                  <a:gd name="connsiteX11" fmla="*/ 0 w 90487"/>
                  <a:gd name="connsiteY11" fmla="*/ 85725 h 518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0487" h="518159">
                    <a:moveTo>
                      <a:pt x="953" y="518160"/>
                    </a:moveTo>
                    <a:lnTo>
                      <a:pt x="953" y="155258"/>
                    </a:lnTo>
                    <a:lnTo>
                      <a:pt x="88583" y="155258"/>
                    </a:lnTo>
                    <a:lnTo>
                      <a:pt x="88583" y="518160"/>
                    </a:lnTo>
                    <a:lnTo>
                      <a:pt x="953" y="518160"/>
                    </a:lnTo>
                    <a:lnTo>
                      <a:pt x="953" y="518160"/>
                    </a:lnTo>
                    <a:close/>
                    <a:moveTo>
                      <a:pt x="0" y="85725"/>
                    </a:moveTo>
                    <a:lnTo>
                      <a:pt x="0" y="0"/>
                    </a:lnTo>
                    <a:lnTo>
                      <a:pt x="90488" y="0"/>
                    </a:lnTo>
                    <a:lnTo>
                      <a:pt x="90488" y="86677"/>
                    </a:lnTo>
                    <a:lnTo>
                      <a:pt x="0" y="86677"/>
                    </a:lnTo>
                    <a:lnTo>
                      <a:pt x="0" y="8572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15EE648F-FE45-7C53-CEE4-29894D56E2B2}"/>
                  </a:ext>
                </a:extLst>
              </p:cNvPr>
              <p:cNvSpPr/>
              <p:nvPr/>
            </p:nvSpPr>
            <p:spPr>
              <a:xfrm>
                <a:off x="9953306" y="4813071"/>
                <a:ext cx="247650" cy="364807"/>
              </a:xfrm>
              <a:custGeom>
                <a:avLst/>
                <a:gdLst>
                  <a:gd name="connsiteX0" fmla="*/ 0 w 247650"/>
                  <a:gd name="connsiteY0" fmla="*/ 364808 h 364807"/>
                  <a:gd name="connsiteX1" fmla="*/ 0 w 247650"/>
                  <a:gd name="connsiteY1" fmla="*/ 288608 h 364807"/>
                  <a:gd name="connsiteX2" fmla="*/ 155258 w 247650"/>
                  <a:gd name="connsiteY2" fmla="*/ 66675 h 364807"/>
                  <a:gd name="connsiteX3" fmla="*/ 5715 w 247650"/>
                  <a:gd name="connsiteY3" fmla="*/ 66675 h 364807"/>
                  <a:gd name="connsiteX4" fmla="*/ 5715 w 247650"/>
                  <a:gd name="connsiteY4" fmla="*/ 0 h 364807"/>
                  <a:gd name="connsiteX5" fmla="*/ 242888 w 247650"/>
                  <a:gd name="connsiteY5" fmla="*/ 0 h 364807"/>
                  <a:gd name="connsiteX6" fmla="*/ 242888 w 247650"/>
                  <a:gd name="connsiteY6" fmla="*/ 75248 h 364807"/>
                  <a:gd name="connsiteX7" fmla="*/ 90488 w 247650"/>
                  <a:gd name="connsiteY7" fmla="*/ 298133 h 364807"/>
                  <a:gd name="connsiteX8" fmla="*/ 247650 w 247650"/>
                  <a:gd name="connsiteY8" fmla="*/ 298133 h 364807"/>
                  <a:gd name="connsiteX9" fmla="*/ 247650 w 247650"/>
                  <a:gd name="connsiteY9" fmla="*/ 364808 h 364807"/>
                  <a:gd name="connsiteX10" fmla="*/ 0 w 247650"/>
                  <a:gd name="connsiteY10" fmla="*/ 364808 h 364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7650" h="364807">
                    <a:moveTo>
                      <a:pt x="0" y="364808"/>
                    </a:moveTo>
                    <a:lnTo>
                      <a:pt x="0" y="288608"/>
                    </a:lnTo>
                    <a:lnTo>
                      <a:pt x="155258" y="66675"/>
                    </a:lnTo>
                    <a:lnTo>
                      <a:pt x="5715" y="66675"/>
                    </a:lnTo>
                    <a:lnTo>
                      <a:pt x="5715" y="0"/>
                    </a:lnTo>
                    <a:lnTo>
                      <a:pt x="242888" y="0"/>
                    </a:lnTo>
                    <a:lnTo>
                      <a:pt x="242888" y="75248"/>
                    </a:lnTo>
                    <a:lnTo>
                      <a:pt x="90488" y="298133"/>
                    </a:lnTo>
                    <a:lnTo>
                      <a:pt x="247650" y="298133"/>
                    </a:lnTo>
                    <a:lnTo>
                      <a:pt x="247650" y="364808"/>
                    </a:lnTo>
                    <a:lnTo>
                      <a:pt x="0" y="364808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8C9DC30A-D24C-2247-C626-7BDB80307C65}"/>
                  </a:ext>
                </a:extLst>
              </p:cNvPr>
              <p:cNvSpPr/>
              <p:nvPr/>
            </p:nvSpPr>
            <p:spPr>
              <a:xfrm>
                <a:off x="10218102" y="4809262"/>
                <a:ext cx="297179" cy="372427"/>
              </a:xfrm>
              <a:custGeom>
                <a:avLst/>
                <a:gdLst>
                  <a:gd name="connsiteX0" fmla="*/ 40005 w 297179"/>
                  <a:gd name="connsiteY0" fmla="*/ 96202 h 372427"/>
                  <a:gd name="connsiteX1" fmla="*/ 35242 w 297179"/>
                  <a:gd name="connsiteY1" fmla="*/ 25717 h 372427"/>
                  <a:gd name="connsiteX2" fmla="*/ 47625 w 297179"/>
                  <a:gd name="connsiteY2" fmla="*/ 20002 h 372427"/>
                  <a:gd name="connsiteX3" fmla="*/ 60007 w 297179"/>
                  <a:gd name="connsiteY3" fmla="*/ 14288 h 372427"/>
                  <a:gd name="connsiteX4" fmla="*/ 73342 w 297179"/>
                  <a:gd name="connsiteY4" fmla="*/ 9525 h 372427"/>
                  <a:gd name="connsiteX5" fmla="*/ 86678 w 297179"/>
                  <a:gd name="connsiteY5" fmla="*/ 5715 h 372427"/>
                  <a:gd name="connsiteX6" fmla="*/ 93345 w 297179"/>
                  <a:gd name="connsiteY6" fmla="*/ 3810 h 372427"/>
                  <a:gd name="connsiteX7" fmla="*/ 100013 w 297179"/>
                  <a:gd name="connsiteY7" fmla="*/ 2857 h 372427"/>
                  <a:gd name="connsiteX8" fmla="*/ 107632 w 297179"/>
                  <a:gd name="connsiteY8" fmla="*/ 1905 h 372427"/>
                  <a:gd name="connsiteX9" fmla="*/ 115253 w 297179"/>
                  <a:gd name="connsiteY9" fmla="*/ 952 h 372427"/>
                  <a:gd name="connsiteX10" fmla="*/ 123825 w 297179"/>
                  <a:gd name="connsiteY10" fmla="*/ 0 h 372427"/>
                  <a:gd name="connsiteX11" fmla="*/ 132397 w 297179"/>
                  <a:gd name="connsiteY11" fmla="*/ 0 h 372427"/>
                  <a:gd name="connsiteX12" fmla="*/ 140970 w 297179"/>
                  <a:gd name="connsiteY12" fmla="*/ 0 h 372427"/>
                  <a:gd name="connsiteX13" fmla="*/ 150495 w 297179"/>
                  <a:gd name="connsiteY13" fmla="*/ 0 h 372427"/>
                  <a:gd name="connsiteX14" fmla="*/ 163830 w 297179"/>
                  <a:gd name="connsiteY14" fmla="*/ 0 h 372427"/>
                  <a:gd name="connsiteX15" fmla="*/ 176213 w 297179"/>
                  <a:gd name="connsiteY15" fmla="*/ 952 h 372427"/>
                  <a:gd name="connsiteX16" fmla="*/ 188595 w 297179"/>
                  <a:gd name="connsiteY16" fmla="*/ 1905 h 372427"/>
                  <a:gd name="connsiteX17" fmla="*/ 200025 w 297179"/>
                  <a:gd name="connsiteY17" fmla="*/ 3810 h 372427"/>
                  <a:gd name="connsiteX18" fmla="*/ 210503 w 297179"/>
                  <a:gd name="connsiteY18" fmla="*/ 5715 h 372427"/>
                  <a:gd name="connsiteX19" fmla="*/ 220028 w 297179"/>
                  <a:gd name="connsiteY19" fmla="*/ 8572 h 372427"/>
                  <a:gd name="connsiteX20" fmla="*/ 224790 w 297179"/>
                  <a:gd name="connsiteY20" fmla="*/ 10477 h 372427"/>
                  <a:gd name="connsiteX21" fmla="*/ 228600 w 297179"/>
                  <a:gd name="connsiteY21" fmla="*/ 12382 h 372427"/>
                  <a:gd name="connsiteX22" fmla="*/ 232410 w 297179"/>
                  <a:gd name="connsiteY22" fmla="*/ 14288 h 372427"/>
                  <a:gd name="connsiteX23" fmla="*/ 236220 w 297179"/>
                  <a:gd name="connsiteY23" fmla="*/ 16192 h 372427"/>
                  <a:gd name="connsiteX24" fmla="*/ 243840 w 297179"/>
                  <a:gd name="connsiteY24" fmla="*/ 20955 h 372427"/>
                  <a:gd name="connsiteX25" fmla="*/ 250507 w 297179"/>
                  <a:gd name="connsiteY25" fmla="*/ 25717 h 372427"/>
                  <a:gd name="connsiteX26" fmla="*/ 253365 w 297179"/>
                  <a:gd name="connsiteY26" fmla="*/ 28575 h 372427"/>
                  <a:gd name="connsiteX27" fmla="*/ 256222 w 297179"/>
                  <a:gd name="connsiteY27" fmla="*/ 31432 h 372427"/>
                  <a:gd name="connsiteX28" fmla="*/ 259080 w 297179"/>
                  <a:gd name="connsiteY28" fmla="*/ 34290 h 372427"/>
                  <a:gd name="connsiteX29" fmla="*/ 261938 w 297179"/>
                  <a:gd name="connsiteY29" fmla="*/ 37147 h 372427"/>
                  <a:gd name="connsiteX30" fmla="*/ 264795 w 297179"/>
                  <a:gd name="connsiteY30" fmla="*/ 40005 h 372427"/>
                  <a:gd name="connsiteX31" fmla="*/ 267653 w 297179"/>
                  <a:gd name="connsiteY31" fmla="*/ 42863 h 372427"/>
                  <a:gd name="connsiteX32" fmla="*/ 270510 w 297179"/>
                  <a:gd name="connsiteY32" fmla="*/ 45720 h 372427"/>
                  <a:gd name="connsiteX33" fmla="*/ 272415 w 297179"/>
                  <a:gd name="connsiteY33" fmla="*/ 49530 h 372427"/>
                  <a:gd name="connsiteX34" fmla="*/ 274320 w 297179"/>
                  <a:gd name="connsiteY34" fmla="*/ 53340 h 372427"/>
                  <a:gd name="connsiteX35" fmla="*/ 276225 w 297179"/>
                  <a:gd name="connsiteY35" fmla="*/ 57150 h 372427"/>
                  <a:gd name="connsiteX36" fmla="*/ 278130 w 297179"/>
                  <a:gd name="connsiteY36" fmla="*/ 60960 h 372427"/>
                  <a:gd name="connsiteX37" fmla="*/ 280035 w 297179"/>
                  <a:gd name="connsiteY37" fmla="*/ 64770 h 372427"/>
                  <a:gd name="connsiteX38" fmla="*/ 282892 w 297179"/>
                  <a:gd name="connsiteY38" fmla="*/ 72390 h 372427"/>
                  <a:gd name="connsiteX39" fmla="*/ 285750 w 297179"/>
                  <a:gd name="connsiteY39" fmla="*/ 80963 h 372427"/>
                  <a:gd name="connsiteX40" fmla="*/ 287655 w 297179"/>
                  <a:gd name="connsiteY40" fmla="*/ 90488 h 372427"/>
                  <a:gd name="connsiteX41" fmla="*/ 289560 w 297179"/>
                  <a:gd name="connsiteY41" fmla="*/ 100013 h 372427"/>
                  <a:gd name="connsiteX42" fmla="*/ 290513 w 297179"/>
                  <a:gd name="connsiteY42" fmla="*/ 110490 h 372427"/>
                  <a:gd name="connsiteX43" fmla="*/ 291465 w 297179"/>
                  <a:gd name="connsiteY43" fmla="*/ 120967 h 372427"/>
                  <a:gd name="connsiteX44" fmla="*/ 292417 w 297179"/>
                  <a:gd name="connsiteY44" fmla="*/ 132397 h 372427"/>
                  <a:gd name="connsiteX45" fmla="*/ 292417 w 297179"/>
                  <a:gd name="connsiteY45" fmla="*/ 143827 h 372427"/>
                  <a:gd name="connsiteX46" fmla="*/ 292417 w 297179"/>
                  <a:gd name="connsiteY46" fmla="*/ 302895 h 372427"/>
                  <a:gd name="connsiteX47" fmla="*/ 292417 w 297179"/>
                  <a:gd name="connsiteY47" fmla="*/ 310515 h 372427"/>
                  <a:gd name="connsiteX48" fmla="*/ 292417 w 297179"/>
                  <a:gd name="connsiteY48" fmla="*/ 319088 h 372427"/>
                  <a:gd name="connsiteX49" fmla="*/ 293370 w 297179"/>
                  <a:gd name="connsiteY49" fmla="*/ 326708 h 372427"/>
                  <a:gd name="connsiteX50" fmla="*/ 293370 w 297179"/>
                  <a:gd name="connsiteY50" fmla="*/ 334327 h 372427"/>
                  <a:gd name="connsiteX51" fmla="*/ 294322 w 297179"/>
                  <a:gd name="connsiteY51" fmla="*/ 342900 h 372427"/>
                  <a:gd name="connsiteX52" fmla="*/ 295275 w 297179"/>
                  <a:gd name="connsiteY52" fmla="*/ 350520 h 372427"/>
                  <a:gd name="connsiteX53" fmla="*/ 296228 w 297179"/>
                  <a:gd name="connsiteY53" fmla="*/ 358140 h 372427"/>
                  <a:gd name="connsiteX54" fmla="*/ 297180 w 297179"/>
                  <a:gd name="connsiteY54" fmla="*/ 365760 h 372427"/>
                  <a:gd name="connsiteX55" fmla="*/ 217170 w 297179"/>
                  <a:gd name="connsiteY55" fmla="*/ 365760 h 372427"/>
                  <a:gd name="connsiteX56" fmla="*/ 216217 w 297179"/>
                  <a:gd name="connsiteY56" fmla="*/ 360997 h 372427"/>
                  <a:gd name="connsiteX57" fmla="*/ 215265 w 297179"/>
                  <a:gd name="connsiteY57" fmla="*/ 356235 h 372427"/>
                  <a:gd name="connsiteX58" fmla="*/ 214313 w 297179"/>
                  <a:gd name="connsiteY58" fmla="*/ 350520 h 372427"/>
                  <a:gd name="connsiteX59" fmla="*/ 213360 w 297179"/>
                  <a:gd name="connsiteY59" fmla="*/ 344805 h 372427"/>
                  <a:gd name="connsiteX60" fmla="*/ 212407 w 297179"/>
                  <a:gd name="connsiteY60" fmla="*/ 338138 h 372427"/>
                  <a:gd name="connsiteX61" fmla="*/ 212407 w 297179"/>
                  <a:gd name="connsiteY61" fmla="*/ 331470 h 372427"/>
                  <a:gd name="connsiteX62" fmla="*/ 212407 w 297179"/>
                  <a:gd name="connsiteY62" fmla="*/ 325755 h 372427"/>
                  <a:gd name="connsiteX63" fmla="*/ 212407 w 297179"/>
                  <a:gd name="connsiteY63" fmla="*/ 318135 h 372427"/>
                  <a:gd name="connsiteX64" fmla="*/ 211455 w 297179"/>
                  <a:gd name="connsiteY64" fmla="*/ 318135 h 372427"/>
                  <a:gd name="connsiteX65" fmla="*/ 206692 w 297179"/>
                  <a:gd name="connsiteY65" fmla="*/ 324802 h 372427"/>
                  <a:gd name="connsiteX66" fmla="*/ 201930 w 297179"/>
                  <a:gd name="connsiteY66" fmla="*/ 330517 h 372427"/>
                  <a:gd name="connsiteX67" fmla="*/ 196215 w 297179"/>
                  <a:gd name="connsiteY67" fmla="*/ 336233 h 372427"/>
                  <a:gd name="connsiteX68" fmla="*/ 190500 w 297179"/>
                  <a:gd name="connsiteY68" fmla="*/ 341947 h 372427"/>
                  <a:gd name="connsiteX69" fmla="*/ 185738 w 297179"/>
                  <a:gd name="connsiteY69" fmla="*/ 346710 h 372427"/>
                  <a:gd name="connsiteX70" fmla="*/ 180022 w 297179"/>
                  <a:gd name="connsiteY70" fmla="*/ 350520 h 372427"/>
                  <a:gd name="connsiteX71" fmla="*/ 174307 w 297179"/>
                  <a:gd name="connsiteY71" fmla="*/ 354330 h 372427"/>
                  <a:gd name="connsiteX72" fmla="*/ 168592 w 297179"/>
                  <a:gd name="connsiteY72" fmla="*/ 358140 h 372427"/>
                  <a:gd name="connsiteX73" fmla="*/ 162878 w 297179"/>
                  <a:gd name="connsiteY73" fmla="*/ 360997 h 372427"/>
                  <a:gd name="connsiteX74" fmla="*/ 156210 w 297179"/>
                  <a:gd name="connsiteY74" fmla="*/ 363855 h 372427"/>
                  <a:gd name="connsiteX75" fmla="*/ 149542 w 297179"/>
                  <a:gd name="connsiteY75" fmla="*/ 366713 h 372427"/>
                  <a:gd name="connsiteX76" fmla="*/ 141922 w 297179"/>
                  <a:gd name="connsiteY76" fmla="*/ 368617 h 372427"/>
                  <a:gd name="connsiteX77" fmla="*/ 134303 w 297179"/>
                  <a:gd name="connsiteY77" fmla="*/ 370522 h 372427"/>
                  <a:gd name="connsiteX78" fmla="*/ 126682 w 297179"/>
                  <a:gd name="connsiteY78" fmla="*/ 371475 h 372427"/>
                  <a:gd name="connsiteX79" fmla="*/ 118110 w 297179"/>
                  <a:gd name="connsiteY79" fmla="*/ 372427 h 372427"/>
                  <a:gd name="connsiteX80" fmla="*/ 109538 w 297179"/>
                  <a:gd name="connsiteY80" fmla="*/ 372427 h 372427"/>
                  <a:gd name="connsiteX81" fmla="*/ 102870 w 297179"/>
                  <a:gd name="connsiteY81" fmla="*/ 372427 h 372427"/>
                  <a:gd name="connsiteX82" fmla="*/ 95250 w 297179"/>
                  <a:gd name="connsiteY82" fmla="*/ 371475 h 372427"/>
                  <a:gd name="connsiteX83" fmla="*/ 88582 w 297179"/>
                  <a:gd name="connsiteY83" fmla="*/ 370522 h 372427"/>
                  <a:gd name="connsiteX84" fmla="*/ 81915 w 297179"/>
                  <a:gd name="connsiteY84" fmla="*/ 369570 h 372427"/>
                  <a:gd name="connsiteX85" fmla="*/ 75247 w 297179"/>
                  <a:gd name="connsiteY85" fmla="*/ 367665 h 372427"/>
                  <a:gd name="connsiteX86" fmla="*/ 68580 w 297179"/>
                  <a:gd name="connsiteY86" fmla="*/ 364808 h 372427"/>
                  <a:gd name="connsiteX87" fmla="*/ 61913 w 297179"/>
                  <a:gd name="connsiteY87" fmla="*/ 361950 h 372427"/>
                  <a:gd name="connsiteX88" fmla="*/ 55245 w 297179"/>
                  <a:gd name="connsiteY88" fmla="*/ 359092 h 372427"/>
                  <a:gd name="connsiteX89" fmla="*/ 49530 w 297179"/>
                  <a:gd name="connsiteY89" fmla="*/ 355283 h 372427"/>
                  <a:gd name="connsiteX90" fmla="*/ 43815 w 297179"/>
                  <a:gd name="connsiteY90" fmla="*/ 351472 h 372427"/>
                  <a:gd name="connsiteX91" fmla="*/ 38100 w 297179"/>
                  <a:gd name="connsiteY91" fmla="*/ 347663 h 372427"/>
                  <a:gd name="connsiteX92" fmla="*/ 32385 w 297179"/>
                  <a:gd name="connsiteY92" fmla="*/ 344805 h 372427"/>
                  <a:gd name="connsiteX93" fmla="*/ 27622 w 297179"/>
                  <a:gd name="connsiteY93" fmla="*/ 340042 h 372427"/>
                  <a:gd name="connsiteX94" fmla="*/ 22860 w 297179"/>
                  <a:gd name="connsiteY94" fmla="*/ 334327 h 372427"/>
                  <a:gd name="connsiteX95" fmla="*/ 19050 w 297179"/>
                  <a:gd name="connsiteY95" fmla="*/ 328613 h 372427"/>
                  <a:gd name="connsiteX96" fmla="*/ 15240 w 297179"/>
                  <a:gd name="connsiteY96" fmla="*/ 322897 h 372427"/>
                  <a:gd name="connsiteX97" fmla="*/ 11430 w 297179"/>
                  <a:gd name="connsiteY97" fmla="*/ 317183 h 372427"/>
                  <a:gd name="connsiteX98" fmla="*/ 8572 w 297179"/>
                  <a:gd name="connsiteY98" fmla="*/ 310515 h 372427"/>
                  <a:gd name="connsiteX99" fmla="*/ 5715 w 297179"/>
                  <a:gd name="connsiteY99" fmla="*/ 303847 h 372427"/>
                  <a:gd name="connsiteX100" fmla="*/ 3810 w 297179"/>
                  <a:gd name="connsiteY100" fmla="*/ 297180 h 372427"/>
                  <a:gd name="connsiteX101" fmla="*/ 1905 w 297179"/>
                  <a:gd name="connsiteY101" fmla="*/ 289560 h 372427"/>
                  <a:gd name="connsiteX102" fmla="*/ 953 w 297179"/>
                  <a:gd name="connsiteY102" fmla="*/ 281940 h 372427"/>
                  <a:gd name="connsiteX103" fmla="*/ 0 w 297179"/>
                  <a:gd name="connsiteY103" fmla="*/ 274320 h 372427"/>
                  <a:gd name="connsiteX104" fmla="*/ 0 w 297179"/>
                  <a:gd name="connsiteY104" fmla="*/ 266700 h 372427"/>
                  <a:gd name="connsiteX105" fmla="*/ 0 w 297179"/>
                  <a:gd name="connsiteY105" fmla="*/ 260985 h 372427"/>
                  <a:gd name="connsiteX106" fmla="*/ 0 w 297179"/>
                  <a:gd name="connsiteY106" fmla="*/ 255270 h 372427"/>
                  <a:gd name="connsiteX107" fmla="*/ 953 w 297179"/>
                  <a:gd name="connsiteY107" fmla="*/ 249555 h 372427"/>
                  <a:gd name="connsiteX108" fmla="*/ 1905 w 297179"/>
                  <a:gd name="connsiteY108" fmla="*/ 243840 h 372427"/>
                  <a:gd name="connsiteX109" fmla="*/ 2857 w 297179"/>
                  <a:gd name="connsiteY109" fmla="*/ 238125 h 372427"/>
                  <a:gd name="connsiteX110" fmla="*/ 3810 w 297179"/>
                  <a:gd name="connsiteY110" fmla="*/ 233363 h 372427"/>
                  <a:gd name="connsiteX111" fmla="*/ 4763 w 297179"/>
                  <a:gd name="connsiteY111" fmla="*/ 228600 h 372427"/>
                  <a:gd name="connsiteX112" fmla="*/ 6667 w 297179"/>
                  <a:gd name="connsiteY112" fmla="*/ 223838 h 372427"/>
                  <a:gd name="connsiteX113" fmla="*/ 8572 w 297179"/>
                  <a:gd name="connsiteY113" fmla="*/ 219075 h 372427"/>
                  <a:gd name="connsiteX114" fmla="*/ 10478 w 297179"/>
                  <a:gd name="connsiteY114" fmla="*/ 215265 h 372427"/>
                  <a:gd name="connsiteX115" fmla="*/ 12382 w 297179"/>
                  <a:gd name="connsiteY115" fmla="*/ 211455 h 372427"/>
                  <a:gd name="connsiteX116" fmla="*/ 14288 w 297179"/>
                  <a:gd name="connsiteY116" fmla="*/ 207645 h 372427"/>
                  <a:gd name="connsiteX117" fmla="*/ 17145 w 297179"/>
                  <a:gd name="connsiteY117" fmla="*/ 203835 h 372427"/>
                  <a:gd name="connsiteX118" fmla="*/ 20003 w 297179"/>
                  <a:gd name="connsiteY118" fmla="*/ 200025 h 372427"/>
                  <a:gd name="connsiteX119" fmla="*/ 22860 w 297179"/>
                  <a:gd name="connsiteY119" fmla="*/ 196215 h 372427"/>
                  <a:gd name="connsiteX120" fmla="*/ 25717 w 297179"/>
                  <a:gd name="connsiteY120" fmla="*/ 192405 h 372427"/>
                  <a:gd name="connsiteX121" fmla="*/ 28575 w 297179"/>
                  <a:gd name="connsiteY121" fmla="*/ 189547 h 372427"/>
                  <a:gd name="connsiteX122" fmla="*/ 31432 w 297179"/>
                  <a:gd name="connsiteY122" fmla="*/ 186690 h 372427"/>
                  <a:gd name="connsiteX123" fmla="*/ 34290 w 297179"/>
                  <a:gd name="connsiteY123" fmla="*/ 183832 h 372427"/>
                  <a:gd name="connsiteX124" fmla="*/ 38100 w 297179"/>
                  <a:gd name="connsiteY124" fmla="*/ 180975 h 372427"/>
                  <a:gd name="connsiteX125" fmla="*/ 41910 w 297179"/>
                  <a:gd name="connsiteY125" fmla="*/ 178117 h 372427"/>
                  <a:gd name="connsiteX126" fmla="*/ 45720 w 297179"/>
                  <a:gd name="connsiteY126" fmla="*/ 175260 h 372427"/>
                  <a:gd name="connsiteX127" fmla="*/ 49530 w 297179"/>
                  <a:gd name="connsiteY127" fmla="*/ 172402 h 372427"/>
                  <a:gd name="connsiteX128" fmla="*/ 53340 w 297179"/>
                  <a:gd name="connsiteY128" fmla="*/ 169545 h 372427"/>
                  <a:gd name="connsiteX129" fmla="*/ 57150 w 297179"/>
                  <a:gd name="connsiteY129" fmla="*/ 167640 h 372427"/>
                  <a:gd name="connsiteX130" fmla="*/ 60960 w 297179"/>
                  <a:gd name="connsiteY130" fmla="*/ 164782 h 372427"/>
                  <a:gd name="connsiteX131" fmla="*/ 65722 w 297179"/>
                  <a:gd name="connsiteY131" fmla="*/ 162877 h 372427"/>
                  <a:gd name="connsiteX132" fmla="*/ 70485 w 297179"/>
                  <a:gd name="connsiteY132" fmla="*/ 160972 h 372427"/>
                  <a:gd name="connsiteX133" fmla="*/ 80010 w 297179"/>
                  <a:gd name="connsiteY133" fmla="*/ 157163 h 372427"/>
                  <a:gd name="connsiteX134" fmla="*/ 90488 w 297179"/>
                  <a:gd name="connsiteY134" fmla="*/ 154305 h 372427"/>
                  <a:gd name="connsiteX135" fmla="*/ 100965 w 297179"/>
                  <a:gd name="connsiteY135" fmla="*/ 151447 h 372427"/>
                  <a:gd name="connsiteX136" fmla="*/ 112395 w 297179"/>
                  <a:gd name="connsiteY136" fmla="*/ 149542 h 372427"/>
                  <a:gd name="connsiteX137" fmla="*/ 123825 w 297179"/>
                  <a:gd name="connsiteY137" fmla="*/ 147638 h 372427"/>
                  <a:gd name="connsiteX138" fmla="*/ 136207 w 297179"/>
                  <a:gd name="connsiteY138" fmla="*/ 146685 h 372427"/>
                  <a:gd name="connsiteX139" fmla="*/ 149542 w 297179"/>
                  <a:gd name="connsiteY139" fmla="*/ 145732 h 372427"/>
                  <a:gd name="connsiteX140" fmla="*/ 162878 w 297179"/>
                  <a:gd name="connsiteY140" fmla="*/ 144780 h 372427"/>
                  <a:gd name="connsiteX141" fmla="*/ 177165 w 297179"/>
                  <a:gd name="connsiteY141" fmla="*/ 144780 h 372427"/>
                  <a:gd name="connsiteX142" fmla="*/ 192405 w 297179"/>
                  <a:gd name="connsiteY142" fmla="*/ 144780 h 372427"/>
                  <a:gd name="connsiteX143" fmla="*/ 210503 w 297179"/>
                  <a:gd name="connsiteY143" fmla="*/ 144780 h 372427"/>
                  <a:gd name="connsiteX144" fmla="*/ 210503 w 297179"/>
                  <a:gd name="connsiteY144" fmla="*/ 131445 h 372427"/>
                  <a:gd name="connsiteX145" fmla="*/ 210503 w 297179"/>
                  <a:gd name="connsiteY145" fmla="*/ 123825 h 372427"/>
                  <a:gd name="connsiteX146" fmla="*/ 209550 w 297179"/>
                  <a:gd name="connsiteY146" fmla="*/ 117157 h 372427"/>
                  <a:gd name="connsiteX147" fmla="*/ 208597 w 297179"/>
                  <a:gd name="connsiteY147" fmla="*/ 110490 h 372427"/>
                  <a:gd name="connsiteX148" fmla="*/ 206692 w 297179"/>
                  <a:gd name="connsiteY148" fmla="*/ 103822 h 372427"/>
                  <a:gd name="connsiteX149" fmla="*/ 204788 w 297179"/>
                  <a:gd name="connsiteY149" fmla="*/ 98107 h 372427"/>
                  <a:gd name="connsiteX150" fmla="*/ 201930 w 297179"/>
                  <a:gd name="connsiteY150" fmla="*/ 92392 h 372427"/>
                  <a:gd name="connsiteX151" fmla="*/ 198120 w 297179"/>
                  <a:gd name="connsiteY151" fmla="*/ 86677 h 372427"/>
                  <a:gd name="connsiteX152" fmla="*/ 194310 w 297179"/>
                  <a:gd name="connsiteY152" fmla="*/ 81915 h 372427"/>
                  <a:gd name="connsiteX153" fmla="*/ 192405 w 297179"/>
                  <a:gd name="connsiteY153" fmla="*/ 79057 h 372427"/>
                  <a:gd name="connsiteX154" fmla="*/ 190500 w 297179"/>
                  <a:gd name="connsiteY154" fmla="*/ 77152 h 372427"/>
                  <a:gd name="connsiteX155" fmla="*/ 187642 w 297179"/>
                  <a:gd name="connsiteY155" fmla="*/ 75247 h 372427"/>
                  <a:gd name="connsiteX156" fmla="*/ 184785 w 297179"/>
                  <a:gd name="connsiteY156" fmla="*/ 73342 h 372427"/>
                  <a:gd name="connsiteX157" fmla="*/ 181928 w 297179"/>
                  <a:gd name="connsiteY157" fmla="*/ 71438 h 372427"/>
                  <a:gd name="connsiteX158" fmla="*/ 179070 w 297179"/>
                  <a:gd name="connsiteY158" fmla="*/ 70485 h 372427"/>
                  <a:gd name="connsiteX159" fmla="*/ 176213 w 297179"/>
                  <a:gd name="connsiteY159" fmla="*/ 69532 h 372427"/>
                  <a:gd name="connsiteX160" fmla="*/ 173355 w 297179"/>
                  <a:gd name="connsiteY160" fmla="*/ 68580 h 372427"/>
                  <a:gd name="connsiteX161" fmla="*/ 170497 w 297179"/>
                  <a:gd name="connsiteY161" fmla="*/ 67627 h 372427"/>
                  <a:gd name="connsiteX162" fmla="*/ 166688 w 297179"/>
                  <a:gd name="connsiteY162" fmla="*/ 66675 h 372427"/>
                  <a:gd name="connsiteX163" fmla="*/ 162878 w 297179"/>
                  <a:gd name="connsiteY163" fmla="*/ 65722 h 372427"/>
                  <a:gd name="connsiteX164" fmla="*/ 159067 w 297179"/>
                  <a:gd name="connsiteY164" fmla="*/ 64770 h 372427"/>
                  <a:gd name="connsiteX165" fmla="*/ 151447 w 297179"/>
                  <a:gd name="connsiteY165" fmla="*/ 63817 h 372427"/>
                  <a:gd name="connsiteX166" fmla="*/ 142875 w 297179"/>
                  <a:gd name="connsiteY166" fmla="*/ 63817 h 372427"/>
                  <a:gd name="connsiteX167" fmla="*/ 135255 w 297179"/>
                  <a:gd name="connsiteY167" fmla="*/ 63817 h 372427"/>
                  <a:gd name="connsiteX168" fmla="*/ 128588 w 297179"/>
                  <a:gd name="connsiteY168" fmla="*/ 64770 h 372427"/>
                  <a:gd name="connsiteX169" fmla="*/ 120967 w 297179"/>
                  <a:gd name="connsiteY169" fmla="*/ 65722 h 372427"/>
                  <a:gd name="connsiteX170" fmla="*/ 113347 w 297179"/>
                  <a:gd name="connsiteY170" fmla="*/ 66675 h 372427"/>
                  <a:gd name="connsiteX171" fmla="*/ 106680 w 297179"/>
                  <a:gd name="connsiteY171" fmla="*/ 68580 h 372427"/>
                  <a:gd name="connsiteX172" fmla="*/ 100013 w 297179"/>
                  <a:gd name="connsiteY172" fmla="*/ 70485 h 372427"/>
                  <a:gd name="connsiteX173" fmla="*/ 93345 w 297179"/>
                  <a:gd name="connsiteY173" fmla="*/ 73342 h 372427"/>
                  <a:gd name="connsiteX174" fmla="*/ 86678 w 297179"/>
                  <a:gd name="connsiteY174" fmla="*/ 76200 h 372427"/>
                  <a:gd name="connsiteX175" fmla="*/ 80010 w 297179"/>
                  <a:gd name="connsiteY175" fmla="*/ 79057 h 372427"/>
                  <a:gd name="connsiteX176" fmla="*/ 73342 w 297179"/>
                  <a:gd name="connsiteY176" fmla="*/ 81915 h 372427"/>
                  <a:gd name="connsiteX177" fmla="*/ 67628 w 297179"/>
                  <a:gd name="connsiteY177" fmla="*/ 84772 h 372427"/>
                  <a:gd name="connsiteX178" fmla="*/ 61913 w 297179"/>
                  <a:gd name="connsiteY178" fmla="*/ 87630 h 372427"/>
                  <a:gd name="connsiteX179" fmla="*/ 57150 w 297179"/>
                  <a:gd name="connsiteY179" fmla="*/ 90488 h 372427"/>
                  <a:gd name="connsiteX180" fmla="*/ 52388 w 297179"/>
                  <a:gd name="connsiteY180" fmla="*/ 93345 h 372427"/>
                  <a:gd name="connsiteX181" fmla="*/ 48578 w 297179"/>
                  <a:gd name="connsiteY181" fmla="*/ 96202 h 372427"/>
                  <a:gd name="connsiteX182" fmla="*/ 40005 w 297179"/>
                  <a:gd name="connsiteY182" fmla="*/ 96202 h 372427"/>
                  <a:gd name="connsiteX183" fmla="*/ 40005 w 297179"/>
                  <a:gd name="connsiteY183" fmla="*/ 96202 h 372427"/>
                  <a:gd name="connsiteX184" fmla="*/ 209550 w 297179"/>
                  <a:gd name="connsiteY184" fmla="*/ 211455 h 372427"/>
                  <a:gd name="connsiteX185" fmla="*/ 209550 w 297179"/>
                  <a:gd name="connsiteY185" fmla="*/ 191452 h 372427"/>
                  <a:gd name="connsiteX186" fmla="*/ 200978 w 297179"/>
                  <a:gd name="connsiteY186" fmla="*/ 191452 h 372427"/>
                  <a:gd name="connsiteX187" fmla="*/ 186690 w 297179"/>
                  <a:gd name="connsiteY187" fmla="*/ 191452 h 372427"/>
                  <a:gd name="connsiteX188" fmla="*/ 173355 w 297179"/>
                  <a:gd name="connsiteY188" fmla="*/ 192405 h 372427"/>
                  <a:gd name="connsiteX189" fmla="*/ 160972 w 297179"/>
                  <a:gd name="connsiteY189" fmla="*/ 193358 h 372427"/>
                  <a:gd name="connsiteX190" fmla="*/ 148590 w 297179"/>
                  <a:gd name="connsiteY190" fmla="*/ 195263 h 372427"/>
                  <a:gd name="connsiteX191" fmla="*/ 138113 w 297179"/>
                  <a:gd name="connsiteY191" fmla="*/ 197167 h 372427"/>
                  <a:gd name="connsiteX192" fmla="*/ 128588 w 297179"/>
                  <a:gd name="connsiteY192" fmla="*/ 200025 h 372427"/>
                  <a:gd name="connsiteX193" fmla="*/ 123825 w 297179"/>
                  <a:gd name="connsiteY193" fmla="*/ 201930 h 372427"/>
                  <a:gd name="connsiteX194" fmla="*/ 120015 w 297179"/>
                  <a:gd name="connsiteY194" fmla="*/ 202883 h 372427"/>
                  <a:gd name="connsiteX195" fmla="*/ 116205 w 297179"/>
                  <a:gd name="connsiteY195" fmla="*/ 204788 h 372427"/>
                  <a:gd name="connsiteX196" fmla="*/ 112395 w 297179"/>
                  <a:gd name="connsiteY196" fmla="*/ 206692 h 372427"/>
                  <a:gd name="connsiteX197" fmla="*/ 108585 w 297179"/>
                  <a:gd name="connsiteY197" fmla="*/ 208597 h 372427"/>
                  <a:gd name="connsiteX198" fmla="*/ 105728 w 297179"/>
                  <a:gd name="connsiteY198" fmla="*/ 210502 h 372427"/>
                  <a:gd name="connsiteX199" fmla="*/ 102870 w 297179"/>
                  <a:gd name="connsiteY199" fmla="*/ 213360 h 372427"/>
                  <a:gd name="connsiteX200" fmla="*/ 100013 w 297179"/>
                  <a:gd name="connsiteY200" fmla="*/ 216217 h 372427"/>
                  <a:gd name="connsiteX201" fmla="*/ 97155 w 297179"/>
                  <a:gd name="connsiteY201" fmla="*/ 219075 h 372427"/>
                  <a:gd name="connsiteX202" fmla="*/ 94297 w 297179"/>
                  <a:gd name="connsiteY202" fmla="*/ 221933 h 372427"/>
                  <a:gd name="connsiteX203" fmla="*/ 92392 w 297179"/>
                  <a:gd name="connsiteY203" fmla="*/ 224790 h 372427"/>
                  <a:gd name="connsiteX204" fmla="*/ 90488 w 297179"/>
                  <a:gd name="connsiteY204" fmla="*/ 227647 h 372427"/>
                  <a:gd name="connsiteX205" fmla="*/ 88582 w 297179"/>
                  <a:gd name="connsiteY205" fmla="*/ 231458 h 372427"/>
                  <a:gd name="connsiteX206" fmla="*/ 87630 w 297179"/>
                  <a:gd name="connsiteY206" fmla="*/ 235267 h 372427"/>
                  <a:gd name="connsiteX207" fmla="*/ 86678 w 297179"/>
                  <a:gd name="connsiteY207" fmla="*/ 239077 h 372427"/>
                  <a:gd name="connsiteX208" fmla="*/ 85725 w 297179"/>
                  <a:gd name="connsiteY208" fmla="*/ 242888 h 372427"/>
                  <a:gd name="connsiteX209" fmla="*/ 84772 w 297179"/>
                  <a:gd name="connsiteY209" fmla="*/ 246697 h 372427"/>
                  <a:gd name="connsiteX210" fmla="*/ 83820 w 297179"/>
                  <a:gd name="connsiteY210" fmla="*/ 250508 h 372427"/>
                  <a:gd name="connsiteX211" fmla="*/ 83820 w 297179"/>
                  <a:gd name="connsiteY211" fmla="*/ 255270 h 372427"/>
                  <a:gd name="connsiteX212" fmla="*/ 83820 w 297179"/>
                  <a:gd name="connsiteY212" fmla="*/ 260033 h 372427"/>
                  <a:gd name="connsiteX213" fmla="*/ 83820 w 297179"/>
                  <a:gd name="connsiteY213" fmla="*/ 265747 h 372427"/>
                  <a:gd name="connsiteX214" fmla="*/ 84772 w 297179"/>
                  <a:gd name="connsiteY214" fmla="*/ 271463 h 372427"/>
                  <a:gd name="connsiteX215" fmla="*/ 85725 w 297179"/>
                  <a:gd name="connsiteY215" fmla="*/ 277177 h 372427"/>
                  <a:gd name="connsiteX216" fmla="*/ 87630 w 297179"/>
                  <a:gd name="connsiteY216" fmla="*/ 281940 h 372427"/>
                  <a:gd name="connsiteX217" fmla="*/ 89535 w 297179"/>
                  <a:gd name="connsiteY217" fmla="*/ 286702 h 372427"/>
                  <a:gd name="connsiteX218" fmla="*/ 92392 w 297179"/>
                  <a:gd name="connsiteY218" fmla="*/ 291465 h 372427"/>
                  <a:gd name="connsiteX219" fmla="*/ 95250 w 297179"/>
                  <a:gd name="connsiteY219" fmla="*/ 295275 h 372427"/>
                  <a:gd name="connsiteX220" fmla="*/ 99060 w 297179"/>
                  <a:gd name="connsiteY220" fmla="*/ 299085 h 372427"/>
                  <a:gd name="connsiteX221" fmla="*/ 102870 w 297179"/>
                  <a:gd name="connsiteY221" fmla="*/ 302895 h 372427"/>
                  <a:gd name="connsiteX222" fmla="*/ 107632 w 297179"/>
                  <a:gd name="connsiteY222" fmla="*/ 305752 h 372427"/>
                  <a:gd name="connsiteX223" fmla="*/ 112395 w 297179"/>
                  <a:gd name="connsiteY223" fmla="*/ 308610 h 372427"/>
                  <a:gd name="connsiteX224" fmla="*/ 117157 w 297179"/>
                  <a:gd name="connsiteY224" fmla="*/ 310515 h 372427"/>
                  <a:gd name="connsiteX225" fmla="*/ 122872 w 297179"/>
                  <a:gd name="connsiteY225" fmla="*/ 312420 h 372427"/>
                  <a:gd name="connsiteX226" fmla="*/ 127635 w 297179"/>
                  <a:gd name="connsiteY226" fmla="*/ 313372 h 372427"/>
                  <a:gd name="connsiteX227" fmla="*/ 133350 w 297179"/>
                  <a:gd name="connsiteY227" fmla="*/ 314325 h 372427"/>
                  <a:gd name="connsiteX228" fmla="*/ 140017 w 297179"/>
                  <a:gd name="connsiteY228" fmla="*/ 314325 h 372427"/>
                  <a:gd name="connsiteX229" fmla="*/ 144780 w 297179"/>
                  <a:gd name="connsiteY229" fmla="*/ 314325 h 372427"/>
                  <a:gd name="connsiteX230" fmla="*/ 149542 w 297179"/>
                  <a:gd name="connsiteY230" fmla="*/ 314325 h 372427"/>
                  <a:gd name="connsiteX231" fmla="*/ 153353 w 297179"/>
                  <a:gd name="connsiteY231" fmla="*/ 313372 h 372427"/>
                  <a:gd name="connsiteX232" fmla="*/ 157163 w 297179"/>
                  <a:gd name="connsiteY232" fmla="*/ 312420 h 372427"/>
                  <a:gd name="connsiteX233" fmla="*/ 160972 w 297179"/>
                  <a:gd name="connsiteY233" fmla="*/ 311467 h 372427"/>
                  <a:gd name="connsiteX234" fmla="*/ 164782 w 297179"/>
                  <a:gd name="connsiteY234" fmla="*/ 310515 h 372427"/>
                  <a:gd name="connsiteX235" fmla="*/ 168592 w 297179"/>
                  <a:gd name="connsiteY235" fmla="*/ 309563 h 372427"/>
                  <a:gd name="connsiteX236" fmla="*/ 172403 w 297179"/>
                  <a:gd name="connsiteY236" fmla="*/ 307658 h 372427"/>
                  <a:gd name="connsiteX237" fmla="*/ 176213 w 297179"/>
                  <a:gd name="connsiteY237" fmla="*/ 305752 h 372427"/>
                  <a:gd name="connsiteX238" fmla="*/ 179070 w 297179"/>
                  <a:gd name="connsiteY238" fmla="*/ 303847 h 372427"/>
                  <a:gd name="connsiteX239" fmla="*/ 181928 w 297179"/>
                  <a:gd name="connsiteY239" fmla="*/ 301942 h 372427"/>
                  <a:gd name="connsiteX240" fmla="*/ 184785 w 297179"/>
                  <a:gd name="connsiteY240" fmla="*/ 299085 h 372427"/>
                  <a:gd name="connsiteX241" fmla="*/ 187642 w 297179"/>
                  <a:gd name="connsiteY241" fmla="*/ 296227 h 372427"/>
                  <a:gd name="connsiteX242" fmla="*/ 190500 w 297179"/>
                  <a:gd name="connsiteY242" fmla="*/ 293370 h 372427"/>
                  <a:gd name="connsiteX243" fmla="*/ 193357 w 297179"/>
                  <a:gd name="connsiteY243" fmla="*/ 290513 h 372427"/>
                  <a:gd name="connsiteX244" fmla="*/ 195263 w 297179"/>
                  <a:gd name="connsiteY244" fmla="*/ 287655 h 372427"/>
                  <a:gd name="connsiteX245" fmla="*/ 197167 w 297179"/>
                  <a:gd name="connsiteY245" fmla="*/ 283845 h 372427"/>
                  <a:gd name="connsiteX246" fmla="*/ 199072 w 297179"/>
                  <a:gd name="connsiteY246" fmla="*/ 280035 h 372427"/>
                  <a:gd name="connsiteX247" fmla="*/ 200978 w 297179"/>
                  <a:gd name="connsiteY247" fmla="*/ 276225 h 372427"/>
                  <a:gd name="connsiteX248" fmla="*/ 202882 w 297179"/>
                  <a:gd name="connsiteY248" fmla="*/ 272415 h 372427"/>
                  <a:gd name="connsiteX249" fmla="*/ 203835 w 297179"/>
                  <a:gd name="connsiteY249" fmla="*/ 268605 h 372427"/>
                  <a:gd name="connsiteX250" fmla="*/ 204788 w 297179"/>
                  <a:gd name="connsiteY250" fmla="*/ 264795 h 372427"/>
                  <a:gd name="connsiteX251" fmla="*/ 206692 w 297179"/>
                  <a:gd name="connsiteY251" fmla="*/ 260033 h 372427"/>
                  <a:gd name="connsiteX252" fmla="*/ 207645 w 297179"/>
                  <a:gd name="connsiteY252" fmla="*/ 255270 h 372427"/>
                  <a:gd name="connsiteX253" fmla="*/ 209550 w 297179"/>
                  <a:gd name="connsiteY253" fmla="*/ 244792 h 372427"/>
                  <a:gd name="connsiteX254" fmla="*/ 210503 w 297179"/>
                  <a:gd name="connsiteY254" fmla="*/ 234315 h 372427"/>
                  <a:gd name="connsiteX255" fmla="*/ 211455 w 297179"/>
                  <a:gd name="connsiteY255" fmla="*/ 222885 h 372427"/>
                  <a:gd name="connsiteX256" fmla="*/ 209550 w 297179"/>
                  <a:gd name="connsiteY256" fmla="*/ 211455 h 372427"/>
                  <a:gd name="connsiteX257" fmla="*/ 209550 w 297179"/>
                  <a:gd name="connsiteY257" fmla="*/ 211455 h 372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</a:cxnLst>
                <a:rect l="l" t="t" r="r" b="b"/>
                <a:pathLst>
                  <a:path w="297179" h="372427">
                    <a:moveTo>
                      <a:pt x="40005" y="96202"/>
                    </a:moveTo>
                    <a:lnTo>
                      <a:pt x="35242" y="25717"/>
                    </a:lnTo>
                    <a:lnTo>
                      <a:pt x="47625" y="20002"/>
                    </a:lnTo>
                    <a:lnTo>
                      <a:pt x="60007" y="14288"/>
                    </a:lnTo>
                    <a:lnTo>
                      <a:pt x="73342" y="9525"/>
                    </a:lnTo>
                    <a:lnTo>
                      <a:pt x="86678" y="5715"/>
                    </a:lnTo>
                    <a:lnTo>
                      <a:pt x="93345" y="3810"/>
                    </a:lnTo>
                    <a:lnTo>
                      <a:pt x="100013" y="2857"/>
                    </a:lnTo>
                    <a:lnTo>
                      <a:pt x="107632" y="1905"/>
                    </a:lnTo>
                    <a:lnTo>
                      <a:pt x="115253" y="952"/>
                    </a:lnTo>
                    <a:lnTo>
                      <a:pt x="123825" y="0"/>
                    </a:lnTo>
                    <a:lnTo>
                      <a:pt x="132397" y="0"/>
                    </a:lnTo>
                    <a:lnTo>
                      <a:pt x="140970" y="0"/>
                    </a:lnTo>
                    <a:lnTo>
                      <a:pt x="150495" y="0"/>
                    </a:lnTo>
                    <a:lnTo>
                      <a:pt x="163830" y="0"/>
                    </a:lnTo>
                    <a:lnTo>
                      <a:pt x="176213" y="952"/>
                    </a:lnTo>
                    <a:lnTo>
                      <a:pt x="188595" y="1905"/>
                    </a:lnTo>
                    <a:lnTo>
                      <a:pt x="200025" y="3810"/>
                    </a:lnTo>
                    <a:lnTo>
                      <a:pt x="210503" y="5715"/>
                    </a:lnTo>
                    <a:lnTo>
                      <a:pt x="220028" y="8572"/>
                    </a:lnTo>
                    <a:lnTo>
                      <a:pt x="224790" y="10477"/>
                    </a:lnTo>
                    <a:lnTo>
                      <a:pt x="228600" y="12382"/>
                    </a:lnTo>
                    <a:lnTo>
                      <a:pt x="232410" y="14288"/>
                    </a:lnTo>
                    <a:lnTo>
                      <a:pt x="236220" y="16192"/>
                    </a:lnTo>
                    <a:lnTo>
                      <a:pt x="243840" y="20955"/>
                    </a:lnTo>
                    <a:lnTo>
                      <a:pt x="250507" y="25717"/>
                    </a:lnTo>
                    <a:lnTo>
                      <a:pt x="253365" y="28575"/>
                    </a:lnTo>
                    <a:lnTo>
                      <a:pt x="256222" y="31432"/>
                    </a:lnTo>
                    <a:lnTo>
                      <a:pt x="259080" y="34290"/>
                    </a:lnTo>
                    <a:lnTo>
                      <a:pt x="261938" y="37147"/>
                    </a:lnTo>
                    <a:lnTo>
                      <a:pt x="264795" y="40005"/>
                    </a:lnTo>
                    <a:lnTo>
                      <a:pt x="267653" y="42863"/>
                    </a:lnTo>
                    <a:lnTo>
                      <a:pt x="270510" y="45720"/>
                    </a:lnTo>
                    <a:lnTo>
                      <a:pt x="272415" y="49530"/>
                    </a:lnTo>
                    <a:lnTo>
                      <a:pt x="274320" y="53340"/>
                    </a:lnTo>
                    <a:lnTo>
                      <a:pt x="276225" y="57150"/>
                    </a:lnTo>
                    <a:lnTo>
                      <a:pt x="278130" y="60960"/>
                    </a:lnTo>
                    <a:lnTo>
                      <a:pt x="280035" y="64770"/>
                    </a:lnTo>
                    <a:lnTo>
                      <a:pt x="282892" y="72390"/>
                    </a:lnTo>
                    <a:lnTo>
                      <a:pt x="285750" y="80963"/>
                    </a:lnTo>
                    <a:lnTo>
                      <a:pt x="287655" y="90488"/>
                    </a:lnTo>
                    <a:lnTo>
                      <a:pt x="289560" y="100013"/>
                    </a:lnTo>
                    <a:lnTo>
                      <a:pt x="290513" y="110490"/>
                    </a:lnTo>
                    <a:lnTo>
                      <a:pt x="291465" y="120967"/>
                    </a:lnTo>
                    <a:lnTo>
                      <a:pt x="292417" y="132397"/>
                    </a:lnTo>
                    <a:lnTo>
                      <a:pt x="292417" y="143827"/>
                    </a:lnTo>
                    <a:lnTo>
                      <a:pt x="292417" y="302895"/>
                    </a:lnTo>
                    <a:lnTo>
                      <a:pt x="292417" y="310515"/>
                    </a:lnTo>
                    <a:lnTo>
                      <a:pt x="292417" y="319088"/>
                    </a:lnTo>
                    <a:lnTo>
                      <a:pt x="293370" y="326708"/>
                    </a:lnTo>
                    <a:lnTo>
                      <a:pt x="293370" y="334327"/>
                    </a:lnTo>
                    <a:lnTo>
                      <a:pt x="294322" y="342900"/>
                    </a:lnTo>
                    <a:lnTo>
                      <a:pt x="295275" y="350520"/>
                    </a:lnTo>
                    <a:lnTo>
                      <a:pt x="296228" y="358140"/>
                    </a:lnTo>
                    <a:lnTo>
                      <a:pt x="297180" y="365760"/>
                    </a:lnTo>
                    <a:lnTo>
                      <a:pt x="217170" y="365760"/>
                    </a:lnTo>
                    <a:lnTo>
                      <a:pt x="216217" y="360997"/>
                    </a:lnTo>
                    <a:lnTo>
                      <a:pt x="215265" y="356235"/>
                    </a:lnTo>
                    <a:lnTo>
                      <a:pt x="214313" y="350520"/>
                    </a:lnTo>
                    <a:lnTo>
                      <a:pt x="213360" y="344805"/>
                    </a:lnTo>
                    <a:lnTo>
                      <a:pt x="212407" y="338138"/>
                    </a:lnTo>
                    <a:lnTo>
                      <a:pt x="212407" y="331470"/>
                    </a:lnTo>
                    <a:lnTo>
                      <a:pt x="212407" y="325755"/>
                    </a:lnTo>
                    <a:lnTo>
                      <a:pt x="212407" y="318135"/>
                    </a:lnTo>
                    <a:lnTo>
                      <a:pt x="211455" y="318135"/>
                    </a:lnTo>
                    <a:lnTo>
                      <a:pt x="206692" y="324802"/>
                    </a:lnTo>
                    <a:lnTo>
                      <a:pt x="201930" y="330517"/>
                    </a:lnTo>
                    <a:lnTo>
                      <a:pt x="196215" y="336233"/>
                    </a:lnTo>
                    <a:lnTo>
                      <a:pt x="190500" y="341947"/>
                    </a:lnTo>
                    <a:lnTo>
                      <a:pt x="185738" y="346710"/>
                    </a:lnTo>
                    <a:lnTo>
                      <a:pt x="180022" y="350520"/>
                    </a:lnTo>
                    <a:lnTo>
                      <a:pt x="174307" y="354330"/>
                    </a:lnTo>
                    <a:lnTo>
                      <a:pt x="168592" y="358140"/>
                    </a:lnTo>
                    <a:lnTo>
                      <a:pt x="162878" y="360997"/>
                    </a:lnTo>
                    <a:lnTo>
                      <a:pt x="156210" y="363855"/>
                    </a:lnTo>
                    <a:lnTo>
                      <a:pt x="149542" y="366713"/>
                    </a:lnTo>
                    <a:lnTo>
                      <a:pt x="141922" y="368617"/>
                    </a:lnTo>
                    <a:lnTo>
                      <a:pt x="134303" y="370522"/>
                    </a:lnTo>
                    <a:lnTo>
                      <a:pt x="126682" y="371475"/>
                    </a:lnTo>
                    <a:lnTo>
                      <a:pt x="118110" y="372427"/>
                    </a:lnTo>
                    <a:lnTo>
                      <a:pt x="109538" y="372427"/>
                    </a:lnTo>
                    <a:lnTo>
                      <a:pt x="102870" y="372427"/>
                    </a:lnTo>
                    <a:lnTo>
                      <a:pt x="95250" y="371475"/>
                    </a:lnTo>
                    <a:lnTo>
                      <a:pt x="88582" y="370522"/>
                    </a:lnTo>
                    <a:lnTo>
                      <a:pt x="81915" y="369570"/>
                    </a:lnTo>
                    <a:lnTo>
                      <a:pt x="75247" y="367665"/>
                    </a:lnTo>
                    <a:lnTo>
                      <a:pt x="68580" y="364808"/>
                    </a:lnTo>
                    <a:lnTo>
                      <a:pt x="61913" y="361950"/>
                    </a:lnTo>
                    <a:lnTo>
                      <a:pt x="55245" y="359092"/>
                    </a:lnTo>
                    <a:lnTo>
                      <a:pt x="49530" y="355283"/>
                    </a:lnTo>
                    <a:lnTo>
                      <a:pt x="43815" y="351472"/>
                    </a:lnTo>
                    <a:lnTo>
                      <a:pt x="38100" y="347663"/>
                    </a:lnTo>
                    <a:lnTo>
                      <a:pt x="32385" y="344805"/>
                    </a:lnTo>
                    <a:lnTo>
                      <a:pt x="27622" y="340042"/>
                    </a:lnTo>
                    <a:lnTo>
                      <a:pt x="22860" y="334327"/>
                    </a:lnTo>
                    <a:lnTo>
                      <a:pt x="19050" y="328613"/>
                    </a:lnTo>
                    <a:lnTo>
                      <a:pt x="15240" y="322897"/>
                    </a:lnTo>
                    <a:lnTo>
                      <a:pt x="11430" y="317183"/>
                    </a:lnTo>
                    <a:lnTo>
                      <a:pt x="8572" y="310515"/>
                    </a:lnTo>
                    <a:lnTo>
                      <a:pt x="5715" y="303847"/>
                    </a:lnTo>
                    <a:lnTo>
                      <a:pt x="3810" y="297180"/>
                    </a:lnTo>
                    <a:lnTo>
                      <a:pt x="1905" y="289560"/>
                    </a:lnTo>
                    <a:lnTo>
                      <a:pt x="953" y="281940"/>
                    </a:lnTo>
                    <a:lnTo>
                      <a:pt x="0" y="274320"/>
                    </a:lnTo>
                    <a:lnTo>
                      <a:pt x="0" y="266700"/>
                    </a:lnTo>
                    <a:lnTo>
                      <a:pt x="0" y="260985"/>
                    </a:lnTo>
                    <a:lnTo>
                      <a:pt x="0" y="255270"/>
                    </a:lnTo>
                    <a:lnTo>
                      <a:pt x="953" y="249555"/>
                    </a:lnTo>
                    <a:lnTo>
                      <a:pt x="1905" y="243840"/>
                    </a:lnTo>
                    <a:lnTo>
                      <a:pt x="2857" y="238125"/>
                    </a:lnTo>
                    <a:lnTo>
                      <a:pt x="3810" y="233363"/>
                    </a:lnTo>
                    <a:lnTo>
                      <a:pt x="4763" y="228600"/>
                    </a:lnTo>
                    <a:lnTo>
                      <a:pt x="6667" y="223838"/>
                    </a:lnTo>
                    <a:lnTo>
                      <a:pt x="8572" y="219075"/>
                    </a:lnTo>
                    <a:lnTo>
                      <a:pt x="10478" y="215265"/>
                    </a:lnTo>
                    <a:lnTo>
                      <a:pt x="12382" y="211455"/>
                    </a:lnTo>
                    <a:lnTo>
                      <a:pt x="14288" y="207645"/>
                    </a:lnTo>
                    <a:lnTo>
                      <a:pt x="17145" y="203835"/>
                    </a:lnTo>
                    <a:lnTo>
                      <a:pt x="20003" y="200025"/>
                    </a:lnTo>
                    <a:lnTo>
                      <a:pt x="22860" y="196215"/>
                    </a:lnTo>
                    <a:lnTo>
                      <a:pt x="25717" y="192405"/>
                    </a:lnTo>
                    <a:lnTo>
                      <a:pt x="28575" y="189547"/>
                    </a:lnTo>
                    <a:lnTo>
                      <a:pt x="31432" y="186690"/>
                    </a:lnTo>
                    <a:lnTo>
                      <a:pt x="34290" y="183832"/>
                    </a:lnTo>
                    <a:lnTo>
                      <a:pt x="38100" y="180975"/>
                    </a:lnTo>
                    <a:lnTo>
                      <a:pt x="41910" y="178117"/>
                    </a:lnTo>
                    <a:lnTo>
                      <a:pt x="45720" y="175260"/>
                    </a:lnTo>
                    <a:lnTo>
                      <a:pt x="49530" y="172402"/>
                    </a:lnTo>
                    <a:lnTo>
                      <a:pt x="53340" y="169545"/>
                    </a:lnTo>
                    <a:lnTo>
                      <a:pt x="57150" y="167640"/>
                    </a:lnTo>
                    <a:lnTo>
                      <a:pt x="60960" y="164782"/>
                    </a:lnTo>
                    <a:lnTo>
                      <a:pt x="65722" y="162877"/>
                    </a:lnTo>
                    <a:lnTo>
                      <a:pt x="70485" y="160972"/>
                    </a:lnTo>
                    <a:lnTo>
                      <a:pt x="80010" y="157163"/>
                    </a:lnTo>
                    <a:lnTo>
                      <a:pt x="90488" y="154305"/>
                    </a:lnTo>
                    <a:lnTo>
                      <a:pt x="100965" y="151447"/>
                    </a:lnTo>
                    <a:lnTo>
                      <a:pt x="112395" y="149542"/>
                    </a:lnTo>
                    <a:lnTo>
                      <a:pt x="123825" y="147638"/>
                    </a:lnTo>
                    <a:lnTo>
                      <a:pt x="136207" y="146685"/>
                    </a:lnTo>
                    <a:lnTo>
                      <a:pt x="149542" y="145732"/>
                    </a:lnTo>
                    <a:lnTo>
                      <a:pt x="162878" y="144780"/>
                    </a:lnTo>
                    <a:lnTo>
                      <a:pt x="177165" y="144780"/>
                    </a:lnTo>
                    <a:lnTo>
                      <a:pt x="192405" y="144780"/>
                    </a:lnTo>
                    <a:lnTo>
                      <a:pt x="210503" y="144780"/>
                    </a:lnTo>
                    <a:lnTo>
                      <a:pt x="210503" y="131445"/>
                    </a:lnTo>
                    <a:lnTo>
                      <a:pt x="210503" y="123825"/>
                    </a:lnTo>
                    <a:lnTo>
                      <a:pt x="209550" y="117157"/>
                    </a:lnTo>
                    <a:lnTo>
                      <a:pt x="208597" y="110490"/>
                    </a:lnTo>
                    <a:lnTo>
                      <a:pt x="206692" y="103822"/>
                    </a:lnTo>
                    <a:lnTo>
                      <a:pt x="204788" y="98107"/>
                    </a:lnTo>
                    <a:lnTo>
                      <a:pt x="201930" y="92392"/>
                    </a:lnTo>
                    <a:lnTo>
                      <a:pt x="198120" y="86677"/>
                    </a:lnTo>
                    <a:lnTo>
                      <a:pt x="194310" y="81915"/>
                    </a:lnTo>
                    <a:lnTo>
                      <a:pt x="192405" y="79057"/>
                    </a:lnTo>
                    <a:lnTo>
                      <a:pt x="190500" y="77152"/>
                    </a:lnTo>
                    <a:lnTo>
                      <a:pt x="187642" y="75247"/>
                    </a:lnTo>
                    <a:lnTo>
                      <a:pt x="184785" y="73342"/>
                    </a:lnTo>
                    <a:lnTo>
                      <a:pt x="181928" y="71438"/>
                    </a:lnTo>
                    <a:lnTo>
                      <a:pt x="179070" y="70485"/>
                    </a:lnTo>
                    <a:lnTo>
                      <a:pt x="176213" y="69532"/>
                    </a:lnTo>
                    <a:lnTo>
                      <a:pt x="173355" y="68580"/>
                    </a:lnTo>
                    <a:lnTo>
                      <a:pt x="170497" y="67627"/>
                    </a:lnTo>
                    <a:lnTo>
                      <a:pt x="166688" y="66675"/>
                    </a:lnTo>
                    <a:lnTo>
                      <a:pt x="162878" y="65722"/>
                    </a:lnTo>
                    <a:lnTo>
                      <a:pt x="159067" y="64770"/>
                    </a:lnTo>
                    <a:lnTo>
                      <a:pt x="151447" y="63817"/>
                    </a:lnTo>
                    <a:lnTo>
                      <a:pt x="142875" y="63817"/>
                    </a:lnTo>
                    <a:lnTo>
                      <a:pt x="135255" y="63817"/>
                    </a:lnTo>
                    <a:lnTo>
                      <a:pt x="128588" y="64770"/>
                    </a:lnTo>
                    <a:lnTo>
                      <a:pt x="120967" y="65722"/>
                    </a:lnTo>
                    <a:lnTo>
                      <a:pt x="113347" y="66675"/>
                    </a:lnTo>
                    <a:lnTo>
                      <a:pt x="106680" y="68580"/>
                    </a:lnTo>
                    <a:lnTo>
                      <a:pt x="100013" y="70485"/>
                    </a:lnTo>
                    <a:lnTo>
                      <a:pt x="93345" y="73342"/>
                    </a:lnTo>
                    <a:lnTo>
                      <a:pt x="86678" y="76200"/>
                    </a:lnTo>
                    <a:lnTo>
                      <a:pt x="80010" y="79057"/>
                    </a:lnTo>
                    <a:lnTo>
                      <a:pt x="73342" y="81915"/>
                    </a:lnTo>
                    <a:lnTo>
                      <a:pt x="67628" y="84772"/>
                    </a:lnTo>
                    <a:lnTo>
                      <a:pt x="61913" y="87630"/>
                    </a:lnTo>
                    <a:lnTo>
                      <a:pt x="57150" y="90488"/>
                    </a:lnTo>
                    <a:lnTo>
                      <a:pt x="52388" y="93345"/>
                    </a:lnTo>
                    <a:lnTo>
                      <a:pt x="48578" y="96202"/>
                    </a:lnTo>
                    <a:lnTo>
                      <a:pt x="40005" y="96202"/>
                    </a:lnTo>
                    <a:lnTo>
                      <a:pt x="40005" y="96202"/>
                    </a:lnTo>
                    <a:close/>
                    <a:moveTo>
                      <a:pt x="209550" y="211455"/>
                    </a:moveTo>
                    <a:lnTo>
                      <a:pt x="209550" y="191452"/>
                    </a:lnTo>
                    <a:lnTo>
                      <a:pt x="200978" y="191452"/>
                    </a:lnTo>
                    <a:lnTo>
                      <a:pt x="186690" y="191452"/>
                    </a:lnTo>
                    <a:lnTo>
                      <a:pt x="173355" y="192405"/>
                    </a:lnTo>
                    <a:lnTo>
                      <a:pt x="160972" y="193358"/>
                    </a:lnTo>
                    <a:lnTo>
                      <a:pt x="148590" y="195263"/>
                    </a:lnTo>
                    <a:lnTo>
                      <a:pt x="138113" y="197167"/>
                    </a:lnTo>
                    <a:lnTo>
                      <a:pt x="128588" y="200025"/>
                    </a:lnTo>
                    <a:lnTo>
                      <a:pt x="123825" y="201930"/>
                    </a:lnTo>
                    <a:lnTo>
                      <a:pt x="120015" y="202883"/>
                    </a:lnTo>
                    <a:lnTo>
                      <a:pt x="116205" y="204788"/>
                    </a:lnTo>
                    <a:lnTo>
                      <a:pt x="112395" y="206692"/>
                    </a:lnTo>
                    <a:lnTo>
                      <a:pt x="108585" y="208597"/>
                    </a:lnTo>
                    <a:lnTo>
                      <a:pt x="105728" y="210502"/>
                    </a:lnTo>
                    <a:lnTo>
                      <a:pt x="102870" y="213360"/>
                    </a:lnTo>
                    <a:lnTo>
                      <a:pt x="100013" y="216217"/>
                    </a:lnTo>
                    <a:lnTo>
                      <a:pt x="97155" y="219075"/>
                    </a:lnTo>
                    <a:lnTo>
                      <a:pt x="94297" y="221933"/>
                    </a:lnTo>
                    <a:lnTo>
                      <a:pt x="92392" y="224790"/>
                    </a:lnTo>
                    <a:lnTo>
                      <a:pt x="90488" y="227647"/>
                    </a:lnTo>
                    <a:lnTo>
                      <a:pt x="88582" y="231458"/>
                    </a:lnTo>
                    <a:lnTo>
                      <a:pt x="87630" y="235267"/>
                    </a:lnTo>
                    <a:lnTo>
                      <a:pt x="86678" y="239077"/>
                    </a:lnTo>
                    <a:lnTo>
                      <a:pt x="85725" y="242888"/>
                    </a:lnTo>
                    <a:lnTo>
                      <a:pt x="84772" y="246697"/>
                    </a:lnTo>
                    <a:lnTo>
                      <a:pt x="83820" y="250508"/>
                    </a:lnTo>
                    <a:lnTo>
                      <a:pt x="83820" y="255270"/>
                    </a:lnTo>
                    <a:lnTo>
                      <a:pt x="83820" y="260033"/>
                    </a:lnTo>
                    <a:lnTo>
                      <a:pt x="83820" y="265747"/>
                    </a:lnTo>
                    <a:lnTo>
                      <a:pt x="84772" y="271463"/>
                    </a:lnTo>
                    <a:lnTo>
                      <a:pt x="85725" y="277177"/>
                    </a:lnTo>
                    <a:lnTo>
                      <a:pt x="87630" y="281940"/>
                    </a:lnTo>
                    <a:lnTo>
                      <a:pt x="89535" y="286702"/>
                    </a:lnTo>
                    <a:lnTo>
                      <a:pt x="92392" y="291465"/>
                    </a:lnTo>
                    <a:lnTo>
                      <a:pt x="95250" y="295275"/>
                    </a:lnTo>
                    <a:lnTo>
                      <a:pt x="99060" y="299085"/>
                    </a:lnTo>
                    <a:lnTo>
                      <a:pt x="102870" y="302895"/>
                    </a:lnTo>
                    <a:lnTo>
                      <a:pt x="107632" y="305752"/>
                    </a:lnTo>
                    <a:lnTo>
                      <a:pt x="112395" y="308610"/>
                    </a:lnTo>
                    <a:lnTo>
                      <a:pt x="117157" y="310515"/>
                    </a:lnTo>
                    <a:lnTo>
                      <a:pt x="122872" y="312420"/>
                    </a:lnTo>
                    <a:lnTo>
                      <a:pt x="127635" y="313372"/>
                    </a:lnTo>
                    <a:lnTo>
                      <a:pt x="133350" y="314325"/>
                    </a:lnTo>
                    <a:lnTo>
                      <a:pt x="140017" y="314325"/>
                    </a:lnTo>
                    <a:lnTo>
                      <a:pt x="144780" y="314325"/>
                    </a:lnTo>
                    <a:lnTo>
                      <a:pt x="149542" y="314325"/>
                    </a:lnTo>
                    <a:lnTo>
                      <a:pt x="153353" y="313372"/>
                    </a:lnTo>
                    <a:lnTo>
                      <a:pt x="157163" y="312420"/>
                    </a:lnTo>
                    <a:lnTo>
                      <a:pt x="160972" y="311467"/>
                    </a:lnTo>
                    <a:lnTo>
                      <a:pt x="164782" y="310515"/>
                    </a:lnTo>
                    <a:lnTo>
                      <a:pt x="168592" y="309563"/>
                    </a:lnTo>
                    <a:lnTo>
                      <a:pt x="172403" y="307658"/>
                    </a:lnTo>
                    <a:lnTo>
                      <a:pt x="176213" y="305752"/>
                    </a:lnTo>
                    <a:lnTo>
                      <a:pt x="179070" y="303847"/>
                    </a:lnTo>
                    <a:lnTo>
                      <a:pt x="181928" y="301942"/>
                    </a:lnTo>
                    <a:lnTo>
                      <a:pt x="184785" y="299085"/>
                    </a:lnTo>
                    <a:lnTo>
                      <a:pt x="187642" y="296227"/>
                    </a:lnTo>
                    <a:lnTo>
                      <a:pt x="190500" y="293370"/>
                    </a:lnTo>
                    <a:lnTo>
                      <a:pt x="193357" y="290513"/>
                    </a:lnTo>
                    <a:lnTo>
                      <a:pt x="195263" y="287655"/>
                    </a:lnTo>
                    <a:lnTo>
                      <a:pt x="197167" y="283845"/>
                    </a:lnTo>
                    <a:lnTo>
                      <a:pt x="199072" y="280035"/>
                    </a:lnTo>
                    <a:lnTo>
                      <a:pt x="200978" y="276225"/>
                    </a:lnTo>
                    <a:lnTo>
                      <a:pt x="202882" y="272415"/>
                    </a:lnTo>
                    <a:lnTo>
                      <a:pt x="203835" y="268605"/>
                    </a:lnTo>
                    <a:lnTo>
                      <a:pt x="204788" y="264795"/>
                    </a:lnTo>
                    <a:lnTo>
                      <a:pt x="206692" y="260033"/>
                    </a:lnTo>
                    <a:lnTo>
                      <a:pt x="207645" y="255270"/>
                    </a:lnTo>
                    <a:lnTo>
                      <a:pt x="209550" y="244792"/>
                    </a:lnTo>
                    <a:lnTo>
                      <a:pt x="210503" y="234315"/>
                    </a:lnTo>
                    <a:lnTo>
                      <a:pt x="211455" y="222885"/>
                    </a:lnTo>
                    <a:lnTo>
                      <a:pt x="209550" y="211455"/>
                    </a:lnTo>
                    <a:lnTo>
                      <a:pt x="209550" y="21145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69" name="Freeform 68">
                <a:extLst>
                  <a:ext uri="{FF2B5EF4-FFF2-40B4-BE49-F238E27FC236}">
                    <a16:creationId xmlns:a16="http://schemas.microsoft.com/office/drawing/2014/main" id="{44AF378C-0F6D-DF4A-7C18-5813338E88A7}"/>
                  </a:ext>
                </a:extLst>
              </p:cNvPr>
              <p:cNvSpPr/>
              <p:nvPr/>
            </p:nvSpPr>
            <p:spPr>
              <a:xfrm>
                <a:off x="10540999" y="4712106"/>
                <a:ext cx="218122" cy="471487"/>
              </a:xfrm>
              <a:custGeom>
                <a:avLst/>
                <a:gdLst>
                  <a:gd name="connsiteX0" fmla="*/ 58103 w 218122"/>
                  <a:gd name="connsiteY0" fmla="*/ 100965 h 471487"/>
                  <a:gd name="connsiteX1" fmla="*/ 58103 w 218122"/>
                  <a:gd name="connsiteY1" fmla="*/ 26670 h 471487"/>
                  <a:gd name="connsiteX2" fmla="*/ 145732 w 218122"/>
                  <a:gd name="connsiteY2" fmla="*/ 0 h 471487"/>
                  <a:gd name="connsiteX3" fmla="*/ 145732 w 218122"/>
                  <a:gd name="connsiteY3" fmla="*/ 100965 h 471487"/>
                  <a:gd name="connsiteX4" fmla="*/ 218122 w 218122"/>
                  <a:gd name="connsiteY4" fmla="*/ 100965 h 471487"/>
                  <a:gd name="connsiteX5" fmla="*/ 218122 w 218122"/>
                  <a:gd name="connsiteY5" fmla="*/ 165735 h 471487"/>
                  <a:gd name="connsiteX6" fmla="*/ 145732 w 218122"/>
                  <a:gd name="connsiteY6" fmla="*/ 165735 h 471487"/>
                  <a:gd name="connsiteX7" fmla="*/ 145732 w 218122"/>
                  <a:gd name="connsiteY7" fmla="*/ 354330 h 471487"/>
                  <a:gd name="connsiteX8" fmla="*/ 145732 w 218122"/>
                  <a:gd name="connsiteY8" fmla="*/ 360998 h 471487"/>
                  <a:gd name="connsiteX9" fmla="*/ 146685 w 218122"/>
                  <a:gd name="connsiteY9" fmla="*/ 366713 h 471487"/>
                  <a:gd name="connsiteX10" fmla="*/ 147638 w 218122"/>
                  <a:gd name="connsiteY10" fmla="*/ 373380 h 471487"/>
                  <a:gd name="connsiteX11" fmla="*/ 148590 w 218122"/>
                  <a:gd name="connsiteY11" fmla="*/ 378143 h 471487"/>
                  <a:gd name="connsiteX12" fmla="*/ 149543 w 218122"/>
                  <a:gd name="connsiteY12" fmla="*/ 382905 h 471487"/>
                  <a:gd name="connsiteX13" fmla="*/ 151447 w 218122"/>
                  <a:gd name="connsiteY13" fmla="*/ 386715 h 471487"/>
                  <a:gd name="connsiteX14" fmla="*/ 153353 w 218122"/>
                  <a:gd name="connsiteY14" fmla="*/ 390525 h 471487"/>
                  <a:gd name="connsiteX15" fmla="*/ 155257 w 218122"/>
                  <a:gd name="connsiteY15" fmla="*/ 393382 h 471487"/>
                  <a:gd name="connsiteX16" fmla="*/ 158115 w 218122"/>
                  <a:gd name="connsiteY16" fmla="*/ 396240 h 471487"/>
                  <a:gd name="connsiteX17" fmla="*/ 160972 w 218122"/>
                  <a:gd name="connsiteY17" fmla="*/ 398145 h 471487"/>
                  <a:gd name="connsiteX18" fmla="*/ 163830 w 218122"/>
                  <a:gd name="connsiteY18" fmla="*/ 400050 h 471487"/>
                  <a:gd name="connsiteX19" fmla="*/ 167640 w 218122"/>
                  <a:gd name="connsiteY19" fmla="*/ 401955 h 471487"/>
                  <a:gd name="connsiteX20" fmla="*/ 171450 w 218122"/>
                  <a:gd name="connsiteY20" fmla="*/ 402907 h 471487"/>
                  <a:gd name="connsiteX21" fmla="*/ 176213 w 218122"/>
                  <a:gd name="connsiteY21" fmla="*/ 403860 h 471487"/>
                  <a:gd name="connsiteX22" fmla="*/ 180022 w 218122"/>
                  <a:gd name="connsiteY22" fmla="*/ 403860 h 471487"/>
                  <a:gd name="connsiteX23" fmla="*/ 184785 w 218122"/>
                  <a:gd name="connsiteY23" fmla="*/ 404813 h 471487"/>
                  <a:gd name="connsiteX24" fmla="*/ 189547 w 218122"/>
                  <a:gd name="connsiteY24" fmla="*/ 403860 h 471487"/>
                  <a:gd name="connsiteX25" fmla="*/ 194310 w 218122"/>
                  <a:gd name="connsiteY25" fmla="*/ 403860 h 471487"/>
                  <a:gd name="connsiteX26" fmla="*/ 199072 w 218122"/>
                  <a:gd name="connsiteY26" fmla="*/ 402907 h 471487"/>
                  <a:gd name="connsiteX27" fmla="*/ 202882 w 218122"/>
                  <a:gd name="connsiteY27" fmla="*/ 402907 h 471487"/>
                  <a:gd name="connsiteX28" fmla="*/ 206693 w 218122"/>
                  <a:gd name="connsiteY28" fmla="*/ 401003 h 471487"/>
                  <a:gd name="connsiteX29" fmla="*/ 210503 w 218122"/>
                  <a:gd name="connsiteY29" fmla="*/ 400050 h 471487"/>
                  <a:gd name="connsiteX30" fmla="*/ 214313 w 218122"/>
                  <a:gd name="connsiteY30" fmla="*/ 398145 h 471487"/>
                  <a:gd name="connsiteX31" fmla="*/ 218122 w 218122"/>
                  <a:gd name="connsiteY31" fmla="*/ 396240 h 471487"/>
                  <a:gd name="connsiteX32" fmla="*/ 218122 w 218122"/>
                  <a:gd name="connsiteY32" fmla="*/ 459105 h 471487"/>
                  <a:gd name="connsiteX33" fmla="*/ 211455 w 218122"/>
                  <a:gd name="connsiteY33" fmla="*/ 461963 h 471487"/>
                  <a:gd name="connsiteX34" fmla="*/ 204788 w 218122"/>
                  <a:gd name="connsiteY34" fmla="*/ 464820 h 471487"/>
                  <a:gd name="connsiteX35" fmla="*/ 198120 w 218122"/>
                  <a:gd name="connsiteY35" fmla="*/ 466725 h 471487"/>
                  <a:gd name="connsiteX36" fmla="*/ 190500 w 218122"/>
                  <a:gd name="connsiteY36" fmla="*/ 467678 h 471487"/>
                  <a:gd name="connsiteX37" fmla="*/ 182880 w 218122"/>
                  <a:gd name="connsiteY37" fmla="*/ 469582 h 471487"/>
                  <a:gd name="connsiteX38" fmla="*/ 175260 w 218122"/>
                  <a:gd name="connsiteY38" fmla="*/ 470535 h 471487"/>
                  <a:gd name="connsiteX39" fmla="*/ 167640 w 218122"/>
                  <a:gd name="connsiteY39" fmla="*/ 470535 h 471487"/>
                  <a:gd name="connsiteX40" fmla="*/ 159068 w 218122"/>
                  <a:gd name="connsiteY40" fmla="*/ 471488 h 471487"/>
                  <a:gd name="connsiteX41" fmla="*/ 153353 w 218122"/>
                  <a:gd name="connsiteY41" fmla="*/ 470535 h 471487"/>
                  <a:gd name="connsiteX42" fmla="*/ 147638 w 218122"/>
                  <a:gd name="connsiteY42" fmla="*/ 470535 h 471487"/>
                  <a:gd name="connsiteX43" fmla="*/ 141922 w 218122"/>
                  <a:gd name="connsiteY43" fmla="*/ 470535 h 471487"/>
                  <a:gd name="connsiteX44" fmla="*/ 136207 w 218122"/>
                  <a:gd name="connsiteY44" fmla="*/ 469582 h 471487"/>
                  <a:gd name="connsiteX45" fmla="*/ 130493 w 218122"/>
                  <a:gd name="connsiteY45" fmla="*/ 468630 h 471487"/>
                  <a:gd name="connsiteX46" fmla="*/ 125730 w 218122"/>
                  <a:gd name="connsiteY46" fmla="*/ 467678 h 471487"/>
                  <a:gd name="connsiteX47" fmla="*/ 120015 w 218122"/>
                  <a:gd name="connsiteY47" fmla="*/ 466725 h 471487"/>
                  <a:gd name="connsiteX48" fmla="*/ 115253 w 218122"/>
                  <a:gd name="connsiteY48" fmla="*/ 464820 h 471487"/>
                  <a:gd name="connsiteX49" fmla="*/ 110490 w 218122"/>
                  <a:gd name="connsiteY49" fmla="*/ 462915 h 471487"/>
                  <a:gd name="connsiteX50" fmla="*/ 106680 w 218122"/>
                  <a:gd name="connsiteY50" fmla="*/ 461010 h 471487"/>
                  <a:gd name="connsiteX51" fmla="*/ 101918 w 218122"/>
                  <a:gd name="connsiteY51" fmla="*/ 459105 h 471487"/>
                  <a:gd name="connsiteX52" fmla="*/ 98107 w 218122"/>
                  <a:gd name="connsiteY52" fmla="*/ 457200 h 471487"/>
                  <a:gd name="connsiteX53" fmla="*/ 94297 w 218122"/>
                  <a:gd name="connsiteY53" fmla="*/ 454343 h 471487"/>
                  <a:gd name="connsiteX54" fmla="*/ 90488 w 218122"/>
                  <a:gd name="connsiteY54" fmla="*/ 451485 h 471487"/>
                  <a:gd name="connsiteX55" fmla="*/ 86678 w 218122"/>
                  <a:gd name="connsiteY55" fmla="*/ 448628 h 471487"/>
                  <a:gd name="connsiteX56" fmla="*/ 83820 w 218122"/>
                  <a:gd name="connsiteY56" fmla="*/ 445770 h 471487"/>
                  <a:gd name="connsiteX57" fmla="*/ 80963 w 218122"/>
                  <a:gd name="connsiteY57" fmla="*/ 442913 h 471487"/>
                  <a:gd name="connsiteX58" fmla="*/ 78105 w 218122"/>
                  <a:gd name="connsiteY58" fmla="*/ 439103 h 471487"/>
                  <a:gd name="connsiteX59" fmla="*/ 75247 w 218122"/>
                  <a:gd name="connsiteY59" fmla="*/ 435293 h 471487"/>
                  <a:gd name="connsiteX60" fmla="*/ 72390 w 218122"/>
                  <a:gd name="connsiteY60" fmla="*/ 431482 h 471487"/>
                  <a:gd name="connsiteX61" fmla="*/ 70485 w 218122"/>
                  <a:gd name="connsiteY61" fmla="*/ 427673 h 471487"/>
                  <a:gd name="connsiteX62" fmla="*/ 68580 w 218122"/>
                  <a:gd name="connsiteY62" fmla="*/ 422910 h 471487"/>
                  <a:gd name="connsiteX63" fmla="*/ 66675 w 218122"/>
                  <a:gd name="connsiteY63" fmla="*/ 418148 h 471487"/>
                  <a:gd name="connsiteX64" fmla="*/ 64770 w 218122"/>
                  <a:gd name="connsiteY64" fmla="*/ 413385 h 471487"/>
                  <a:gd name="connsiteX65" fmla="*/ 62865 w 218122"/>
                  <a:gd name="connsiteY65" fmla="*/ 407670 h 471487"/>
                  <a:gd name="connsiteX66" fmla="*/ 61913 w 218122"/>
                  <a:gd name="connsiteY66" fmla="*/ 402907 h 471487"/>
                  <a:gd name="connsiteX67" fmla="*/ 60960 w 218122"/>
                  <a:gd name="connsiteY67" fmla="*/ 397193 h 471487"/>
                  <a:gd name="connsiteX68" fmla="*/ 60007 w 218122"/>
                  <a:gd name="connsiteY68" fmla="*/ 391478 h 471487"/>
                  <a:gd name="connsiteX69" fmla="*/ 59055 w 218122"/>
                  <a:gd name="connsiteY69" fmla="*/ 384810 h 471487"/>
                  <a:gd name="connsiteX70" fmla="*/ 58103 w 218122"/>
                  <a:gd name="connsiteY70" fmla="*/ 378143 h 471487"/>
                  <a:gd name="connsiteX71" fmla="*/ 58103 w 218122"/>
                  <a:gd name="connsiteY71" fmla="*/ 372428 h 471487"/>
                  <a:gd name="connsiteX72" fmla="*/ 58103 w 218122"/>
                  <a:gd name="connsiteY72" fmla="*/ 364807 h 471487"/>
                  <a:gd name="connsiteX73" fmla="*/ 58103 w 218122"/>
                  <a:gd name="connsiteY73" fmla="*/ 165735 h 471487"/>
                  <a:gd name="connsiteX74" fmla="*/ 0 w 218122"/>
                  <a:gd name="connsiteY74" fmla="*/ 165735 h 471487"/>
                  <a:gd name="connsiteX75" fmla="*/ 0 w 218122"/>
                  <a:gd name="connsiteY75" fmla="*/ 100965 h 471487"/>
                  <a:gd name="connsiteX76" fmla="*/ 58103 w 218122"/>
                  <a:gd name="connsiteY76" fmla="*/ 100965 h 471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218122" h="471487">
                    <a:moveTo>
                      <a:pt x="58103" y="100965"/>
                    </a:moveTo>
                    <a:lnTo>
                      <a:pt x="58103" y="26670"/>
                    </a:lnTo>
                    <a:lnTo>
                      <a:pt x="145732" y="0"/>
                    </a:lnTo>
                    <a:lnTo>
                      <a:pt x="145732" y="100965"/>
                    </a:lnTo>
                    <a:lnTo>
                      <a:pt x="218122" y="100965"/>
                    </a:lnTo>
                    <a:lnTo>
                      <a:pt x="218122" y="165735"/>
                    </a:lnTo>
                    <a:lnTo>
                      <a:pt x="145732" y="165735"/>
                    </a:lnTo>
                    <a:lnTo>
                      <a:pt x="145732" y="354330"/>
                    </a:lnTo>
                    <a:lnTo>
                      <a:pt x="145732" y="360998"/>
                    </a:lnTo>
                    <a:lnTo>
                      <a:pt x="146685" y="366713"/>
                    </a:lnTo>
                    <a:lnTo>
                      <a:pt x="147638" y="373380"/>
                    </a:lnTo>
                    <a:lnTo>
                      <a:pt x="148590" y="378143"/>
                    </a:lnTo>
                    <a:lnTo>
                      <a:pt x="149543" y="382905"/>
                    </a:lnTo>
                    <a:lnTo>
                      <a:pt x="151447" y="386715"/>
                    </a:lnTo>
                    <a:lnTo>
                      <a:pt x="153353" y="390525"/>
                    </a:lnTo>
                    <a:lnTo>
                      <a:pt x="155257" y="393382"/>
                    </a:lnTo>
                    <a:lnTo>
                      <a:pt x="158115" y="396240"/>
                    </a:lnTo>
                    <a:lnTo>
                      <a:pt x="160972" y="398145"/>
                    </a:lnTo>
                    <a:lnTo>
                      <a:pt x="163830" y="400050"/>
                    </a:lnTo>
                    <a:lnTo>
                      <a:pt x="167640" y="401955"/>
                    </a:lnTo>
                    <a:lnTo>
                      <a:pt x="171450" y="402907"/>
                    </a:lnTo>
                    <a:lnTo>
                      <a:pt x="176213" y="403860"/>
                    </a:lnTo>
                    <a:lnTo>
                      <a:pt x="180022" y="403860"/>
                    </a:lnTo>
                    <a:lnTo>
                      <a:pt x="184785" y="404813"/>
                    </a:lnTo>
                    <a:lnTo>
                      <a:pt x="189547" y="403860"/>
                    </a:lnTo>
                    <a:lnTo>
                      <a:pt x="194310" y="403860"/>
                    </a:lnTo>
                    <a:lnTo>
                      <a:pt x="199072" y="402907"/>
                    </a:lnTo>
                    <a:lnTo>
                      <a:pt x="202882" y="402907"/>
                    </a:lnTo>
                    <a:lnTo>
                      <a:pt x="206693" y="401003"/>
                    </a:lnTo>
                    <a:lnTo>
                      <a:pt x="210503" y="400050"/>
                    </a:lnTo>
                    <a:lnTo>
                      <a:pt x="214313" y="398145"/>
                    </a:lnTo>
                    <a:lnTo>
                      <a:pt x="218122" y="396240"/>
                    </a:lnTo>
                    <a:lnTo>
                      <a:pt x="218122" y="459105"/>
                    </a:lnTo>
                    <a:lnTo>
                      <a:pt x="211455" y="461963"/>
                    </a:lnTo>
                    <a:lnTo>
                      <a:pt x="204788" y="464820"/>
                    </a:lnTo>
                    <a:lnTo>
                      <a:pt x="198120" y="466725"/>
                    </a:lnTo>
                    <a:lnTo>
                      <a:pt x="190500" y="467678"/>
                    </a:lnTo>
                    <a:lnTo>
                      <a:pt x="182880" y="469582"/>
                    </a:lnTo>
                    <a:lnTo>
                      <a:pt x="175260" y="470535"/>
                    </a:lnTo>
                    <a:lnTo>
                      <a:pt x="167640" y="470535"/>
                    </a:lnTo>
                    <a:lnTo>
                      <a:pt x="159068" y="471488"/>
                    </a:lnTo>
                    <a:lnTo>
                      <a:pt x="153353" y="470535"/>
                    </a:lnTo>
                    <a:lnTo>
                      <a:pt x="147638" y="470535"/>
                    </a:lnTo>
                    <a:lnTo>
                      <a:pt x="141922" y="470535"/>
                    </a:lnTo>
                    <a:lnTo>
                      <a:pt x="136207" y="469582"/>
                    </a:lnTo>
                    <a:lnTo>
                      <a:pt x="130493" y="468630"/>
                    </a:lnTo>
                    <a:lnTo>
                      <a:pt x="125730" y="467678"/>
                    </a:lnTo>
                    <a:lnTo>
                      <a:pt x="120015" y="466725"/>
                    </a:lnTo>
                    <a:lnTo>
                      <a:pt x="115253" y="464820"/>
                    </a:lnTo>
                    <a:lnTo>
                      <a:pt x="110490" y="462915"/>
                    </a:lnTo>
                    <a:lnTo>
                      <a:pt x="106680" y="461010"/>
                    </a:lnTo>
                    <a:lnTo>
                      <a:pt x="101918" y="459105"/>
                    </a:lnTo>
                    <a:lnTo>
                      <a:pt x="98107" y="457200"/>
                    </a:lnTo>
                    <a:lnTo>
                      <a:pt x="94297" y="454343"/>
                    </a:lnTo>
                    <a:lnTo>
                      <a:pt x="90488" y="451485"/>
                    </a:lnTo>
                    <a:lnTo>
                      <a:pt x="86678" y="448628"/>
                    </a:lnTo>
                    <a:lnTo>
                      <a:pt x="83820" y="445770"/>
                    </a:lnTo>
                    <a:lnTo>
                      <a:pt x="80963" y="442913"/>
                    </a:lnTo>
                    <a:lnTo>
                      <a:pt x="78105" y="439103"/>
                    </a:lnTo>
                    <a:lnTo>
                      <a:pt x="75247" y="435293"/>
                    </a:lnTo>
                    <a:lnTo>
                      <a:pt x="72390" y="431482"/>
                    </a:lnTo>
                    <a:lnTo>
                      <a:pt x="70485" y="427673"/>
                    </a:lnTo>
                    <a:lnTo>
                      <a:pt x="68580" y="422910"/>
                    </a:lnTo>
                    <a:lnTo>
                      <a:pt x="66675" y="418148"/>
                    </a:lnTo>
                    <a:lnTo>
                      <a:pt x="64770" y="413385"/>
                    </a:lnTo>
                    <a:lnTo>
                      <a:pt x="62865" y="407670"/>
                    </a:lnTo>
                    <a:lnTo>
                      <a:pt x="61913" y="402907"/>
                    </a:lnTo>
                    <a:lnTo>
                      <a:pt x="60960" y="397193"/>
                    </a:lnTo>
                    <a:lnTo>
                      <a:pt x="60007" y="391478"/>
                    </a:lnTo>
                    <a:lnTo>
                      <a:pt x="59055" y="384810"/>
                    </a:lnTo>
                    <a:lnTo>
                      <a:pt x="58103" y="378143"/>
                    </a:lnTo>
                    <a:lnTo>
                      <a:pt x="58103" y="372428"/>
                    </a:lnTo>
                    <a:lnTo>
                      <a:pt x="58103" y="364807"/>
                    </a:lnTo>
                    <a:lnTo>
                      <a:pt x="58103" y="165735"/>
                    </a:lnTo>
                    <a:lnTo>
                      <a:pt x="0" y="165735"/>
                    </a:lnTo>
                    <a:lnTo>
                      <a:pt x="0" y="100965"/>
                    </a:lnTo>
                    <a:lnTo>
                      <a:pt x="58103" y="10096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70" name="Freeform 69">
                <a:extLst>
                  <a:ext uri="{FF2B5EF4-FFF2-40B4-BE49-F238E27FC236}">
                    <a16:creationId xmlns:a16="http://schemas.microsoft.com/office/drawing/2014/main" id="{E1A635B0-375F-85E0-4F5C-D30757464374}"/>
                  </a:ext>
                </a:extLst>
              </p:cNvPr>
              <p:cNvSpPr/>
              <p:nvPr/>
            </p:nvSpPr>
            <p:spPr>
              <a:xfrm>
                <a:off x="10799127" y="4658767"/>
                <a:ext cx="90487" cy="518159"/>
              </a:xfrm>
              <a:custGeom>
                <a:avLst/>
                <a:gdLst>
                  <a:gd name="connsiteX0" fmla="*/ 953 w 90487"/>
                  <a:gd name="connsiteY0" fmla="*/ 518160 h 518159"/>
                  <a:gd name="connsiteX1" fmla="*/ 953 w 90487"/>
                  <a:gd name="connsiteY1" fmla="*/ 155258 h 518159"/>
                  <a:gd name="connsiteX2" fmla="*/ 88583 w 90487"/>
                  <a:gd name="connsiteY2" fmla="*/ 155258 h 518159"/>
                  <a:gd name="connsiteX3" fmla="*/ 88583 w 90487"/>
                  <a:gd name="connsiteY3" fmla="*/ 518160 h 518159"/>
                  <a:gd name="connsiteX4" fmla="*/ 953 w 90487"/>
                  <a:gd name="connsiteY4" fmla="*/ 518160 h 518159"/>
                  <a:gd name="connsiteX5" fmla="*/ 953 w 90487"/>
                  <a:gd name="connsiteY5" fmla="*/ 518160 h 518159"/>
                  <a:gd name="connsiteX6" fmla="*/ 0 w 90487"/>
                  <a:gd name="connsiteY6" fmla="*/ 85725 h 518159"/>
                  <a:gd name="connsiteX7" fmla="*/ 0 w 90487"/>
                  <a:gd name="connsiteY7" fmla="*/ 0 h 518159"/>
                  <a:gd name="connsiteX8" fmla="*/ 90487 w 90487"/>
                  <a:gd name="connsiteY8" fmla="*/ 0 h 518159"/>
                  <a:gd name="connsiteX9" fmla="*/ 90487 w 90487"/>
                  <a:gd name="connsiteY9" fmla="*/ 86677 h 518159"/>
                  <a:gd name="connsiteX10" fmla="*/ 0 w 90487"/>
                  <a:gd name="connsiteY10" fmla="*/ 86677 h 518159"/>
                  <a:gd name="connsiteX11" fmla="*/ 0 w 90487"/>
                  <a:gd name="connsiteY11" fmla="*/ 85725 h 518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0487" h="518159">
                    <a:moveTo>
                      <a:pt x="953" y="518160"/>
                    </a:moveTo>
                    <a:lnTo>
                      <a:pt x="953" y="155258"/>
                    </a:lnTo>
                    <a:lnTo>
                      <a:pt x="88583" y="155258"/>
                    </a:lnTo>
                    <a:lnTo>
                      <a:pt x="88583" y="518160"/>
                    </a:lnTo>
                    <a:lnTo>
                      <a:pt x="953" y="518160"/>
                    </a:lnTo>
                    <a:lnTo>
                      <a:pt x="953" y="518160"/>
                    </a:lnTo>
                    <a:close/>
                    <a:moveTo>
                      <a:pt x="0" y="85725"/>
                    </a:moveTo>
                    <a:lnTo>
                      <a:pt x="0" y="0"/>
                    </a:lnTo>
                    <a:lnTo>
                      <a:pt x="90487" y="0"/>
                    </a:lnTo>
                    <a:lnTo>
                      <a:pt x="90487" y="86677"/>
                    </a:lnTo>
                    <a:lnTo>
                      <a:pt x="0" y="86677"/>
                    </a:lnTo>
                    <a:lnTo>
                      <a:pt x="0" y="85725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71" name="Freeform 70">
                <a:extLst>
                  <a:ext uri="{FF2B5EF4-FFF2-40B4-BE49-F238E27FC236}">
                    <a16:creationId xmlns:a16="http://schemas.microsoft.com/office/drawing/2014/main" id="{F19904F5-8F98-22B7-9163-0AAE755133ED}"/>
                  </a:ext>
                </a:extLst>
              </p:cNvPr>
              <p:cNvSpPr/>
              <p:nvPr/>
            </p:nvSpPr>
            <p:spPr>
              <a:xfrm>
                <a:off x="10939144" y="4809262"/>
                <a:ext cx="318135" cy="372427"/>
              </a:xfrm>
              <a:custGeom>
                <a:avLst/>
                <a:gdLst>
                  <a:gd name="connsiteX0" fmla="*/ 93345 w 318135"/>
                  <a:gd name="connsiteY0" fmla="*/ 185738 h 372427"/>
                  <a:gd name="connsiteX1" fmla="*/ 93345 w 318135"/>
                  <a:gd name="connsiteY1" fmla="*/ 200977 h 372427"/>
                  <a:gd name="connsiteX2" fmla="*/ 94298 w 318135"/>
                  <a:gd name="connsiteY2" fmla="*/ 215265 h 372427"/>
                  <a:gd name="connsiteX3" fmla="*/ 96203 w 318135"/>
                  <a:gd name="connsiteY3" fmla="*/ 228600 h 372427"/>
                  <a:gd name="connsiteX4" fmla="*/ 98107 w 318135"/>
                  <a:gd name="connsiteY4" fmla="*/ 240983 h 372427"/>
                  <a:gd name="connsiteX5" fmla="*/ 99060 w 318135"/>
                  <a:gd name="connsiteY5" fmla="*/ 246697 h 372427"/>
                  <a:gd name="connsiteX6" fmla="*/ 100013 w 318135"/>
                  <a:gd name="connsiteY6" fmla="*/ 252413 h 372427"/>
                  <a:gd name="connsiteX7" fmla="*/ 100965 w 318135"/>
                  <a:gd name="connsiteY7" fmla="*/ 258127 h 372427"/>
                  <a:gd name="connsiteX8" fmla="*/ 102870 w 318135"/>
                  <a:gd name="connsiteY8" fmla="*/ 263842 h 372427"/>
                  <a:gd name="connsiteX9" fmla="*/ 104775 w 318135"/>
                  <a:gd name="connsiteY9" fmla="*/ 268605 h 372427"/>
                  <a:gd name="connsiteX10" fmla="*/ 106680 w 318135"/>
                  <a:gd name="connsiteY10" fmla="*/ 273367 h 372427"/>
                  <a:gd name="connsiteX11" fmla="*/ 108585 w 318135"/>
                  <a:gd name="connsiteY11" fmla="*/ 277177 h 372427"/>
                  <a:gd name="connsiteX12" fmla="*/ 110490 w 318135"/>
                  <a:gd name="connsiteY12" fmla="*/ 280988 h 372427"/>
                  <a:gd name="connsiteX13" fmla="*/ 113348 w 318135"/>
                  <a:gd name="connsiteY13" fmla="*/ 284797 h 372427"/>
                  <a:gd name="connsiteX14" fmla="*/ 116205 w 318135"/>
                  <a:gd name="connsiteY14" fmla="*/ 288608 h 372427"/>
                  <a:gd name="connsiteX15" fmla="*/ 119063 w 318135"/>
                  <a:gd name="connsiteY15" fmla="*/ 291465 h 372427"/>
                  <a:gd name="connsiteX16" fmla="*/ 121920 w 318135"/>
                  <a:gd name="connsiteY16" fmla="*/ 294322 h 372427"/>
                  <a:gd name="connsiteX17" fmla="*/ 124778 w 318135"/>
                  <a:gd name="connsiteY17" fmla="*/ 297180 h 372427"/>
                  <a:gd name="connsiteX18" fmla="*/ 127635 w 318135"/>
                  <a:gd name="connsiteY18" fmla="*/ 300038 h 372427"/>
                  <a:gd name="connsiteX19" fmla="*/ 130493 w 318135"/>
                  <a:gd name="connsiteY19" fmla="*/ 302895 h 372427"/>
                  <a:gd name="connsiteX20" fmla="*/ 134303 w 318135"/>
                  <a:gd name="connsiteY20" fmla="*/ 304800 h 372427"/>
                  <a:gd name="connsiteX21" fmla="*/ 137160 w 318135"/>
                  <a:gd name="connsiteY21" fmla="*/ 306705 h 372427"/>
                  <a:gd name="connsiteX22" fmla="*/ 140970 w 318135"/>
                  <a:gd name="connsiteY22" fmla="*/ 308610 h 372427"/>
                  <a:gd name="connsiteX23" fmla="*/ 144780 w 318135"/>
                  <a:gd name="connsiteY23" fmla="*/ 309563 h 372427"/>
                  <a:gd name="connsiteX24" fmla="*/ 148590 w 318135"/>
                  <a:gd name="connsiteY24" fmla="*/ 310515 h 372427"/>
                  <a:gd name="connsiteX25" fmla="*/ 152400 w 318135"/>
                  <a:gd name="connsiteY25" fmla="*/ 311467 h 372427"/>
                  <a:gd name="connsiteX26" fmla="*/ 156210 w 318135"/>
                  <a:gd name="connsiteY26" fmla="*/ 312420 h 372427"/>
                  <a:gd name="connsiteX27" fmla="*/ 160020 w 318135"/>
                  <a:gd name="connsiteY27" fmla="*/ 312420 h 372427"/>
                  <a:gd name="connsiteX28" fmla="*/ 164782 w 318135"/>
                  <a:gd name="connsiteY28" fmla="*/ 312420 h 372427"/>
                  <a:gd name="connsiteX29" fmla="*/ 168593 w 318135"/>
                  <a:gd name="connsiteY29" fmla="*/ 312420 h 372427"/>
                  <a:gd name="connsiteX30" fmla="*/ 172403 w 318135"/>
                  <a:gd name="connsiteY30" fmla="*/ 312420 h 372427"/>
                  <a:gd name="connsiteX31" fmla="*/ 176213 w 318135"/>
                  <a:gd name="connsiteY31" fmla="*/ 311467 h 372427"/>
                  <a:gd name="connsiteX32" fmla="*/ 180023 w 318135"/>
                  <a:gd name="connsiteY32" fmla="*/ 310515 h 372427"/>
                  <a:gd name="connsiteX33" fmla="*/ 183832 w 318135"/>
                  <a:gd name="connsiteY33" fmla="*/ 309563 h 372427"/>
                  <a:gd name="connsiteX34" fmla="*/ 187643 w 318135"/>
                  <a:gd name="connsiteY34" fmla="*/ 308610 h 372427"/>
                  <a:gd name="connsiteX35" fmla="*/ 190500 w 318135"/>
                  <a:gd name="connsiteY35" fmla="*/ 306705 h 372427"/>
                  <a:gd name="connsiteX36" fmla="*/ 194310 w 318135"/>
                  <a:gd name="connsiteY36" fmla="*/ 304800 h 372427"/>
                  <a:gd name="connsiteX37" fmla="*/ 197168 w 318135"/>
                  <a:gd name="connsiteY37" fmla="*/ 302895 h 372427"/>
                  <a:gd name="connsiteX38" fmla="*/ 200025 w 318135"/>
                  <a:gd name="connsiteY38" fmla="*/ 300038 h 372427"/>
                  <a:gd name="connsiteX39" fmla="*/ 202882 w 318135"/>
                  <a:gd name="connsiteY39" fmla="*/ 297180 h 372427"/>
                  <a:gd name="connsiteX40" fmla="*/ 205740 w 318135"/>
                  <a:gd name="connsiteY40" fmla="*/ 294322 h 372427"/>
                  <a:gd name="connsiteX41" fmla="*/ 208598 w 318135"/>
                  <a:gd name="connsiteY41" fmla="*/ 291465 h 372427"/>
                  <a:gd name="connsiteX42" fmla="*/ 211455 w 318135"/>
                  <a:gd name="connsiteY42" fmla="*/ 288608 h 372427"/>
                  <a:gd name="connsiteX43" fmla="*/ 214313 w 318135"/>
                  <a:gd name="connsiteY43" fmla="*/ 284797 h 372427"/>
                  <a:gd name="connsiteX44" fmla="*/ 216218 w 318135"/>
                  <a:gd name="connsiteY44" fmla="*/ 280988 h 372427"/>
                  <a:gd name="connsiteX45" fmla="*/ 218123 w 318135"/>
                  <a:gd name="connsiteY45" fmla="*/ 277177 h 372427"/>
                  <a:gd name="connsiteX46" fmla="*/ 220028 w 318135"/>
                  <a:gd name="connsiteY46" fmla="*/ 273367 h 372427"/>
                  <a:gd name="connsiteX47" fmla="*/ 221932 w 318135"/>
                  <a:gd name="connsiteY47" fmla="*/ 268605 h 372427"/>
                  <a:gd name="connsiteX48" fmla="*/ 223838 w 318135"/>
                  <a:gd name="connsiteY48" fmla="*/ 263842 h 372427"/>
                  <a:gd name="connsiteX49" fmla="*/ 225743 w 318135"/>
                  <a:gd name="connsiteY49" fmla="*/ 258127 h 372427"/>
                  <a:gd name="connsiteX50" fmla="*/ 226695 w 318135"/>
                  <a:gd name="connsiteY50" fmla="*/ 252413 h 372427"/>
                  <a:gd name="connsiteX51" fmla="*/ 227648 w 318135"/>
                  <a:gd name="connsiteY51" fmla="*/ 246697 h 372427"/>
                  <a:gd name="connsiteX52" fmla="*/ 228600 w 318135"/>
                  <a:gd name="connsiteY52" fmla="*/ 240983 h 372427"/>
                  <a:gd name="connsiteX53" fmla="*/ 230505 w 318135"/>
                  <a:gd name="connsiteY53" fmla="*/ 228600 h 372427"/>
                  <a:gd name="connsiteX54" fmla="*/ 231457 w 318135"/>
                  <a:gd name="connsiteY54" fmla="*/ 215265 h 372427"/>
                  <a:gd name="connsiteX55" fmla="*/ 232410 w 318135"/>
                  <a:gd name="connsiteY55" fmla="*/ 200977 h 372427"/>
                  <a:gd name="connsiteX56" fmla="*/ 232410 w 318135"/>
                  <a:gd name="connsiteY56" fmla="*/ 185738 h 372427"/>
                  <a:gd name="connsiteX57" fmla="*/ 232410 w 318135"/>
                  <a:gd name="connsiteY57" fmla="*/ 172402 h 372427"/>
                  <a:gd name="connsiteX58" fmla="*/ 231457 w 318135"/>
                  <a:gd name="connsiteY58" fmla="*/ 160020 h 372427"/>
                  <a:gd name="connsiteX59" fmla="*/ 230505 w 318135"/>
                  <a:gd name="connsiteY59" fmla="*/ 147638 h 372427"/>
                  <a:gd name="connsiteX60" fmla="*/ 228600 w 318135"/>
                  <a:gd name="connsiteY60" fmla="*/ 136207 h 372427"/>
                  <a:gd name="connsiteX61" fmla="*/ 226695 w 318135"/>
                  <a:gd name="connsiteY61" fmla="*/ 125730 h 372427"/>
                  <a:gd name="connsiteX62" fmla="*/ 223838 w 318135"/>
                  <a:gd name="connsiteY62" fmla="*/ 115252 h 372427"/>
                  <a:gd name="connsiteX63" fmla="*/ 220980 w 318135"/>
                  <a:gd name="connsiteY63" fmla="*/ 105727 h 372427"/>
                  <a:gd name="connsiteX64" fmla="*/ 217170 w 318135"/>
                  <a:gd name="connsiteY64" fmla="*/ 96202 h 372427"/>
                  <a:gd name="connsiteX65" fmla="*/ 215265 w 318135"/>
                  <a:gd name="connsiteY65" fmla="*/ 92392 h 372427"/>
                  <a:gd name="connsiteX66" fmla="*/ 212407 w 318135"/>
                  <a:gd name="connsiteY66" fmla="*/ 88582 h 372427"/>
                  <a:gd name="connsiteX67" fmla="*/ 209550 w 318135"/>
                  <a:gd name="connsiteY67" fmla="*/ 84772 h 372427"/>
                  <a:gd name="connsiteX68" fmla="*/ 206693 w 318135"/>
                  <a:gd name="connsiteY68" fmla="*/ 80963 h 372427"/>
                  <a:gd name="connsiteX69" fmla="*/ 203835 w 318135"/>
                  <a:gd name="connsiteY69" fmla="*/ 78105 h 372427"/>
                  <a:gd name="connsiteX70" fmla="*/ 200978 w 318135"/>
                  <a:gd name="connsiteY70" fmla="*/ 75247 h 372427"/>
                  <a:gd name="connsiteX71" fmla="*/ 198120 w 318135"/>
                  <a:gd name="connsiteY71" fmla="*/ 72390 h 372427"/>
                  <a:gd name="connsiteX72" fmla="*/ 195263 w 318135"/>
                  <a:gd name="connsiteY72" fmla="*/ 69532 h 372427"/>
                  <a:gd name="connsiteX73" fmla="*/ 191453 w 318135"/>
                  <a:gd name="connsiteY73" fmla="*/ 67627 h 372427"/>
                  <a:gd name="connsiteX74" fmla="*/ 187643 w 318135"/>
                  <a:gd name="connsiteY74" fmla="*/ 65722 h 372427"/>
                  <a:gd name="connsiteX75" fmla="*/ 183832 w 318135"/>
                  <a:gd name="connsiteY75" fmla="*/ 64770 h 372427"/>
                  <a:gd name="connsiteX76" fmla="*/ 180023 w 318135"/>
                  <a:gd name="connsiteY76" fmla="*/ 63817 h 372427"/>
                  <a:gd name="connsiteX77" fmla="*/ 176213 w 318135"/>
                  <a:gd name="connsiteY77" fmla="*/ 62865 h 372427"/>
                  <a:gd name="connsiteX78" fmla="*/ 172403 w 318135"/>
                  <a:gd name="connsiteY78" fmla="*/ 61913 h 372427"/>
                  <a:gd name="connsiteX79" fmla="*/ 167640 w 318135"/>
                  <a:gd name="connsiteY79" fmla="*/ 61913 h 372427"/>
                  <a:gd name="connsiteX80" fmla="*/ 162878 w 318135"/>
                  <a:gd name="connsiteY80" fmla="*/ 61913 h 372427"/>
                  <a:gd name="connsiteX81" fmla="*/ 158115 w 318135"/>
                  <a:gd name="connsiteY81" fmla="*/ 61913 h 372427"/>
                  <a:gd name="connsiteX82" fmla="*/ 153353 w 318135"/>
                  <a:gd name="connsiteY82" fmla="*/ 62865 h 372427"/>
                  <a:gd name="connsiteX83" fmla="*/ 148590 w 318135"/>
                  <a:gd name="connsiteY83" fmla="*/ 62865 h 372427"/>
                  <a:gd name="connsiteX84" fmla="*/ 144780 w 318135"/>
                  <a:gd name="connsiteY84" fmla="*/ 63817 h 372427"/>
                  <a:gd name="connsiteX85" fmla="*/ 140970 w 318135"/>
                  <a:gd name="connsiteY85" fmla="*/ 64770 h 372427"/>
                  <a:gd name="connsiteX86" fmla="*/ 137160 w 318135"/>
                  <a:gd name="connsiteY86" fmla="*/ 65722 h 372427"/>
                  <a:gd name="connsiteX87" fmla="*/ 133350 w 318135"/>
                  <a:gd name="connsiteY87" fmla="*/ 67627 h 372427"/>
                  <a:gd name="connsiteX88" fmla="*/ 129540 w 318135"/>
                  <a:gd name="connsiteY88" fmla="*/ 69532 h 372427"/>
                  <a:gd name="connsiteX89" fmla="*/ 125730 w 318135"/>
                  <a:gd name="connsiteY89" fmla="*/ 72390 h 372427"/>
                  <a:gd name="connsiteX90" fmla="*/ 122873 w 318135"/>
                  <a:gd name="connsiteY90" fmla="*/ 75247 h 372427"/>
                  <a:gd name="connsiteX91" fmla="*/ 120015 w 318135"/>
                  <a:gd name="connsiteY91" fmla="*/ 78105 h 372427"/>
                  <a:gd name="connsiteX92" fmla="*/ 117157 w 318135"/>
                  <a:gd name="connsiteY92" fmla="*/ 80963 h 372427"/>
                  <a:gd name="connsiteX93" fmla="*/ 114300 w 318135"/>
                  <a:gd name="connsiteY93" fmla="*/ 84772 h 372427"/>
                  <a:gd name="connsiteX94" fmla="*/ 111443 w 318135"/>
                  <a:gd name="connsiteY94" fmla="*/ 88582 h 372427"/>
                  <a:gd name="connsiteX95" fmla="*/ 109538 w 318135"/>
                  <a:gd name="connsiteY95" fmla="*/ 92392 h 372427"/>
                  <a:gd name="connsiteX96" fmla="*/ 107632 w 318135"/>
                  <a:gd name="connsiteY96" fmla="*/ 96202 h 372427"/>
                  <a:gd name="connsiteX97" fmla="*/ 103823 w 318135"/>
                  <a:gd name="connsiteY97" fmla="*/ 105727 h 372427"/>
                  <a:gd name="connsiteX98" fmla="*/ 100965 w 318135"/>
                  <a:gd name="connsiteY98" fmla="*/ 115252 h 372427"/>
                  <a:gd name="connsiteX99" fmla="*/ 98107 w 318135"/>
                  <a:gd name="connsiteY99" fmla="*/ 125730 h 372427"/>
                  <a:gd name="connsiteX100" fmla="*/ 96203 w 318135"/>
                  <a:gd name="connsiteY100" fmla="*/ 136207 h 372427"/>
                  <a:gd name="connsiteX101" fmla="*/ 94298 w 318135"/>
                  <a:gd name="connsiteY101" fmla="*/ 147638 h 372427"/>
                  <a:gd name="connsiteX102" fmla="*/ 93345 w 318135"/>
                  <a:gd name="connsiteY102" fmla="*/ 160020 h 372427"/>
                  <a:gd name="connsiteX103" fmla="*/ 92393 w 318135"/>
                  <a:gd name="connsiteY103" fmla="*/ 172402 h 372427"/>
                  <a:gd name="connsiteX104" fmla="*/ 92393 w 318135"/>
                  <a:gd name="connsiteY104" fmla="*/ 185738 h 372427"/>
                  <a:gd name="connsiteX105" fmla="*/ 93345 w 318135"/>
                  <a:gd name="connsiteY105" fmla="*/ 185738 h 372427"/>
                  <a:gd name="connsiteX106" fmla="*/ 2857 w 318135"/>
                  <a:gd name="connsiteY106" fmla="*/ 185738 h 372427"/>
                  <a:gd name="connsiteX107" fmla="*/ 2857 w 318135"/>
                  <a:gd name="connsiteY107" fmla="*/ 172402 h 372427"/>
                  <a:gd name="connsiteX108" fmla="*/ 3810 w 318135"/>
                  <a:gd name="connsiteY108" fmla="*/ 160020 h 372427"/>
                  <a:gd name="connsiteX109" fmla="*/ 4763 w 318135"/>
                  <a:gd name="connsiteY109" fmla="*/ 147638 h 372427"/>
                  <a:gd name="connsiteX110" fmla="*/ 6668 w 318135"/>
                  <a:gd name="connsiteY110" fmla="*/ 136207 h 372427"/>
                  <a:gd name="connsiteX111" fmla="*/ 8573 w 318135"/>
                  <a:gd name="connsiteY111" fmla="*/ 125730 h 372427"/>
                  <a:gd name="connsiteX112" fmla="*/ 11430 w 318135"/>
                  <a:gd name="connsiteY112" fmla="*/ 115252 h 372427"/>
                  <a:gd name="connsiteX113" fmla="*/ 14288 w 318135"/>
                  <a:gd name="connsiteY113" fmla="*/ 105727 h 372427"/>
                  <a:gd name="connsiteX114" fmla="*/ 17145 w 318135"/>
                  <a:gd name="connsiteY114" fmla="*/ 96202 h 372427"/>
                  <a:gd name="connsiteX115" fmla="*/ 20955 w 318135"/>
                  <a:gd name="connsiteY115" fmla="*/ 86677 h 372427"/>
                  <a:gd name="connsiteX116" fmla="*/ 24765 w 318135"/>
                  <a:gd name="connsiteY116" fmla="*/ 78105 h 372427"/>
                  <a:gd name="connsiteX117" fmla="*/ 28575 w 318135"/>
                  <a:gd name="connsiteY117" fmla="*/ 70485 h 372427"/>
                  <a:gd name="connsiteX118" fmla="*/ 33338 w 318135"/>
                  <a:gd name="connsiteY118" fmla="*/ 62865 h 372427"/>
                  <a:gd name="connsiteX119" fmla="*/ 38100 w 318135"/>
                  <a:gd name="connsiteY119" fmla="*/ 56197 h 372427"/>
                  <a:gd name="connsiteX120" fmla="*/ 42863 w 318135"/>
                  <a:gd name="connsiteY120" fmla="*/ 49530 h 372427"/>
                  <a:gd name="connsiteX121" fmla="*/ 48578 w 318135"/>
                  <a:gd name="connsiteY121" fmla="*/ 43815 h 372427"/>
                  <a:gd name="connsiteX122" fmla="*/ 54293 w 318135"/>
                  <a:gd name="connsiteY122" fmla="*/ 38100 h 372427"/>
                  <a:gd name="connsiteX123" fmla="*/ 60007 w 318135"/>
                  <a:gd name="connsiteY123" fmla="*/ 32385 h 372427"/>
                  <a:gd name="connsiteX124" fmla="*/ 65723 w 318135"/>
                  <a:gd name="connsiteY124" fmla="*/ 27622 h 372427"/>
                  <a:gd name="connsiteX125" fmla="*/ 71438 w 318135"/>
                  <a:gd name="connsiteY125" fmla="*/ 23813 h 372427"/>
                  <a:gd name="connsiteX126" fmla="*/ 78105 w 318135"/>
                  <a:gd name="connsiteY126" fmla="*/ 20002 h 372427"/>
                  <a:gd name="connsiteX127" fmla="*/ 84773 w 318135"/>
                  <a:gd name="connsiteY127" fmla="*/ 16192 h 372427"/>
                  <a:gd name="connsiteX128" fmla="*/ 91440 w 318135"/>
                  <a:gd name="connsiteY128" fmla="*/ 13335 h 372427"/>
                  <a:gd name="connsiteX129" fmla="*/ 98107 w 318135"/>
                  <a:gd name="connsiteY129" fmla="*/ 10477 h 372427"/>
                  <a:gd name="connsiteX130" fmla="*/ 104775 w 318135"/>
                  <a:gd name="connsiteY130" fmla="*/ 8572 h 372427"/>
                  <a:gd name="connsiteX131" fmla="*/ 111443 w 318135"/>
                  <a:gd name="connsiteY131" fmla="*/ 6667 h 372427"/>
                  <a:gd name="connsiteX132" fmla="*/ 118110 w 318135"/>
                  <a:gd name="connsiteY132" fmla="*/ 4763 h 372427"/>
                  <a:gd name="connsiteX133" fmla="*/ 125730 w 318135"/>
                  <a:gd name="connsiteY133" fmla="*/ 2857 h 372427"/>
                  <a:gd name="connsiteX134" fmla="*/ 132398 w 318135"/>
                  <a:gd name="connsiteY134" fmla="*/ 1905 h 372427"/>
                  <a:gd name="connsiteX135" fmla="*/ 140018 w 318135"/>
                  <a:gd name="connsiteY135" fmla="*/ 952 h 372427"/>
                  <a:gd name="connsiteX136" fmla="*/ 146685 w 318135"/>
                  <a:gd name="connsiteY136" fmla="*/ 0 h 372427"/>
                  <a:gd name="connsiteX137" fmla="*/ 154305 w 318135"/>
                  <a:gd name="connsiteY137" fmla="*/ 0 h 372427"/>
                  <a:gd name="connsiteX138" fmla="*/ 161925 w 318135"/>
                  <a:gd name="connsiteY138" fmla="*/ 0 h 372427"/>
                  <a:gd name="connsiteX139" fmla="*/ 172403 w 318135"/>
                  <a:gd name="connsiteY139" fmla="*/ 0 h 372427"/>
                  <a:gd name="connsiteX140" fmla="*/ 182880 w 318135"/>
                  <a:gd name="connsiteY140" fmla="*/ 952 h 372427"/>
                  <a:gd name="connsiteX141" fmla="*/ 192405 w 318135"/>
                  <a:gd name="connsiteY141" fmla="*/ 1905 h 372427"/>
                  <a:gd name="connsiteX142" fmla="*/ 201930 w 318135"/>
                  <a:gd name="connsiteY142" fmla="*/ 3810 h 372427"/>
                  <a:gd name="connsiteX143" fmla="*/ 211455 w 318135"/>
                  <a:gd name="connsiteY143" fmla="*/ 5715 h 372427"/>
                  <a:gd name="connsiteX144" fmla="*/ 220980 w 318135"/>
                  <a:gd name="connsiteY144" fmla="*/ 8572 h 372427"/>
                  <a:gd name="connsiteX145" fmla="*/ 230505 w 318135"/>
                  <a:gd name="connsiteY145" fmla="*/ 12382 h 372427"/>
                  <a:gd name="connsiteX146" fmla="*/ 240030 w 318135"/>
                  <a:gd name="connsiteY146" fmla="*/ 16192 h 372427"/>
                  <a:gd name="connsiteX147" fmla="*/ 243840 w 318135"/>
                  <a:gd name="connsiteY147" fmla="*/ 18097 h 372427"/>
                  <a:gd name="connsiteX148" fmla="*/ 247650 w 318135"/>
                  <a:gd name="connsiteY148" fmla="*/ 20955 h 372427"/>
                  <a:gd name="connsiteX149" fmla="*/ 251460 w 318135"/>
                  <a:gd name="connsiteY149" fmla="*/ 23813 h 372427"/>
                  <a:gd name="connsiteX150" fmla="*/ 255270 w 318135"/>
                  <a:gd name="connsiteY150" fmla="*/ 26670 h 372427"/>
                  <a:gd name="connsiteX151" fmla="*/ 259080 w 318135"/>
                  <a:gd name="connsiteY151" fmla="*/ 29527 h 372427"/>
                  <a:gd name="connsiteX152" fmla="*/ 262890 w 318135"/>
                  <a:gd name="connsiteY152" fmla="*/ 32385 h 372427"/>
                  <a:gd name="connsiteX153" fmla="*/ 266700 w 318135"/>
                  <a:gd name="connsiteY153" fmla="*/ 36195 h 372427"/>
                  <a:gd name="connsiteX154" fmla="*/ 270510 w 318135"/>
                  <a:gd name="connsiteY154" fmla="*/ 40005 h 372427"/>
                  <a:gd name="connsiteX155" fmla="*/ 274320 w 318135"/>
                  <a:gd name="connsiteY155" fmla="*/ 43815 h 372427"/>
                  <a:gd name="connsiteX156" fmla="*/ 278130 w 318135"/>
                  <a:gd name="connsiteY156" fmla="*/ 47625 h 372427"/>
                  <a:gd name="connsiteX157" fmla="*/ 281940 w 318135"/>
                  <a:gd name="connsiteY157" fmla="*/ 51435 h 372427"/>
                  <a:gd name="connsiteX158" fmla="*/ 284798 w 318135"/>
                  <a:gd name="connsiteY158" fmla="*/ 55245 h 372427"/>
                  <a:gd name="connsiteX159" fmla="*/ 287655 w 318135"/>
                  <a:gd name="connsiteY159" fmla="*/ 60007 h 372427"/>
                  <a:gd name="connsiteX160" fmla="*/ 290513 w 318135"/>
                  <a:gd name="connsiteY160" fmla="*/ 64770 h 372427"/>
                  <a:gd name="connsiteX161" fmla="*/ 293370 w 318135"/>
                  <a:gd name="connsiteY161" fmla="*/ 69532 h 372427"/>
                  <a:gd name="connsiteX162" fmla="*/ 296228 w 318135"/>
                  <a:gd name="connsiteY162" fmla="*/ 75247 h 372427"/>
                  <a:gd name="connsiteX163" fmla="*/ 299085 w 318135"/>
                  <a:gd name="connsiteY163" fmla="*/ 80010 h 372427"/>
                  <a:gd name="connsiteX164" fmla="*/ 301943 w 318135"/>
                  <a:gd name="connsiteY164" fmla="*/ 85725 h 372427"/>
                  <a:gd name="connsiteX165" fmla="*/ 304800 w 318135"/>
                  <a:gd name="connsiteY165" fmla="*/ 91440 h 372427"/>
                  <a:gd name="connsiteX166" fmla="*/ 306705 w 318135"/>
                  <a:gd name="connsiteY166" fmla="*/ 97155 h 372427"/>
                  <a:gd name="connsiteX167" fmla="*/ 308610 w 318135"/>
                  <a:gd name="connsiteY167" fmla="*/ 103822 h 372427"/>
                  <a:gd name="connsiteX168" fmla="*/ 310515 w 318135"/>
                  <a:gd name="connsiteY168" fmla="*/ 110490 h 372427"/>
                  <a:gd name="connsiteX169" fmla="*/ 312420 w 318135"/>
                  <a:gd name="connsiteY169" fmla="*/ 117157 h 372427"/>
                  <a:gd name="connsiteX170" fmla="*/ 313373 w 318135"/>
                  <a:gd name="connsiteY170" fmla="*/ 123825 h 372427"/>
                  <a:gd name="connsiteX171" fmla="*/ 314325 w 318135"/>
                  <a:gd name="connsiteY171" fmla="*/ 130492 h 372427"/>
                  <a:gd name="connsiteX172" fmla="*/ 315278 w 318135"/>
                  <a:gd name="connsiteY172" fmla="*/ 138113 h 372427"/>
                  <a:gd name="connsiteX173" fmla="*/ 316230 w 318135"/>
                  <a:gd name="connsiteY173" fmla="*/ 145732 h 372427"/>
                  <a:gd name="connsiteX174" fmla="*/ 317182 w 318135"/>
                  <a:gd name="connsiteY174" fmla="*/ 153352 h 372427"/>
                  <a:gd name="connsiteX175" fmla="*/ 318135 w 318135"/>
                  <a:gd name="connsiteY175" fmla="*/ 160972 h 372427"/>
                  <a:gd name="connsiteX176" fmla="*/ 318135 w 318135"/>
                  <a:gd name="connsiteY176" fmla="*/ 169545 h 372427"/>
                  <a:gd name="connsiteX177" fmla="*/ 318135 w 318135"/>
                  <a:gd name="connsiteY177" fmla="*/ 178117 h 372427"/>
                  <a:gd name="connsiteX178" fmla="*/ 318135 w 318135"/>
                  <a:gd name="connsiteY178" fmla="*/ 186690 h 372427"/>
                  <a:gd name="connsiteX179" fmla="*/ 318135 w 318135"/>
                  <a:gd name="connsiteY179" fmla="*/ 195263 h 372427"/>
                  <a:gd name="connsiteX180" fmla="*/ 318135 w 318135"/>
                  <a:gd name="connsiteY180" fmla="*/ 203835 h 372427"/>
                  <a:gd name="connsiteX181" fmla="*/ 318135 w 318135"/>
                  <a:gd name="connsiteY181" fmla="*/ 211455 h 372427"/>
                  <a:gd name="connsiteX182" fmla="*/ 317182 w 318135"/>
                  <a:gd name="connsiteY182" fmla="*/ 219075 h 372427"/>
                  <a:gd name="connsiteX183" fmla="*/ 316230 w 318135"/>
                  <a:gd name="connsiteY183" fmla="*/ 226695 h 372427"/>
                  <a:gd name="connsiteX184" fmla="*/ 315278 w 318135"/>
                  <a:gd name="connsiteY184" fmla="*/ 234315 h 372427"/>
                  <a:gd name="connsiteX185" fmla="*/ 314325 w 318135"/>
                  <a:gd name="connsiteY185" fmla="*/ 241935 h 372427"/>
                  <a:gd name="connsiteX186" fmla="*/ 313373 w 318135"/>
                  <a:gd name="connsiteY186" fmla="*/ 248602 h 372427"/>
                  <a:gd name="connsiteX187" fmla="*/ 312420 w 318135"/>
                  <a:gd name="connsiteY187" fmla="*/ 255270 h 372427"/>
                  <a:gd name="connsiteX188" fmla="*/ 310515 w 318135"/>
                  <a:gd name="connsiteY188" fmla="*/ 261938 h 372427"/>
                  <a:gd name="connsiteX189" fmla="*/ 308610 w 318135"/>
                  <a:gd name="connsiteY189" fmla="*/ 268605 h 372427"/>
                  <a:gd name="connsiteX190" fmla="*/ 306705 w 318135"/>
                  <a:gd name="connsiteY190" fmla="*/ 275272 h 372427"/>
                  <a:gd name="connsiteX191" fmla="*/ 304800 w 318135"/>
                  <a:gd name="connsiteY191" fmla="*/ 280988 h 372427"/>
                  <a:gd name="connsiteX192" fmla="*/ 301943 w 318135"/>
                  <a:gd name="connsiteY192" fmla="*/ 286702 h 372427"/>
                  <a:gd name="connsiteX193" fmla="*/ 299085 w 318135"/>
                  <a:gd name="connsiteY193" fmla="*/ 292417 h 372427"/>
                  <a:gd name="connsiteX194" fmla="*/ 296228 w 318135"/>
                  <a:gd name="connsiteY194" fmla="*/ 297180 h 372427"/>
                  <a:gd name="connsiteX195" fmla="*/ 293370 w 318135"/>
                  <a:gd name="connsiteY195" fmla="*/ 302895 h 372427"/>
                  <a:gd name="connsiteX196" fmla="*/ 290513 w 318135"/>
                  <a:gd name="connsiteY196" fmla="*/ 307658 h 372427"/>
                  <a:gd name="connsiteX197" fmla="*/ 287655 w 318135"/>
                  <a:gd name="connsiteY197" fmla="*/ 312420 h 372427"/>
                  <a:gd name="connsiteX198" fmla="*/ 284798 w 318135"/>
                  <a:gd name="connsiteY198" fmla="*/ 316230 h 372427"/>
                  <a:gd name="connsiteX199" fmla="*/ 281940 w 318135"/>
                  <a:gd name="connsiteY199" fmla="*/ 320992 h 372427"/>
                  <a:gd name="connsiteX200" fmla="*/ 278130 w 318135"/>
                  <a:gd name="connsiteY200" fmla="*/ 324802 h 372427"/>
                  <a:gd name="connsiteX201" fmla="*/ 274320 w 318135"/>
                  <a:gd name="connsiteY201" fmla="*/ 328613 h 372427"/>
                  <a:gd name="connsiteX202" fmla="*/ 270510 w 318135"/>
                  <a:gd name="connsiteY202" fmla="*/ 332422 h 372427"/>
                  <a:gd name="connsiteX203" fmla="*/ 266700 w 318135"/>
                  <a:gd name="connsiteY203" fmla="*/ 336233 h 372427"/>
                  <a:gd name="connsiteX204" fmla="*/ 262890 w 318135"/>
                  <a:gd name="connsiteY204" fmla="*/ 340042 h 372427"/>
                  <a:gd name="connsiteX205" fmla="*/ 259080 w 318135"/>
                  <a:gd name="connsiteY205" fmla="*/ 342900 h 372427"/>
                  <a:gd name="connsiteX206" fmla="*/ 255270 w 318135"/>
                  <a:gd name="connsiteY206" fmla="*/ 345758 h 372427"/>
                  <a:gd name="connsiteX207" fmla="*/ 251460 w 318135"/>
                  <a:gd name="connsiteY207" fmla="*/ 348615 h 372427"/>
                  <a:gd name="connsiteX208" fmla="*/ 247650 w 318135"/>
                  <a:gd name="connsiteY208" fmla="*/ 351472 h 372427"/>
                  <a:gd name="connsiteX209" fmla="*/ 244793 w 318135"/>
                  <a:gd name="connsiteY209" fmla="*/ 354330 h 372427"/>
                  <a:gd name="connsiteX210" fmla="*/ 240982 w 318135"/>
                  <a:gd name="connsiteY210" fmla="*/ 356235 h 372427"/>
                  <a:gd name="connsiteX211" fmla="*/ 231457 w 318135"/>
                  <a:gd name="connsiteY211" fmla="*/ 360045 h 372427"/>
                  <a:gd name="connsiteX212" fmla="*/ 221932 w 318135"/>
                  <a:gd name="connsiteY212" fmla="*/ 363855 h 372427"/>
                  <a:gd name="connsiteX213" fmla="*/ 212407 w 318135"/>
                  <a:gd name="connsiteY213" fmla="*/ 366713 h 372427"/>
                  <a:gd name="connsiteX214" fmla="*/ 202882 w 318135"/>
                  <a:gd name="connsiteY214" fmla="*/ 368617 h 372427"/>
                  <a:gd name="connsiteX215" fmla="*/ 193357 w 318135"/>
                  <a:gd name="connsiteY215" fmla="*/ 370522 h 372427"/>
                  <a:gd name="connsiteX216" fmla="*/ 182880 w 318135"/>
                  <a:gd name="connsiteY216" fmla="*/ 371475 h 372427"/>
                  <a:gd name="connsiteX217" fmla="*/ 172403 w 318135"/>
                  <a:gd name="connsiteY217" fmla="*/ 372427 h 372427"/>
                  <a:gd name="connsiteX218" fmla="*/ 161925 w 318135"/>
                  <a:gd name="connsiteY218" fmla="*/ 372427 h 372427"/>
                  <a:gd name="connsiteX219" fmla="*/ 153353 w 318135"/>
                  <a:gd name="connsiteY219" fmla="*/ 372427 h 372427"/>
                  <a:gd name="connsiteX220" fmla="*/ 144780 w 318135"/>
                  <a:gd name="connsiteY220" fmla="*/ 372427 h 372427"/>
                  <a:gd name="connsiteX221" fmla="*/ 137160 w 318135"/>
                  <a:gd name="connsiteY221" fmla="*/ 371475 h 372427"/>
                  <a:gd name="connsiteX222" fmla="*/ 129540 w 318135"/>
                  <a:gd name="connsiteY222" fmla="*/ 370522 h 372427"/>
                  <a:gd name="connsiteX223" fmla="*/ 121920 w 318135"/>
                  <a:gd name="connsiteY223" fmla="*/ 368617 h 372427"/>
                  <a:gd name="connsiteX224" fmla="*/ 114300 w 318135"/>
                  <a:gd name="connsiteY224" fmla="*/ 366713 h 372427"/>
                  <a:gd name="connsiteX225" fmla="*/ 106680 w 318135"/>
                  <a:gd name="connsiteY225" fmla="*/ 364808 h 372427"/>
                  <a:gd name="connsiteX226" fmla="*/ 99060 w 318135"/>
                  <a:gd name="connsiteY226" fmla="*/ 361950 h 372427"/>
                  <a:gd name="connsiteX227" fmla="*/ 92393 w 318135"/>
                  <a:gd name="connsiteY227" fmla="*/ 359092 h 372427"/>
                  <a:gd name="connsiteX228" fmla="*/ 85725 w 318135"/>
                  <a:gd name="connsiteY228" fmla="*/ 356235 h 372427"/>
                  <a:gd name="connsiteX229" fmla="*/ 79057 w 318135"/>
                  <a:gd name="connsiteY229" fmla="*/ 352425 h 372427"/>
                  <a:gd name="connsiteX230" fmla="*/ 72390 w 318135"/>
                  <a:gd name="connsiteY230" fmla="*/ 348615 h 372427"/>
                  <a:gd name="connsiteX231" fmla="*/ 65723 w 318135"/>
                  <a:gd name="connsiteY231" fmla="*/ 344805 h 372427"/>
                  <a:gd name="connsiteX232" fmla="*/ 59055 w 318135"/>
                  <a:gd name="connsiteY232" fmla="*/ 340042 h 372427"/>
                  <a:gd name="connsiteX233" fmla="*/ 53340 w 318135"/>
                  <a:gd name="connsiteY233" fmla="*/ 335280 h 372427"/>
                  <a:gd name="connsiteX234" fmla="*/ 47625 w 318135"/>
                  <a:gd name="connsiteY234" fmla="*/ 329565 h 372427"/>
                  <a:gd name="connsiteX235" fmla="*/ 41910 w 318135"/>
                  <a:gd name="connsiteY235" fmla="*/ 323850 h 372427"/>
                  <a:gd name="connsiteX236" fmla="*/ 36195 w 318135"/>
                  <a:gd name="connsiteY236" fmla="*/ 317183 h 372427"/>
                  <a:gd name="connsiteX237" fmla="*/ 31432 w 318135"/>
                  <a:gd name="connsiteY237" fmla="*/ 310515 h 372427"/>
                  <a:gd name="connsiteX238" fmla="*/ 26670 w 318135"/>
                  <a:gd name="connsiteY238" fmla="*/ 303847 h 372427"/>
                  <a:gd name="connsiteX239" fmla="*/ 22860 w 318135"/>
                  <a:gd name="connsiteY239" fmla="*/ 296227 h 372427"/>
                  <a:gd name="connsiteX240" fmla="*/ 19050 w 318135"/>
                  <a:gd name="connsiteY240" fmla="*/ 288608 h 372427"/>
                  <a:gd name="connsiteX241" fmla="*/ 16193 w 318135"/>
                  <a:gd name="connsiteY241" fmla="*/ 280035 h 372427"/>
                  <a:gd name="connsiteX242" fmla="*/ 13335 w 318135"/>
                  <a:gd name="connsiteY242" fmla="*/ 271463 h 372427"/>
                  <a:gd name="connsiteX243" fmla="*/ 10478 w 318135"/>
                  <a:gd name="connsiteY243" fmla="*/ 261938 h 372427"/>
                  <a:gd name="connsiteX244" fmla="*/ 7620 w 318135"/>
                  <a:gd name="connsiteY244" fmla="*/ 252413 h 372427"/>
                  <a:gd name="connsiteX245" fmla="*/ 5715 w 318135"/>
                  <a:gd name="connsiteY245" fmla="*/ 241935 h 372427"/>
                  <a:gd name="connsiteX246" fmla="*/ 3810 w 318135"/>
                  <a:gd name="connsiteY246" fmla="*/ 231458 h 372427"/>
                  <a:gd name="connsiteX247" fmla="*/ 1905 w 318135"/>
                  <a:gd name="connsiteY247" fmla="*/ 220027 h 372427"/>
                  <a:gd name="connsiteX248" fmla="*/ 953 w 318135"/>
                  <a:gd name="connsiteY248" fmla="*/ 208597 h 372427"/>
                  <a:gd name="connsiteX249" fmla="*/ 0 w 318135"/>
                  <a:gd name="connsiteY249" fmla="*/ 196215 h 372427"/>
                  <a:gd name="connsiteX250" fmla="*/ 0 w 318135"/>
                  <a:gd name="connsiteY250" fmla="*/ 185738 h 372427"/>
                  <a:gd name="connsiteX251" fmla="*/ 2857 w 318135"/>
                  <a:gd name="connsiteY251" fmla="*/ 185738 h 372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</a:cxnLst>
                <a:rect l="l" t="t" r="r" b="b"/>
                <a:pathLst>
                  <a:path w="318135" h="372427">
                    <a:moveTo>
                      <a:pt x="93345" y="185738"/>
                    </a:moveTo>
                    <a:lnTo>
                      <a:pt x="93345" y="200977"/>
                    </a:lnTo>
                    <a:lnTo>
                      <a:pt x="94298" y="215265"/>
                    </a:lnTo>
                    <a:lnTo>
                      <a:pt x="96203" y="228600"/>
                    </a:lnTo>
                    <a:lnTo>
                      <a:pt x="98107" y="240983"/>
                    </a:lnTo>
                    <a:lnTo>
                      <a:pt x="99060" y="246697"/>
                    </a:lnTo>
                    <a:lnTo>
                      <a:pt x="100013" y="252413"/>
                    </a:lnTo>
                    <a:lnTo>
                      <a:pt x="100965" y="258127"/>
                    </a:lnTo>
                    <a:lnTo>
                      <a:pt x="102870" y="263842"/>
                    </a:lnTo>
                    <a:lnTo>
                      <a:pt x="104775" y="268605"/>
                    </a:lnTo>
                    <a:lnTo>
                      <a:pt x="106680" y="273367"/>
                    </a:lnTo>
                    <a:lnTo>
                      <a:pt x="108585" y="277177"/>
                    </a:lnTo>
                    <a:lnTo>
                      <a:pt x="110490" y="280988"/>
                    </a:lnTo>
                    <a:lnTo>
                      <a:pt x="113348" y="284797"/>
                    </a:lnTo>
                    <a:lnTo>
                      <a:pt x="116205" y="288608"/>
                    </a:lnTo>
                    <a:lnTo>
                      <a:pt x="119063" y="291465"/>
                    </a:lnTo>
                    <a:lnTo>
                      <a:pt x="121920" y="294322"/>
                    </a:lnTo>
                    <a:lnTo>
                      <a:pt x="124778" y="297180"/>
                    </a:lnTo>
                    <a:lnTo>
                      <a:pt x="127635" y="300038"/>
                    </a:lnTo>
                    <a:lnTo>
                      <a:pt x="130493" y="302895"/>
                    </a:lnTo>
                    <a:lnTo>
                      <a:pt x="134303" y="304800"/>
                    </a:lnTo>
                    <a:lnTo>
                      <a:pt x="137160" y="306705"/>
                    </a:lnTo>
                    <a:lnTo>
                      <a:pt x="140970" y="308610"/>
                    </a:lnTo>
                    <a:lnTo>
                      <a:pt x="144780" y="309563"/>
                    </a:lnTo>
                    <a:lnTo>
                      <a:pt x="148590" y="310515"/>
                    </a:lnTo>
                    <a:lnTo>
                      <a:pt x="152400" y="311467"/>
                    </a:lnTo>
                    <a:lnTo>
                      <a:pt x="156210" y="312420"/>
                    </a:lnTo>
                    <a:lnTo>
                      <a:pt x="160020" y="312420"/>
                    </a:lnTo>
                    <a:lnTo>
                      <a:pt x="164782" y="312420"/>
                    </a:lnTo>
                    <a:lnTo>
                      <a:pt x="168593" y="312420"/>
                    </a:lnTo>
                    <a:lnTo>
                      <a:pt x="172403" y="312420"/>
                    </a:lnTo>
                    <a:lnTo>
                      <a:pt x="176213" y="311467"/>
                    </a:lnTo>
                    <a:lnTo>
                      <a:pt x="180023" y="310515"/>
                    </a:lnTo>
                    <a:lnTo>
                      <a:pt x="183832" y="309563"/>
                    </a:lnTo>
                    <a:lnTo>
                      <a:pt x="187643" y="308610"/>
                    </a:lnTo>
                    <a:lnTo>
                      <a:pt x="190500" y="306705"/>
                    </a:lnTo>
                    <a:lnTo>
                      <a:pt x="194310" y="304800"/>
                    </a:lnTo>
                    <a:lnTo>
                      <a:pt x="197168" y="302895"/>
                    </a:lnTo>
                    <a:lnTo>
                      <a:pt x="200025" y="300038"/>
                    </a:lnTo>
                    <a:lnTo>
                      <a:pt x="202882" y="297180"/>
                    </a:lnTo>
                    <a:lnTo>
                      <a:pt x="205740" y="294322"/>
                    </a:lnTo>
                    <a:lnTo>
                      <a:pt x="208598" y="291465"/>
                    </a:lnTo>
                    <a:lnTo>
                      <a:pt x="211455" y="288608"/>
                    </a:lnTo>
                    <a:lnTo>
                      <a:pt x="214313" y="284797"/>
                    </a:lnTo>
                    <a:lnTo>
                      <a:pt x="216218" y="280988"/>
                    </a:lnTo>
                    <a:lnTo>
                      <a:pt x="218123" y="277177"/>
                    </a:lnTo>
                    <a:lnTo>
                      <a:pt x="220028" y="273367"/>
                    </a:lnTo>
                    <a:lnTo>
                      <a:pt x="221932" y="268605"/>
                    </a:lnTo>
                    <a:lnTo>
                      <a:pt x="223838" y="263842"/>
                    </a:lnTo>
                    <a:lnTo>
                      <a:pt x="225743" y="258127"/>
                    </a:lnTo>
                    <a:lnTo>
                      <a:pt x="226695" y="252413"/>
                    </a:lnTo>
                    <a:lnTo>
                      <a:pt x="227648" y="246697"/>
                    </a:lnTo>
                    <a:lnTo>
                      <a:pt x="228600" y="240983"/>
                    </a:lnTo>
                    <a:lnTo>
                      <a:pt x="230505" y="228600"/>
                    </a:lnTo>
                    <a:lnTo>
                      <a:pt x="231457" y="215265"/>
                    </a:lnTo>
                    <a:lnTo>
                      <a:pt x="232410" y="200977"/>
                    </a:lnTo>
                    <a:lnTo>
                      <a:pt x="232410" y="185738"/>
                    </a:lnTo>
                    <a:lnTo>
                      <a:pt x="232410" y="172402"/>
                    </a:lnTo>
                    <a:lnTo>
                      <a:pt x="231457" y="160020"/>
                    </a:lnTo>
                    <a:lnTo>
                      <a:pt x="230505" y="147638"/>
                    </a:lnTo>
                    <a:lnTo>
                      <a:pt x="228600" y="136207"/>
                    </a:lnTo>
                    <a:lnTo>
                      <a:pt x="226695" y="125730"/>
                    </a:lnTo>
                    <a:lnTo>
                      <a:pt x="223838" y="115252"/>
                    </a:lnTo>
                    <a:lnTo>
                      <a:pt x="220980" y="105727"/>
                    </a:lnTo>
                    <a:lnTo>
                      <a:pt x="217170" y="96202"/>
                    </a:lnTo>
                    <a:lnTo>
                      <a:pt x="215265" y="92392"/>
                    </a:lnTo>
                    <a:lnTo>
                      <a:pt x="212407" y="88582"/>
                    </a:lnTo>
                    <a:lnTo>
                      <a:pt x="209550" y="84772"/>
                    </a:lnTo>
                    <a:lnTo>
                      <a:pt x="206693" y="80963"/>
                    </a:lnTo>
                    <a:lnTo>
                      <a:pt x="203835" y="78105"/>
                    </a:lnTo>
                    <a:lnTo>
                      <a:pt x="200978" y="75247"/>
                    </a:lnTo>
                    <a:lnTo>
                      <a:pt x="198120" y="72390"/>
                    </a:lnTo>
                    <a:lnTo>
                      <a:pt x="195263" y="69532"/>
                    </a:lnTo>
                    <a:lnTo>
                      <a:pt x="191453" y="67627"/>
                    </a:lnTo>
                    <a:lnTo>
                      <a:pt x="187643" y="65722"/>
                    </a:lnTo>
                    <a:lnTo>
                      <a:pt x="183832" y="64770"/>
                    </a:lnTo>
                    <a:lnTo>
                      <a:pt x="180023" y="63817"/>
                    </a:lnTo>
                    <a:lnTo>
                      <a:pt x="176213" y="62865"/>
                    </a:lnTo>
                    <a:lnTo>
                      <a:pt x="172403" y="61913"/>
                    </a:lnTo>
                    <a:lnTo>
                      <a:pt x="167640" y="61913"/>
                    </a:lnTo>
                    <a:lnTo>
                      <a:pt x="162878" y="61913"/>
                    </a:lnTo>
                    <a:lnTo>
                      <a:pt x="158115" y="61913"/>
                    </a:lnTo>
                    <a:lnTo>
                      <a:pt x="153353" y="62865"/>
                    </a:lnTo>
                    <a:lnTo>
                      <a:pt x="148590" y="62865"/>
                    </a:lnTo>
                    <a:lnTo>
                      <a:pt x="144780" y="63817"/>
                    </a:lnTo>
                    <a:lnTo>
                      <a:pt x="140970" y="64770"/>
                    </a:lnTo>
                    <a:lnTo>
                      <a:pt x="137160" y="65722"/>
                    </a:lnTo>
                    <a:lnTo>
                      <a:pt x="133350" y="67627"/>
                    </a:lnTo>
                    <a:lnTo>
                      <a:pt x="129540" y="69532"/>
                    </a:lnTo>
                    <a:lnTo>
                      <a:pt x="125730" y="72390"/>
                    </a:lnTo>
                    <a:lnTo>
                      <a:pt x="122873" y="75247"/>
                    </a:lnTo>
                    <a:lnTo>
                      <a:pt x="120015" y="78105"/>
                    </a:lnTo>
                    <a:lnTo>
                      <a:pt x="117157" y="80963"/>
                    </a:lnTo>
                    <a:lnTo>
                      <a:pt x="114300" y="84772"/>
                    </a:lnTo>
                    <a:lnTo>
                      <a:pt x="111443" y="88582"/>
                    </a:lnTo>
                    <a:lnTo>
                      <a:pt x="109538" y="92392"/>
                    </a:lnTo>
                    <a:lnTo>
                      <a:pt x="107632" y="96202"/>
                    </a:lnTo>
                    <a:lnTo>
                      <a:pt x="103823" y="105727"/>
                    </a:lnTo>
                    <a:lnTo>
                      <a:pt x="100965" y="115252"/>
                    </a:lnTo>
                    <a:lnTo>
                      <a:pt x="98107" y="125730"/>
                    </a:lnTo>
                    <a:lnTo>
                      <a:pt x="96203" y="136207"/>
                    </a:lnTo>
                    <a:lnTo>
                      <a:pt x="94298" y="147638"/>
                    </a:lnTo>
                    <a:lnTo>
                      <a:pt x="93345" y="160020"/>
                    </a:lnTo>
                    <a:lnTo>
                      <a:pt x="92393" y="172402"/>
                    </a:lnTo>
                    <a:lnTo>
                      <a:pt x="92393" y="185738"/>
                    </a:lnTo>
                    <a:lnTo>
                      <a:pt x="93345" y="185738"/>
                    </a:lnTo>
                    <a:close/>
                    <a:moveTo>
                      <a:pt x="2857" y="185738"/>
                    </a:moveTo>
                    <a:lnTo>
                      <a:pt x="2857" y="172402"/>
                    </a:lnTo>
                    <a:lnTo>
                      <a:pt x="3810" y="160020"/>
                    </a:lnTo>
                    <a:lnTo>
                      <a:pt x="4763" y="147638"/>
                    </a:lnTo>
                    <a:lnTo>
                      <a:pt x="6668" y="136207"/>
                    </a:lnTo>
                    <a:lnTo>
                      <a:pt x="8573" y="125730"/>
                    </a:lnTo>
                    <a:lnTo>
                      <a:pt x="11430" y="115252"/>
                    </a:lnTo>
                    <a:lnTo>
                      <a:pt x="14288" y="105727"/>
                    </a:lnTo>
                    <a:lnTo>
                      <a:pt x="17145" y="96202"/>
                    </a:lnTo>
                    <a:lnTo>
                      <a:pt x="20955" y="86677"/>
                    </a:lnTo>
                    <a:lnTo>
                      <a:pt x="24765" y="78105"/>
                    </a:lnTo>
                    <a:lnTo>
                      <a:pt x="28575" y="70485"/>
                    </a:lnTo>
                    <a:lnTo>
                      <a:pt x="33338" y="62865"/>
                    </a:lnTo>
                    <a:lnTo>
                      <a:pt x="38100" y="56197"/>
                    </a:lnTo>
                    <a:lnTo>
                      <a:pt x="42863" y="49530"/>
                    </a:lnTo>
                    <a:lnTo>
                      <a:pt x="48578" y="43815"/>
                    </a:lnTo>
                    <a:lnTo>
                      <a:pt x="54293" y="38100"/>
                    </a:lnTo>
                    <a:lnTo>
                      <a:pt x="60007" y="32385"/>
                    </a:lnTo>
                    <a:lnTo>
                      <a:pt x="65723" y="27622"/>
                    </a:lnTo>
                    <a:lnTo>
                      <a:pt x="71438" y="23813"/>
                    </a:lnTo>
                    <a:lnTo>
                      <a:pt x="78105" y="20002"/>
                    </a:lnTo>
                    <a:lnTo>
                      <a:pt x="84773" y="16192"/>
                    </a:lnTo>
                    <a:lnTo>
                      <a:pt x="91440" y="13335"/>
                    </a:lnTo>
                    <a:lnTo>
                      <a:pt x="98107" y="10477"/>
                    </a:lnTo>
                    <a:lnTo>
                      <a:pt x="104775" y="8572"/>
                    </a:lnTo>
                    <a:lnTo>
                      <a:pt x="111443" y="6667"/>
                    </a:lnTo>
                    <a:lnTo>
                      <a:pt x="118110" y="4763"/>
                    </a:lnTo>
                    <a:lnTo>
                      <a:pt x="125730" y="2857"/>
                    </a:lnTo>
                    <a:lnTo>
                      <a:pt x="132398" y="1905"/>
                    </a:lnTo>
                    <a:lnTo>
                      <a:pt x="140018" y="952"/>
                    </a:lnTo>
                    <a:lnTo>
                      <a:pt x="146685" y="0"/>
                    </a:lnTo>
                    <a:lnTo>
                      <a:pt x="154305" y="0"/>
                    </a:lnTo>
                    <a:lnTo>
                      <a:pt x="161925" y="0"/>
                    </a:lnTo>
                    <a:lnTo>
                      <a:pt x="172403" y="0"/>
                    </a:lnTo>
                    <a:lnTo>
                      <a:pt x="182880" y="952"/>
                    </a:lnTo>
                    <a:lnTo>
                      <a:pt x="192405" y="1905"/>
                    </a:lnTo>
                    <a:lnTo>
                      <a:pt x="201930" y="3810"/>
                    </a:lnTo>
                    <a:lnTo>
                      <a:pt x="211455" y="5715"/>
                    </a:lnTo>
                    <a:lnTo>
                      <a:pt x="220980" y="8572"/>
                    </a:lnTo>
                    <a:lnTo>
                      <a:pt x="230505" y="12382"/>
                    </a:lnTo>
                    <a:lnTo>
                      <a:pt x="240030" y="16192"/>
                    </a:lnTo>
                    <a:lnTo>
                      <a:pt x="243840" y="18097"/>
                    </a:lnTo>
                    <a:lnTo>
                      <a:pt x="247650" y="20955"/>
                    </a:lnTo>
                    <a:lnTo>
                      <a:pt x="251460" y="23813"/>
                    </a:lnTo>
                    <a:lnTo>
                      <a:pt x="255270" y="26670"/>
                    </a:lnTo>
                    <a:lnTo>
                      <a:pt x="259080" y="29527"/>
                    </a:lnTo>
                    <a:lnTo>
                      <a:pt x="262890" y="32385"/>
                    </a:lnTo>
                    <a:lnTo>
                      <a:pt x="266700" y="36195"/>
                    </a:lnTo>
                    <a:lnTo>
                      <a:pt x="270510" y="40005"/>
                    </a:lnTo>
                    <a:lnTo>
                      <a:pt x="274320" y="43815"/>
                    </a:lnTo>
                    <a:lnTo>
                      <a:pt x="278130" y="47625"/>
                    </a:lnTo>
                    <a:lnTo>
                      <a:pt x="281940" y="51435"/>
                    </a:lnTo>
                    <a:lnTo>
                      <a:pt x="284798" y="55245"/>
                    </a:lnTo>
                    <a:lnTo>
                      <a:pt x="287655" y="60007"/>
                    </a:lnTo>
                    <a:lnTo>
                      <a:pt x="290513" y="64770"/>
                    </a:lnTo>
                    <a:lnTo>
                      <a:pt x="293370" y="69532"/>
                    </a:lnTo>
                    <a:lnTo>
                      <a:pt x="296228" y="75247"/>
                    </a:lnTo>
                    <a:lnTo>
                      <a:pt x="299085" y="80010"/>
                    </a:lnTo>
                    <a:lnTo>
                      <a:pt x="301943" y="85725"/>
                    </a:lnTo>
                    <a:lnTo>
                      <a:pt x="304800" y="91440"/>
                    </a:lnTo>
                    <a:lnTo>
                      <a:pt x="306705" y="97155"/>
                    </a:lnTo>
                    <a:lnTo>
                      <a:pt x="308610" y="103822"/>
                    </a:lnTo>
                    <a:lnTo>
                      <a:pt x="310515" y="110490"/>
                    </a:lnTo>
                    <a:lnTo>
                      <a:pt x="312420" y="117157"/>
                    </a:lnTo>
                    <a:lnTo>
                      <a:pt x="313373" y="123825"/>
                    </a:lnTo>
                    <a:lnTo>
                      <a:pt x="314325" y="130492"/>
                    </a:lnTo>
                    <a:lnTo>
                      <a:pt x="315278" y="138113"/>
                    </a:lnTo>
                    <a:lnTo>
                      <a:pt x="316230" y="145732"/>
                    </a:lnTo>
                    <a:lnTo>
                      <a:pt x="317182" y="153352"/>
                    </a:lnTo>
                    <a:lnTo>
                      <a:pt x="318135" y="160972"/>
                    </a:lnTo>
                    <a:lnTo>
                      <a:pt x="318135" y="169545"/>
                    </a:lnTo>
                    <a:lnTo>
                      <a:pt x="318135" y="178117"/>
                    </a:lnTo>
                    <a:lnTo>
                      <a:pt x="318135" y="186690"/>
                    </a:lnTo>
                    <a:lnTo>
                      <a:pt x="318135" y="195263"/>
                    </a:lnTo>
                    <a:lnTo>
                      <a:pt x="318135" y="203835"/>
                    </a:lnTo>
                    <a:lnTo>
                      <a:pt x="318135" y="211455"/>
                    </a:lnTo>
                    <a:lnTo>
                      <a:pt x="317182" y="219075"/>
                    </a:lnTo>
                    <a:lnTo>
                      <a:pt x="316230" y="226695"/>
                    </a:lnTo>
                    <a:lnTo>
                      <a:pt x="315278" y="234315"/>
                    </a:lnTo>
                    <a:lnTo>
                      <a:pt x="314325" y="241935"/>
                    </a:lnTo>
                    <a:lnTo>
                      <a:pt x="313373" y="248602"/>
                    </a:lnTo>
                    <a:lnTo>
                      <a:pt x="312420" y="255270"/>
                    </a:lnTo>
                    <a:lnTo>
                      <a:pt x="310515" y="261938"/>
                    </a:lnTo>
                    <a:lnTo>
                      <a:pt x="308610" y="268605"/>
                    </a:lnTo>
                    <a:lnTo>
                      <a:pt x="306705" y="275272"/>
                    </a:lnTo>
                    <a:lnTo>
                      <a:pt x="304800" y="280988"/>
                    </a:lnTo>
                    <a:lnTo>
                      <a:pt x="301943" y="286702"/>
                    </a:lnTo>
                    <a:lnTo>
                      <a:pt x="299085" y="292417"/>
                    </a:lnTo>
                    <a:lnTo>
                      <a:pt x="296228" y="297180"/>
                    </a:lnTo>
                    <a:lnTo>
                      <a:pt x="293370" y="302895"/>
                    </a:lnTo>
                    <a:lnTo>
                      <a:pt x="290513" y="307658"/>
                    </a:lnTo>
                    <a:lnTo>
                      <a:pt x="287655" y="312420"/>
                    </a:lnTo>
                    <a:lnTo>
                      <a:pt x="284798" y="316230"/>
                    </a:lnTo>
                    <a:lnTo>
                      <a:pt x="281940" y="320992"/>
                    </a:lnTo>
                    <a:lnTo>
                      <a:pt x="278130" y="324802"/>
                    </a:lnTo>
                    <a:lnTo>
                      <a:pt x="274320" y="328613"/>
                    </a:lnTo>
                    <a:lnTo>
                      <a:pt x="270510" y="332422"/>
                    </a:lnTo>
                    <a:lnTo>
                      <a:pt x="266700" y="336233"/>
                    </a:lnTo>
                    <a:lnTo>
                      <a:pt x="262890" y="340042"/>
                    </a:lnTo>
                    <a:lnTo>
                      <a:pt x="259080" y="342900"/>
                    </a:lnTo>
                    <a:lnTo>
                      <a:pt x="255270" y="345758"/>
                    </a:lnTo>
                    <a:lnTo>
                      <a:pt x="251460" y="348615"/>
                    </a:lnTo>
                    <a:lnTo>
                      <a:pt x="247650" y="351472"/>
                    </a:lnTo>
                    <a:lnTo>
                      <a:pt x="244793" y="354330"/>
                    </a:lnTo>
                    <a:lnTo>
                      <a:pt x="240982" y="356235"/>
                    </a:lnTo>
                    <a:lnTo>
                      <a:pt x="231457" y="360045"/>
                    </a:lnTo>
                    <a:lnTo>
                      <a:pt x="221932" y="363855"/>
                    </a:lnTo>
                    <a:lnTo>
                      <a:pt x="212407" y="366713"/>
                    </a:lnTo>
                    <a:lnTo>
                      <a:pt x="202882" y="368617"/>
                    </a:lnTo>
                    <a:lnTo>
                      <a:pt x="193357" y="370522"/>
                    </a:lnTo>
                    <a:lnTo>
                      <a:pt x="182880" y="371475"/>
                    </a:lnTo>
                    <a:lnTo>
                      <a:pt x="172403" y="372427"/>
                    </a:lnTo>
                    <a:lnTo>
                      <a:pt x="161925" y="372427"/>
                    </a:lnTo>
                    <a:lnTo>
                      <a:pt x="153353" y="372427"/>
                    </a:lnTo>
                    <a:lnTo>
                      <a:pt x="144780" y="372427"/>
                    </a:lnTo>
                    <a:lnTo>
                      <a:pt x="137160" y="371475"/>
                    </a:lnTo>
                    <a:lnTo>
                      <a:pt x="129540" y="370522"/>
                    </a:lnTo>
                    <a:lnTo>
                      <a:pt x="121920" y="368617"/>
                    </a:lnTo>
                    <a:lnTo>
                      <a:pt x="114300" y="366713"/>
                    </a:lnTo>
                    <a:lnTo>
                      <a:pt x="106680" y="364808"/>
                    </a:lnTo>
                    <a:lnTo>
                      <a:pt x="99060" y="361950"/>
                    </a:lnTo>
                    <a:lnTo>
                      <a:pt x="92393" y="359092"/>
                    </a:lnTo>
                    <a:lnTo>
                      <a:pt x="85725" y="356235"/>
                    </a:lnTo>
                    <a:lnTo>
                      <a:pt x="79057" y="352425"/>
                    </a:lnTo>
                    <a:lnTo>
                      <a:pt x="72390" y="348615"/>
                    </a:lnTo>
                    <a:lnTo>
                      <a:pt x="65723" y="344805"/>
                    </a:lnTo>
                    <a:lnTo>
                      <a:pt x="59055" y="340042"/>
                    </a:lnTo>
                    <a:lnTo>
                      <a:pt x="53340" y="335280"/>
                    </a:lnTo>
                    <a:lnTo>
                      <a:pt x="47625" y="329565"/>
                    </a:lnTo>
                    <a:lnTo>
                      <a:pt x="41910" y="323850"/>
                    </a:lnTo>
                    <a:lnTo>
                      <a:pt x="36195" y="317183"/>
                    </a:lnTo>
                    <a:lnTo>
                      <a:pt x="31432" y="310515"/>
                    </a:lnTo>
                    <a:lnTo>
                      <a:pt x="26670" y="303847"/>
                    </a:lnTo>
                    <a:lnTo>
                      <a:pt x="22860" y="296227"/>
                    </a:lnTo>
                    <a:lnTo>
                      <a:pt x="19050" y="288608"/>
                    </a:lnTo>
                    <a:lnTo>
                      <a:pt x="16193" y="280035"/>
                    </a:lnTo>
                    <a:lnTo>
                      <a:pt x="13335" y="271463"/>
                    </a:lnTo>
                    <a:lnTo>
                      <a:pt x="10478" y="261938"/>
                    </a:lnTo>
                    <a:lnTo>
                      <a:pt x="7620" y="252413"/>
                    </a:lnTo>
                    <a:lnTo>
                      <a:pt x="5715" y="241935"/>
                    </a:lnTo>
                    <a:lnTo>
                      <a:pt x="3810" y="231458"/>
                    </a:lnTo>
                    <a:lnTo>
                      <a:pt x="1905" y="220027"/>
                    </a:lnTo>
                    <a:lnTo>
                      <a:pt x="953" y="208597"/>
                    </a:lnTo>
                    <a:lnTo>
                      <a:pt x="0" y="196215"/>
                    </a:lnTo>
                    <a:lnTo>
                      <a:pt x="0" y="185738"/>
                    </a:lnTo>
                    <a:lnTo>
                      <a:pt x="2857" y="185738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72" name="Freeform 71">
                <a:extLst>
                  <a:ext uri="{FF2B5EF4-FFF2-40B4-BE49-F238E27FC236}">
                    <a16:creationId xmlns:a16="http://schemas.microsoft.com/office/drawing/2014/main" id="{C55E41D1-134B-F8A2-E4B2-44F47EC9418E}"/>
                  </a:ext>
                </a:extLst>
              </p:cNvPr>
              <p:cNvSpPr/>
              <p:nvPr/>
            </p:nvSpPr>
            <p:spPr>
              <a:xfrm>
                <a:off x="11304904" y="4807356"/>
                <a:ext cx="290512" cy="369569"/>
              </a:xfrm>
              <a:custGeom>
                <a:avLst/>
                <a:gdLst>
                  <a:gd name="connsiteX0" fmla="*/ 2857 w 290512"/>
                  <a:gd name="connsiteY0" fmla="*/ 369570 h 369569"/>
                  <a:gd name="connsiteX1" fmla="*/ 2857 w 290512"/>
                  <a:gd name="connsiteY1" fmla="*/ 65723 h 369569"/>
                  <a:gd name="connsiteX2" fmla="*/ 2857 w 290512"/>
                  <a:gd name="connsiteY2" fmla="*/ 56198 h 369569"/>
                  <a:gd name="connsiteX3" fmla="*/ 2857 w 290512"/>
                  <a:gd name="connsiteY3" fmla="*/ 47625 h 369569"/>
                  <a:gd name="connsiteX4" fmla="*/ 2857 w 290512"/>
                  <a:gd name="connsiteY4" fmla="*/ 39052 h 369569"/>
                  <a:gd name="connsiteX5" fmla="*/ 1905 w 290512"/>
                  <a:gd name="connsiteY5" fmla="*/ 31433 h 369569"/>
                  <a:gd name="connsiteX6" fmla="*/ 1905 w 290512"/>
                  <a:gd name="connsiteY6" fmla="*/ 23813 h 369569"/>
                  <a:gd name="connsiteX7" fmla="*/ 952 w 290512"/>
                  <a:gd name="connsiteY7" fmla="*/ 17145 h 369569"/>
                  <a:gd name="connsiteX8" fmla="*/ 0 w 290512"/>
                  <a:gd name="connsiteY8" fmla="*/ 11430 h 369569"/>
                  <a:gd name="connsiteX9" fmla="*/ 0 w 290512"/>
                  <a:gd name="connsiteY9" fmla="*/ 5715 h 369569"/>
                  <a:gd name="connsiteX10" fmla="*/ 81915 w 290512"/>
                  <a:gd name="connsiteY10" fmla="*/ 5715 h 369569"/>
                  <a:gd name="connsiteX11" fmla="*/ 81915 w 290512"/>
                  <a:gd name="connsiteY11" fmla="*/ 11430 h 369569"/>
                  <a:gd name="connsiteX12" fmla="*/ 81915 w 290512"/>
                  <a:gd name="connsiteY12" fmla="*/ 17145 h 369569"/>
                  <a:gd name="connsiteX13" fmla="*/ 82868 w 290512"/>
                  <a:gd name="connsiteY13" fmla="*/ 23813 h 369569"/>
                  <a:gd name="connsiteX14" fmla="*/ 82868 w 290512"/>
                  <a:gd name="connsiteY14" fmla="*/ 31433 h 369569"/>
                  <a:gd name="connsiteX15" fmla="*/ 83820 w 290512"/>
                  <a:gd name="connsiteY15" fmla="*/ 39052 h 369569"/>
                  <a:gd name="connsiteX16" fmla="*/ 83820 w 290512"/>
                  <a:gd name="connsiteY16" fmla="*/ 46673 h 369569"/>
                  <a:gd name="connsiteX17" fmla="*/ 83820 w 290512"/>
                  <a:gd name="connsiteY17" fmla="*/ 54293 h 369569"/>
                  <a:gd name="connsiteX18" fmla="*/ 83820 w 290512"/>
                  <a:gd name="connsiteY18" fmla="*/ 60960 h 369569"/>
                  <a:gd name="connsiteX19" fmla="*/ 86677 w 290512"/>
                  <a:gd name="connsiteY19" fmla="*/ 60960 h 369569"/>
                  <a:gd name="connsiteX20" fmla="*/ 85725 w 290512"/>
                  <a:gd name="connsiteY20" fmla="*/ 60960 h 369569"/>
                  <a:gd name="connsiteX21" fmla="*/ 89535 w 290512"/>
                  <a:gd name="connsiteY21" fmla="*/ 55245 h 369569"/>
                  <a:gd name="connsiteX22" fmla="*/ 93345 w 290512"/>
                  <a:gd name="connsiteY22" fmla="*/ 48577 h 369569"/>
                  <a:gd name="connsiteX23" fmla="*/ 98107 w 290512"/>
                  <a:gd name="connsiteY23" fmla="*/ 42863 h 369569"/>
                  <a:gd name="connsiteX24" fmla="*/ 102870 w 290512"/>
                  <a:gd name="connsiteY24" fmla="*/ 37148 h 369569"/>
                  <a:gd name="connsiteX25" fmla="*/ 107632 w 290512"/>
                  <a:gd name="connsiteY25" fmla="*/ 32385 h 369569"/>
                  <a:gd name="connsiteX26" fmla="*/ 111443 w 290512"/>
                  <a:gd name="connsiteY26" fmla="*/ 26670 h 369569"/>
                  <a:gd name="connsiteX27" fmla="*/ 117157 w 290512"/>
                  <a:gd name="connsiteY27" fmla="*/ 21908 h 369569"/>
                  <a:gd name="connsiteX28" fmla="*/ 122872 w 290512"/>
                  <a:gd name="connsiteY28" fmla="*/ 18098 h 369569"/>
                  <a:gd name="connsiteX29" fmla="*/ 125730 w 290512"/>
                  <a:gd name="connsiteY29" fmla="*/ 15240 h 369569"/>
                  <a:gd name="connsiteX30" fmla="*/ 128588 w 290512"/>
                  <a:gd name="connsiteY30" fmla="*/ 13335 h 369569"/>
                  <a:gd name="connsiteX31" fmla="*/ 131445 w 290512"/>
                  <a:gd name="connsiteY31" fmla="*/ 11430 h 369569"/>
                  <a:gd name="connsiteX32" fmla="*/ 134302 w 290512"/>
                  <a:gd name="connsiteY32" fmla="*/ 9525 h 369569"/>
                  <a:gd name="connsiteX33" fmla="*/ 137160 w 290512"/>
                  <a:gd name="connsiteY33" fmla="*/ 8573 h 369569"/>
                  <a:gd name="connsiteX34" fmla="*/ 140970 w 290512"/>
                  <a:gd name="connsiteY34" fmla="*/ 6668 h 369569"/>
                  <a:gd name="connsiteX35" fmla="*/ 144780 w 290512"/>
                  <a:gd name="connsiteY35" fmla="*/ 5715 h 369569"/>
                  <a:gd name="connsiteX36" fmla="*/ 148590 w 290512"/>
                  <a:gd name="connsiteY36" fmla="*/ 4763 h 369569"/>
                  <a:gd name="connsiteX37" fmla="*/ 156210 w 290512"/>
                  <a:gd name="connsiteY37" fmla="*/ 2858 h 369569"/>
                  <a:gd name="connsiteX38" fmla="*/ 164782 w 290512"/>
                  <a:gd name="connsiteY38" fmla="*/ 952 h 369569"/>
                  <a:gd name="connsiteX39" fmla="*/ 173355 w 290512"/>
                  <a:gd name="connsiteY39" fmla="*/ 0 h 369569"/>
                  <a:gd name="connsiteX40" fmla="*/ 182880 w 290512"/>
                  <a:gd name="connsiteY40" fmla="*/ 0 h 369569"/>
                  <a:gd name="connsiteX41" fmla="*/ 192405 w 290512"/>
                  <a:gd name="connsiteY41" fmla="*/ 0 h 369569"/>
                  <a:gd name="connsiteX42" fmla="*/ 200977 w 290512"/>
                  <a:gd name="connsiteY42" fmla="*/ 952 h 369569"/>
                  <a:gd name="connsiteX43" fmla="*/ 210502 w 290512"/>
                  <a:gd name="connsiteY43" fmla="*/ 2858 h 369569"/>
                  <a:gd name="connsiteX44" fmla="*/ 218122 w 290512"/>
                  <a:gd name="connsiteY44" fmla="*/ 4763 h 369569"/>
                  <a:gd name="connsiteX45" fmla="*/ 225743 w 290512"/>
                  <a:gd name="connsiteY45" fmla="*/ 6668 h 369569"/>
                  <a:gd name="connsiteX46" fmla="*/ 233363 w 290512"/>
                  <a:gd name="connsiteY46" fmla="*/ 9525 h 369569"/>
                  <a:gd name="connsiteX47" fmla="*/ 236220 w 290512"/>
                  <a:gd name="connsiteY47" fmla="*/ 11430 h 369569"/>
                  <a:gd name="connsiteX48" fmla="*/ 240030 w 290512"/>
                  <a:gd name="connsiteY48" fmla="*/ 13335 h 369569"/>
                  <a:gd name="connsiteX49" fmla="*/ 242888 w 290512"/>
                  <a:gd name="connsiteY49" fmla="*/ 15240 h 369569"/>
                  <a:gd name="connsiteX50" fmla="*/ 245745 w 290512"/>
                  <a:gd name="connsiteY50" fmla="*/ 18098 h 369569"/>
                  <a:gd name="connsiteX51" fmla="*/ 251460 w 290512"/>
                  <a:gd name="connsiteY51" fmla="*/ 21908 h 369569"/>
                  <a:gd name="connsiteX52" fmla="*/ 257175 w 290512"/>
                  <a:gd name="connsiteY52" fmla="*/ 26670 h 369569"/>
                  <a:gd name="connsiteX53" fmla="*/ 261938 w 290512"/>
                  <a:gd name="connsiteY53" fmla="*/ 32385 h 369569"/>
                  <a:gd name="connsiteX54" fmla="*/ 266700 w 290512"/>
                  <a:gd name="connsiteY54" fmla="*/ 38100 h 369569"/>
                  <a:gd name="connsiteX55" fmla="*/ 270510 w 290512"/>
                  <a:gd name="connsiteY55" fmla="*/ 44768 h 369569"/>
                  <a:gd name="connsiteX56" fmla="*/ 274320 w 290512"/>
                  <a:gd name="connsiteY56" fmla="*/ 51435 h 369569"/>
                  <a:gd name="connsiteX57" fmla="*/ 277177 w 290512"/>
                  <a:gd name="connsiteY57" fmla="*/ 58102 h 369569"/>
                  <a:gd name="connsiteX58" fmla="*/ 280035 w 290512"/>
                  <a:gd name="connsiteY58" fmla="*/ 65723 h 369569"/>
                  <a:gd name="connsiteX59" fmla="*/ 282893 w 290512"/>
                  <a:gd name="connsiteY59" fmla="*/ 73343 h 369569"/>
                  <a:gd name="connsiteX60" fmla="*/ 284797 w 290512"/>
                  <a:gd name="connsiteY60" fmla="*/ 80963 h 369569"/>
                  <a:gd name="connsiteX61" fmla="*/ 286702 w 290512"/>
                  <a:gd name="connsiteY61" fmla="*/ 89535 h 369569"/>
                  <a:gd name="connsiteX62" fmla="*/ 287655 w 290512"/>
                  <a:gd name="connsiteY62" fmla="*/ 98108 h 369569"/>
                  <a:gd name="connsiteX63" fmla="*/ 288607 w 290512"/>
                  <a:gd name="connsiteY63" fmla="*/ 106680 h 369569"/>
                  <a:gd name="connsiteX64" fmla="*/ 289560 w 290512"/>
                  <a:gd name="connsiteY64" fmla="*/ 115252 h 369569"/>
                  <a:gd name="connsiteX65" fmla="*/ 290513 w 290512"/>
                  <a:gd name="connsiteY65" fmla="*/ 124777 h 369569"/>
                  <a:gd name="connsiteX66" fmla="*/ 290513 w 290512"/>
                  <a:gd name="connsiteY66" fmla="*/ 134302 h 369569"/>
                  <a:gd name="connsiteX67" fmla="*/ 290513 w 290512"/>
                  <a:gd name="connsiteY67" fmla="*/ 369570 h 369569"/>
                  <a:gd name="connsiteX68" fmla="*/ 202882 w 290512"/>
                  <a:gd name="connsiteY68" fmla="*/ 369570 h 369569"/>
                  <a:gd name="connsiteX69" fmla="*/ 202882 w 290512"/>
                  <a:gd name="connsiteY69" fmla="*/ 151448 h 369569"/>
                  <a:gd name="connsiteX70" fmla="*/ 201930 w 290512"/>
                  <a:gd name="connsiteY70" fmla="*/ 140970 h 369569"/>
                  <a:gd name="connsiteX71" fmla="*/ 201930 w 290512"/>
                  <a:gd name="connsiteY71" fmla="*/ 131445 h 369569"/>
                  <a:gd name="connsiteX72" fmla="*/ 200977 w 290512"/>
                  <a:gd name="connsiteY72" fmla="*/ 122873 h 369569"/>
                  <a:gd name="connsiteX73" fmla="*/ 200025 w 290512"/>
                  <a:gd name="connsiteY73" fmla="*/ 115252 h 369569"/>
                  <a:gd name="connsiteX74" fmla="*/ 198120 w 290512"/>
                  <a:gd name="connsiteY74" fmla="*/ 107633 h 369569"/>
                  <a:gd name="connsiteX75" fmla="*/ 196215 w 290512"/>
                  <a:gd name="connsiteY75" fmla="*/ 101918 h 369569"/>
                  <a:gd name="connsiteX76" fmla="*/ 193357 w 290512"/>
                  <a:gd name="connsiteY76" fmla="*/ 95250 h 369569"/>
                  <a:gd name="connsiteX77" fmla="*/ 190500 w 290512"/>
                  <a:gd name="connsiteY77" fmla="*/ 90488 h 369569"/>
                  <a:gd name="connsiteX78" fmla="*/ 187643 w 290512"/>
                  <a:gd name="connsiteY78" fmla="*/ 86677 h 369569"/>
                  <a:gd name="connsiteX79" fmla="*/ 183832 w 290512"/>
                  <a:gd name="connsiteY79" fmla="*/ 82868 h 369569"/>
                  <a:gd name="connsiteX80" fmla="*/ 181927 w 290512"/>
                  <a:gd name="connsiteY80" fmla="*/ 80963 h 369569"/>
                  <a:gd name="connsiteX81" fmla="*/ 180022 w 290512"/>
                  <a:gd name="connsiteY81" fmla="*/ 80010 h 369569"/>
                  <a:gd name="connsiteX82" fmla="*/ 178118 w 290512"/>
                  <a:gd name="connsiteY82" fmla="*/ 78105 h 369569"/>
                  <a:gd name="connsiteX83" fmla="*/ 175260 w 290512"/>
                  <a:gd name="connsiteY83" fmla="*/ 77152 h 369569"/>
                  <a:gd name="connsiteX84" fmla="*/ 170497 w 290512"/>
                  <a:gd name="connsiteY84" fmla="*/ 75248 h 369569"/>
                  <a:gd name="connsiteX85" fmla="*/ 164782 w 290512"/>
                  <a:gd name="connsiteY85" fmla="*/ 74295 h 369569"/>
                  <a:gd name="connsiteX86" fmla="*/ 159068 w 290512"/>
                  <a:gd name="connsiteY86" fmla="*/ 72390 h 369569"/>
                  <a:gd name="connsiteX87" fmla="*/ 152400 w 290512"/>
                  <a:gd name="connsiteY87" fmla="*/ 72390 h 369569"/>
                  <a:gd name="connsiteX88" fmla="*/ 148590 w 290512"/>
                  <a:gd name="connsiteY88" fmla="*/ 72390 h 369569"/>
                  <a:gd name="connsiteX89" fmla="*/ 144780 w 290512"/>
                  <a:gd name="connsiteY89" fmla="*/ 72390 h 369569"/>
                  <a:gd name="connsiteX90" fmla="*/ 140970 w 290512"/>
                  <a:gd name="connsiteY90" fmla="*/ 73343 h 369569"/>
                  <a:gd name="connsiteX91" fmla="*/ 137160 w 290512"/>
                  <a:gd name="connsiteY91" fmla="*/ 74295 h 369569"/>
                  <a:gd name="connsiteX92" fmla="*/ 134302 w 290512"/>
                  <a:gd name="connsiteY92" fmla="*/ 75248 h 369569"/>
                  <a:gd name="connsiteX93" fmla="*/ 130493 w 290512"/>
                  <a:gd name="connsiteY93" fmla="*/ 76200 h 369569"/>
                  <a:gd name="connsiteX94" fmla="*/ 127635 w 290512"/>
                  <a:gd name="connsiteY94" fmla="*/ 77152 h 369569"/>
                  <a:gd name="connsiteX95" fmla="*/ 124777 w 290512"/>
                  <a:gd name="connsiteY95" fmla="*/ 78105 h 369569"/>
                  <a:gd name="connsiteX96" fmla="*/ 121920 w 290512"/>
                  <a:gd name="connsiteY96" fmla="*/ 80010 h 369569"/>
                  <a:gd name="connsiteX97" fmla="*/ 119063 w 290512"/>
                  <a:gd name="connsiteY97" fmla="*/ 81915 h 369569"/>
                  <a:gd name="connsiteX98" fmla="*/ 116205 w 290512"/>
                  <a:gd name="connsiteY98" fmla="*/ 83820 h 369569"/>
                  <a:gd name="connsiteX99" fmla="*/ 114300 w 290512"/>
                  <a:gd name="connsiteY99" fmla="*/ 85725 h 369569"/>
                  <a:gd name="connsiteX100" fmla="*/ 111443 w 290512"/>
                  <a:gd name="connsiteY100" fmla="*/ 88583 h 369569"/>
                  <a:gd name="connsiteX101" fmla="*/ 109538 w 290512"/>
                  <a:gd name="connsiteY101" fmla="*/ 90488 h 369569"/>
                  <a:gd name="connsiteX102" fmla="*/ 107632 w 290512"/>
                  <a:gd name="connsiteY102" fmla="*/ 93345 h 369569"/>
                  <a:gd name="connsiteX103" fmla="*/ 105727 w 290512"/>
                  <a:gd name="connsiteY103" fmla="*/ 96202 h 369569"/>
                  <a:gd name="connsiteX104" fmla="*/ 101918 w 290512"/>
                  <a:gd name="connsiteY104" fmla="*/ 101918 h 369569"/>
                  <a:gd name="connsiteX105" fmla="*/ 99060 w 290512"/>
                  <a:gd name="connsiteY105" fmla="*/ 108585 h 369569"/>
                  <a:gd name="connsiteX106" fmla="*/ 96202 w 290512"/>
                  <a:gd name="connsiteY106" fmla="*/ 116205 h 369569"/>
                  <a:gd name="connsiteX107" fmla="*/ 94297 w 290512"/>
                  <a:gd name="connsiteY107" fmla="*/ 122873 h 369569"/>
                  <a:gd name="connsiteX108" fmla="*/ 92393 w 290512"/>
                  <a:gd name="connsiteY108" fmla="*/ 131445 h 369569"/>
                  <a:gd name="connsiteX109" fmla="*/ 91440 w 290512"/>
                  <a:gd name="connsiteY109" fmla="*/ 140018 h 369569"/>
                  <a:gd name="connsiteX110" fmla="*/ 90488 w 290512"/>
                  <a:gd name="connsiteY110" fmla="*/ 148590 h 369569"/>
                  <a:gd name="connsiteX111" fmla="*/ 90488 w 290512"/>
                  <a:gd name="connsiteY111" fmla="*/ 158115 h 369569"/>
                  <a:gd name="connsiteX112" fmla="*/ 90488 w 290512"/>
                  <a:gd name="connsiteY112" fmla="*/ 369570 h 369569"/>
                  <a:gd name="connsiteX113" fmla="*/ 2857 w 290512"/>
                  <a:gd name="connsiteY113" fmla="*/ 369570 h 369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</a:cxnLst>
                <a:rect l="l" t="t" r="r" b="b"/>
                <a:pathLst>
                  <a:path w="290512" h="369569">
                    <a:moveTo>
                      <a:pt x="2857" y="369570"/>
                    </a:moveTo>
                    <a:lnTo>
                      <a:pt x="2857" y="65723"/>
                    </a:lnTo>
                    <a:lnTo>
                      <a:pt x="2857" y="56198"/>
                    </a:lnTo>
                    <a:lnTo>
                      <a:pt x="2857" y="47625"/>
                    </a:lnTo>
                    <a:lnTo>
                      <a:pt x="2857" y="39052"/>
                    </a:lnTo>
                    <a:lnTo>
                      <a:pt x="1905" y="31433"/>
                    </a:lnTo>
                    <a:lnTo>
                      <a:pt x="1905" y="23813"/>
                    </a:lnTo>
                    <a:lnTo>
                      <a:pt x="952" y="17145"/>
                    </a:lnTo>
                    <a:lnTo>
                      <a:pt x="0" y="11430"/>
                    </a:lnTo>
                    <a:lnTo>
                      <a:pt x="0" y="5715"/>
                    </a:lnTo>
                    <a:lnTo>
                      <a:pt x="81915" y="5715"/>
                    </a:lnTo>
                    <a:lnTo>
                      <a:pt x="81915" y="11430"/>
                    </a:lnTo>
                    <a:lnTo>
                      <a:pt x="81915" y="17145"/>
                    </a:lnTo>
                    <a:lnTo>
                      <a:pt x="82868" y="23813"/>
                    </a:lnTo>
                    <a:lnTo>
                      <a:pt x="82868" y="31433"/>
                    </a:lnTo>
                    <a:lnTo>
                      <a:pt x="83820" y="39052"/>
                    </a:lnTo>
                    <a:lnTo>
                      <a:pt x="83820" y="46673"/>
                    </a:lnTo>
                    <a:lnTo>
                      <a:pt x="83820" y="54293"/>
                    </a:lnTo>
                    <a:lnTo>
                      <a:pt x="83820" y="60960"/>
                    </a:lnTo>
                    <a:lnTo>
                      <a:pt x="86677" y="60960"/>
                    </a:lnTo>
                    <a:lnTo>
                      <a:pt x="85725" y="60960"/>
                    </a:lnTo>
                    <a:lnTo>
                      <a:pt x="89535" y="55245"/>
                    </a:lnTo>
                    <a:lnTo>
                      <a:pt x="93345" y="48577"/>
                    </a:lnTo>
                    <a:lnTo>
                      <a:pt x="98107" y="42863"/>
                    </a:lnTo>
                    <a:lnTo>
                      <a:pt x="102870" y="37148"/>
                    </a:lnTo>
                    <a:lnTo>
                      <a:pt x="107632" y="32385"/>
                    </a:lnTo>
                    <a:lnTo>
                      <a:pt x="111443" y="26670"/>
                    </a:lnTo>
                    <a:lnTo>
                      <a:pt x="117157" y="21908"/>
                    </a:lnTo>
                    <a:lnTo>
                      <a:pt x="122872" y="18098"/>
                    </a:lnTo>
                    <a:lnTo>
                      <a:pt x="125730" y="15240"/>
                    </a:lnTo>
                    <a:lnTo>
                      <a:pt x="128588" y="13335"/>
                    </a:lnTo>
                    <a:lnTo>
                      <a:pt x="131445" y="11430"/>
                    </a:lnTo>
                    <a:lnTo>
                      <a:pt x="134302" y="9525"/>
                    </a:lnTo>
                    <a:lnTo>
                      <a:pt x="137160" y="8573"/>
                    </a:lnTo>
                    <a:lnTo>
                      <a:pt x="140970" y="6668"/>
                    </a:lnTo>
                    <a:lnTo>
                      <a:pt x="144780" y="5715"/>
                    </a:lnTo>
                    <a:lnTo>
                      <a:pt x="148590" y="4763"/>
                    </a:lnTo>
                    <a:lnTo>
                      <a:pt x="156210" y="2858"/>
                    </a:lnTo>
                    <a:lnTo>
                      <a:pt x="164782" y="952"/>
                    </a:lnTo>
                    <a:lnTo>
                      <a:pt x="173355" y="0"/>
                    </a:lnTo>
                    <a:lnTo>
                      <a:pt x="182880" y="0"/>
                    </a:lnTo>
                    <a:lnTo>
                      <a:pt x="192405" y="0"/>
                    </a:lnTo>
                    <a:lnTo>
                      <a:pt x="200977" y="952"/>
                    </a:lnTo>
                    <a:lnTo>
                      <a:pt x="210502" y="2858"/>
                    </a:lnTo>
                    <a:lnTo>
                      <a:pt x="218122" y="4763"/>
                    </a:lnTo>
                    <a:lnTo>
                      <a:pt x="225743" y="6668"/>
                    </a:lnTo>
                    <a:lnTo>
                      <a:pt x="233363" y="9525"/>
                    </a:lnTo>
                    <a:lnTo>
                      <a:pt x="236220" y="11430"/>
                    </a:lnTo>
                    <a:lnTo>
                      <a:pt x="240030" y="13335"/>
                    </a:lnTo>
                    <a:lnTo>
                      <a:pt x="242888" y="15240"/>
                    </a:lnTo>
                    <a:lnTo>
                      <a:pt x="245745" y="18098"/>
                    </a:lnTo>
                    <a:lnTo>
                      <a:pt x="251460" y="21908"/>
                    </a:lnTo>
                    <a:lnTo>
                      <a:pt x="257175" y="26670"/>
                    </a:lnTo>
                    <a:lnTo>
                      <a:pt x="261938" y="32385"/>
                    </a:lnTo>
                    <a:lnTo>
                      <a:pt x="266700" y="38100"/>
                    </a:lnTo>
                    <a:lnTo>
                      <a:pt x="270510" y="44768"/>
                    </a:lnTo>
                    <a:lnTo>
                      <a:pt x="274320" y="51435"/>
                    </a:lnTo>
                    <a:lnTo>
                      <a:pt x="277177" y="58102"/>
                    </a:lnTo>
                    <a:lnTo>
                      <a:pt x="280035" y="65723"/>
                    </a:lnTo>
                    <a:lnTo>
                      <a:pt x="282893" y="73343"/>
                    </a:lnTo>
                    <a:lnTo>
                      <a:pt x="284797" y="80963"/>
                    </a:lnTo>
                    <a:lnTo>
                      <a:pt x="286702" y="89535"/>
                    </a:lnTo>
                    <a:lnTo>
                      <a:pt x="287655" y="98108"/>
                    </a:lnTo>
                    <a:lnTo>
                      <a:pt x="288607" y="106680"/>
                    </a:lnTo>
                    <a:lnTo>
                      <a:pt x="289560" y="115252"/>
                    </a:lnTo>
                    <a:lnTo>
                      <a:pt x="290513" y="124777"/>
                    </a:lnTo>
                    <a:lnTo>
                      <a:pt x="290513" y="134302"/>
                    </a:lnTo>
                    <a:lnTo>
                      <a:pt x="290513" y="369570"/>
                    </a:lnTo>
                    <a:lnTo>
                      <a:pt x="202882" y="369570"/>
                    </a:lnTo>
                    <a:lnTo>
                      <a:pt x="202882" y="151448"/>
                    </a:lnTo>
                    <a:lnTo>
                      <a:pt x="201930" y="140970"/>
                    </a:lnTo>
                    <a:lnTo>
                      <a:pt x="201930" y="131445"/>
                    </a:lnTo>
                    <a:lnTo>
                      <a:pt x="200977" y="122873"/>
                    </a:lnTo>
                    <a:lnTo>
                      <a:pt x="200025" y="115252"/>
                    </a:lnTo>
                    <a:lnTo>
                      <a:pt x="198120" y="107633"/>
                    </a:lnTo>
                    <a:lnTo>
                      <a:pt x="196215" y="101918"/>
                    </a:lnTo>
                    <a:lnTo>
                      <a:pt x="193357" y="95250"/>
                    </a:lnTo>
                    <a:lnTo>
                      <a:pt x="190500" y="90488"/>
                    </a:lnTo>
                    <a:lnTo>
                      <a:pt x="187643" y="86677"/>
                    </a:lnTo>
                    <a:lnTo>
                      <a:pt x="183832" y="82868"/>
                    </a:lnTo>
                    <a:lnTo>
                      <a:pt x="181927" y="80963"/>
                    </a:lnTo>
                    <a:lnTo>
                      <a:pt x="180022" y="80010"/>
                    </a:lnTo>
                    <a:lnTo>
                      <a:pt x="178118" y="78105"/>
                    </a:lnTo>
                    <a:lnTo>
                      <a:pt x="175260" y="77152"/>
                    </a:lnTo>
                    <a:lnTo>
                      <a:pt x="170497" y="75248"/>
                    </a:lnTo>
                    <a:lnTo>
                      <a:pt x="164782" y="74295"/>
                    </a:lnTo>
                    <a:lnTo>
                      <a:pt x="159068" y="72390"/>
                    </a:lnTo>
                    <a:lnTo>
                      <a:pt x="152400" y="72390"/>
                    </a:lnTo>
                    <a:lnTo>
                      <a:pt x="148590" y="72390"/>
                    </a:lnTo>
                    <a:lnTo>
                      <a:pt x="144780" y="72390"/>
                    </a:lnTo>
                    <a:lnTo>
                      <a:pt x="140970" y="73343"/>
                    </a:lnTo>
                    <a:lnTo>
                      <a:pt x="137160" y="74295"/>
                    </a:lnTo>
                    <a:lnTo>
                      <a:pt x="134302" y="75248"/>
                    </a:lnTo>
                    <a:lnTo>
                      <a:pt x="130493" y="76200"/>
                    </a:lnTo>
                    <a:lnTo>
                      <a:pt x="127635" y="77152"/>
                    </a:lnTo>
                    <a:lnTo>
                      <a:pt x="124777" y="78105"/>
                    </a:lnTo>
                    <a:lnTo>
                      <a:pt x="121920" y="80010"/>
                    </a:lnTo>
                    <a:lnTo>
                      <a:pt x="119063" y="81915"/>
                    </a:lnTo>
                    <a:lnTo>
                      <a:pt x="116205" y="83820"/>
                    </a:lnTo>
                    <a:lnTo>
                      <a:pt x="114300" y="85725"/>
                    </a:lnTo>
                    <a:lnTo>
                      <a:pt x="111443" y="88583"/>
                    </a:lnTo>
                    <a:lnTo>
                      <a:pt x="109538" y="90488"/>
                    </a:lnTo>
                    <a:lnTo>
                      <a:pt x="107632" y="93345"/>
                    </a:lnTo>
                    <a:lnTo>
                      <a:pt x="105727" y="96202"/>
                    </a:lnTo>
                    <a:lnTo>
                      <a:pt x="101918" y="101918"/>
                    </a:lnTo>
                    <a:lnTo>
                      <a:pt x="99060" y="108585"/>
                    </a:lnTo>
                    <a:lnTo>
                      <a:pt x="96202" y="116205"/>
                    </a:lnTo>
                    <a:lnTo>
                      <a:pt x="94297" y="122873"/>
                    </a:lnTo>
                    <a:lnTo>
                      <a:pt x="92393" y="131445"/>
                    </a:lnTo>
                    <a:lnTo>
                      <a:pt x="91440" y="140018"/>
                    </a:lnTo>
                    <a:lnTo>
                      <a:pt x="90488" y="148590"/>
                    </a:lnTo>
                    <a:lnTo>
                      <a:pt x="90488" y="158115"/>
                    </a:lnTo>
                    <a:lnTo>
                      <a:pt x="90488" y="369570"/>
                    </a:lnTo>
                    <a:lnTo>
                      <a:pt x="2857" y="369570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  <p:sp>
            <p:nvSpPr>
              <p:cNvPr id="73" name="Freeform 72">
                <a:extLst>
                  <a:ext uri="{FF2B5EF4-FFF2-40B4-BE49-F238E27FC236}">
                    <a16:creationId xmlns:a16="http://schemas.microsoft.com/office/drawing/2014/main" id="{5F177D10-836A-8D91-CE92-0A1E0F55DF2A}"/>
                  </a:ext>
                </a:extLst>
              </p:cNvPr>
              <p:cNvSpPr/>
              <p:nvPr/>
            </p:nvSpPr>
            <p:spPr>
              <a:xfrm>
                <a:off x="5973762" y="3782467"/>
                <a:ext cx="1969770" cy="1744979"/>
              </a:xfrm>
              <a:custGeom>
                <a:avLst/>
                <a:gdLst>
                  <a:gd name="connsiteX0" fmla="*/ 327660 w 1969770"/>
                  <a:gd name="connsiteY0" fmla="*/ 811530 h 1744979"/>
                  <a:gd name="connsiteX1" fmla="*/ 433388 w 1969770"/>
                  <a:gd name="connsiteY1" fmla="*/ 811530 h 1744979"/>
                  <a:gd name="connsiteX2" fmla="*/ 438150 w 1969770"/>
                  <a:gd name="connsiteY2" fmla="*/ 798195 h 1744979"/>
                  <a:gd name="connsiteX3" fmla="*/ 439103 w 1969770"/>
                  <a:gd name="connsiteY3" fmla="*/ 784860 h 1744979"/>
                  <a:gd name="connsiteX4" fmla="*/ 440055 w 1969770"/>
                  <a:gd name="connsiteY4" fmla="*/ 771525 h 1744979"/>
                  <a:gd name="connsiteX5" fmla="*/ 441008 w 1969770"/>
                  <a:gd name="connsiteY5" fmla="*/ 758190 h 1744979"/>
                  <a:gd name="connsiteX6" fmla="*/ 442913 w 1969770"/>
                  <a:gd name="connsiteY6" fmla="*/ 744855 h 1744979"/>
                  <a:gd name="connsiteX7" fmla="*/ 444818 w 1969770"/>
                  <a:gd name="connsiteY7" fmla="*/ 732473 h 1744979"/>
                  <a:gd name="connsiteX8" fmla="*/ 447675 w 1969770"/>
                  <a:gd name="connsiteY8" fmla="*/ 719138 h 1744979"/>
                  <a:gd name="connsiteX9" fmla="*/ 450533 w 1969770"/>
                  <a:gd name="connsiteY9" fmla="*/ 706755 h 1744979"/>
                  <a:gd name="connsiteX10" fmla="*/ 453390 w 1969770"/>
                  <a:gd name="connsiteY10" fmla="*/ 694373 h 1744979"/>
                  <a:gd name="connsiteX11" fmla="*/ 456248 w 1969770"/>
                  <a:gd name="connsiteY11" fmla="*/ 681990 h 1744979"/>
                  <a:gd name="connsiteX12" fmla="*/ 459105 w 1969770"/>
                  <a:gd name="connsiteY12" fmla="*/ 669608 h 1744979"/>
                  <a:gd name="connsiteX13" fmla="*/ 466725 w 1969770"/>
                  <a:gd name="connsiteY13" fmla="*/ 644843 h 1744979"/>
                  <a:gd name="connsiteX14" fmla="*/ 471488 w 1969770"/>
                  <a:gd name="connsiteY14" fmla="*/ 632460 h 1744979"/>
                  <a:gd name="connsiteX15" fmla="*/ 476250 w 1969770"/>
                  <a:gd name="connsiteY15" fmla="*/ 620078 h 1744979"/>
                  <a:gd name="connsiteX16" fmla="*/ 481013 w 1969770"/>
                  <a:gd name="connsiteY16" fmla="*/ 608648 h 1744979"/>
                  <a:gd name="connsiteX17" fmla="*/ 486728 w 1969770"/>
                  <a:gd name="connsiteY17" fmla="*/ 597218 h 1744979"/>
                  <a:gd name="connsiteX18" fmla="*/ 492443 w 1969770"/>
                  <a:gd name="connsiteY18" fmla="*/ 585788 h 1744979"/>
                  <a:gd name="connsiteX19" fmla="*/ 498158 w 1969770"/>
                  <a:gd name="connsiteY19" fmla="*/ 574358 h 1744979"/>
                  <a:gd name="connsiteX20" fmla="*/ 503873 w 1969770"/>
                  <a:gd name="connsiteY20" fmla="*/ 562928 h 1744979"/>
                  <a:gd name="connsiteX21" fmla="*/ 510540 w 1969770"/>
                  <a:gd name="connsiteY21" fmla="*/ 551498 h 1744979"/>
                  <a:gd name="connsiteX22" fmla="*/ 517208 w 1969770"/>
                  <a:gd name="connsiteY22" fmla="*/ 541020 h 1744979"/>
                  <a:gd name="connsiteX23" fmla="*/ 523875 w 1969770"/>
                  <a:gd name="connsiteY23" fmla="*/ 530543 h 1744979"/>
                  <a:gd name="connsiteX24" fmla="*/ 530543 w 1969770"/>
                  <a:gd name="connsiteY24" fmla="*/ 520065 h 1744979"/>
                  <a:gd name="connsiteX25" fmla="*/ 537210 w 1969770"/>
                  <a:gd name="connsiteY25" fmla="*/ 509588 h 1744979"/>
                  <a:gd name="connsiteX26" fmla="*/ 544830 w 1969770"/>
                  <a:gd name="connsiteY26" fmla="*/ 499110 h 1744979"/>
                  <a:gd name="connsiteX27" fmla="*/ 552450 w 1969770"/>
                  <a:gd name="connsiteY27" fmla="*/ 489585 h 1744979"/>
                  <a:gd name="connsiteX28" fmla="*/ 560070 w 1969770"/>
                  <a:gd name="connsiteY28" fmla="*/ 479108 h 1744979"/>
                  <a:gd name="connsiteX29" fmla="*/ 567690 w 1969770"/>
                  <a:gd name="connsiteY29" fmla="*/ 469583 h 1744979"/>
                  <a:gd name="connsiteX30" fmla="*/ 575310 w 1969770"/>
                  <a:gd name="connsiteY30" fmla="*/ 460058 h 1744979"/>
                  <a:gd name="connsiteX31" fmla="*/ 583883 w 1969770"/>
                  <a:gd name="connsiteY31" fmla="*/ 450533 h 1744979"/>
                  <a:gd name="connsiteX32" fmla="*/ 592455 w 1969770"/>
                  <a:gd name="connsiteY32" fmla="*/ 441008 h 1744979"/>
                  <a:gd name="connsiteX33" fmla="*/ 514350 w 1969770"/>
                  <a:gd name="connsiteY33" fmla="*/ 362903 h 1744979"/>
                  <a:gd name="connsiteX34" fmla="*/ 503873 w 1969770"/>
                  <a:gd name="connsiteY34" fmla="*/ 373380 h 1744979"/>
                  <a:gd name="connsiteX35" fmla="*/ 493395 w 1969770"/>
                  <a:gd name="connsiteY35" fmla="*/ 384810 h 1744979"/>
                  <a:gd name="connsiteX36" fmla="*/ 483870 w 1969770"/>
                  <a:gd name="connsiteY36" fmla="*/ 396240 h 1744979"/>
                  <a:gd name="connsiteX37" fmla="*/ 474345 w 1969770"/>
                  <a:gd name="connsiteY37" fmla="*/ 407670 h 1744979"/>
                  <a:gd name="connsiteX38" fmla="*/ 464820 w 1969770"/>
                  <a:gd name="connsiteY38" fmla="*/ 420053 h 1744979"/>
                  <a:gd name="connsiteX39" fmla="*/ 455295 w 1969770"/>
                  <a:gd name="connsiteY39" fmla="*/ 432435 h 1744979"/>
                  <a:gd name="connsiteX40" fmla="*/ 446723 w 1969770"/>
                  <a:gd name="connsiteY40" fmla="*/ 444818 h 1744979"/>
                  <a:gd name="connsiteX41" fmla="*/ 438150 w 1969770"/>
                  <a:gd name="connsiteY41" fmla="*/ 457200 h 1744979"/>
                  <a:gd name="connsiteX42" fmla="*/ 428625 w 1969770"/>
                  <a:gd name="connsiteY42" fmla="*/ 471488 h 1744979"/>
                  <a:gd name="connsiteX43" fmla="*/ 421005 w 1969770"/>
                  <a:gd name="connsiteY43" fmla="*/ 484823 h 1744979"/>
                  <a:gd name="connsiteX44" fmla="*/ 413385 w 1969770"/>
                  <a:gd name="connsiteY44" fmla="*/ 498158 h 1744979"/>
                  <a:gd name="connsiteX45" fmla="*/ 405765 w 1969770"/>
                  <a:gd name="connsiteY45" fmla="*/ 511493 h 1744979"/>
                  <a:gd name="connsiteX46" fmla="*/ 399098 w 1969770"/>
                  <a:gd name="connsiteY46" fmla="*/ 524828 h 1744979"/>
                  <a:gd name="connsiteX47" fmla="*/ 392430 w 1969770"/>
                  <a:gd name="connsiteY47" fmla="*/ 538163 h 1744979"/>
                  <a:gd name="connsiteX48" fmla="*/ 384810 w 1969770"/>
                  <a:gd name="connsiteY48" fmla="*/ 552450 h 1744979"/>
                  <a:gd name="connsiteX49" fmla="*/ 379095 w 1969770"/>
                  <a:gd name="connsiteY49" fmla="*/ 566738 h 1744979"/>
                  <a:gd name="connsiteX50" fmla="*/ 373380 w 1969770"/>
                  <a:gd name="connsiteY50" fmla="*/ 581025 h 1744979"/>
                  <a:gd name="connsiteX51" fmla="*/ 367665 w 1969770"/>
                  <a:gd name="connsiteY51" fmla="*/ 595313 h 1744979"/>
                  <a:gd name="connsiteX52" fmla="*/ 361950 w 1969770"/>
                  <a:gd name="connsiteY52" fmla="*/ 609600 h 1744979"/>
                  <a:gd name="connsiteX53" fmla="*/ 357188 w 1969770"/>
                  <a:gd name="connsiteY53" fmla="*/ 623888 h 1744979"/>
                  <a:gd name="connsiteX54" fmla="*/ 352425 w 1969770"/>
                  <a:gd name="connsiteY54" fmla="*/ 639128 h 1744979"/>
                  <a:gd name="connsiteX55" fmla="*/ 348615 w 1969770"/>
                  <a:gd name="connsiteY55" fmla="*/ 654368 h 1744979"/>
                  <a:gd name="connsiteX56" fmla="*/ 344805 w 1969770"/>
                  <a:gd name="connsiteY56" fmla="*/ 669608 h 1744979"/>
                  <a:gd name="connsiteX57" fmla="*/ 340995 w 1969770"/>
                  <a:gd name="connsiteY57" fmla="*/ 684848 h 1744979"/>
                  <a:gd name="connsiteX58" fmla="*/ 338138 w 1969770"/>
                  <a:gd name="connsiteY58" fmla="*/ 700088 h 1744979"/>
                  <a:gd name="connsiteX59" fmla="*/ 335280 w 1969770"/>
                  <a:gd name="connsiteY59" fmla="*/ 716280 h 1744979"/>
                  <a:gd name="connsiteX60" fmla="*/ 333375 w 1969770"/>
                  <a:gd name="connsiteY60" fmla="*/ 731520 h 1744979"/>
                  <a:gd name="connsiteX61" fmla="*/ 331470 w 1969770"/>
                  <a:gd name="connsiteY61" fmla="*/ 747713 h 1744979"/>
                  <a:gd name="connsiteX62" fmla="*/ 330518 w 1969770"/>
                  <a:gd name="connsiteY62" fmla="*/ 763905 h 1744979"/>
                  <a:gd name="connsiteX63" fmla="*/ 329565 w 1969770"/>
                  <a:gd name="connsiteY63" fmla="*/ 780098 h 1744979"/>
                  <a:gd name="connsiteX64" fmla="*/ 328613 w 1969770"/>
                  <a:gd name="connsiteY64" fmla="*/ 796290 h 1744979"/>
                  <a:gd name="connsiteX65" fmla="*/ 327660 w 1969770"/>
                  <a:gd name="connsiteY65" fmla="*/ 811530 h 1744979"/>
                  <a:gd name="connsiteX66" fmla="*/ 327660 w 1969770"/>
                  <a:gd name="connsiteY66" fmla="*/ 811530 h 1744979"/>
                  <a:gd name="connsiteX67" fmla="*/ 991553 w 1969770"/>
                  <a:gd name="connsiteY67" fmla="*/ 1088708 h 1744979"/>
                  <a:gd name="connsiteX68" fmla="*/ 974408 w 1969770"/>
                  <a:gd name="connsiteY68" fmla="*/ 1094423 h 1744979"/>
                  <a:gd name="connsiteX69" fmla="*/ 965835 w 1969770"/>
                  <a:gd name="connsiteY69" fmla="*/ 1097280 h 1744979"/>
                  <a:gd name="connsiteX70" fmla="*/ 962978 w 1969770"/>
                  <a:gd name="connsiteY70" fmla="*/ 1100138 h 1744979"/>
                  <a:gd name="connsiteX71" fmla="*/ 965835 w 1969770"/>
                  <a:gd name="connsiteY71" fmla="*/ 1404938 h 1744979"/>
                  <a:gd name="connsiteX72" fmla="*/ 968693 w 1969770"/>
                  <a:gd name="connsiteY72" fmla="*/ 1424940 h 1744979"/>
                  <a:gd name="connsiteX73" fmla="*/ 971550 w 1969770"/>
                  <a:gd name="connsiteY73" fmla="*/ 1439228 h 1744979"/>
                  <a:gd name="connsiteX74" fmla="*/ 977265 w 1969770"/>
                  <a:gd name="connsiteY74" fmla="*/ 1447800 h 1744979"/>
                  <a:gd name="connsiteX75" fmla="*/ 982980 w 1969770"/>
                  <a:gd name="connsiteY75" fmla="*/ 1450658 h 1744979"/>
                  <a:gd name="connsiteX76" fmla="*/ 988695 w 1969770"/>
                  <a:gd name="connsiteY76" fmla="*/ 1447800 h 1744979"/>
                  <a:gd name="connsiteX77" fmla="*/ 994410 w 1969770"/>
                  <a:gd name="connsiteY77" fmla="*/ 1439228 h 1744979"/>
                  <a:gd name="connsiteX78" fmla="*/ 997268 w 1969770"/>
                  <a:gd name="connsiteY78" fmla="*/ 1424940 h 1744979"/>
                  <a:gd name="connsiteX79" fmla="*/ 997268 w 1969770"/>
                  <a:gd name="connsiteY79" fmla="*/ 1404938 h 1744979"/>
                  <a:gd name="connsiteX80" fmla="*/ 1005840 w 1969770"/>
                  <a:gd name="connsiteY80" fmla="*/ 1082993 h 1744979"/>
                  <a:gd name="connsiteX81" fmla="*/ 991553 w 1969770"/>
                  <a:gd name="connsiteY81" fmla="*/ 1088708 h 1744979"/>
                  <a:gd name="connsiteX82" fmla="*/ 991553 w 1969770"/>
                  <a:gd name="connsiteY82" fmla="*/ 1088708 h 1744979"/>
                  <a:gd name="connsiteX83" fmla="*/ 960120 w 1969770"/>
                  <a:gd name="connsiteY83" fmla="*/ 988695 h 1744979"/>
                  <a:gd name="connsiteX84" fmla="*/ 988695 w 1969770"/>
                  <a:gd name="connsiteY84" fmla="*/ 980123 h 1744979"/>
                  <a:gd name="connsiteX85" fmla="*/ 1005840 w 1969770"/>
                  <a:gd name="connsiteY85" fmla="*/ 974408 h 1744979"/>
                  <a:gd name="connsiteX86" fmla="*/ 1014413 w 1969770"/>
                  <a:gd name="connsiteY86" fmla="*/ 649605 h 1744979"/>
                  <a:gd name="connsiteX87" fmla="*/ 980123 w 1969770"/>
                  <a:gd name="connsiteY87" fmla="*/ 658178 h 1744979"/>
                  <a:gd name="connsiteX88" fmla="*/ 954405 w 1969770"/>
                  <a:gd name="connsiteY88" fmla="*/ 666750 h 1744979"/>
                  <a:gd name="connsiteX89" fmla="*/ 960120 w 1969770"/>
                  <a:gd name="connsiteY89" fmla="*/ 988695 h 1744979"/>
                  <a:gd name="connsiteX90" fmla="*/ 960120 w 1969770"/>
                  <a:gd name="connsiteY90" fmla="*/ 988695 h 1744979"/>
                  <a:gd name="connsiteX91" fmla="*/ 381000 w 1969770"/>
                  <a:gd name="connsiteY91" fmla="*/ 301943 h 1744979"/>
                  <a:gd name="connsiteX92" fmla="*/ 392430 w 1969770"/>
                  <a:gd name="connsiteY92" fmla="*/ 283845 h 1744979"/>
                  <a:gd name="connsiteX93" fmla="*/ 404813 w 1969770"/>
                  <a:gd name="connsiteY93" fmla="*/ 264795 h 1744979"/>
                  <a:gd name="connsiteX94" fmla="*/ 418148 w 1969770"/>
                  <a:gd name="connsiteY94" fmla="*/ 245745 h 1744979"/>
                  <a:gd name="connsiteX95" fmla="*/ 431483 w 1969770"/>
                  <a:gd name="connsiteY95" fmla="*/ 226695 h 1744979"/>
                  <a:gd name="connsiteX96" fmla="*/ 444818 w 1969770"/>
                  <a:gd name="connsiteY96" fmla="*/ 208598 h 1744979"/>
                  <a:gd name="connsiteX97" fmla="*/ 457200 w 1969770"/>
                  <a:gd name="connsiteY97" fmla="*/ 192405 h 1744979"/>
                  <a:gd name="connsiteX98" fmla="*/ 462915 w 1969770"/>
                  <a:gd name="connsiteY98" fmla="*/ 185738 h 1744979"/>
                  <a:gd name="connsiteX99" fmla="*/ 468630 w 1969770"/>
                  <a:gd name="connsiteY99" fmla="*/ 179070 h 1744979"/>
                  <a:gd name="connsiteX100" fmla="*/ 474345 w 1969770"/>
                  <a:gd name="connsiteY100" fmla="*/ 173355 h 1744979"/>
                  <a:gd name="connsiteX101" fmla="*/ 479108 w 1969770"/>
                  <a:gd name="connsiteY101" fmla="*/ 168593 h 1744979"/>
                  <a:gd name="connsiteX102" fmla="*/ 466725 w 1969770"/>
                  <a:gd name="connsiteY102" fmla="*/ 170498 h 1744979"/>
                  <a:gd name="connsiteX103" fmla="*/ 454343 w 1969770"/>
                  <a:gd name="connsiteY103" fmla="*/ 174308 h 1744979"/>
                  <a:gd name="connsiteX104" fmla="*/ 442913 w 1969770"/>
                  <a:gd name="connsiteY104" fmla="*/ 178118 h 1744979"/>
                  <a:gd name="connsiteX105" fmla="*/ 431483 w 1969770"/>
                  <a:gd name="connsiteY105" fmla="*/ 181928 h 1744979"/>
                  <a:gd name="connsiteX106" fmla="*/ 420053 w 1969770"/>
                  <a:gd name="connsiteY106" fmla="*/ 186690 h 1744979"/>
                  <a:gd name="connsiteX107" fmla="*/ 409575 w 1969770"/>
                  <a:gd name="connsiteY107" fmla="*/ 192405 h 1744979"/>
                  <a:gd name="connsiteX108" fmla="*/ 399098 w 1969770"/>
                  <a:gd name="connsiteY108" fmla="*/ 198120 h 1744979"/>
                  <a:gd name="connsiteX109" fmla="*/ 388620 w 1969770"/>
                  <a:gd name="connsiteY109" fmla="*/ 203835 h 1744979"/>
                  <a:gd name="connsiteX110" fmla="*/ 378143 w 1969770"/>
                  <a:gd name="connsiteY110" fmla="*/ 210503 h 1744979"/>
                  <a:gd name="connsiteX111" fmla="*/ 368618 w 1969770"/>
                  <a:gd name="connsiteY111" fmla="*/ 217170 h 1744979"/>
                  <a:gd name="connsiteX112" fmla="*/ 359093 w 1969770"/>
                  <a:gd name="connsiteY112" fmla="*/ 223838 h 1744979"/>
                  <a:gd name="connsiteX113" fmla="*/ 349568 w 1969770"/>
                  <a:gd name="connsiteY113" fmla="*/ 231458 h 1744979"/>
                  <a:gd name="connsiteX114" fmla="*/ 340043 w 1969770"/>
                  <a:gd name="connsiteY114" fmla="*/ 239078 h 1744979"/>
                  <a:gd name="connsiteX115" fmla="*/ 330518 w 1969770"/>
                  <a:gd name="connsiteY115" fmla="*/ 246698 h 1744979"/>
                  <a:gd name="connsiteX116" fmla="*/ 321945 w 1969770"/>
                  <a:gd name="connsiteY116" fmla="*/ 257175 h 1744979"/>
                  <a:gd name="connsiteX117" fmla="*/ 313373 w 1969770"/>
                  <a:gd name="connsiteY117" fmla="*/ 265748 h 1744979"/>
                  <a:gd name="connsiteX118" fmla="*/ 305753 w 1969770"/>
                  <a:gd name="connsiteY118" fmla="*/ 275273 h 1744979"/>
                  <a:gd name="connsiteX119" fmla="*/ 298133 w 1969770"/>
                  <a:gd name="connsiteY119" fmla="*/ 284798 h 1744979"/>
                  <a:gd name="connsiteX120" fmla="*/ 290513 w 1969770"/>
                  <a:gd name="connsiteY120" fmla="*/ 294323 h 1744979"/>
                  <a:gd name="connsiteX121" fmla="*/ 283845 w 1969770"/>
                  <a:gd name="connsiteY121" fmla="*/ 304800 h 1744979"/>
                  <a:gd name="connsiteX122" fmla="*/ 277178 w 1969770"/>
                  <a:gd name="connsiteY122" fmla="*/ 314325 h 1744979"/>
                  <a:gd name="connsiteX123" fmla="*/ 269558 w 1969770"/>
                  <a:gd name="connsiteY123" fmla="*/ 323850 h 1744979"/>
                  <a:gd name="connsiteX124" fmla="*/ 263843 w 1969770"/>
                  <a:gd name="connsiteY124" fmla="*/ 334328 h 1744979"/>
                  <a:gd name="connsiteX125" fmla="*/ 258128 w 1969770"/>
                  <a:gd name="connsiteY125" fmla="*/ 344805 h 1744979"/>
                  <a:gd name="connsiteX126" fmla="*/ 252413 w 1969770"/>
                  <a:gd name="connsiteY126" fmla="*/ 355283 h 1744979"/>
                  <a:gd name="connsiteX127" fmla="*/ 247650 w 1969770"/>
                  <a:gd name="connsiteY127" fmla="*/ 367665 h 1744979"/>
                  <a:gd name="connsiteX128" fmla="*/ 242888 w 1969770"/>
                  <a:gd name="connsiteY128" fmla="*/ 379095 h 1744979"/>
                  <a:gd name="connsiteX129" fmla="*/ 239078 w 1969770"/>
                  <a:gd name="connsiteY129" fmla="*/ 390525 h 1744979"/>
                  <a:gd name="connsiteX130" fmla="*/ 235268 w 1969770"/>
                  <a:gd name="connsiteY130" fmla="*/ 401955 h 1744979"/>
                  <a:gd name="connsiteX131" fmla="*/ 231458 w 1969770"/>
                  <a:gd name="connsiteY131" fmla="*/ 414338 h 1744979"/>
                  <a:gd name="connsiteX132" fmla="*/ 228600 w 1969770"/>
                  <a:gd name="connsiteY132" fmla="*/ 425768 h 1744979"/>
                  <a:gd name="connsiteX133" fmla="*/ 225743 w 1969770"/>
                  <a:gd name="connsiteY133" fmla="*/ 438150 h 1744979"/>
                  <a:gd name="connsiteX134" fmla="*/ 236220 w 1969770"/>
                  <a:gd name="connsiteY134" fmla="*/ 427673 h 1744979"/>
                  <a:gd name="connsiteX135" fmla="*/ 246698 w 1969770"/>
                  <a:gd name="connsiteY135" fmla="*/ 418148 h 1744979"/>
                  <a:gd name="connsiteX136" fmla="*/ 257175 w 1969770"/>
                  <a:gd name="connsiteY136" fmla="*/ 408623 h 1744979"/>
                  <a:gd name="connsiteX137" fmla="*/ 268605 w 1969770"/>
                  <a:gd name="connsiteY137" fmla="*/ 400050 h 1744979"/>
                  <a:gd name="connsiteX138" fmla="*/ 290513 w 1969770"/>
                  <a:gd name="connsiteY138" fmla="*/ 382905 h 1744979"/>
                  <a:gd name="connsiteX139" fmla="*/ 312420 w 1969770"/>
                  <a:gd name="connsiteY139" fmla="*/ 366713 h 1744979"/>
                  <a:gd name="connsiteX140" fmla="*/ 322898 w 1969770"/>
                  <a:gd name="connsiteY140" fmla="*/ 359093 h 1744979"/>
                  <a:gd name="connsiteX141" fmla="*/ 333375 w 1969770"/>
                  <a:gd name="connsiteY141" fmla="*/ 351473 h 1744979"/>
                  <a:gd name="connsiteX142" fmla="*/ 342900 w 1969770"/>
                  <a:gd name="connsiteY142" fmla="*/ 343853 h 1744979"/>
                  <a:gd name="connsiteX143" fmla="*/ 352425 w 1969770"/>
                  <a:gd name="connsiteY143" fmla="*/ 336233 h 1744979"/>
                  <a:gd name="connsiteX144" fmla="*/ 360998 w 1969770"/>
                  <a:gd name="connsiteY144" fmla="*/ 328613 h 1744979"/>
                  <a:gd name="connsiteX145" fmla="*/ 368618 w 1969770"/>
                  <a:gd name="connsiteY145" fmla="*/ 320993 h 1744979"/>
                  <a:gd name="connsiteX146" fmla="*/ 371475 w 1969770"/>
                  <a:gd name="connsiteY146" fmla="*/ 314325 h 1744979"/>
                  <a:gd name="connsiteX147" fmla="*/ 375285 w 1969770"/>
                  <a:gd name="connsiteY147" fmla="*/ 310515 h 1744979"/>
                  <a:gd name="connsiteX148" fmla="*/ 378143 w 1969770"/>
                  <a:gd name="connsiteY148" fmla="*/ 306705 h 1744979"/>
                  <a:gd name="connsiteX149" fmla="*/ 381000 w 1969770"/>
                  <a:gd name="connsiteY149" fmla="*/ 301943 h 1744979"/>
                  <a:gd name="connsiteX150" fmla="*/ 381000 w 1969770"/>
                  <a:gd name="connsiteY150" fmla="*/ 301943 h 1744979"/>
                  <a:gd name="connsiteX151" fmla="*/ 316230 w 1969770"/>
                  <a:gd name="connsiteY151" fmla="*/ 510540 h 1744979"/>
                  <a:gd name="connsiteX152" fmla="*/ 312420 w 1969770"/>
                  <a:gd name="connsiteY152" fmla="*/ 517208 h 1744979"/>
                  <a:gd name="connsiteX153" fmla="*/ 306705 w 1969770"/>
                  <a:gd name="connsiteY153" fmla="*/ 523875 h 1744979"/>
                  <a:gd name="connsiteX154" fmla="*/ 300990 w 1969770"/>
                  <a:gd name="connsiteY154" fmla="*/ 530543 h 1744979"/>
                  <a:gd name="connsiteX155" fmla="*/ 295275 w 1969770"/>
                  <a:gd name="connsiteY155" fmla="*/ 536258 h 1744979"/>
                  <a:gd name="connsiteX156" fmla="*/ 288608 w 1969770"/>
                  <a:gd name="connsiteY156" fmla="*/ 542925 h 1744979"/>
                  <a:gd name="connsiteX157" fmla="*/ 281940 w 1969770"/>
                  <a:gd name="connsiteY157" fmla="*/ 549593 h 1744979"/>
                  <a:gd name="connsiteX158" fmla="*/ 273368 w 1969770"/>
                  <a:gd name="connsiteY158" fmla="*/ 556260 h 1744979"/>
                  <a:gd name="connsiteX159" fmla="*/ 264795 w 1969770"/>
                  <a:gd name="connsiteY159" fmla="*/ 562928 h 1744979"/>
                  <a:gd name="connsiteX160" fmla="*/ 247650 w 1969770"/>
                  <a:gd name="connsiteY160" fmla="*/ 578168 h 1744979"/>
                  <a:gd name="connsiteX161" fmla="*/ 229553 w 1969770"/>
                  <a:gd name="connsiteY161" fmla="*/ 594360 h 1744979"/>
                  <a:gd name="connsiteX162" fmla="*/ 220980 w 1969770"/>
                  <a:gd name="connsiteY162" fmla="*/ 602933 h 1744979"/>
                  <a:gd name="connsiteX163" fmla="*/ 211455 w 1969770"/>
                  <a:gd name="connsiteY163" fmla="*/ 611505 h 1744979"/>
                  <a:gd name="connsiteX164" fmla="*/ 201930 w 1969770"/>
                  <a:gd name="connsiteY164" fmla="*/ 621030 h 1744979"/>
                  <a:gd name="connsiteX165" fmla="*/ 192405 w 1969770"/>
                  <a:gd name="connsiteY165" fmla="*/ 630555 h 1744979"/>
                  <a:gd name="connsiteX166" fmla="*/ 187643 w 1969770"/>
                  <a:gd name="connsiteY166" fmla="*/ 636270 h 1744979"/>
                  <a:gd name="connsiteX167" fmla="*/ 182880 w 1969770"/>
                  <a:gd name="connsiteY167" fmla="*/ 642938 h 1744979"/>
                  <a:gd name="connsiteX168" fmla="*/ 178118 w 1969770"/>
                  <a:gd name="connsiteY168" fmla="*/ 650558 h 1744979"/>
                  <a:gd name="connsiteX169" fmla="*/ 173355 w 1969770"/>
                  <a:gd name="connsiteY169" fmla="*/ 658178 h 1744979"/>
                  <a:gd name="connsiteX170" fmla="*/ 168593 w 1969770"/>
                  <a:gd name="connsiteY170" fmla="*/ 666750 h 1744979"/>
                  <a:gd name="connsiteX171" fmla="*/ 163830 w 1969770"/>
                  <a:gd name="connsiteY171" fmla="*/ 675323 h 1744979"/>
                  <a:gd name="connsiteX172" fmla="*/ 160020 w 1969770"/>
                  <a:gd name="connsiteY172" fmla="*/ 684848 h 1744979"/>
                  <a:gd name="connsiteX173" fmla="*/ 156210 w 1969770"/>
                  <a:gd name="connsiteY173" fmla="*/ 694373 h 1744979"/>
                  <a:gd name="connsiteX174" fmla="*/ 152400 w 1969770"/>
                  <a:gd name="connsiteY174" fmla="*/ 703898 h 1744979"/>
                  <a:gd name="connsiteX175" fmla="*/ 148590 w 1969770"/>
                  <a:gd name="connsiteY175" fmla="*/ 713423 h 1744979"/>
                  <a:gd name="connsiteX176" fmla="*/ 144780 w 1969770"/>
                  <a:gd name="connsiteY176" fmla="*/ 722948 h 1744979"/>
                  <a:gd name="connsiteX177" fmla="*/ 141923 w 1969770"/>
                  <a:gd name="connsiteY177" fmla="*/ 732473 h 1744979"/>
                  <a:gd name="connsiteX178" fmla="*/ 139065 w 1969770"/>
                  <a:gd name="connsiteY178" fmla="*/ 741998 h 1744979"/>
                  <a:gd name="connsiteX179" fmla="*/ 136208 w 1969770"/>
                  <a:gd name="connsiteY179" fmla="*/ 751523 h 1744979"/>
                  <a:gd name="connsiteX180" fmla="*/ 133350 w 1969770"/>
                  <a:gd name="connsiteY180" fmla="*/ 761048 h 1744979"/>
                  <a:gd name="connsiteX181" fmla="*/ 130493 w 1969770"/>
                  <a:gd name="connsiteY181" fmla="*/ 770573 h 1744979"/>
                  <a:gd name="connsiteX182" fmla="*/ 121920 w 1969770"/>
                  <a:gd name="connsiteY182" fmla="*/ 693420 h 1744979"/>
                  <a:gd name="connsiteX183" fmla="*/ 119063 w 1969770"/>
                  <a:gd name="connsiteY183" fmla="*/ 678180 h 1744979"/>
                  <a:gd name="connsiteX184" fmla="*/ 116205 w 1969770"/>
                  <a:gd name="connsiteY184" fmla="*/ 662940 h 1744979"/>
                  <a:gd name="connsiteX185" fmla="*/ 113348 w 1969770"/>
                  <a:gd name="connsiteY185" fmla="*/ 647700 h 1744979"/>
                  <a:gd name="connsiteX186" fmla="*/ 110490 w 1969770"/>
                  <a:gd name="connsiteY186" fmla="*/ 631508 h 1744979"/>
                  <a:gd name="connsiteX187" fmla="*/ 107633 w 1969770"/>
                  <a:gd name="connsiteY187" fmla="*/ 615315 h 1744979"/>
                  <a:gd name="connsiteX188" fmla="*/ 105728 w 1969770"/>
                  <a:gd name="connsiteY188" fmla="*/ 599123 h 1744979"/>
                  <a:gd name="connsiteX189" fmla="*/ 104775 w 1969770"/>
                  <a:gd name="connsiteY189" fmla="*/ 582930 h 1744979"/>
                  <a:gd name="connsiteX190" fmla="*/ 103823 w 1969770"/>
                  <a:gd name="connsiteY190" fmla="*/ 566738 h 1744979"/>
                  <a:gd name="connsiteX191" fmla="*/ 102870 w 1969770"/>
                  <a:gd name="connsiteY191" fmla="*/ 550545 h 1744979"/>
                  <a:gd name="connsiteX192" fmla="*/ 102870 w 1969770"/>
                  <a:gd name="connsiteY192" fmla="*/ 534353 h 1744979"/>
                  <a:gd name="connsiteX193" fmla="*/ 102870 w 1969770"/>
                  <a:gd name="connsiteY193" fmla="*/ 518160 h 1744979"/>
                  <a:gd name="connsiteX194" fmla="*/ 103823 w 1969770"/>
                  <a:gd name="connsiteY194" fmla="*/ 501968 h 1744979"/>
                  <a:gd name="connsiteX195" fmla="*/ 103823 w 1969770"/>
                  <a:gd name="connsiteY195" fmla="*/ 494348 h 1744979"/>
                  <a:gd name="connsiteX196" fmla="*/ 104775 w 1969770"/>
                  <a:gd name="connsiteY196" fmla="*/ 485775 h 1744979"/>
                  <a:gd name="connsiteX197" fmla="*/ 105728 w 1969770"/>
                  <a:gd name="connsiteY197" fmla="*/ 478155 h 1744979"/>
                  <a:gd name="connsiteX198" fmla="*/ 106680 w 1969770"/>
                  <a:gd name="connsiteY198" fmla="*/ 470535 h 1744979"/>
                  <a:gd name="connsiteX199" fmla="*/ 107633 w 1969770"/>
                  <a:gd name="connsiteY199" fmla="*/ 462915 h 1744979"/>
                  <a:gd name="connsiteX200" fmla="*/ 109538 w 1969770"/>
                  <a:gd name="connsiteY200" fmla="*/ 455295 h 1744979"/>
                  <a:gd name="connsiteX201" fmla="*/ 111443 w 1969770"/>
                  <a:gd name="connsiteY201" fmla="*/ 447675 h 1744979"/>
                  <a:gd name="connsiteX202" fmla="*/ 113348 w 1969770"/>
                  <a:gd name="connsiteY202" fmla="*/ 440055 h 1744979"/>
                  <a:gd name="connsiteX203" fmla="*/ 100965 w 1969770"/>
                  <a:gd name="connsiteY203" fmla="*/ 461010 h 1744979"/>
                  <a:gd name="connsiteX204" fmla="*/ 89535 w 1969770"/>
                  <a:gd name="connsiteY204" fmla="*/ 481965 h 1744979"/>
                  <a:gd name="connsiteX205" fmla="*/ 83820 w 1969770"/>
                  <a:gd name="connsiteY205" fmla="*/ 492443 h 1744979"/>
                  <a:gd name="connsiteX206" fmla="*/ 78105 w 1969770"/>
                  <a:gd name="connsiteY206" fmla="*/ 502920 h 1744979"/>
                  <a:gd name="connsiteX207" fmla="*/ 72390 w 1969770"/>
                  <a:gd name="connsiteY207" fmla="*/ 513398 h 1744979"/>
                  <a:gd name="connsiteX208" fmla="*/ 68580 w 1969770"/>
                  <a:gd name="connsiteY208" fmla="*/ 523875 h 1744979"/>
                  <a:gd name="connsiteX209" fmla="*/ 63818 w 1969770"/>
                  <a:gd name="connsiteY209" fmla="*/ 535305 h 1744979"/>
                  <a:gd name="connsiteX210" fmla="*/ 60008 w 1969770"/>
                  <a:gd name="connsiteY210" fmla="*/ 546735 h 1744979"/>
                  <a:gd name="connsiteX211" fmla="*/ 56198 w 1969770"/>
                  <a:gd name="connsiteY211" fmla="*/ 558165 h 1744979"/>
                  <a:gd name="connsiteX212" fmla="*/ 53340 w 1969770"/>
                  <a:gd name="connsiteY212" fmla="*/ 569595 h 1744979"/>
                  <a:gd name="connsiteX213" fmla="*/ 50483 w 1969770"/>
                  <a:gd name="connsiteY213" fmla="*/ 581025 h 1744979"/>
                  <a:gd name="connsiteX214" fmla="*/ 48578 w 1969770"/>
                  <a:gd name="connsiteY214" fmla="*/ 593408 h 1744979"/>
                  <a:gd name="connsiteX215" fmla="*/ 47625 w 1969770"/>
                  <a:gd name="connsiteY215" fmla="*/ 599123 h 1744979"/>
                  <a:gd name="connsiteX216" fmla="*/ 47625 w 1969770"/>
                  <a:gd name="connsiteY216" fmla="*/ 605790 h 1744979"/>
                  <a:gd name="connsiteX217" fmla="*/ 47625 w 1969770"/>
                  <a:gd name="connsiteY217" fmla="*/ 611505 h 1744979"/>
                  <a:gd name="connsiteX218" fmla="*/ 47625 w 1969770"/>
                  <a:gd name="connsiteY218" fmla="*/ 618173 h 1744979"/>
                  <a:gd name="connsiteX219" fmla="*/ 47625 w 1969770"/>
                  <a:gd name="connsiteY219" fmla="*/ 626745 h 1744979"/>
                  <a:gd name="connsiteX220" fmla="*/ 48578 w 1969770"/>
                  <a:gd name="connsiteY220" fmla="*/ 635318 h 1744979"/>
                  <a:gd name="connsiteX221" fmla="*/ 49530 w 1969770"/>
                  <a:gd name="connsiteY221" fmla="*/ 643890 h 1744979"/>
                  <a:gd name="connsiteX222" fmla="*/ 50483 w 1969770"/>
                  <a:gd name="connsiteY222" fmla="*/ 652463 h 1744979"/>
                  <a:gd name="connsiteX223" fmla="*/ 51435 w 1969770"/>
                  <a:gd name="connsiteY223" fmla="*/ 661035 h 1744979"/>
                  <a:gd name="connsiteX224" fmla="*/ 52388 w 1969770"/>
                  <a:gd name="connsiteY224" fmla="*/ 669608 h 1744979"/>
                  <a:gd name="connsiteX225" fmla="*/ 54293 w 1969770"/>
                  <a:gd name="connsiteY225" fmla="*/ 677228 h 1744979"/>
                  <a:gd name="connsiteX226" fmla="*/ 56198 w 1969770"/>
                  <a:gd name="connsiteY226" fmla="*/ 684848 h 1744979"/>
                  <a:gd name="connsiteX227" fmla="*/ 58103 w 1969770"/>
                  <a:gd name="connsiteY227" fmla="*/ 692468 h 1744979"/>
                  <a:gd name="connsiteX228" fmla="*/ 60008 w 1969770"/>
                  <a:gd name="connsiteY228" fmla="*/ 700088 h 1744979"/>
                  <a:gd name="connsiteX229" fmla="*/ 62865 w 1969770"/>
                  <a:gd name="connsiteY229" fmla="*/ 707708 h 1744979"/>
                  <a:gd name="connsiteX230" fmla="*/ 65723 w 1969770"/>
                  <a:gd name="connsiteY230" fmla="*/ 715328 h 1744979"/>
                  <a:gd name="connsiteX231" fmla="*/ 71438 w 1969770"/>
                  <a:gd name="connsiteY231" fmla="*/ 729615 h 1744979"/>
                  <a:gd name="connsiteX232" fmla="*/ 77153 w 1969770"/>
                  <a:gd name="connsiteY232" fmla="*/ 743903 h 1744979"/>
                  <a:gd name="connsiteX233" fmla="*/ 89535 w 1969770"/>
                  <a:gd name="connsiteY233" fmla="*/ 772478 h 1744979"/>
                  <a:gd name="connsiteX234" fmla="*/ 102870 w 1969770"/>
                  <a:gd name="connsiteY234" fmla="*/ 801053 h 1744979"/>
                  <a:gd name="connsiteX235" fmla="*/ 109538 w 1969770"/>
                  <a:gd name="connsiteY235" fmla="*/ 815340 h 1744979"/>
                  <a:gd name="connsiteX236" fmla="*/ 115253 w 1969770"/>
                  <a:gd name="connsiteY236" fmla="*/ 829628 h 1744979"/>
                  <a:gd name="connsiteX237" fmla="*/ 120968 w 1969770"/>
                  <a:gd name="connsiteY237" fmla="*/ 844868 h 1744979"/>
                  <a:gd name="connsiteX238" fmla="*/ 125730 w 1969770"/>
                  <a:gd name="connsiteY238" fmla="*/ 860108 h 1744979"/>
                  <a:gd name="connsiteX239" fmla="*/ 126683 w 1969770"/>
                  <a:gd name="connsiteY239" fmla="*/ 855345 h 1744979"/>
                  <a:gd name="connsiteX240" fmla="*/ 127635 w 1969770"/>
                  <a:gd name="connsiteY240" fmla="*/ 849630 h 1744979"/>
                  <a:gd name="connsiteX241" fmla="*/ 128588 w 1969770"/>
                  <a:gd name="connsiteY241" fmla="*/ 843915 h 1744979"/>
                  <a:gd name="connsiteX242" fmla="*/ 130493 w 1969770"/>
                  <a:gd name="connsiteY242" fmla="*/ 838200 h 1744979"/>
                  <a:gd name="connsiteX243" fmla="*/ 132398 w 1969770"/>
                  <a:gd name="connsiteY243" fmla="*/ 832485 h 1744979"/>
                  <a:gd name="connsiteX244" fmla="*/ 134303 w 1969770"/>
                  <a:gd name="connsiteY244" fmla="*/ 826770 h 1744979"/>
                  <a:gd name="connsiteX245" fmla="*/ 137160 w 1969770"/>
                  <a:gd name="connsiteY245" fmla="*/ 820103 h 1744979"/>
                  <a:gd name="connsiteX246" fmla="*/ 140018 w 1969770"/>
                  <a:gd name="connsiteY246" fmla="*/ 814388 h 1744979"/>
                  <a:gd name="connsiteX247" fmla="*/ 145733 w 1969770"/>
                  <a:gd name="connsiteY247" fmla="*/ 802005 h 1744979"/>
                  <a:gd name="connsiteX248" fmla="*/ 152400 w 1969770"/>
                  <a:gd name="connsiteY248" fmla="*/ 788670 h 1744979"/>
                  <a:gd name="connsiteX249" fmla="*/ 160020 w 1969770"/>
                  <a:gd name="connsiteY249" fmla="*/ 775335 h 1744979"/>
                  <a:gd name="connsiteX250" fmla="*/ 168593 w 1969770"/>
                  <a:gd name="connsiteY250" fmla="*/ 762000 h 1744979"/>
                  <a:gd name="connsiteX251" fmla="*/ 177165 w 1969770"/>
                  <a:gd name="connsiteY251" fmla="*/ 749618 h 1744979"/>
                  <a:gd name="connsiteX252" fmla="*/ 185738 w 1969770"/>
                  <a:gd name="connsiteY252" fmla="*/ 737235 h 1744979"/>
                  <a:gd name="connsiteX253" fmla="*/ 194310 w 1969770"/>
                  <a:gd name="connsiteY253" fmla="*/ 724853 h 1744979"/>
                  <a:gd name="connsiteX254" fmla="*/ 201930 w 1969770"/>
                  <a:gd name="connsiteY254" fmla="*/ 713423 h 1744979"/>
                  <a:gd name="connsiteX255" fmla="*/ 210503 w 1969770"/>
                  <a:gd name="connsiteY255" fmla="*/ 702945 h 1744979"/>
                  <a:gd name="connsiteX256" fmla="*/ 218123 w 1969770"/>
                  <a:gd name="connsiteY256" fmla="*/ 693420 h 1744979"/>
                  <a:gd name="connsiteX257" fmla="*/ 224790 w 1969770"/>
                  <a:gd name="connsiteY257" fmla="*/ 684848 h 1744979"/>
                  <a:gd name="connsiteX258" fmla="*/ 231458 w 1969770"/>
                  <a:gd name="connsiteY258" fmla="*/ 678180 h 1744979"/>
                  <a:gd name="connsiteX259" fmla="*/ 240983 w 1969770"/>
                  <a:gd name="connsiteY259" fmla="*/ 665798 h 1744979"/>
                  <a:gd name="connsiteX260" fmla="*/ 249555 w 1969770"/>
                  <a:gd name="connsiteY260" fmla="*/ 654368 h 1744979"/>
                  <a:gd name="connsiteX261" fmla="*/ 257175 w 1969770"/>
                  <a:gd name="connsiteY261" fmla="*/ 643890 h 1744979"/>
                  <a:gd name="connsiteX262" fmla="*/ 263843 w 1969770"/>
                  <a:gd name="connsiteY262" fmla="*/ 634365 h 1744979"/>
                  <a:gd name="connsiteX263" fmla="*/ 269558 w 1969770"/>
                  <a:gd name="connsiteY263" fmla="*/ 625793 h 1744979"/>
                  <a:gd name="connsiteX264" fmla="*/ 274320 w 1969770"/>
                  <a:gd name="connsiteY264" fmla="*/ 617220 h 1744979"/>
                  <a:gd name="connsiteX265" fmla="*/ 278130 w 1969770"/>
                  <a:gd name="connsiteY265" fmla="*/ 608648 h 1744979"/>
                  <a:gd name="connsiteX266" fmla="*/ 281940 w 1969770"/>
                  <a:gd name="connsiteY266" fmla="*/ 600075 h 1744979"/>
                  <a:gd name="connsiteX267" fmla="*/ 285750 w 1969770"/>
                  <a:gd name="connsiteY267" fmla="*/ 591503 h 1744979"/>
                  <a:gd name="connsiteX268" fmla="*/ 289560 w 1969770"/>
                  <a:gd name="connsiteY268" fmla="*/ 582930 h 1744979"/>
                  <a:gd name="connsiteX269" fmla="*/ 293370 w 1969770"/>
                  <a:gd name="connsiteY269" fmla="*/ 573405 h 1744979"/>
                  <a:gd name="connsiteX270" fmla="*/ 297180 w 1969770"/>
                  <a:gd name="connsiteY270" fmla="*/ 562928 h 1744979"/>
                  <a:gd name="connsiteX271" fmla="*/ 305753 w 1969770"/>
                  <a:gd name="connsiteY271" fmla="*/ 539115 h 1744979"/>
                  <a:gd name="connsiteX272" fmla="*/ 316230 w 1969770"/>
                  <a:gd name="connsiteY272" fmla="*/ 510540 h 1744979"/>
                  <a:gd name="connsiteX273" fmla="*/ 316230 w 1969770"/>
                  <a:gd name="connsiteY273" fmla="*/ 510540 h 1744979"/>
                  <a:gd name="connsiteX274" fmla="*/ 251460 w 1969770"/>
                  <a:gd name="connsiteY274" fmla="*/ 711518 h 1744979"/>
                  <a:gd name="connsiteX275" fmla="*/ 239078 w 1969770"/>
                  <a:gd name="connsiteY275" fmla="*/ 727710 h 1744979"/>
                  <a:gd name="connsiteX276" fmla="*/ 227648 w 1969770"/>
                  <a:gd name="connsiteY276" fmla="*/ 743903 h 1744979"/>
                  <a:gd name="connsiteX277" fmla="*/ 216218 w 1969770"/>
                  <a:gd name="connsiteY277" fmla="*/ 759143 h 1744979"/>
                  <a:gd name="connsiteX278" fmla="*/ 205740 w 1969770"/>
                  <a:gd name="connsiteY278" fmla="*/ 774383 h 1744979"/>
                  <a:gd name="connsiteX279" fmla="*/ 196215 w 1969770"/>
                  <a:gd name="connsiteY279" fmla="*/ 788670 h 1744979"/>
                  <a:gd name="connsiteX280" fmla="*/ 186690 w 1969770"/>
                  <a:gd name="connsiteY280" fmla="*/ 803910 h 1744979"/>
                  <a:gd name="connsiteX281" fmla="*/ 182880 w 1969770"/>
                  <a:gd name="connsiteY281" fmla="*/ 811530 h 1744979"/>
                  <a:gd name="connsiteX282" fmla="*/ 179070 w 1969770"/>
                  <a:gd name="connsiteY282" fmla="*/ 819150 h 1744979"/>
                  <a:gd name="connsiteX283" fmla="*/ 175260 w 1969770"/>
                  <a:gd name="connsiteY283" fmla="*/ 826770 h 1744979"/>
                  <a:gd name="connsiteX284" fmla="*/ 171450 w 1969770"/>
                  <a:gd name="connsiteY284" fmla="*/ 835343 h 1744979"/>
                  <a:gd name="connsiteX285" fmla="*/ 167640 w 1969770"/>
                  <a:gd name="connsiteY285" fmla="*/ 842963 h 1744979"/>
                  <a:gd name="connsiteX286" fmla="*/ 164783 w 1969770"/>
                  <a:gd name="connsiteY286" fmla="*/ 850583 h 1744979"/>
                  <a:gd name="connsiteX287" fmla="*/ 161925 w 1969770"/>
                  <a:gd name="connsiteY287" fmla="*/ 859155 h 1744979"/>
                  <a:gd name="connsiteX288" fmla="*/ 159068 w 1969770"/>
                  <a:gd name="connsiteY288" fmla="*/ 867728 h 1744979"/>
                  <a:gd name="connsiteX289" fmla="*/ 157163 w 1969770"/>
                  <a:gd name="connsiteY289" fmla="*/ 876300 h 1744979"/>
                  <a:gd name="connsiteX290" fmla="*/ 155258 w 1969770"/>
                  <a:gd name="connsiteY290" fmla="*/ 884873 h 1744979"/>
                  <a:gd name="connsiteX291" fmla="*/ 153353 w 1969770"/>
                  <a:gd name="connsiteY291" fmla="*/ 893445 h 1744979"/>
                  <a:gd name="connsiteX292" fmla="*/ 151448 w 1969770"/>
                  <a:gd name="connsiteY292" fmla="*/ 902970 h 1744979"/>
                  <a:gd name="connsiteX293" fmla="*/ 150495 w 1969770"/>
                  <a:gd name="connsiteY293" fmla="*/ 912495 h 1744979"/>
                  <a:gd name="connsiteX294" fmla="*/ 149543 w 1969770"/>
                  <a:gd name="connsiteY294" fmla="*/ 922020 h 1744979"/>
                  <a:gd name="connsiteX295" fmla="*/ 148590 w 1969770"/>
                  <a:gd name="connsiteY295" fmla="*/ 931545 h 1744979"/>
                  <a:gd name="connsiteX296" fmla="*/ 147638 w 1969770"/>
                  <a:gd name="connsiteY296" fmla="*/ 942023 h 1744979"/>
                  <a:gd name="connsiteX297" fmla="*/ 147638 w 1969770"/>
                  <a:gd name="connsiteY297" fmla="*/ 952500 h 1744979"/>
                  <a:gd name="connsiteX298" fmla="*/ 147638 w 1969770"/>
                  <a:gd name="connsiteY298" fmla="*/ 962978 h 1744979"/>
                  <a:gd name="connsiteX299" fmla="*/ 147638 w 1969770"/>
                  <a:gd name="connsiteY299" fmla="*/ 974408 h 1744979"/>
                  <a:gd name="connsiteX300" fmla="*/ 148590 w 1969770"/>
                  <a:gd name="connsiteY300" fmla="*/ 985838 h 1744979"/>
                  <a:gd name="connsiteX301" fmla="*/ 146685 w 1969770"/>
                  <a:gd name="connsiteY301" fmla="*/ 976313 h 1744979"/>
                  <a:gd name="connsiteX302" fmla="*/ 143828 w 1969770"/>
                  <a:gd name="connsiteY302" fmla="*/ 965835 h 1744979"/>
                  <a:gd name="connsiteX303" fmla="*/ 140970 w 1969770"/>
                  <a:gd name="connsiteY303" fmla="*/ 956310 h 1744979"/>
                  <a:gd name="connsiteX304" fmla="*/ 137160 w 1969770"/>
                  <a:gd name="connsiteY304" fmla="*/ 945833 h 1744979"/>
                  <a:gd name="connsiteX305" fmla="*/ 133350 w 1969770"/>
                  <a:gd name="connsiteY305" fmla="*/ 936308 h 1744979"/>
                  <a:gd name="connsiteX306" fmla="*/ 129540 w 1969770"/>
                  <a:gd name="connsiteY306" fmla="*/ 925830 h 1744979"/>
                  <a:gd name="connsiteX307" fmla="*/ 124778 w 1969770"/>
                  <a:gd name="connsiteY307" fmla="*/ 916305 h 1744979"/>
                  <a:gd name="connsiteX308" fmla="*/ 120968 w 1969770"/>
                  <a:gd name="connsiteY308" fmla="*/ 906780 h 1744979"/>
                  <a:gd name="connsiteX309" fmla="*/ 111443 w 1969770"/>
                  <a:gd name="connsiteY309" fmla="*/ 886778 h 1744979"/>
                  <a:gd name="connsiteX310" fmla="*/ 100013 w 1969770"/>
                  <a:gd name="connsiteY310" fmla="*/ 866775 h 1744979"/>
                  <a:gd name="connsiteX311" fmla="*/ 89535 w 1969770"/>
                  <a:gd name="connsiteY311" fmla="*/ 846773 h 1744979"/>
                  <a:gd name="connsiteX312" fmla="*/ 79058 w 1969770"/>
                  <a:gd name="connsiteY312" fmla="*/ 827723 h 1744979"/>
                  <a:gd name="connsiteX313" fmla="*/ 68580 w 1969770"/>
                  <a:gd name="connsiteY313" fmla="*/ 808673 h 1744979"/>
                  <a:gd name="connsiteX314" fmla="*/ 58103 w 1969770"/>
                  <a:gd name="connsiteY314" fmla="*/ 789623 h 1744979"/>
                  <a:gd name="connsiteX315" fmla="*/ 53340 w 1969770"/>
                  <a:gd name="connsiteY315" fmla="*/ 780098 h 1744979"/>
                  <a:gd name="connsiteX316" fmla="*/ 48578 w 1969770"/>
                  <a:gd name="connsiteY316" fmla="*/ 770573 h 1744979"/>
                  <a:gd name="connsiteX317" fmla="*/ 44768 w 1969770"/>
                  <a:gd name="connsiteY317" fmla="*/ 761048 h 1744979"/>
                  <a:gd name="connsiteX318" fmla="*/ 40958 w 1969770"/>
                  <a:gd name="connsiteY318" fmla="*/ 751523 h 1744979"/>
                  <a:gd name="connsiteX319" fmla="*/ 38100 w 1969770"/>
                  <a:gd name="connsiteY319" fmla="*/ 742950 h 1744979"/>
                  <a:gd name="connsiteX320" fmla="*/ 35243 w 1969770"/>
                  <a:gd name="connsiteY320" fmla="*/ 733425 h 1744979"/>
                  <a:gd name="connsiteX321" fmla="*/ 32385 w 1969770"/>
                  <a:gd name="connsiteY321" fmla="*/ 723900 h 1744979"/>
                  <a:gd name="connsiteX322" fmla="*/ 29528 w 1969770"/>
                  <a:gd name="connsiteY322" fmla="*/ 714375 h 1744979"/>
                  <a:gd name="connsiteX323" fmla="*/ 27623 w 1969770"/>
                  <a:gd name="connsiteY323" fmla="*/ 705803 h 1744979"/>
                  <a:gd name="connsiteX324" fmla="*/ 26670 w 1969770"/>
                  <a:gd name="connsiteY324" fmla="*/ 697230 h 1744979"/>
                  <a:gd name="connsiteX325" fmla="*/ 25718 w 1969770"/>
                  <a:gd name="connsiteY325" fmla="*/ 688658 h 1744979"/>
                  <a:gd name="connsiteX326" fmla="*/ 25718 w 1969770"/>
                  <a:gd name="connsiteY326" fmla="*/ 680085 h 1744979"/>
                  <a:gd name="connsiteX327" fmla="*/ 21908 w 1969770"/>
                  <a:gd name="connsiteY327" fmla="*/ 699135 h 1744979"/>
                  <a:gd name="connsiteX328" fmla="*/ 19050 w 1969770"/>
                  <a:gd name="connsiteY328" fmla="*/ 717233 h 1744979"/>
                  <a:gd name="connsiteX329" fmla="*/ 17145 w 1969770"/>
                  <a:gd name="connsiteY329" fmla="*/ 734378 h 1744979"/>
                  <a:gd name="connsiteX330" fmla="*/ 14288 w 1969770"/>
                  <a:gd name="connsiteY330" fmla="*/ 752475 h 1744979"/>
                  <a:gd name="connsiteX331" fmla="*/ 13335 w 1969770"/>
                  <a:gd name="connsiteY331" fmla="*/ 768668 h 1744979"/>
                  <a:gd name="connsiteX332" fmla="*/ 13335 w 1969770"/>
                  <a:gd name="connsiteY332" fmla="*/ 783908 h 1744979"/>
                  <a:gd name="connsiteX333" fmla="*/ 13335 w 1969770"/>
                  <a:gd name="connsiteY333" fmla="*/ 798195 h 1744979"/>
                  <a:gd name="connsiteX334" fmla="*/ 14288 w 1969770"/>
                  <a:gd name="connsiteY334" fmla="*/ 811530 h 1744979"/>
                  <a:gd name="connsiteX335" fmla="*/ 15240 w 1969770"/>
                  <a:gd name="connsiteY335" fmla="*/ 824865 h 1744979"/>
                  <a:gd name="connsiteX336" fmla="*/ 17145 w 1969770"/>
                  <a:gd name="connsiteY336" fmla="*/ 837248 h 1744979"/>
                  <a:gd name="connsiteX337" fmla="*/ 20003 w 1969770"/>
                  <a:gd name="connsiteY337" fmla="*/ 848678 h 1744979"/>
                  <a:gd name="connsiteX338" fmla="*/ 22860 w 1969770"/>
                  <a:gd name="connsiteY338" fmla="*/ 860108 h 1744979"/>
                  <a:gd name="connsiteX339" fmla="*/ 26670 w 1969770"/>
                  <a:gd name="connsiteY339" fmla="*/ 871538 h 1744979"/>
                  <a:gd name="connsiteX340" fmla="*/ 30480 w 1969770"/>
                  <a:gd name="connsiteY340" fmla="*/ 882015 h 1744979"/>
                  <a:gd name="connsiteX341" fmla="*/ 35243 w 1969770"/>
                  <a:gd name="connsiteY341" fmla="*/ 892493 h 1744979"/>
                  <a:gd name="connsiteX342" fmla="*/ 40005 w 1969770"/>
                  <a:gd name="connsiteY342" fmla="*/ 902970 h 1744979"/>
                  <a:gd name="connsiteX343" fmla="*/ 45720 w 1969770"/>
                  <a:gd name="connsiteY343" fmla="*/ 913448 h 1744979"/>
                  <a:gd name="connsiteX344" fmla="*/ 51435 w 1969770"/>
                  <a:gd name="connsiteY344" fmla="*/ 922973 h 1744979"/>
                  <a:gd name="connsiteX345" fmla="*/ 58103 w 1969770"/>
                  <a:gd name="connsiteY345" fmla="*/ 932498 h 1744979"/>
                  <a:gd name="connsiteX346" fmla="*/ 64770 w 1969770"/>
                  <a:gd name="connsiteY346" fmla="*/ 942023 h 1744979"/>
                  <a:gd name="connsiteX347" fmla="*/ 71438 w 1969770"/>
                  <a:gd name="connsiteY347" fmla="*/ 951548 h 1744979"/>
                  <a:gd name="connsiteX348" fmla="*/ 79058 w 1969770"/>
                  <a:gd name="connsiteY348" fmla="*/ 961073 h 1744979"/>
                  <a:gd name="connsiteX349" fmla="*/ 86678 w 1969770"/>
                  <a:gd name="connsiteY349" fmla="*/ 970598 h 1744979"/>
                  <a:gd name="connsiteX350" fmla="*/ 94298 w 1969770"/>
                  <a:gd name="connsiteY350" fmla="*/ 981075 h 1744979"/>
                  <a:gd name="connsiteX351" fmla="*/ 111443 w 1969770"/>
                  <a:gd name="connsiteY351" fmla="*/ 1001078 h 1744979"/>
                  <a:gd name="connsiteX352" fmla="*/ 129540 w 1969770"/>
                  <a:gd name="connsiteY352" fmla="*/ 1022985 h 1744979"/>
                  <a:gd name="connsiteX353" fmla="*/ 139065 w 1969770"/>
                  <a:gd name="connsiteY353" fmla="*/ 1034415 h 1744979"/>
                  <a:gd name="connsiteX354" fmla="*/ 148590 w 1969770"/>
                  <a:gd name="connsiteY354" fmla="*/ 1045845 h 1744979"/>
                  <a:gd name="connsiteX355" fmla="*/ 158115 w 1969770"/>
                  <a:gd name="connsiteY355" fmla="*/ 1058228 h 1744979"/>
                  <a:gd name="connsiteX356" fmla="*/ 167640 w 1969770"/>
                  <a:gd name="connsiteY356" fmla="*/ 1071563 h 1744979"/>
                  <a:gd name="connsiteX357" fmla="*/ 166688 w 1969770"/>
                  <a:gd name="connsiteY357" fmla="*/ 1062038 h 1744979"/>
                  <a:gd name="connsiteX358" fmla="*/ 166688 w 1969770"/>
                  <a:gd name="connsiteY358" fmla="*/ 1052513 h 1744979"/>
                  <a:gd name="connsiteX359" fmla="*/ 166688 w 1969770"/>
                  <a:gd name="connsiteY359" fmla="*/ 1042988 h 1744979"/>
                  <a:gd name="connsiteX360" fmla="*/ 167640 w 1969770"/>
                  <a:gd name="connsiteY360" fmla="*/ 1033463 h 1744979"/>
                  <a:gd name="connsiteX361" fmla="*/ 169545 w 1969770"/>
                  <a:gd name="connsiteY361" fmla="*/ 1023938 h 1744979"/>
                  <a:gd name="connsiteX362" fmla="*/ 171450 w 1969770"/>
                  <a:gd name="connsiteY362" fmla="*/ 1014413 h 1744979"/>
                  <a:gd name="connsiteX363" fmla="*/ 174308 w 1969770"/>
                  <a:gd name="connsiteY363" fmla="*/ 1004888 h 1744979"/>
                  <a:gd name="connsiteX364" fmla="*/ 177165 w 1969770"/>
                  <a:gd name="connsiteY364" fmla="*/ 994410 h 1744979"/>
                  <a:gd name="connsiteX365" fmla="*/ 180023 w 1969770"/>
                  <a:gd name="connsiteY365" fmla="*/ 983933 h 1744979"/>
                  <a:gd name="connsiteX366" fmla="*/ 183833 w 1969770"/>
                  <a:gd name="connsiteY366" fmla="*/ 973455 h 1744979"/>
                  <a:gd name="connsiteX367" fmla="*/ 187643 w 1969770"/>
                  <a:gd name="connsiteY367" fmla="*/ 962978 h 1744979"/>
                  <a:gd name="connsiteX368" fmla="*/ 191453 w 1969770"/>
                  <a:gd name="connsiteY368" fmla="*/ 952500 h 1744979"/>
                  <a:gd name="connsiteX369" fmla="*/ 200025 w 1969770"/>
                  <a:gd name="connsiteY369" fmla="*/ 931545 h 1744979"/>
                  <a:gd name="connsiteX370" fmla="*/ 208598 w 1969770"/>
                  <a:gd name="connsiteY370" fmla="*/ 908685 h 1744979"/>
                  <a:gd name="connsiteX371" fmla="*/ 218123 w 1969770"/>
                  <a:gd name="connsiteY371" fmla="*/ 885825 h 1744979"/>
                  <a:gd name="connsiteX372" fmla="*/ 226695 w 1969770"/>
                  <a:gd name="connsiteY372" fmla="*/ 862965 h 1744979"/>
                  <a:gd name="connsiteX373" fmla="*/ 230505 w 1969770"/>
                  <a:gd name="connsiteY373" fmla="*/ 851535 h 1744979"/>
                  <a:gd name="connsiteX374" fmla="*/ 234315 w 1969770"/>
                  <a:gd name="connsiteY374" fmla="*/ 840105 h 1744979"/>
                  <a:gd name="connsiteX375" fmla="*/ 238125 w 1969770"/>
                  <a:gd name="connsiteY375" fmla="*/ 827723 h 1744979"/>
                  <a:gd name="connsiteX376" fmla="*/ 240983 w 1969770"/>
                  <a:gd name="connsiteY376" fmla="*/ 815340 h 1744979"/>
                  <a:gd name="connsiteX377" fmla="*/ 243840 w 1969770"/>
                  <a:gd name="connsiteY377" fmla="*/ 802958 h 1744979"/>
                  <a:gd name="connsiteX378" fmla="*/ 246698 w 1969770"/>
                  <a:gd name="connsiteY378" fmla="*/ 790575 h 1744979"/>
                  <a:gd name="connsiteX379" fmla="*/ 248603 w 1969770"/>
                  <a:gd name="connsiteY379" fmla="*/ 777240 h 1744979"/>
                  <a:gd name="connsiteX380" fmla="*/ 250508 w 1969770"/>
                  <a:gd name="connsiteY380" fmla="*/ 764858 h 1744979"/>
                  <a:gd name="connsiteX381" fmla="*/ 251460 w 1969770"/>
                  <a:gd name="connsiteY381" fmla="*/ 751523 h 1744979"/>
                  <a:gd name="connsiteX382" fmla="*/ 252413 w 1969770"/>
                  <a:gd name="connsiteY382" fmla="*/ 738188 h 1744979"/>
                  <a:gd name="connsiteX383" fmla="*/ 252413 w 1969770"/>
                  <a:gd name="connsiteY383" fmla="*/ 724853 h 1744979"/>
                  <a:gd name="connsiteX384" fmla="*/ 251460 w 1969770"/>
                  <a:gd name="connsiteY384" fmla="*/ 711518 h 1744979"/>
                  <a:gd name="connsiteX385" fmla="*/ 251460 w 1969770"/>
                  <a:gd name="connsiteY385" fmla="*/ 711518 h 1744979"/>
                  <a:gd name="connsiteX386" fmla="*/ 267653 w 1969770"/>
                  <a:gd name="connsiteY386" fmla="*/ 1283018 h 1744979"/>
                  <a:gd name="connsiteX387" fmla="*/ 264795 w 1969770"/>
                  <a:gd name="connsiteY387" fmla="*/ 1272540 h 1744979"/>
                  <a:gd name="connsiteX388" fmla="*/ 261938 w 1969770"/>
                  <a:gd name="connsiteY388" fmla="*/ 1262063 h 1744979"/>
                  <a:gd name="connsiteX389" fmla="*/ 260033 w 1969770"/>
                  <a:gd name="connsiteY389" fmla="*/ 1251585 h 1744979"/>
                  <a:gd name="connsiteX390" fmla="*/ 259080 w 1969770"/>
                  <a:gd name="connsiteY390" fmla="*/ 1241108 h 1744979"/>
                  <a:gd name="connsiteX391" fmla="*/ 258128 w 1969770"/>
                  <a:gd name="connsiteY391" fmla="*/ 1230630 h 1744979"/>
                  <a:gd name="connsiteX392" fmla="*/ 257175 w 1969770"/>
                  <a:gd name="connsiteY392" fmla="*/ 1219200 h 1744979"/>
                  <a:gd name="connsiteX393" fmla="*/ 257175 w 1969770"/>
                  <a:gd name="connsiteY393" fmla="*/ 1207770 h 1744979"/>
                  <a:gd name="connsiteX394" fmla="*/ 257175 w 1969770"/>
                  <a:gd name="connsiteY394" fmla="*/ 1194435 h 1744979"/>
                  <a:gd name="connsiteX395" fmla="*/ 257175 w 1969770"/>
                  <a:gd name="connsiteY395" fmla="*/ 1183005 h 1744979"/>
                  <a:gd name="connsiteX396" fmla="*/ 258128 w 1969770"/>
                  <a:gd name="connsiteY396" fmla="*/ 1171575 h 1744979"/>
                  <a:gd name="connsiteX397" fmla="*/ 259080 w 1969770"/>
                  <a:gd name="connsiteY397" fmla="*/ 1159193 h 1744979"/>
                  <a:gd name="connsiteX398" fmla="*/ 260033 w 1969770"/>
                  <a:gd name="connsiteY398" fmla="*/ 1146810 h 1744979"/>
                  <a:gd name="connsiteX399" fmla="*/ 261938 w 1969770"/>
                  <a:gd name="connsiteY399" fmla="*/ 1122045 h 1744979"/>
                  <a:gd name="connsiteX400" fmla="*/ 263843 w 1969770"/>
                  <a:gd name="connsiteY400" fmla="*/ 1097280 h 1744979"/>
                  <a:gd name="connsiteX401" fmla="*/ 265748 w 1969770"/>
                  <a:gd name="connsiteY401" fmla="*/ 1071563 h 1744979"/>
                  <a:gd name="connsiteX402" fmla="*/ 267653 w 1969770"/>
                  <a:gd name="connsiteY402" fmla="*/ 1045845 h 1744979"/>
                  <a:gd name="connsiteX403" fmla="*/ 267653 w 1969770"/>
                  <a:gd name="connsiteY403" fmla="*/ 1032510 h 1744979"/>
                  <a:gd name="connsiteX404" fmla="*/ 267653 w 1969770"/>
                  <a:gd name="connsiteY404" fmla="*/ 1020128 h 1744979"/>
                  <a:gd name="connsiteX405" fmla="*/ 267653 w 1969770"/>
                  <a:gd name="connsiteY405" fmla="*/ 1007745 h 1744979"/>
                  <a:gd name="connsiteX406" fmla="*/ 267653 w 1969770"/>
                  <a:gd name="connsiteY406" fmla="*/ 995363 h 1744979"/>
                  <a:gd name="connsiteX407" fmla="*/ 266700 w 1969770"/>
                  <a:gd name="connsiteY407" fmla="*/ 982980 h 1744979"/>
                  <a:gd name="connsiteX408" fmla="*/ 265748 w 1969770"/>
                  <a:gd name="connsiteY408" fmla="*/ 970598 h 1744979"/>
                  <a:gd name="connsiteX409" fmla="*/ 263843 w 1969770"/>
                  <a:gd name="connsiteY409" fmla="*/ 958215 h 1744979"/>
                  <a:gd name="connsiteX410" fmla="*/ 260985 w 1969770"/>
                  <a:gd name="connsiteY410" fmla="*/ 945833 h 1744979"/>
                  <a:gd name="connsiteX411" fmla="*/ 257175 w 1969770"/>
                  <a:gd name="connsiteY411" fmla="*/ 933450 h 1744979"/>
                  <a:gd name="connsiteX412" fmla="*/ 253365 w 1969770"/>
                  <a:gd name="connsiteY412" fmla="*/ 922020 h 1744979"/>
                  <a:gd name="connsiteX413" fmla="*/ 249555 w 1969770"/>
                  <a:gd name="connsiteY413" fmla="*/ 910590 h 1744979"/>
                  <a:gd name="connsiteX414" fmla="*/ 244793 w 1969770"/>
                  <a:gd name="connsiteY414" fmla="*/ 899160 h 1744979"/>
                  <a:gd name="connsiteX415" fmla="*/ 239078 w 1969770"/>
                  <a:gd name="connsiteY415" fmla="*/ 917258 h 1744979"/>
                  <a:gd name="connsiteX416" fmla="*/ 234315 w 1969770"/>
                  <a:gd name="connsiteY416" fmla="*/ 933450 h 1744979"/>
                  <a:gd name="connsiteX417" fmla="*/ 228600 w 1969770"/>
                  <a:gd name="connsiteY417" fmla="*/ 950595 h 1744979"/>
                  <a:gd name="connsiteX418" fmla="*/ 223838 w 1969770"/>
                  <a:gd name="connsiteY418" fmla="*/ 967740 h 1744979"/>
                  <a:gd name="connsiteX419" fmla="*/ 219075 w 1969770"/>
                  <a:gd name="connsiteY419" fmla="*/ 984885 h 1744979"/>
                  <a:gd name="connsiteX420" fmla="*/ 214313 w 1969770"/>
                  <a:gd name="connsiteY420" fmla="*/ 1002030 h 1744979"/>
                  <a:gd name="connsiteX421" fmla="*/ 210503 w 1969770"/>
                  <a:gd name="connsiteY421" fmla="*/ 1019175 h 1744979"/>
                  <a:gd name="connsiteX422" fmla="*/ 207645 w 1969770"/>
                  <a:gd name="connsiteY422" fmla="*/ 1036320 h 1744979"/>
                  <a:gd name="connsiteX423" fmla="*/ 206693 w 1969770"/>
                  <a:gd name="connsiteY423" fmla="*/ 1044893 h 1744979"/>
                  <a:gd name="connsiteX424" fmla="*/ 205740 w 1969770"/>
                  <a:gd name="connsiteY424" fmla="*/ 1053465 h 1744979"/>
                  <a:gd name="connsiteX425" fmla="*/ 204788 w 1969770"/>
                  <a:gd name="connsiteY425" fmla="*/ 1062038 h 1744979"/>
                  <a:gd name="connsiteX426" fmla="*/ 203835 w 1969770"/>
                  <a:gd name="connsiteY426" fmla="*/ 1071563 h 1744979"/>
                  <a:gd name="connsiteX427" fmla="*/ 203835 w 1969770"/>
                  <a:gd name="connsiteY427" fmla="*/ 1080135 h 1744979"/>
                  <a:gd name="connsiteX428" fmla="*/ 203835 w 1969770"/>
                  <a:gd name="connsiteY428" fmla="*/ 1090613 h 1744979"/>
                  <a:gd name="connsiteX429" fmla="*/ 203835 w 1969770"/>
                  <a:gd name="connsiteY429" fmla="*/ 1100138 h 1744979"/>
                  <a:gd name="connsiteX430" fmla="*/ 203835 w 1969770"/>
                  <a:gd name="connsiteY430" fmla="*/ 1109663 h 1744979"/>
                  <a:gd name="connsiteX431" fmla="*/ 204788 w 1969770"/>
                  <a:gd name="connsiteY431" fmla="*/ 1120140 h 1744979"/>
                  <a:gd name="connsiteX432" fmla="*/ 205740 w 1969770"/>
                  <a:gd name="connsiteY432" fmla="*/ 1130618 h 1744979"/>
                  <a:gd name="connsiteX433" fmla="*/ 206693 w 1969770"/>
                  <a:gd name="connsiteY433" fmla="*/ 1141095 h 1744979"/>
                  <a:gd name="connsiteX434" fmla="*/ 208598 w 1969770"/>
                  <a:gd name="connsiteY434" fmla="*/ 1151573 h 1744979"/>
                  <a:gd name="connsiteX435" fmla="*/ 210503 w 1969770"/>
                  <a:gd name="connsiteY435" fmla="*/ 1162050 h 1744979"/>
                  <a:gd name="connsiteX436" fmla="*/ 213360 w 1969770"/>
                  <a:gd name="connsiteY436" fmla="*/ 1173480 h 1744979"/>
                  <a:gd name="connsiteX437" fmla="*/ 216218 w 1969770"/>
                  <a:gd name="connsiteY437" fmla="*/ 1184910 h 1744979"/>
                  <a:gd name="connsiteX438" fmla="*/ 219075 w 1969770"/>
                  <a:gd name="connsiteY438" fmla="*/ 1196340 h 1744979"/>
                  <a:gd name="connsiteX439" fmla="*/ 215265 w 1969770"/>
                  <a:gd name="connsiteY439" fmla="*/ 1189673 h 1744979"/>
                  <a:gd name="connsiteX440" fmla="*/ 209550 w 1969770"/>
                  <a:gd name="connsiteY440" fmla="*/ 1180148 h 1744979"/>
                  <a:gd name="connsiteX441" fmla="*/ 201930 w 1969770"/>
                  <a:gd name="connsiteY441" fmla="*/ 1167765 h 1744979"/>
                  <a:gd name="connsiteX442" fmla="*/ 192405 w 1969770"/>
                  <a:gd name="connsiteY442" fmla="*/ 1153478 h 1744979"/>
                  <a:gd name="connsiteX443" fmla="*/ 181928 w 1969770"/>
                  <a:gd name="connsiteY443" fmla="*/ 1137285 h 1744979"/>
                  <a:gd name="connsiteX444" fmla="*/ 169545 w 1969770"/>
                  <a:gd name="connsiteY444" fmla="*/ 1119188 h 1744979"/>
                  <a:gd name="connsiteX445" fmla="*/ 162878 w 1969770"/>
                  <a:gd name="connsiteY445" fmla="*/ 1110615 h 1744979"/>
                  <a:gd name="connsiteX446" fmla="*/ 155258 w 1969770"/>
                  <a:gd name="connsiteY446" fmla="*/ 1101090 h 1744979"/>
                  <a:gd name="connsiteX447" fmla="*/ 147638 w 1969770"/>
                  <a:gd name="connsiteY447" fmla="*/ 1091565 h 1744979"/>
                  <a:gd name="connsiteX448" fmla="*/ 139065 w 1969770"/>
                  <a:gd name="connsiteY448" fmla="*/ 1082040 h 1744979"/>
                  <a:gd name="connsiteX449" fmla="*/ 120015 w 1969770"/>
                  <a:gd name="connsiteY449" fmla="*/ 1059180 h 1744979"/>
                  <a:gd name="connsiteX450" fmla="*/ 100013 w 1969770"/>
                  <a:gd name="connsiteY450" fmla="*/ 1036320 h 1744979"/>
                  <a:gd name="connsiteX451" fmla="*/ 80010 w 1969770"/>
                  <a:gd name="connsiteY451" fmla="*/ 1013460 h 1744979"/>
                  <a:gd name="connsiteX452" fmla="*/ 60960 w 1969770"/>
                  <a:gd name="connsiteY452" fmla="*/ 990600 h 1744979"/>
                  <a:gd name="connsiteX453" fmla="*/ 51435 w 1969770"/>
                  <a:gd name="connsiteY453" fmla="*/ 979170 h 1744979"/>
                  <a:gd name="connsiteX454" fmla="*/ 41910 w 1969770"/>
                  <a:gd name="connsiteY454" fmla="*/ 967740 h 1744979"/>
                  <a:gd name="connsiteX455" fmla="*/ 33338 w 1969770"/>
                  <a:gd name="connsiteY455" fmla="*/ 956310 h 1744979"/>
                  <a:gd name="connsiteX456" fmla="*/ 24765 w 1969770"/>
                  <a:gd name="connsiteY456" fmla="*/ 944880 h 1744979"/>
                  <a:gd name="connsiteX457" fmla="*/ 19050 w 1969770"/>
                  <a:gd name="connsiteY457" fmla="*/ 938213 h 1744979"/>
                  <a:gd name="connsiteX458" fmla="*/ 12383 w 1969770"/>
                  <a:gd name="connsiteY458" fmla="*/ 927735 h 1744979"/>
                  <a:gd name="connsiteX459" fmla="*/ 5715 w 1969770"/>
                  <a:gd name="connsiteY459" fmla="*/ 917258 h 1744979"/>
                  <a:gd name="connsiteX460" fmla="*/ 0 w 1969770"/>
                  <a:gd name="connsiteY460" fmla="*/ 907733 h 1744979"/>
                  <a:gd name="connsiteX461" fmla="*/ 0 w 1969770"/>
                  <a:gd name="connsiteY461" fmla="*/ 931545 h 1744979"/>
                  <a:gd name="connsiteX462" fmla="*/ 1905 w 1969770"/>
                  <a:gd name="connsiteY462" fmla="*/ 954405 h 1744979"/>
                  <a:gd name="connsiteX463" fmla="*/ 4763 w 1969770"/>
                  <a:gd name="connsiteY463" fmla="*/ 976313 h 1744979"/>
                  <a:gd name="connsiteX464" fmla="*/ 8573 w 1969770"/>
                  <a:gd name="connsiteY464" fmla="*/ 996315 h 1744979"/>
                  <a:gd name="connsiteX465" fmla="*/ 14288 w 1969770"/>
                  <a:gd name="connsiteY465" fmla="*/ 1015365 h 1744979"/>
                  <a:gd name="connsiteX466" fmla="*/ 20955 w 1969770"/>
                  <a:gd name="connsiteY466" fmla="*/ 1034415 h 1744979"/>
                  <a:gd name="connsiteX467" fmla="*/ 28575 w 1969770"/>
                  <a:gd name="connsiteY467" fmla="*/ 1051560 h 1744979"/>
                  <a:gd name="connsiteX468" fmla="*/ 37148 w 1969770"/>
                  <a:gd name="connsiteY468" fmla="*/ 1067753 h 1744979"/>
                  <a:gd name="connsiteX469" fmla="*/ 45720 w 1969770"/>
                  <a:gd name="connsiteY469" fmla="*/ 1083945 h 1744979"/>
                  <a:gd name="connsiteX470" fmla="*/ 55245 w 1969770"/>
                  <a:gd name="connsiteY470" fmla="*/ 1099185 h 1744979"/>
                  <a:gd name="connsiteX471" fmla="*/ 65723 w 1969770"/>
                  <a:gd name="connsiteY471" fmla="*/ 1113473 h 1744979"/>
                  <a:gd name="connsiteX472" fmla="*/ 76200 w 1969770"/>
                  <a:gd name="connsiteY472" fmla="*/ 1126808 h 1744979"/>
                  <a:gd name="connsiteX473" fmla="*/ 87630 w 1969770"/>
                  <a:gd name="connsiteY473" fmla="*/ 1140143 h 1744979"/>
                  <a:gd name="connsiteX474" fmla="*/ 99060 w 1969770"/>
                  <a:gd name="connsiteY474" fmla="*/ 1152525 h 1744979"/>
                  <a:gd name="connsiteX475" fmla="*/ 111443 w 1969770"/>
                  <a:gd name="connsiteY475" fmla="*/ 1163955 h 1744979"/>
                  <a:gd name="connsiteX476" fmla="*/ 123825 w 1969770"/>
                  <a:gd name="connsiteY476" fmla="*/ 1174433 h 1744979"/>
                  <a:gd name="connsiteX477" fmla="*/ 136208 w 1969770"/>
                  <a:gd name="connsiteY477" fmla="*/ 1184910 h 1744979"/>
                  <a:gd name="connsiteX478" fmla="*/ 148590 w 1969770"/>
                  <a:gd name="connsiteY478" fmla="*/ 1194435 h 1744979"/>
                  <a:gd name="connsiteX479" fmla="*/ 160973 w 1969770"/>
                  <a:gd name="connsiteY479" fmla="*/ 1203008 h 1744979"/>
                  <a:gd name="connsiteX480" fmla="*/ 173355 w 1969770"/>
                  <a:gd name="connsiteY480" fmla="*/ 1211580 h 1744979"/>
                  <a:gd name="connsiteX481" fmla="*/ 196215 w 1969770"/>
                  <a:gd name="connsiteY481" fmla="*/ 1226820 h 1744979"/>
                  <a:gd name="connsiteX482" fmla="*/ 217170 w 1969770"/>
                  <a:gd name="connsiteY482" fmla="*/ 1241108 h 1744979"/>
                  <a:gd name="connsiteX483" fmla="*/ 226695 w 1969770"/>
                  <a:gd name="connsiteY483" fmla="*/ 1247775 h 1744979"/>
                  <a:gd name="connsiteX484" fmla="*/ 235268 w 1969770"/>
                  <a:gd name="connsiteY484" fmla="*/ 1253490 h 1744979"/>
                  <a:gd name="connsiteX485" fmla="*/ 242888 w 1969770"/>
                  <a:gd name="connsiteY485" fmla="*/ 1259205 h 1744979"/>
                  <a:gd name="connsiteX486" fmla="*/ 249555 w 1969770"/>
                  <a:gd name="connsiteY486" fmla="*/ 1264920 h 1744979"/>
                  <a:gd name="connsiteX487" fmla="*/ 256223 w 1969770"/>
                  <a:gd name="connsiteY487" fmla="*/ 1270635 h 1744979"/>
                  <a:gd name="connsiteX488" fmla="*/ 261938 w 1969770"/>
                  <a:gd name="connsiteY488" fmla="*/ 1275398 h 1744979"/>
                  <a:gd name="connsiteX489" fmla="*/ 265748 w 1969770"/>
                  <a:gd name="connsiteY489" fmla="*/ 1280160 h 1744979"/>
                  <a:gd name="connsiteX490" fmla="*/ 267653 w 1969770"/>
                  <a:gd name="connsiteY490" fmla="*/ 1283018 h 1744979"/>
                  <a:gd name="connsiteX491" fmla="*/ 267653 w 1969770"/>
                  <a:gd name="connsiteY491" fmla="*/ 1283018 h 1744979"/>
                  <a:gd name="connsiteX492" fmla="*/ 143828 w 1969770"/>
                  <a:gd name="connsiteY492" fmla="*/ 656273 h 1744979"/>
                  <a:gd name="connsiteX493" fmla="*/ 148590 w 1969770"/>
                  <a:gd name="connsiteY493" fmla="*/ 642938 h 1744979"/>
                  <a:gd name="connsiteX494" fmla="*/ 154305 w 1969770"/>
                  <a:gd name="connsiteY494" fmla="*/ 630555 h 1744979"/>
                  <a:gd name="connsiteX495" fmla="*/ 160020 w 1969770"/>
                  <a:gd name="connsiteY495" fmla="*/ 618173 h 1744979"/>
                  <a:gd name="connsiteX496" fmla="*/ 166688 w 1969770"/>
                  <a:gd name="connsiteY496" fmla="*/ 607695 h 1744979"/>
                  <a:gd name="connsiteX497" fmla="*/ 174308 w 1969770"/>
                  <a:gd name="connsiteY497" fmla="*/ 597218 h 1744979"/>
                  <a:gd name="connsiteX498" fmla="*/ 181928 w 1969770"/>
                  <a:gd name="connsiteY498" fmla="*/ 586740 h 1744979"/>
                  <a:gd name="connsiteX499" fmla="*/ 189548 w 1969770"/>
                  <a:gd name="connsiteY499" fmla="*/ 577215 h 1744979"/>
                  <a:gd name="connsiteX500" fmla="*/ 198120 w 1969770"/>
                  <a:gd name="connsiteY500" fmla="*/ 567690 h 1744979"/>
                  <a:gd name="connsiteX501" fmla="*/ 206693 w 1969770"/>
                  <a:gd name="connsiteY501" fmla="*/ 559118 h 1744979"/>
                  <a:gd name="connsiteX502" fmla="*/ 216218 w 1969770"/>
                  <a:gd name="connsiteY502" fmla="*/ 550545 h 1744979"/>
                  <a:gd name="connsiteX503" fmla="*/ 225743 w 1969770"/>
                  <a:gd name="connsiteY503" fmla="*/ 541973 h 1744979"/>
                  <a:gd name="connsiteX504" fmla="*/ 235268 w 1969770"/>
                  <a:gd name="connsiteY504" fmla="*/ 534353 h 1744979"/>
                  <a:gd name="connsiteX505" fmla="*/ 255270 w 1969770"/>
                  <a:gd name="connsiteY505" fmla="*/ 518160 h 1744979"/>
                  <a:gd name="connsiteX506" fmla="*/ 275273 w 1969770"/>
                  <a:gd name="connsiteY506" fmla="*/ 502920 h 1744979"/>
                  <a:gd name="connsiteX507" fmla="*/ 285750 w 1969770"/>
                  <a:gd name="connsiteY507" fmla="*/ 495300 h 1744979"/>
                  <a:gd name="connsiteX508" fmla="*/ 296228 w 1969770"/>
                  <a:gd name="connsiteY508" fmla="*/ 487680 h 1744979"/>
                  <a:gd name="connsiteX509" fmla="*/ 305753 w 1969770"/>
                  <a:gd name="connsiteY509" fmla="*/ 480060 h 1744979"/>
                  <a:gd name="connsiteX510" fmla="*/ 315278 w 1969770"/>
                  <a:gd name="connsiteY510" fmla="*/ 471488 h 1744979"/>
                  <a:gd name="connsiteX511" fmla="*/ 324803 w 1969770"/>
                  <a:gd name="connsiteY511" fmla="*/ 462915 h 1744979"/>
                  <a:gd name="connsiteX512" fmla="*/ 334328 w 1969770"/>
                  <a:gd name="connsiteY512" fmla="*/ 454343 h 1744979"/>
                  <a:gd name="connsiteX513" fmla="*/ 343853 w 1969770"/>
                  <a:gd name="connsiteY513" fmla="*/ 445770 h 1744979"/>
                  <a:gd name="connsiteX514" fmla="*/ 352425 w 1969770"/>
                  <a:gd name="connsiteY514" fmla="*/ 436245 h 1744979"/>
                  <a:gd name="connsiteX515" fmla="*/ 360045 w 1969770"/>
                  <a:gd name="connsiteY515" fmla="*/ 426720 h 1744979"/>
                  <a:gd name="connsiteX516" fmla="*/ 367665 w 1969770"/>
                  <a:gd name="connsiteY516" fmla="*/ 416243 h 1744979"/>
                  <a:gd name="connsiteX517" fmla="*/ 375285 w 1969770"/>
                  <a:gd name="connsiteY517" fmla="*/ 405765 h 1744979"/>
                  <a:gd name="connsiteX518" fmla="*/ 381953 w 1969770"/>
                  <a:gd name="connsiteY518" fmla="*/ 394335 h 1744979"/>
                  <a:gd name="connsiteX519" fmla="*/ 388620 w 1969770"/>
                  <a:gd name="connsiteY519" fmla="*/ 381953 h 1744979"/>
                  <a:gd name="connsiteX520" fmla="*/ 394335 w 1969770"/>
                  <a:gd name="connsiteY520" fmla="*/ 369570 h 1744979"/>
                  <a:gd name="connsiteX521" fmla="*/ 399098 w 1969770"/>
                  <a:gd name="connsiteY521" fmla="*/ 356235 h 1744979"/>
                  <a:gd name="connsiteX522" fmla="*/ 403860 w 1969770"/>
                  <a:gd name="connsiteY522" fmla="*/ 341948 h 1744979"/>
                  <a:gd name="connsiteX523" fmla="*/ 394335 w 1969770"/>
                  <a:gd name="connsiteY523" fmla="*/ 351473 h 1744979"/>
                  <a:gd name="connsiteX524" fmla="*/ 384810 w 1969770"/>
                  <a:gd name="connsiteY524" fmla="*/ 360045 h 1744979"/>
                  <a:gd name="connsiteX525" fmla="*/ 374333 w 1969770"/>
                  <a:gd name="connsiteY525" fmla="*/ 368618 h 1744979"/>
                  <a:gd name="connsiteX526" fmla="*/ 363855 w 1969770"/>
                  <a:gd name="connsiteY526" fmla="*/ 376238 h 1744979"/>
                  <a:gd name="connsiteX527" fmla="*/ 353378 w 1969770"/>
                  <a:gd name="connsiteY527" fmla="*/ 383858 h 1744979"/>
                  <a:gd name="connsiteX528" fmla="*/ 341948 w 1969770"/>
                  <a:gd name="connsiteY528" fmla="*/ 390525 h 1744979"/>
                  <a:gd name="connsiteX529" fmla="*/ 331470 w 1969770"/>
                  <a:gd name="connsiteY529" fmla="*/ 397193 h 1744979"/>
                  <a:gd name="connsiteX530" fmla="*/ 320040 w 1969770"/>
                  <a:gd name="connsiteY530" fmla="*/ 404813 h 1744979"/>
                  <a:gd name="connsiteX531" fmla="*/ 297180 w 1969770"/>
                  <a:gd name="connsiteY531" fmla="*/ 419100 h 1744979"/>
                  <a:gd name="connsiteX532" fmla="*/ 274320 w 1969770"/>
                  <a:gd name="connsiteY532" fmla="*/ 434340 h 1744979"/>
                  <a:gd name="connsiteX533" fmla="*/ 262890 w 1969770"/>
                  <a:gd name="connsiteY533" fmla="*/ 441960 h 1744979"/>
                  <a:gd name="connsiteX534" fmla="*/ 252413 w 1969770"/>
                  <a:gd name="connsiteY534" fmla="*/ 450533 h 1744979"/>
                  <a:gd name="connsiteX535" fmla="*/ 241935 w 1969770"/>
                  <a:gd name="connsiteY535" fmla="*/ 460058 h 1744979"/>
                  <a:gd name="connsiteX536" fmla="*/ 231458 w 1969770"/>
                  <a:gd name="connsiteY536" fmla="*/ 469583 h 1744979"/>
                  <a:gd name="connsiteX537" fmla="*/ 221933 w 1969770"/>
                  <a:gd name="connsiteY537" fmla="*/ 479108 h 1744979"/>
                  <a:gd name="connsiteX538" fmla="*/ 213360 w 1969770"/>
                  <a:gd name="connsiteY538" fmla="*/ 488633 h 1744979"/>
                  <a:gd name="connsiteX539" fmla="*/ 205740 w 1969770"/>
                  <a:gd name="connsiteY539" fmla="*/ 498158 h 1744979"/>
                  <a:gd name="connsiteX540" fmla="*/ 199073 w 1969770"/>
                  <a:gd name="connsiteY540" fmla="*/ 508635 h 1744979"/>
                  <a:gd name="connsiteX541" fmla="*/ 192405 w 1969770"/>
                  <a:gd name="connsiteY541" fmla="*/ 519113 h 1744979"/>
                  <a:gd name="connsiteX542" fmla="*/ 186690 w 1969770"/>
                  <a:gd name="connsiteY542" fmla="*/ 529590 h 1744979"/>
                  <a:gd name="connsiteX543" fmla="*/ 180975 w 1969770"/>
                  <a:gd name="connsiteY543" fmla="*/ 540068 h 1744979"/>
                  <a:gd name="connsiteX544" fmla="*/ 175260 w 1969770"/>
                  <a:gd name="connsiteY544" fmla="*/ 551498 h 1744979"/>
                  <a:gd name="connsiteX545" fmla="*/ 180023 w 1969770"/>
                  <a:gd name="connsiteY545" fmla="*/ 534353 h 1744979"/>
                  <a:gd name="connsiteX546" fmla="*/ 184785 w 1969770"/>
                  <a:gd name="connsiteY546" fmla="*/ 517208 h 1744979"/>
                  <a:gd name="connsiteX547" fmla="*/ 188595 w 1969770"/>
                  <a:gd name="connsiteY547" fmla="*/ 500063 h 1744979"/>
                  <a:gd name="connsiteX548" fmla="*/ 192405 w 1969770"/>
                  <a:gd name="connsiteY548" fmla="*/ 482918 h 1744979"/>
                  <a:gd name="connsiteX549" fmla="*/ 195263 w 1969770"/>
                  <a:gd name="connsiteY549" fmla="*/ 465773 h 1744979"/>
                  <a:gd name="connsiteX550" fmla="*/ 198120 w 1969770"/>
                  <a:gd name="connsiteY550" fmla="*/ 449580 h 1744979"/>
                  <a:gd name="connsiteX551" fmla="*/ 199073 w 1969770"/>
                  <a:gd name="connsiteY551" fmla="*/ 441960 h 1744979"/>
                  <a:gd name="connsiteX552" fmla="*/ 200025 w 1969770"/>
                  <a:gd name="connsiteY552" fmla="*/ 434340 h 1744979"/>
                  <a:gd name="connsiteX553" fmla="*/ 200025 w 1969770"/>
                  <a:gd name="connsiteY553" fmla="*/ 426720 h 1744979"/>
                  <a:gd name="connsiteX554" fmla="*/ 200025 w 1969770"/>
                  <a:gd name="connsiteY554" fmla="*/ 419100 h 1744979"/>
                  <a:gd name="connsiteX555" fmla="*/ 202883 w 1969770"/>
                  <a:gd name="connsiteY555" fmla="*/ 398145 h 1744979"/>
                  <a:gd name="connsiteX556" fmla="*/ 204788 w 1969770"/>
                  <a:gd name="connsiteY556" fmla="*/ 382905 h 1744979"/>
                  <a:gd name="connsiteX557" fmla="*/ 206693 w 1969770"/>
                  <a:gd name="connsiteY557" fmla="*/ 370523 h 1744979"/>
                  <a:gd name="connsiteX558" fmla="*/ 208598 w 1969770"/>
                  <a:gd name="connsiteY558" fmla="*/ 360045 h 1744979"/>
                  <a:gd name="connsiteX559" fmla="*/ 209550 w 1969770"/>
                  <a:gd name="connsiteY559" fmla="*/ 355283 h 1744979"/>
                  <a:gd name="connsiteX560" fmla="*/ 211455 w 1969770"/>
                  <a:gd name="connsiteY560" fmla="*/ 350520 h 1744979"/>
                  <a:gd name="connsiteX561" fmla="*/ 213360 w 1969770"/>
                  <a:gd name="connsiteY561" fmla="*/ 344805 h 1744979"/>
                  <a:gd name="connsiteX562" fmla="*/ 215265 w 1969770"/>
                  <a:gd name="connsiteY562" fmla="*/ 339090 h 1744979"/>
                  <a:gd name="connsiteX563" fmla="*/ 220980 w 1969770"/>
                  <a:gd name="connsiteY563" fmla="*/ 324803 h 1744979"/>
                  <a:gd name="connsiteX564" fmla="*/ 228600 w 1969770"/>
                  <a:gd name="connsiteY564" fmla="*/ 305753 h 1744979"/>
                  <a:gd name="connsiteX565" fmla="*/ 231458 w 1969770"/>
                  <a:gd name="connsiteY565" fmla="*/ 300038 h 1744979"/>
                  <a:gd name="connsiteX566" fmla="*/ 237173 w 1969770"/>
                  <a:gd name="connsiteY566" fmla="*/ 292418 h 1744979"/>
                  <a:gd name="connsiteX567" fmla="*/ 241935 w 1969770"/>
                  <a:gd name="connsiteY567" fmla="*/ 284798 h 1744979"/>
                  <a:gd name="connsiteX568" fmla="*/ 244793 w 1969770"/>
                  <a:gd name="connsiteY568" fmla="*/ 279083 h 1744979"/>
                  <a:gd name="connsiteX569" fmla="*/ 238125 w 1969770"/>
                  <a:gd name="connsiteY569" fmla="*/ 285750 h 1744979"/>
                  <a:gd name="connsiteX570" fmla="*/ 232410 w 1969770"/>
                  <a:gd name="connsiteY570" fmla="*/ 290513 h 1744979"/>
                  <a:gd name="connsiteX571" fmla="*/ 226695 w 1969770"/>
                  <a:gd name="connsiteY571" fmla="*/ 294323 h 1744979"/>
                  <a:gd name="connsiteX572" fmla="*/ 220980 w 1969770"/>
                  <a:gd name="connsiteY572" fmla="*/ 299085 h 1744979"/>
                  <a:gd name="connsiteX573" fmla="*/ 215265 w 1969770"/>
                  <a:gd name="connsiteY573" fmla="*/ 303848 h 1744979"/>
                  <a:gd name="connsiteX574" fmla="*/ 210503 w 1969770"/>
                  <a:gd name="connsiteY574" fmla="*/ 308610 h 1744979"/>
                  <a:gd name="connsiteX575" fmla="*/ 205740 w 1969770"/>
                  <a:gd name="connsiteY575" fmla="*/ 313373 h 1744979"/>
                  <a:gd name="connsiteX576" fmla="*/ 200978 w 1969770"/>
                  <a:gd name="connsiteY576" fmla="*/ 318135 h 1744979"/>
                  <a:gd name="connsiteX577" fmla="*/ 196215 w 1969770"/>
                  <a:gd name="connsiteY577" fmla="*/ 322898 h 1744979"/>
                  <a:gd name="connsiteX578" fmla="*/ 192405 w 1969770"/>
                  <a:gd name="connsiteY578" fmla="*/ 328613 h 1744979"/>
                  <a:gd name="connsiteX579" fmla="*/ 189548 w 1969770"/>
                  <a:gd name="connsiteY579" fmla="*/ 333375 h 1744979"/>
                  <a:gd name="connsiteX580" fmla="*/ 185738 w 1969770"/>
                  <a:gd name="connsiteY580" fmla="*/ 339090 h 1744979"/>
                  <a:gd name="connsiteX581" fmla="*/ 180975 w 1969770"/>
                  <a:gd name="connsiteY581" fmla="*/ 343853 h 1744979"/>
                  <a:gd name="connsiteX582" fmla="*/ 177165 w 1969770"/>
                  <a:gd name="connsiteY582" fmla="*/ 349568 h 1744979"/>
                  <a:gd name="connsiteX583" fmla="*/ 173355 w 1969770"/>
                  <a:gd name="connsiteY583" fmla="*/ 355283 h 1744979"/>
                  <a:gd name="connsiteX584" fmla="*/ 171450 w 1969770"/>
                  <a:gd name="connsiteY584" fmla="*/ 360045 h 1744979"/>
                  <a:gd name="connsiteX585" fmla="*/ 168593 w 1969770"/>
                  <a:gd name="connsiteY585" fmla="*/ 365760 h 1744979"/>
                  <a:gd name="connsiteX586" fmla="*/ 164783 w 1969770"/>
                  <a:gd name="connsiteY586" fmla="*/ 371475 h 1744979"/>
                  <a:gd name="connsiteX587" fmla="*/ 161925 w 1969770"/>
                  <a:gd name="connsiteY587" fmla="*/ 377190 h 1744979"/>
                  <a:gd name="connsiteX588" fmla="*/ 159068 w 1969770"/>
                  <a:gd name="connsiteY588" fmla="*/ 382905 h 1744979"/>
                  <a:gd name="connsiteX589" fmla="*/ 154305 w 1969770"/>
                  <a:gd name="connsiteY589" fmla="*/ 395288 h 1744979"/>
                  <a:gd name="connsiteX590" fmla="*/ 149543 w 1969770"/>
                  <a:gd name="connsiteY590" fmla="*/ 407670 h 1744979"/>
                  <a:gd name="connsiteX591" fmla="*/ 145733 w 1969770"/>
                  <a:gd name="connsiteY591" fmla="*/ 421005 h 1744979"/>
                  <a:gd name="connsiteX592" fmla="*/ 142875 w 1969770"/>
                  <a:gd name="connsiteY592" fmla="*/ 435293 h 1744979"/>
                  <a:gd name="connsiteX593" fmla="*/ 140018 w 1969770"/>
                  <a:gd name="connsiteY593" fmla="*/ 449580 h 1744979"/>
                  <a:gd name="connsiteX594" fmla="*/ 138113 w 1969770"/>
                  <a:gd name="connsiteY594" fmla="*/ 463868 h 1744979"/>
                  <a:gd name="connsiteX595" fmla="*/ 136208 w 1969770"/>
                  <a:gd name="connsiteY595" fmla="*/ 476250 h 1744979"/>
                  <a:gd name="connsiteX596" fmla="*/ 135255 w 1969770"/>
                  <a:gd name="connsiteY596" fmla="*/ 488633 h 1744979"/>
                  <a:gd name="connsiteX597" fmla="*/ 135255 w 1969770"/>
                  <a:gd name="connsiteY597" fmla="*/ 501015 h 1744979"/>
                  <a:gd name="connsiteX598" fmla="*/ 134303 w 1969770"/>
                  <a:gd name="connsiteY598" fmla="*/ 512445 h 1744979"/>
                  <a:gd name="connsiteX599" fmla="*/ 134303 w 1969770"/>
                  <a:gd name="connsiteY599" fmla="*/ 523875 h 1744979"/>
                  <a:gd name="connsiteX600" fmla="*/ 134303 w 1969770"/>
                  <a:gd name="connsiteY600" fmla="*/ 535305 h 1744979"/>
                  <a:gd name="connsiteX601" fmla="*/ 134303 w 1969770"/>
                  <a:gd name="connsiteY601" fmla="*/ 546735 h 1744979"/>
                  <a:gd name="connsiteX602" fmla="*/ 135255 w 1969770"/>
                  <a:gd name="connsiteY602" fmla="*/ 558165 h 1744979"/>
                  <a:gd name="connsiteX603" fmla="*/ 136208 w 1969770"/>
                  <a:gd name="connsiteY603" fmla="*/ 581025 h 1744979"/>
                  <a:gd name="connsiteX604" fmla="*/ 138113 w 1969770"/>
                  <a:gd name="connsiteY604" fmla="*/ 604838 h 1744979"/>
                  <a:gd name="connsiteX605" fmla="*/ 140970 w 1969770"/>
                  <a:gd name="connsiteY605" fmla="*/ 629603 h 1744979"/>
                  <a:gd name="connsiteX606" fmla="*/ 143828 w 1969770"/>
                  <a:gd name="connsiteY606" fmla="*/ 656273 h 1744979"/>
                  <a:gd name="connsiteX607" fmla="*/ 143828 w 1969770"/>
                  <a:gd name="connsiteY607" fmla="*/ 656273 h 1744979"/>
                  <a:gd name="connsiteX608" fmla="*/ 419100 w 1969770"/>
                  <a:gd name="connsiteY608" fmla="*/ 1446848 h 1744979"/>
                  <a:gd name="connsiteX609" fmla="*/ 413385 w 1969770"/>
                  <a:gd name="connsiteY609" fmla="*/ 1438275 h 1744979"/>
                  <a:gd name="connsiteX610" fmla="*/ 407670 w 1969770"/>
                  <a:gd name="connsiteY610" fmla="*/ 1428750 h 1744979"/>
                  <a:gd name="connsiteX611" fmla="*/ 402908 w 1969770"/>
                  <a:gd name="connsiteY611" fmla="*/ 1419225 h 1744979"/>
                  <a:gd name="connsiteX612" fmla="*/ 399098 w 1969770"/>
                  <a:gd name="connsiteY612" fmla="*/ 1409700 h 1744979"/>
                  <a:gd name="connsiteX613" fmla="*/ 395288 w 1969770"/>
                  <a:gd name="connsiteY613" fmla="*/ 1399223 h 1744979"/>
                  <a:gd name="connsiteX614" fmla="*/ 391478 w 1969770"/>
                  <a:gd name="connsiteY614" fmla="*/ 1388745 h 1744979"/>
                  <a:gd name="connsiteX615" fmla="*/ 388620 w 1969770"/>
                  <a:gd name="connsiteY615" fmla="*/ 1378268 h 1744979"/>
                  <a:gd name="connsiteX616" fmla="*/ 385763 w 1969770"/>
                  <a:gd name="connsiteY616" fmla="*/ 1367790 h 1744979"/>
                  <a:gd name="connsiteX617" fmla="*/ 382905 w 1969770"/>
                  <a:gd name="connsiteY617" fmla="*/ 1356360 h 1744979"/>
                  <a:gd name="connsiteX618" fmla="*/ 380048 w 1969770"/>
                  <a:gd name="connsiteY618" fmla="*/ 1344930 h 1744979"/>
                  <a:gd name="connsiteX619" fmla="*/ 378143 w 1969770"/>
                  <a:gd name="connsiteY619" fmla="*/ 1333500 h 1744979"/>
                  <a:gd name="connsiteX620" fmla="*/ 375285 w 1969770"/>
                  <a:gd name="connsiteY620" fmla="*/ 1322070 h 1744979"/>
                  <a:gd name="connsiteX621" fmla="*/ 371475 w 1969770"/>
                  <a:gd name="connsiteY621" fmla="*/ 1299210 h 1744979"/>
                  <a:gd name="connsiteX622" fmla="*/ 366713 w 1969770"/>
                  <a:gd name="connsiteY622" fmla="*/ 1275398 h 1744979"/>
                  <a:gd name="connsiteX623" fmla="*/ 361950 w 1969770"/>
                  <a:gd name="connsiteY623" fmla="*/ 1251585 h 1744979"/>
                  <a:gd name="connsiteX624" fmla="*/ 356235 w 1969770"/>
                  <a:gd name="connsiteY624" fmla="*/ 1227773 h 1744979"/>
                  <a:gd name="connsiteX625" fmla="*/ 353378 w 1969770"/>
                  <a:gd name="connsiteY625" fmla="*/ 1215390 h 1744979"/>
                  <a:gd name="connsiteX626" fmla="*/ 350520 w 1969770"/>
                  <a:gd name="connsiteY626" fmla="*/ 1203960 h 1744979"/>
                  <a:gd name="connsiteX627" fmla="*/ 346710 w 1969770"/>
                  <a:gd name="connsiteY627" fmla="*/ 1192530 h 1744979"/>
                  <a:gd name="connsiteX628" fmla="*/ 342900 w 1969770"/>
                  <a:gd name="connsiteY628" fmla="*/ 1181100 h 1744979"/>
                  <a:gd name="connsiteX629" fmla="*/ 339090 w 1969770"/>
                  <a:gd name="connsiteY629" fmla="*/ 1169670 h 1744979"/>
                  <a:gd name="connsiteX630" fmla="*/ 334328 w 1969770"/>
                  <a:gd name="connsiteY630" fmla="*/ 1158240 h 1744979"/>
                  <a:gd name="connsiteX631" fmla="*/ 328613 w 1969770"/>
                  <a:gd name="connsiteY631" fmla="*/ 1147763 h 1744979"/>
                  <a:gd name="connsiteX632" fmla="*/ 322898 w 1969770"/>
                  <a:gd name="connsiteY632" fmla="*/ 1137285 h 1744979"/>
                  <a:gd name="connsiteX633" fmla="*/ 316230 w 1969770"/>
                  <a:gd name="connsiteY633" fmla="*/ 1126808 h 1744979"/>
                  <a:gd name="connsiteX634" fmla="*/ 309563 w 1969770"/>
                  <a:gd name="connsiteY634" fmla="*/ 1116330 h 1744979"/>
                  <a:gd name="connsiteX635" fmla="*/ 301943 w 1969770"/>
                  <a:gd name="connsiteY635" fmla="*/ 1106805 h 1744979"/>
                  <a:gd name="connsiteX636" fmla="*/ 294323 w 1969770"/>
                  <a:gd name="connsiteY636" fmla="*/ 1097280 h 1744979"/>
                  <a:gd name="connsiteX637" fmla="*/ 295275 w 1969770"/>
                  <a:gd name="connsiteY637" fmla="*/ 1118235 h 1744979"/>
                  <a:gd name="connsiteX638" fmla="*/ 295275 w 1969770"/>
                  <a:gd name="connsiteY638" fmla="*/ 1138238 h 1744979"/>
                  <a:gd name="connsiteX639" fmla="*/ 295275 w 1969770"/>
                  <a:gd name="connsiteY639" fmla="*/ 1158240 h 1744979"/>
                  <a:gd name="connsiteX640" fmla="*/ 295275 w 1969770"/>
                  <a:gd name="connsiteY640" fmla="*/ 1177290 h 1744979"/>
                  <a:gd name="connsiteX641" fmla="*/ 295275 w 1969770"/>
                  <a:gd name="connsiteY641" fmla="*/ 1195388 h 1744979"/>
                  <a:gd name="connsiteX642" fmla="*/ 295275 w 1969770"/>
                  <a:gd name="connsiteY642" fmla="*/ 1212533 h 1744979"/>
                  <a:gd name="connsiteX643" fmla="*/ 295275 w 1969770"/>
                  <a:gd name="connsiteY643" fmla="*/ 1229678 h 1744979"/>
                  <a:gd name="connsiteX644" fmla="*/ 295275 w 1969770"/>
                  <a:gd name="connsiteY644" fmla="*/ 1245870 h 1744979"/>
                  <a:gd name="connsiteX645" fmla="*/ 295275 w 1969770"/>
                  <a:gd name="connsiteY645" fmla="*/ 1254443 h 1744979"/>
                  <a:gd name="connsiteX646" fmla="*/ 296228 w 1969770"/>
                  <a:gd name="connsiteY646" fmla="*/ 1262063 h 1744979"/>
                  <a:gd name="connsiteX647" fmla="*/ 297180 w 1969770"/>
                  <a:gd name="connsiteY647" fmla="*/ 1269683 h 1744979"/>
                  <a:gd name="connsiteX648" fmla="*/ 298133 w 1969770"/>
                  <a:gd name="connsiteY648" fmla="*/ 1277303 h 1744979"/>
                  <a:gd name="connsiteX649" fmla="*/ 299085 w 1969770"/>
                  <a:gd name="connsiteY649" fmla="*/ 1284923 h 1744979"/>
                  <a:gd name="connsiteX650" fmla="*/ 300038 w 1969770"/>
                  <a:gd name="connsiteY650" fmla="*/ 1292543 h 1744979"/>
                  <a:gd name="connsiteX651" fmla="*/ 301943 w 1969770"/>
                  <a:gd name="connsiteY651" fmla="*/ 1300163 h 1744979"/>
                  <a:gd name="connsiteX652" fmla="*/ 303848 w 1969770"/>
                  <a:gd name="connsiteY652" fmla="*/ 1307783 h 1744979"/>
                  <a:gd name="connsiteX653" fmla="*/ 306705 w 1969770"/>
                  <a:gd name="connsiteY653" fmla="*/ 1315403 h 1744979"/>
                  <a:gd name="connsiteX654" fmla="*/ 309563 w 1969770"/>
                  <a:gd name="connsiteY654" fmla="*/ 1323023 h 1744979"/>
                  <a:gd name="connsiteX655" fmla="*/ 312420 w 1969770"/>
                  <a:gd name="connsiteY655" fmla="*/ 1330643 h 1744979"/>
                  <a:gd name="connsiteX656" fmla="*/ 316230 w 1969770"/>
                  <a:gd name="connsiteY656" fmla="*/ 1338263 h 1744979"/>
                  <a:gd name="connsiteX657" fmla="*/ 320040 w 1969770"/>
                  <a:gd name="connsiteY657" fmla="*/ 1344930 h 1744979"/>
                  <a:gd name="connsiteX658" fmla="*/ 324803 w 1969770"/>
                  <a:gd name="connsiteY658" fmla="*/ 1352550 h 1744979"/>
                  <a:gd name="connsiteX659" fmla="*/ 329565 w 1969770"/>
                  <a:gd name="connsiteY659" fmla="*/ 1360170 h 1744979"/>
                  <a:gd name="connsiteX660" fmla="*/ 335280 w 1969770"/>
                  <a:gd name="connsiteY660" fmla="*/ 1366838 h 1744979"/>
                  <a:gd name="connsiteX661" fmla="*/ 325755 w 1969770"/>
                  <a:gd name="connsiteY661" fmla="*/ 1358265 h 1744979"/>
                  <a:gd name="connsiteX662" fmla="*/ 315278 w 1969770"/>
                  <a:gd name="connsiteY662" fmla="*/ 1348740 h 1744979"/>
                  <a:gd name="connsiteX663" fmla="*/ 302895 w 1969770"/>
                  <a:gd name="connsiteY663" fmla="*/ 1338263 h 1744979"/>
                  <a:gd name="connsiteX664" fmla="*/ 288608 w 1969770"/>
                  <a:gd name="connsiteY664" fmla="*/ 1327785 h 1744979"/>
                  <a:gd name="connsiteX665" fmla="*/ 280988 w 1969770"/>
                  <a:gd name="connsiteY665" fmla="*/ 1322070 h 1744979"/>
                  <a:gd name="connsiteX666" fmla="*/ 273368 w 1969770"/>
                  <a:gd name="connsiteY666" fmla="*/ 1316355 h 1744979"/>
                  <a:gd name="connsiteX667" fmla="*/ 264795 w 1969770"/>
                  <a:gd name="connsiteY667" fmla="*/ 1310640 h 1744979"/>
                  <a:gd name="connsiteX668" fmla="*/ 255270 w 1969770"/>
                  <a:gd name="connsiteY668" fmla="*/ 1304925 h 1744979"/>
                  <a:gd name="connsiteX669" fmla="*/ 245745 w 1969770"/>
                  <a:gd name="connsiteY669" fmla="*/ 1299210 h 1744979"/>
                  <a:gd name="connsiteX670" fmla="*/ 235268 w 1969770"/>
                  <a:gd name="connsiteY670" fmla="*/ 1294448 h 1744979"/>
                  <a:gd name="connsiteX671" fmla="*/ 224790 w 1969770"/>
                  <a:gd name="connsiteY671" fmla="*/ 1289685 h 1744979"/>
                  <a:gd name="connsiteX672" fmla="*/ 213360 w 1969770"/>
                  <a:gd name="connsiteY672" fmla="*/ 1284923 h 1744979"/>
                  <a:gd name="connsiteX673" fmla="*/ 206693 w 1969770"/>
                  <a:gd name="connsiteY673" fmla="*/ 1282065 h 1744979"/>
                  <a:gd name="connsiteX674" fmla="*/ 200025 w 1969770"/>
                  <a:gd name="connsiteY674" fmla="*/ 1279208 h 1744979"/>
                  <a:gd name="connsiteX675" fmla="*/ 193358 w 1969770"/>
                  <a:gd name="connsiteY675" fmla="*/ 1276350 h 1744979"/>
                  <a:gd name="connsiteX676" fmla="*/ 186690 w 1969770"/>
                  <a:gd name="connsiteY676" fmla="*/ 1272540 h 1744979"/>
                  <a:gd name="connsiteX677" fmla="*/ 180023 w 1969770"/>
                  <a:gd name="connsiteY677" fmla="*/ 1268730 h 1744979"/>
                  <a:gd name="connsiteX678" fmla="*/ 174308 w 1969770"/>
                  <a:gd name="connsiteY678" fmla="*/ 1264920 h 1744979"/>
                  <a:gd name="connsiteX679" fmla="*/ 168593 w 1969770"/>
                  <a:gd name="connsiteY679" fmla="*/ 1261110 h 1744979"/>
                  <a:gd name="connsiteX680" fmla="*/ 161925 w 1969770"/>
                  <a:gd name="connsiteY680" fmla="*/ 1257300 h 1744979"/>
                  <a:gd name="connsiteX681" fmla="*/ 150495 w 1969770"/>
                  <a:gd name="connsiteY681" fmla="*/ 1248728 h 1744979"/>
                  <a:gd name="connsiteX682" fmla="*/ 140018 w 1969770"/>
                  <a:gd name="connsiteY682" fmla="*/ 1240155 h 1744979"/>
                  <a:gd name="connsiteX683" fmla="*/ 129540 w 1969770"/>
                  <a:gd name="connsiteY683" fmla="*/ 1230630 h 1744979"/>
                  <a:gd name="connsiteX684" fmla="*/ 119063 w 1969770"/>
                  <a:gd name="connsiteY684" fmla="*/ 1221105 h 1744979"/>
                  <a:gd name="connsiteX685" fmla="*/ 109538 w 1969770"/>
                  <a:gd name="connsiteY685" fmla="*/ 1211580 h 1744979"/>
                  <a:gd name="connsiteX686" fmla="*/ 100013 w 1969770"/>
                  <a:gd name="connsiteY686" fmla="*/ 1202055 h 1744979"/>
                  <a:gd name="connsiteX687" fmla="*/ 90488 w 1969770"/>
                  <a:gd name="connsiteY687" fmla="*/ 1192530 h 1744979"/>
                  <a:gd name="connsiteX688" fmla="*/ 80963 w 1969770"/>
                  <a:gd name="connsiteY688" fmla="*/ 1183005 h 1744979"/>
                  <a:gd name="connsiteX689" fmla="*/ 63818 w 1969770"/>
                  <a:gd name="connsiteY689" fmla="*/ 1163955 h 1744979"/>
                  <a:gd name="connsiteX690" fmla="*/ 47625 w 1969770"/>
                  <a:gd name="connsiteY690" fmla="*/ 1146810 h 1744979"/>
                  <a:gd name="connsiteX691" fmla="*/ 53340 w 1969770"/>
                  <a:gd name="connsiteY691" fmla="*/ 1160145 h 1744979"/>
                  <a:gd name="connsiteX692" fmla="*/ 60960 w 1969770"/>
                  <a:gd name="connsiteY692" fmla="*/ 1184910 h 1744979"/>
                  <a:gd name="connsiteX693" fmla="*/ 69533 w 1969770"/>
                  <a:gd name="connsiteY693" fmla="*/ 1207770 h 1744979"/>
                  <a:gd name="connsiteX694" fmla="*/ 79058 w 1969770"/>
                  <a:gd name="connsiteY694" fmla="*/ 1228725 h 1744979"/>
                  <a:gd name="connsiteX695" fmla="*/ 89535 w 1969770"/>
                  <a:gd name="connsiteY695" fmla="*/ 1248728 h 1744979"/>
                  <a:gd name="connsiteX696" fmla="*/ 100013 w 1969770"/>
                  <a:gd name="connsiteY696" fmla="*/ 1266825 h 1744979"/>
                  <a:gd name="connsiteX697" fmla="*/ 111443 w 1969770"/>
                  <a:gd name="connsiteY697" fmla="*/ 1283970 h 1744979"/>
                  <a:gd name="connsiteX698" fmla="*/ 123825 w 1969770"/>
                  <a:gd name="connsiteY698" fmla="*/ 1299210 h 1744979"/>
                  <a:gd name="connsiteX699" fmla="*/ 136208 w 1969770"/>
                  <a:gd name="connsiteY699" fmla="*/ 1313498 h 1744979"/>
                  <a:gd name="connsiteX700" fmla="*/ 149543 w 1969770"/>
                  <a:gd name="connsiteY700" fmla="*/ 1326833 h 1744979"/>
                  <a:gd name="connsiteX701" fmla="*/ 162878 w 1969770"/>
                  <a:gd name="connsiteY701" fmla="*/ 1338263 h 1744979"/>
                  <a:gd name="connsiteX702" fmla="*/ 176213 w 1969770"/>
                  <a:gd name="connsiteY702" fmla="*/ 1348740 h 1744979"/>
                  <a:gd name="connsiteX703" fmla="*/ 190500 w 1969770"/>
                  <a:gd name="connsiteY703" fmla="*/ 1358265 h 1744979"/>
                  <a:gd name="connsiteX704" fmla="*/ 204788 w 1969770"/>
                  <a:gd name="connsiteY704" fmla="*/ 1366838 h 1744979"/>
                  <a:gd name="connsiteX705" fmla="*/ 219075 w 1969770"/>
                  <a:gd name="connsiteY705" fmla="*/ 1374458 h 1744979"/>
                  <a:gd name="connsiteX706" fmla="*/ 233363 w 1969770"/>
                  <a:gd name="connsiteY706" fmla="*/ 1381125 h 1744979"/>
                  <a:gd name="connsiteX707" fmla="*/ 247650 w 1969770"/>
                  <a:gd name="connsiteY707" fmla="*/ 1387793 h 1744979"/>
                  <a:gd name="connsiteX708" fmla="*/ 261938 w 1969770"/>
                  <a:gd name="connsiteY708" fmla="*/ 1393508 h 1744979"/>
                  <a:gd name="connsiteX709" fmla="*/ 276225 w 1969770"/>
                  <a:gd name="connsiteY709" fmla="*/ 1398270 h 1744979"/>
                  <a:gd name="connsiteX710" fmla="*/ 290513 w 1969770"/>
                  <a:gd name="connsiteY710" fmla="*/ 1403033 h 1744979"/>
                  <a:gd name="connsiteX711" fmla="*/ 303848 w 1969770"/>
                  <a:gd name="connsiteY711" fmla="*/ 1406843 h 1744979"/>
                  <a:gd name="connsiteX712" fmla="*/ 330518 w 1969770"/>
                  <a:gd name="connsiteY712" fmla="*/ 1413510 h 1744979"/>
                  <a:gd name="connsiteX713" fmla="*/ 354330 w 1969770"/>
                  <a:gd name="connsiteY713" fmla="*/ 1419225 h 1744979"/>
                  <a:gd name="connsiteX714" fmla="*/ 365760 w 1969770"/>
                  <a:gd name="connsiteY714" fmla="*/ 1422083 h 1744979"/>
                  <a:gd name="connsiteX715" fmla="*/ 376238 w 1969770"/>
                  <a:gd name="connsiteY715" fmla="*/ 1424940 h 1744979"/>
                  <a:gd name="connsiteX716" fmla="*/ 385763 w 1969770"/>
                  <a:gd name="connsiteY716" fmla="*/ 1427798 h 1744979"/>
                  <a:gd name="connsiteX717" fmla="*/ 394335 w 1969770"/>
                  <a:gd name="connsiteY717" fmla="*/ 1430655 h 1744979"/>
                  <a:gd name="connsiteX718" fmla="*/ 402908 w 1969770"/>
                  <a:gd name="connsiteY718" fmla="*/ 1434465 h 1744979"/>
                  <a:gd name="connsiteX719" fmla="*/ 409575 w 1969770"/>
                  <a:gd name="connsiteY719" fmla="*/ 1438275 h 1744979"/>
                  <a:gd name="connsiteX720" fmla="*/ 416243 w 1969770"/>
                  <a:gd name="connsiteY720" fmla="*/ 1442085 h 1744979"/>
                  <a:gd name="connsiteX721" fmla="*/ 419100 w 1969770"/>
                  <a:gd name="connsiteY721" fmla="*/ 1446848 h 1744979"/>
                  <a:gd name="connsiteX722" fmla="*/ 419100 w 1969770"/>
                  <a:gd name="connsiteY722" fmla="*/ 1446848 h 1744979"/>
                  <a:gd name="connsiteX723" fmla="*/ 598170 w 1969770"/>
                  <a:gd name="connsiteY723" fmla="*/ 1568768 h 1744979"/>
                  <a:gd name="connsiteX724" fmla="*/ 594360 w 1969770"/>
                  <a:gd name="connsiteY724" fmla="*/ 1563053 h 1744979"/>
                  <a:gd name="connsiteX725" fmla="*/ 590550 w 1969770"/>
                  <a:gd name="connsiteY725" fmla="*/ 1556385 h 1744979"/>
                  <a:gd name="connsiteX726" fmla="*/ 586740 w 1969770"/>
                  <a:gd name="connsiteY726" fmla="*/ 1549718 h 1744979"/>
                  <a:gd name="connsiteX727" fmla="*/ 582930 w 1969770"/>
                  <a:gd name="connsiteY727" fmla="*/ 1543050 h 1744979"/>
                  <a:gd name="connsiteX728" fmla="*/ 576263 w 1969770"/>
                  <a:gd name="connsiteY728" fmla="*/ 1526858 h 1744979"/>
                  <a:gd name="connsiteX729" fmla="*/ 568643 w 1969770"/>
                  <a:gd name="connsiteY729" fmla="*/ 1509713 h 1744979"/>
                  <a:gd name="connsiteX730" fmla="*/ 561023 w 1969770"/>
                  <a:gd name="connsiteY730" fmla="*/ 1490663 h 1744979"/>
                  <a:gd name="connsiteX731" fmla="*/ 553403 w 1969770"/>
                  <a:gd name="connsiteY731" fmla="*/ 1470660 h 1744979"/>
                  <a:gd name="connsiteX732" fmla="*/ 543878 w 1969770"/>
                  <a:gd name="connsiteY732" fmla="*/ 1449705 h 1744979"/>
                  <a:gd name="connsiteX733" fmla="*/ 534353 w 1969770"/>
                  <a:gd name="connsiteY733" fmla="*/ 1428750 h 1744979"/>
                  <a:gd name="connsiteX734" fmla="*/ 528638 w 1969770"/>
                  <a:gd name="connsiteY734" fmla="*/ 1418273 h 1744979"/>
                  <a:gd name="connsiteX735" fmla="*/ 522923 w 1969770"/>
                  <a:gd name="connsiteY735" fmla="*/ 1407795 h 1744979"/>
                  <a:gd name="connsiteX736" fmla="*/ 517208 w 1969770"/>
                  <a:gd name="connsiteY736" fmla="*/ 1397318 h 1744979"/>
                  <a:gd name="connsiteX737" fmla="*/ 510540 w 1969770"/>
                  <a:gd name="connsiteY737" fmla="*/ 1386840 h 1744979"/>
                  <a:gd name="connsiteX738" fmla="*/ 503873 w 1969770"/>
                  <a:gd name="connsiteY738" fmla="*/ 1376363 h 1744979"/>
                  <a:gd name="connsiteX739" fmla="*/ 497205 w 1969770"/>
                  <a:gd name="connsiteY739" fmla="*/ 1365885 h 1744979"/>
                  <a:gd name="connsiteX740" fmla="*/ 489585 w 1969770"/>
                  <a:gd name="connsiteY740" fmla="*/ 1355408 h 1744979"/>
                  <a:gd name="connsiteX741" fmla="*/ 481965 w 1969770"/>
                  <a:gd name="connsiteY741" fmla="*/ 1345883 h 1744979"/>
                  <a:gd name="connsiteX742" fmla="*/ 473393 w 1969770"/>
                  <a:gd name="connsiteY742" fmla="*/ 1336358 h 1744979"/>
                  <a:gd name="connsiteX743" fmla="*/ 464820 w 1969770"/>
                  <a:gd name="connsiteY743" fmla="*/ 1326833 h 1744979"/>
                  <a:gd name="connsiteX744" fmla="*/ 455295 w 1969770"/>
                  <a:gd name="connsiteY744" fmla="*/ 1317308 h 1744979"/>
                  <a:gd name="connsiteX745" fmla="*/ 445770 w 1969770"/>
                  <a:gd name="connsiteY745" fmla="*/ 1308735 h 1744979"/>
                  <a:gd name="connsiteX746" fmla="*/ 435293 w 1969770"/>
                  <a:gd name="connsiteY746" fmla="*/ 1300163 h 1744979"/>
                  <a:gd name="connsiteX747" fmla="*/ 424815 w 1969770"/>
                  <a:gd name="connsiteY747" fmla="*/ 1291590 h 1744979"/>
                  <a:gd name="connsiteX748" fmla="*/ 414338 w 1969770"/>
                  <a:gd name="connsiteY748" fmla="*/ 1283970 h 1744979"/>
                  <a:gd name="connsiteX749" fmla="*/ 402908 w 1969770"/>
                  <a:gd name="connsiteY749" fmla="*/ 1277303 h 1744979"/>
                  <a:gd name="connsiteX750" fmla="*/ 414338 w 1969770"/>
                  <a:gd name="connsiteY750" fmla="*/ 1316355 h 1744979"/>
                  <a:gd name="connsiteX751" fmla="*/ 423863 w 1969770"/>
                  <a:gd name="connsiteY751" fmla="*/ 1352550 h 1744979"/>
                  <a:gd name="connsiteX752" fmla="*/ 428625 w 1969770"/>
                  <a:gd name="connsiteY752" fmla="*/ 1369695 h 1744979"/>
                  <a:gd name="connsiteX753" fmla="*/ 433388 w 1969770"/>
                  <a:gd name="connsiteY753" fmla="*/ 1385888 h 1744979"/>
                  <a:gd name="connsiteX754" fmla="*/ 439103 w 1969770"/>
                  <a:gd name="connsiteY754" fmla="*/ 1402080 h 1744979"/>
                  <a:gd name="connsiteX755" fmla="*/ 444818 w 1969770"/>
                  <a:gd name="connsiteY755" fmla="*/ 1417320 h 1744979"/>
                  <a:gd name="connsiteX756" fmla="*/ 447675 w 1969770"/>
                  <a:gd name="connsiteY756" fmla="*/ 1424940 h 1744979"/>
                  <a:gd name="connsiteX757" fmla="*/ 450533 w 1969770"/>
                  <a:gd name="connsiteY757" fmla="*/ 1431608 h 1744979"/>
                  <a:gd name="connsiteX758" fmla="*/ 454343 w 1969770"/>
                  <a:gd name="connsiteY758" fmla="*/ 1438275 h 1744979"/>
                  <a:gd name="connsiteX759" fmla="*/ 458153 w 1969770"/>
                  <a:gd name="connsiteY759" fmla="*/ 1444943 h 1744979"/>
                  <a:gd name="connsiteX760" fmla="*/ 461963 w 1969770"/>
                  <a:gd name="connsiteY760" fmla="*/ 1451610 h 1744979"/>
                  <a:gd name="connsiteX761" fmla="*/ 465773 w 1969770"/>
                  <a:gd name="connsiteY761" fmla="*/ 1458278 h 1744979"/>
                  <a:gd name="connsiteX762" fmla="*/ 469583 w 1969770"/>
                  <a:gd name="connsiteY762" fmla="*/ 1464945 h 1744979"/>
                  <a:gd name="connsiteX763" fmla="*/ 474345 w 1969770"/>
                  <a:gd name="connsiteY763" fmla="*/ 1471613 h 1744979"/>
                  <a:gd name="connsiteX764" fmla="*/ 479108 w 1969770"/>
                  <a:gd name="connsiteY764" fmla="*/ 1478280 h 1744979"/>
                  <a:gd name="connsiteX765" fmla="*/ 484823 w 1969770"/>
                  <a:gd name="connsiteY765" fmla="*/ 1484948 h 1744979"/>
                  <a:gd name="connsiteX766" fmla="*/ 490538 w 1969770"/>
                  <a:gd name="connsiteY766" fmla="*/ 1491615 h 1744979"/>
                  <a:gd name="connsiteX767" fmla="*/ 496253 w 1969770"/>
                  <a:gd name="connsiteY767" fmla="*/ 1498283 h 1744979"/>
                  <a:gd name="connsiteX768" fmla="*/ 501968 w 1969770"/>
                  <a:gd name="connsiteY768" fmla="*/ 1504950 h 1744979"/>
                  <a:gd name="connsiteX769" fmla="*/ 508635 w 1969770"/>
                  <a:gd name="connsiteY769" fmla="*/ 1510665 h 1744979"/>
                  <a:gd name="connsiteX770" fmla="*/ 515303 w 1969770"/>
                  <a:gd name="connsiteY770" fmla="*/ 1516380 h 1744979"/>
                  <a:gd name="connsiteX771" fmla="*/ 522923 w 1969770"/>
                  <a:gd name="connsiteY771" fmla="*/ 1523048 h 1744979"/>
                  <a:gd name="connsiteX772" fmla="*/ 510540 w 1969770"/>
                  <a:gd name="connsiteY772" fmla="*/ 1517333 h 1744979"/>
                  <a:gd name="connsiteX773" fmla="*/ 494348 w 1969770"/>
                  <a:gd name="connsiteY773" fmla="*/ 1510665 h 1744979"/>
                  <a:gd name="connsiteX774" fmla="*/ 475298 w 1969770"/>
                  <a:gd name="connsiteY774" fmla="*/ 1503045 h 1744979"/>
                  <a:gd name="connsiteX775" fmla="*/ 454343 w 1969770"/>
                  <a:gd name="connsiteY775" fmla="*/ 1495425 h 1744979"/>
                  <a:gd name="connsiteX776" fmla="*/ 442913 w 1969770"/>
                  <a:gd name="connsiteY776" fmla="*/ 1491615 h 1744979"/>
                  <a:gd name="connsiteX777" fmla="*/ 430530 w 1969770"/>
                  <a:gd name="connsiteY777" fmla="*/ 1487805 h 1744979"/>
                  <a:gd name="connsiteX778" fmla="*/ 418148 w 1969770"/>
                  <a:gd name="connsiteY778" fmla="*/ 1483995 h 1744979"/>
                  <a:gd name="connsiteX779" fmla="*/ 405765 w 1969770"/>
                  <a:gd name="connsiteY779" fmla="*/ 1481138 h 1744979"/>
                  <a:gd name="connsiteX780" fmla="*/ 393383 w 1969770"/>
                  <a:gd name="connsiteY780" fmla="*/ 1478280 h 1744979"/>
                  <a:gd name="connsiteX781" fmla="*/ 381000 w 1969770"/>
                  <a:gd name="connsiteY781" fmla="*/ 1475423 h 1744979"/>
                  <a:gd name="connsiteX782" fmla="*/ 368618 w 1969770"/>
                  <a:gd name="connsiteY782" fmla="*/ 1473518 h 1744979"/>
                  <a:gd name="connsiteX783" fmla="*/ 356235 w 1969770"/>
                  <a:gd name="connsiteY783" fmla="*/ 1471613 h 1744979"/>
                  <a:gd name="connsiteX784" fmla="*/ 345758 w 1969770"/>
                  <a:gd name="connsiteY784" fmla="*/ 1470660 h 1744979"/>
                  <a:gd name="connsiteX785" fmla="*/ 335280 w 1969770"/>
                  <a:gd name="connsiteY785" fmla="*/ 1468755 h 1744979"/>
                  <a:gd name="connsiteX786" fmla="*/ 325755 w 1969770"/>
                  <a:gd name="connsiteY786" fmla="*/ 1466850 h 1744979"/>
                  <a:gd name="connsiteX787" fmla="*/ 316230 w 1969770"/>
                  <a:gd name="connsiteY787" fmla="*/ 1464945 h 1744979"/>
                  <a:gd name="connsiteX788" fmla="*/ 307658 w 1969770"/>
                  <a:gd name="connsiteY788" fmla="*/ 1463040 h 1744979"/>
                  <a:gd name="connsiteX789" fmla="*/ 300038 w 1969770"/>
                  <a:gd name="connsiteY789" fmla="*/ 1461135 h 1744979"/>
                  <a:gd name="connsiteX790" fmla="*/ 292418 w 1969770"/>
                  <a:gd name="connsiteY790" fmla="*/ 1459230 h 1744979"/>
                  <a:gd name="connsiteX791" fmla="*/ 284798 w 1969770"/>
                  <a:gd name="connsiteY791" fmla="*/ 1457325 h 1744979"/>
                  <a:gd name="connsiteX792" fmla="*/ 277178 w 1969770"/>
                  <a:gd name="connsiteY792" fmla="*/ 1454468 h 1744979"/>
                  <a:gd name="connsiteX793" fmla="*/ 270510 w 1969770"/>
                  <a:gd name="connsiteY793" fmla="*/ 1451610 h 1744979"/>
                  <a:gd name="connsiteX794" fmla="*/ 263843 w 1969770"/>
                  <a:gd name="connsiteY794" fmla="*/ 1448753 h 1744979"/>
                  <a:gd name="connsiteX795" fmla="*/ 257175 w 1969770"/>
                  <a:gd name="connsiteY795" fmla="*/ 1445895 h 1744979"/>
                  <a:gd name="connsiteX796" fmla="*/ 245745 w 1969770"/>
                  <a:gd name="connsiteY796" fmla="*/ 1440180 h 1744979"/>
                  <a:gd name="connsiteX797" fmla="*/ 235268 w 1969770"/>
                  <a:gd name="connsiteY797" fmla="*/ 1434465 h 1744979"/>
                  <a:gd name="connsiteX798" fmla="*/ 225743 w 1969770"/>
                  <a:gd name="connsiteY798" fmla="*/ 1428750 h 1744979"/>
                  <a:gd name="connsiteX799" fmla="*/ 216218 w 1969770"/>
                  <a:gd name="connsiteY799" fmla="*/ 1423035 h 1744979"/>
                  <a:gd name="connsiteX800" fmla="*/ 207645 w 1969770"/>
                  <a:gd name="connsiteY800" fmla="*/ 1417320 h 1744979"/>
                  <a:gd name="connsiteX801" fmla="*/ 199073 w 1969770"/>
                  <a:gd name="connsiteY801" fmla="*/ 1411605 h 1744979"/>
                  <a:gd name="connsiteX802" fmla="*/ 190500 w 1969770"/>
                  <a:gd name="connsiteY802" fmla="*/ 1405890 h 1744979"/>
                  <a:gd name="connsiteX803" fmla="*/ 181928 w 1969770"/>
                  <a:gd name="connsiteY803" fmla="*/ 1400175 h 1744979"/>
                  <a:gd name="connsiteX804" fmla="*/ 173355 w 1969770"/>
                  <a:gd name="connsiteY804" fmla="*/ 1394460 h 1744979"/>
                  <a:gd name="connsiteX805" fmla="*/ 163830 w 1969770"/>
                  <a:gd name="connsiteY805" fmla="*/ 1388745 h 1744979"/>
                  <a:gd name="connsiteX806" fmla="*/ 177165 w 1969770"/>
                  <a:gd name="connsiteY806" fmla="*/ 1411605 h 1744979"/>
                  <a:gd name="connsiteX807" fmla="*/ 190500 w 1969770"/>
                  <a:gd name="connsiteY807" fmla="*/ 1432560 h 1744979"/>
                  <a:gd name="connsiteX808" fmla="*/ 203835 w 1969770"/>
                  <a:gd name="connsiteY808" fmla="*/ 1451610 h 1744979"/>
                  <a:gd name="connsiteX809" fmla="*/ 218123 w 1969770"/>
                  <a:gd name="connsiteY809" fmla="*/ 1468755 h 1744979"/>
                  <a:gd name="connsiteX810" fmla="*/ 232410 w 1969770"/>
                  <a:gd name="connsiteY810" fmla="*/ 1483995 h 1744979"/>
                  <a:gd name="connsiteX811" fmla="*/ 247650 w 1969770"/>
                  <a:gd name="connsiteY811" fmla="*/ 1497330 h 1744979"/>
                  <a:gd name="connsiteX812" fmla="*/ 262890 w 1969770"/>
                  <a:gd name="connsiteY812" fmla="*/ 1509713 h 1744979"/>
                  <a:gd name="connsiteX813" fmla="*/ 278130 w 1969770"/>
                  <a:gd name="connsiteY813" fmla="*/ 1520190 h 1744979"/>
                  <a:gd name="connsiteX814" fmla="*/ 293370 w 1969770"/>
                  <a:gd name="connsiteY814" fmla="*/ 1529715 h 1744979"/>
                  <a:gd name="connsiteX815" fmla="*/ 309563 w 1969770"/>
                  <a:gd name="connsiteY815" fmla="*/ 1537335 h 1744979"/>
                  <a:gd name="connsiteX816" fmla="*/ 325755 w 1969770"/>
                  <a:gd name="connsiteY816" fmla="*/ 1544003 h 1744979"/>
                  <a:gd name="connsiteX817" fmla="*/ 341948 w 1969770"/>
                  <a:gd name="connsiteY817" fmla="*/ 1549718 h 1744979"/>
                  <a:gd name="connsiteX818" fmla="*/ 358140 w 1969770"/>
                  <a:gd name="connsiteY818" fmla="*/ 1554480 h 1744979"/>
                  <a:gd name="connsiteX819" fmla="*/ 374333 w 1969770"/>
                  <a:gd name="connsiteY819" fmla="*/ 1558290 h 1744979"/>
                  <a:gd name="connsiteX820" fmla="*/ 390525 w 1969770"/>
                  <a:gd name="connsiteY820" fmla="*/ 1561148 h 1744979"/>
                  <a:gd name="connsiteX821" fmla="*/ 406718 w 1969770"/>
                  <a:gd name="connsiteY821" fmla="*/ 1563053 h 1744979"/>
                  <a:gd name="connsiteX822" fmla="*/ 421958 w 1969770"/>
                  <a:gd name="connsiteY822" fmla="*/ 1564005 h 1744979"/>
                  <a:gd name="connsiteX823" fmla="*/ 437198 w 1969770"/>
                  <a:gd name="connsiteY823" fmla="*/ 1564958 h 1744979"/>
                  <a:gd name="connsiteX824" fmla="*/ 451485 w 1969770"/>
                  <a:gd name="connsiteY824" fmla="*/ 1564958 h 1744979"/>
                  <a:gd name="connsiteX825" fmla="*/ 465773 w 1969770"/>
                  <a:gd name="connsiteY825" fmla="*/ 1564958 h 1744979"/>
                  <a:gd name="connsiteX826" fmla="*/ 493395 w 1969770"/>
                  <a:gd name="connsiteY826" fmla="*/ 1564005 h 1744979"/>
                  <a:gd name="connsiteX827" fmla="*/ 519113 w 1969770"/>
                  <a:gd name="connsiteY827" fmla="*/ 1563053 h 1744979"/>
                  <a:gd name="connsiteX828" fmla="*/ 531495 w 1969770"/>
                  <a:gd name="connsiteY828" fmla="*/ 1563053 h 1744979"/>
                  <a:gd name="connsiteX829" fmla="*/ 542925 w 1969770"/>
                  <a:gd name="connsiteY829" fmla="*/ 1563053 h 1744979"/>
                  <a:gd name="connsiteX830" fmla="*/ 553403 w 1969770"/>
                  <a:gd name="connsiteY830" fmla="*/ 1563053 h 1744979"/>
                  <a:gd name="connsiteX831" fmla="*/ 563880 w 1969770"/>
                  <a:gd name="connsiteY831" fmla="*/ 1563053 h 1744979"/>
                  <a:gd name="connsiteX832" fmla="*/ 573405 w 1969770"/>
                  <a:gd name="connsiteY832" fmla="*/ 1564005 h 1744979"/>
                  <a:gd name="connsiteX833" fmla="*/ 581978 w 1969770"/>
                  <a:gd name="connsiteY833" fmla="*/ 1564958 h 1744979"/>
                  <a:gd name="connsiteX834" fmla="*/ 589598 w 1969770"/>
                  <a:gd name="connsiteY834" fmla="*/ 1566863 h 1744979"/>
                  <a:gd name="connsiteX835" fmla="*/ 598170 w 1969770"/>
                  <a:gd name="connsiteY835" fmla="*/ 1568768 h 1744979"/>
                  <a:gd name="connsiteX836" fmla="*/ 598170 w 1969770"/>
                  <a:gd name="connsiteY836" fmla="*/ 1568768 h 1744979"/>
                  <a:gd name="connsiteX837" fmla="*/ 1590675 w 1969770"/>
                  <a:gd name="connsiteY837" fmla="*/ 301943 h 1744979"/>
                  <a:gd name="connsiteX838" fmla="*/ 1579245 w 1969770"/>
                  <a:gd name="connsiteY838" fmla="*/ 283845 h 1744979"/>
                  <a:gd name="connsiteX839" fmla="*/ 1566863 w 1969770"/>
                  <a:gd name="connsiteY839" fmla="*/ 264795 h 1744979"/>
                  <a:gd name="connsiteX840" fmla="*/ 1553528 w 1969770"/>
                  <a:gd name="connsiteY840" fmla="*/ 245745 h 1744979"/>
                  <a:gd name="connsiteX841" fmla="*/ 1540193 w 1969770"/>
                  <a:gd name="connsiteY841" fmla="*/ 226695 h 1744979"/>
                  <a:gd name="connsiteX842" fmla="*/ 1526858 w 1969770"/>
                  <a:gd name="connsiteY842" fmla="*/ 208598 h 1744979"/>
                  <a:gd name="connsiteX843" fmla="*/ 1514475 w 1969770"/>
                  <a:gd name="connsiteY843" fmla="*/ 192405 h 1744979"/>
                  <a:gd name="connsiteX844" fmla="*/ 1508760 w 1969770"/>
                  <a:gd name="connsiteY844" fmla="*/ 185738 h 1744979"/>
                  <a:gd name="connsiteX845" fmla="*/ 1503045 w 1969770"/>
                  <a:gd name="connsiteY845" fmla="*/ 179070 h 1744979"/>
                  <a:gd name="connsiteX846" fmla="*/ 1497330 w 1969770"/>
                  <a:gd name="connsiteY846" fmla="*/ 173355 h 1744979"/>
                  <a:gd name="connsiteX847" fmla="*/ 1492568 w 1969770"/>
                  <a:gd name="connsiteY847" fmla="*/ 168593 h 1744979"/>
                  <a:gd name="connsiteX848" fmla="*/ 1504950 w 1969770"/>
                  <a:gd name="connsiteY848" fmla="*/ 171450 h 1744979"/>
                  <a:gd name="connsiteX849" fmla="*/ 1517333 w 1969770"/>
                  <a:gd name="connsiteY849" fmla="*/ 175260 h 1744979"/>
                  <a:gd name="connsiteX850" fmla="*/ 1528763 w 1969770"/>
                  <a:gd name="connsiteY850" fmla="*/ 179070 h 1744979"/>
                  <a:gd name="connsiteX851" fmla="*/ 1540193 w 1969770"/>
                  <a:gd name="connsiteY851" fmla="*/ 182880 h 1744979"/>
                  <a:gd name="connsiteX852" fmla="*/ 1551623 w 1969770"/>
                  <a:gd name="connsiteY852" fmla="*/ 187643 h 1744979"/>
                  <a:gd name="connsiteX853" fmla="*/ 1563053 w 1969770"/>
                  <a:gd name="connsiteY853" fmla="*/ 193358 h 1744979"/>
                  <a:gd name="connsiteX854" fmla="*/ 1573530 w 1969770"/>
                  <a:gd name="connsiteY854" fmla="*/ 199073 h 1744979"/>
                  <a:gd name="connsiteX855" fmla="*/ 1584008 w 1969770"/>
                  <a:gd name="connsiteY855" fmla="*/ 204788 h 1744979"/>
                  <a:gd name="connsiteX856" fmla="*/ 1594485 w 1969770"/>
                  <a:gd name="connsiteY856" fmla="*/ 211455 h 1744979"/>
                  <a:gd name="connsiteX857" fmla="*/ 1604010 w 1969770"/>
                  <a:gd name="connsiteY857" fmla="*/ 218123 h 1744979"/>
                  <a:gd name="connsiteX858" fmla="*/ 1613535 w 1969770"/>
                  <a:gd name="connsiteY858" fmla="*/ 224790 h 1744979"/>
                  <a:gd name="connsiteX859" fmla="*/ 1623060 w 1969770"/>
                  <a:gd name="connsiteY859" fmla="*/ 232410 h 1744979"/>
                  <a:gd name="connsiteX860" fmla="*/ 1632585 w 1969770"/>
                  <a:gd name="connsiteY860" fmla="*/ 240030 h 1744979"/>
                  <a:gd name="connsiteX861" fmla="*/ 1641158 w 1969770"/>
                  <a:gd name="connsiteY861" fmla="*/ 247650 h 1744979"/>
                  <a:gd name="connsiteX862" fmla="*/ 1649730 w 1969770"/>
                  <a:gd name="connsiteY862" fmla="*/ 256223 h 1744979"/>
                  <a:gd name="connsiteX863" fmla="*/ 1657350 w 1969770"/>
                  <a:gd name="connsiteY863" fmla="*/ 264795 h 1744979"/>
                  <a:gd name="connsiteX864" fmla="*/ 1664970 w 1969770"/>
                  <a:gd name="connsiteY864" fmla="*/ 274320 h 1744979"/>
                  <a:gd name="connsiteX865" fmla="*/ 1672590 w 1969770"/>
                  <a:gd name="connsiteY865" fmla="*/ 283845 h 1744979"/>
                  <a:gd name="connsiteX866" fmla="*/ 1680210 w 1969770"/>
                  <a:gd name="connsiteY866" fmla="*/ 293370 h 1744979"/>
                  <a:gd name="connsiteX867" fmla="*/ 1686878 w 1969770"/>
                  <a:gd name="connsiteY867" fmla="*/ 303848 h 1744979"/>
                  <a:gd name="connsiteX868" fmla="*/ 1693545 w 1969770"/>
                  <a:gd name="connsiteY868" fmla="*/ 313373 h 1744979"/>
                  <a:gd name="connsiteX869" fmla="*/ 1700213 w 1969770"/>
                  <a:gd name="connsiteY869" fmla="*/ 323850 h 1744979"/>
                  <a:gd name="connsiteX870" fmla="*/ 1706880 w 1969770"/>
                  <a:gd name="connsiteY870" fmla="*/ 334328 h 1744979"/>
                  <a:gd name="connsiteX871" fmla="*/ 1712595 w 1969770"/>
                  <a:gd name="connsiteY871" fmla="*/ 344805 h 1744979"/>
                  <a:gd name="connsiteX872" fmla="*/ 1718310 w 1969770"/>
                  <a:gd name="connsiteY872" fmla="*/ 355283 h 1744979"/>
                  <a:gd name="connsiteX873" fmla="*/ 1724025 w 1969770"/>
                  <a:gd name="connsiteY873" fmla="*/ 366713 h 1744979"/>
                  <a:gd name="connsiteX874" fmla="*/ 1728788 w 1969770"/>
                  <a:gd name="connsiteY874" fmla="*/ 378143 h 1744979"/>
                  <a:gd name="connsiteX875" fmla="*/ 1732598 w 1969770"/>
                  <a:gd name="connsiteY875" fmla="*/ 389573 h 1744979"/>
                  <a:gd name="connsiteX876" fmla="*/ 1736408 w 1969770"/>
                  <a:gd name="connsiteY876" fmla="*/ 401003 h 1744979"/>
                  <a:gd name="connsiteX877" fmla="*/ 1740218 w 1969770"/>
                  <a:gd name="connsiteY877" fmla="*/ 413385 h 1744979"/>
                  <a:gd name="connsiteX878" fmla="*/ 1743075 w 1969770"/>
                  <a:gd name="connsiteY878" fmla="*/ 425768 h 1744979"/>
                  <a:gd name="connsiteX879" fmla="*/ 1745933 w 1969770"/>
                  <a:gd name="connsiteY879" fmla="*/ 438150 h 1744979"/>
                  <a:gd name="connsiteX880" fmla="*/ 1735455 w 1969770"/>
                  <a:gd name="connsiteY880" fmla="*/ 427673 h 1744979"/>
                  <a:gd name="connsiteX881" fmla="*/ 1724978 w 1969770"/>
                  <a:gd name="connsiteY881" fmla="*/ 418148 h 1744979"/>
                  <a:gd name="connsiteX882" fmla="*/ 1713548 w 1969770"/>
                  <a:gd name="connsiteY882" fmla="*/ 408623 h 1744979"/>
                  <a:gd name="connsiteX883" fmla="*/ 1703070 w 1969770"/>
                  <a:gd name="connsiteY883" fmla="*/ 400050 h 1744979"/>
                  <a:gd name="connsiteX884" fmla="*/ 1680210 w 1969770"/>
                  <a:gd name="connsiteY884" fmla="*/ 382905 h 1744979"/>
                  <a:gd name="connsiteX885" fmla="*/ 1658303 w 1969770"/>
                  <a:gd name="connsiteY885" fmla="*/ 366713 h 1744979"/>
                  <a:gd name="connsiteX886" fmla="*/ 1647825 w 1969770"/>
                  <a:gd name="connsiteY886" fmla="*/ 359093 h 1744979"/>
                  <a:gd name="connsiteX887" fmla="*/ 1637348 w 1969770"/>
                  <a:gd name="connsiteY887" fmla="*/ 351473 h 1744979"/>
                  <a:gd name="connsiteX888" fmla="*/ 1627823 w 1969770"/>
                  <a:gd name="connsiteY888" fmla="*/ 343853 h 1744979"/>
                  <a:gd name="connsiteX889" fmla="*/ 1618298 w 1969770"/>
                  <a:gd name="connsiteY889" fmla="*/ 336233 h 1744979"/>
                  <a:gd name="connsiteX890" fmla="*/ 1609725 w 1969770"/>
                  <a:gd name="connsiteY890" fmla="*/ 328613 h 1744979"/>
                  <a:gd name="connsiteX891" fmla="*/ 1602105 w 1969770"/>
                  <a:gd name="connsiteY891" fmla="*/ 320993 h 1744979"/>
                  <a:gd name="connsiteX892" fmla="*/ 1600200 w 1969770"/>
                  <a:gd name="connsiteY892" fmla="*/ 314325 h 1744979"/>
                  <a:gd name="connsiteX893" fmla="*/ 1597343 w 1969770"/>
                  <a:gd name="connsiteY893" fmla="*/ 310515 h 1744979"/>
                  <a:gd name="connsiteX894" fmla="*/ 1594485 w 1969770"/>
                  <a:gd name="connsiteY894" fmla="*/ 306705 h 1744979"/>
                  <a:gd name="connsiteX895" fmla="*/ 1590675 w 1969770"/>
                  <a:gd name="connsiteY895" fmla="*/ 301943 h 1744979"/>
                  <a:gd name="connsiteX896" fmla="*/ 1590675 w 1969770"/>
                  <a:gd name="connsiteY896" fmla="*/ 301943 h 1744979"/>
                  <a:gd name="connsiteX897" fmla="*/ 1660208 w 1969770"/>
                  <a:gd name="connsiteY897" fmla="*/ 511493 h 1744979"/>
                  <a:gd name="connsiteX898" fmla="*/ 1664018 w 1969770"/>
                  <a:gd name="connsiteY898" fmla="*/ 518160 h 1744979"/>
                  <a:gd name="connsiteX899" fmla="*/ 1668780 w 1969770"/>
                  <a:gd name="connsiteY899" fmla="*/ 524828 h 1744979"/>
                  <a:gd name="connsiteX900" fmla="*/ 1674495 w 1969770"/>
                  <a:gd name="connsiteY900" fmla="*/ 531495 h 1744979"/>
                  <a:gd name="connsiteX901" fmla="*/ 1681163 w 1969770"/>
                  <a:gd name="connsiteY901" fmla="*/ 538163 h 1744979"/>
                  <a:gd name="connsiteX902" fmla="*/ 1687830 w 1969770"/>
                  <a:gd name="connsiteY902" fmla="*/ 544830 h 1744979"/>
                  <a:gd name="connsiteX903" fmla="*/ 1695450 w 1969770"/>
                  <a:gd name="connsiteY903" fmla="*/ 551498 h 1744979"/>
                  <a:gd name="connsiteX904" fmla="*/ 1703070 w 1969770"/>
                  <a:gd name="connsiteY904" fmla="*/ 558165 h 1744979"/>
                  <a:gd name="connsiteX905" fmla="*/ 1710690 w 1969770"/>
                  <a:gd name="connsiteY905" fmla="*/ 564833 h 1744979"/>
                  <a:gd name="connsiteX906" fmla="*/ 1727835 w 1969770"/>
                  <a:gd name="connsiteY906" fmla="*/ 579120 h 1744979"/>
                  <a:gd name="connsiteX907" fmla="*/ 1745933 w 1969770"/>
                  <a:gd name="connsiteY907" fmla="*/ 595313 h 1744979"/>
                  <a:gd name="connsiteX908" fmla="*/ 1754505 w 1969770"/>
                  <a:gd name="connsiteY908" fmla="*/ 603885 h 1744979"/>
                  <a:gd name="connsiteX909" fmla="*/ 1763078 w 1969770"/>
                  <a:gd name="connsiteY909" fmla="*/ 612458 h 1744979"/>
                  <a:gd name="connsiteX910" fmla="*/ 1771650 w 1969770"/>
                  <a:gd name="connsiteY910" fmla="*/ 621983 h 1744979"/>
                  <a:gd name="connsiteX911" fmla="*/ 1780223 w 1969770"/>
                  <a:gd name="connsiteY911" fmla="*/ 631508 h 1744979"/>
                  <a:gd name="connsiteX912" fmla="*/ 1784985 w 1969770"/>
                  <a:gd name="connsiteY912" fmla="*/ 637223 h 1744979"/>
                  <a:gd name="connsiteX913" fmla="*/ 1789748 w 1969770"/>
                  <a:gd name="connsiteY913" fmla="*/ 643890 h 1744979"/>
                  <a:gd name="connsiteX914" fmla="*/ 1794510 w 1969770"/>
                  <a:gd name="connsiteY914" fmla="*/ 651510 h 1744979"/>
                  <a:gd name="connsiteX915" fmla="*/ 1799273 w 1969770"/>
                  <a:gd name="connsiteY915" fmla="*/ 659130 h 1744979"/>
                  <a:gd name="connsiteX916" fmla="*/ 1804035 w 1969770"/>
                  <a:gd name="connsiteY916" fmla="*/ 666750 h 1744979"/>
                  <a:gd name="connsiteX917" fmla="*/ 1808798 w 1969770"/>
                  <a:gd name="connsiteY917" fmla="*/ 675323 h 1744979"/>
                  <a:gd name="connsiteX918" fmla="*/ 1813560 w 1969770"/>
                  <a:gd name="connsiteY918" fmla="*/ 684848 h 1744979"/>
                  <a:gd name="connsiteX919" fmla="*/ 1817370 w 1969770"/>
                  <a:gd name="connsiteY919" fmla="*/ 694373 h 1744979"/>
                  <a:gd name="connsiteX920" fmla="*/ 1821180 w 1969770"/>
                  <a:gd name="connsiteY920" fmla="*/ 703898 h 1744979"/>
                  <a:gd name="connsiteX921" fmla="*/ 1824990 w 1969770"/>
                  <a:gd name="connsiteY921" fmla="*/ 713423 h 1744979"/>
                  <a:gd name="connsiteX922" fmla="*/ 1828800 w 1969770"/>
                  <a:gd name="connsiteY922" fmla="*/ 722948 h 1744979"/>
                  <a:gd name="connsiteX923" fmla="*/ 1832610 w 1969770"/>
                  <a:gd name="connsiteY923" fmla="*/ 732473 h 1744979"/>
                  <a:gd name="connsiteX924" fmla="*/ 1835468 w 1969770"/>
                  <a:gd name="connsiteY924" fmla="*/ 741998 h 1744979"/>
                  <a:gd name="connsiteX925" fmla="*/ 1838325 w 1969770"/>
                  <a:gd name="connsiteY925" fmla="*/ 751523 h 1744979"/>
                  <a:gd name="connsiteX926" fmla="*/ 1841183 w 1969770"/>
                  <a:gd name="connsiteY926" fmla="*/ 761048 h 1744979"/>
                  <a:gd name="connsiteX927" fmla="*/ 1843088 w 1969770"/>
                  <a:gd name="connsiteY927" fmla="*/ 770573 h 1744979"/>
                  <a:gd name="connsiteX928" fmla="*/ 1851660 w 1969770"/>
                  <a:gd name="connsiteY928" fmla="*/ 693420 h 1744979"/>
                  <a:gd name="connsiteX929" fmla="*/ 1854518 w 1969770"/>
                  <a:gd name="connsiteY929" fmla="*/ 678180 h 1744979"/>
                  <a:gd name="connsiteX930" fmla="*/ 1857375 w 1969770"/>
                  <a:gd name="connsiteY930" fmla="*/ 662940 h 1744979"/>
                  <a:gd name="connsiteX931" fmla="*/ 1860233 w 1969770"/>
                  <a:gd name="connsiteY931" fmla="*/ 647700 h 1744979"/>
                  <a:gd name="connsiteX932" fmla="*/ 1863090 w 1969770"/>
                  <a:gd name="connsiteY932" fmla="*/ 631508 h 1744979"/>
                  <a:gd name="connsiteX933" fmla="*/ 1864995 w 1969770"/>
                  <a:gd name="connsiteY933" fmla="*/ 615315 h 1744979"/>
                  <a:gd name="connsiteX934" fmla="*/ 1866900 w 1969770"/>
                  <a:gd name="connsiteY934" fmla="*/ 599123 h 1744979"/>
                  <a:gd name="connsiteX935" fmla="*/ 1868805 w 1969770"/>
                  <a:gd name="connsiteY935" fmla="*/ 582930 h 1744979"/>
                  <a:gd name="connsiteX936" fmla="*/ 1869758 w 1969770"/>
                  <a:gd name="connsiteY936" fmla="*/ 566738 h 1744979"/>
                  <a:gd name="connsiteX937" fmla="*/ 1870710 w 1969770"/>
                  <a:gd name="connsiteY937" fmla="*/ 550545 h 1744979"/>
                  <a:gd name="connsiteX938" fmla="*/ 1871663 w 1969770"/>
                  <a:gd name="connsiteY938" fmla="*/ 534353 h 1744979"/>
                  <a:gd name="connsiteX939" fmla="*/ 1871663 w 1969770"/>
                  <a:gd name="connsiteY939" fmla="*/ 518160 h 1744979"/>
                  <a:gd name="connsiteX940" fmla="*/ 1870710 w 1969770"/>
                  <a:gd name="connsiteY940" fmla="*/ 501968 h 1744979"/>
                  <a:gd name="connsiteX941" fmla="*/ 1869758 w 1969770"/>
                  <a:gd name="connsiteY941" fmla="*/ 494348 h 1744979"/>
                  <a:gd name="connsiteX942" fmla="*/ 1868805 w 1969770"/>
                  <a:gd name="connsiteY942" fmla="*/ 486728 h 1744979"/>
                  <a:gd name="connsiteX943" fmla="*/ 1867853 w 1969770"/>
                  <a:gd name="connsiteY943" fmla="*/ 479108 h 1744979"/>
                  <a:gd name="connsiteX944" fmla="*/ 1866900 w 1969770"/>
                  <a:gd name="connsiteY944" fmla="*/ 471488 h 1744979"/>
                  <a:gd name="connsiteX945" fmla="*/ 1865948 w 1969770"/>
                  <a:gd name="connsiteY945" fmla="*/ 463868 h 1744979"/>
                  <a:gd name="connsiteX946" fmla="*/ 1864995 w 1969770"/>
                  <a:gd name="connsiteY946" fmla="*/ 456248 h 1744979"/>
                  <a:gd name="connsiteX947" fmla="*/ 1863090 w 1969770"/>
                  <a:gd name="connsiteY947" fmla="*/ 448628 h 1744979"/>
                  <a:gd name="connsiteX948" fmla="*/ 1861185 w 1969770"/>
                  <a:gd name="connsiteY948" fmla="*/ 441008 h 1744979"/>
                  <a:gd name="connsiteX949" fmla="*/ 1872615 w 1969770"/>
                  <a:gd name="connsiteY949" fmla="*/ 461963 h 1744979"/>
                  <a:gd name="connsiteX950" fmla="*/ 1884045 w 1969770"/>
                  <a:gd name="connsiteY950" fmla="*/ 482918 h 1744979"/>
                  <a:gd name="connsiteX951" fmla="*/ 1889760 w 1969770"/>
                  <a:gd name="connsiteY951" fmla="*/ 493395 h 1744979"/>
                  <a:gd name="connsiteX952" fmla="*/ 1895475 w 1969770"/>
                  <a:gd name="connsiteY952" fmla="*/ 503873 h 1744979"/>
                  <a:gd name="connsiteX953" fmla="*/ 1900238 w 1969770"/>
                  <a:gd name="connsiteY953" fmla="*/ 514350 h 1744979"/>
                  <a:gd name="connsiteX954" fmla="*/ 1905000 w 1969770"/>
                  <a:gd name="connsiteY954" fmla="*/ 524828 h 1744979"/>
                  <a:gd name="connsiteX955" fmla="*/ 1908810 w 1969770"/>
                  <a:gd name="connsiteY955" fmla="*/ 535305 h 1744979"/>
                  <a:gd name="connsiteX956" fmla="*/ 1912620 w 1969770"/>
                  <a:gd name="connsiteY956" fmla="*/ 545783 h 1744979"/>
                  <a:gd name="connsiteX957" fmla="*/ 1916430 w 1969770"/>
                  <a:gd name="connsiteY957" fmla="*/ 557213 h 1744979"/>
                  <a:gd name="connsiteX958" fmla="*/ 1919288 w 1969770"/>
                  <a:gd name="connsiteY958" fmla="*/ 568643 h 1744979"/>
                  <a:gd name="connsiteX959" fmla="*/ 1921193 w 1969770"/>
                  <a:gd name="connsiteY959" fmla="*/ 580073 h 1744979"/>
                  <a:gd name="connsiteX960" fmla="*/ 1923098 w 1969770"/>
                  <a:gd name="connsiteY960" fmla="*/ 592455 h 1744979"/>
                  <a:gd name="connsiteX961" fmla="*/ 1924050 w 1969770"/>
                  <a:gd name="connsiteY961" fmla="*/ 598170 h 1744979"/>
                  <a:gd name="connsiteX962" fmla="*/ 1925003 w 1969770"/>
                  <a:gd name="connsiteY962" fmla="*/ 604838 h 1744979"/>
                  <a:gd name="connsiteX963" fmla="*/ 1925003 w 1969770"/>
                  <a:gd name="connsiteY963" fmla="*/ 610553 h 1744979"/>
                  <a:gd name="connsiteX964" fmla="*/ 1925003 w 1969770"/>
                  <a:gd name="connsiteY964" fmla="*/ 617220 h 1744979"/>
                  <a:gd name="connsiteX965" fmla="*/ 1925003 w 1969770"/>
                  <a:gd name="connsiteY965" fmla="*/ 625793 h 1744979"/>
                  <a:gd name="connsiteX966" fmla="*/ 1925003 w 1969770"/>
                  <a:gd name="connsiteY966" fmla="*/ 634365 h 1744979"/>
                  <a:gd name="connsiteX967" fmla="*/ 1924050 w 1969770"/>
                  <a:gd name="connsiteY967" fmla="*/ 642938 h 1744979"/>
                  <a:gd name="connsiteX968" fmla="*/ 1923098 w 1969770"/>
                  <a:gd name="connsiteY968" fmla="*/ 651510 h 1744979"/>
                  <a:gd name="connsiteX969" fmla="*/ 1922145 w 1969770"/>
                  <a:gd name="connsiteY969" fmla="*/ 659130 h 1744979"/>
                  <a:gd name="connsiteX970" fmla="*/ 1921193 w 1969770"/>
                  <a:gd name="connsiteY970" fmla="*/ 666750 h 1744979"/>
                  <a:gd name="connsiteX971" fmla="*/ 1919288 w 1969770"/>
                  <a:gd name="connsiteY971" fmla="*/ 674370 h 1744979"/>
                  <a:gd name="connsiteX972" fmla="*/ 1917383 w 1969770"/>
                  <a:gd name="connsiteY972" fmla="*/ 681990 h 1744979"/>
                  <a:gd name="connsiteX973" fmla="*/ 1915478 w 1969770"/>
                  <a:gd name="connsiteY973" fmla="*/ 689610 h 1744979"/>
                  <a:gd name="connsiteX974" fmla="*/ 1912620 w 1969770"/>
                  <a:gd name="connsiteY974" fmla="*/ 697230 h 1744979"/>
                  <a:gd name="connsiteX975" fmla="*/ 1909763 w 1969770"/>
                  <a:gd name="connsiteY975" fmla="*/ 704850 h 1744979"/>
                  <a:gd name="connsiteX976" fmla="*/ 1906905 w 1969770"/>
                  <a:gd name="connsiteY976" fmla="*/ 712470 h 1744979"/>
                  <a:gd name="connsiteX977" fmla="*/ 1901190 w 1969770"/>
                  <a:gd name="connsiteY977" fmla="*/ 726758 h 1744979"/>
                  <a:gd name="connsiteX978" fmla="*/ 1895475 w 1969770"/>
                  <a:gd name="connsiteY978" fmla="*/ 741045 h 1744979"/>
                  <a:gd name="connsiteX979" fmla="*/ 1882140 w 1969770"/>
                  <a:gd name="connsiteY979" fmla="*/ 769620 h 1744979"/>
                  <a:gd name="connsiteX980" fmla="*/ 1869758 w 1969770"/>
                  <a:gd name="connsiteY980" fmla="*/ 798195 h 1744979"/>
                  <a:gd name="connsiteX981" fmla="*/ 1863090 w 1969770"/>
                  <a:gd name="connsiteY981" fmla="*/ 812483 h 1744979"/>
                  <a:gd name="connsiteX982" fmla="*/ 1857375 w 1969770"/>
                  <a:gd name="connsiteY982" fmla="*/ 826770 h 1744979"/>
                  <a:gd name="connsiteX983" fmla="*/ 1851660 w 1969770"/>
                  <a:gd name="connsiteY983" fmla="*/ 841058 h 1744979"/>
                  <a:gd name="connsiteX984" fmla="*/ 1845945 w 1969770"/>
                  <a:gd name="connsiteY984" fmla="*/ 856298 h 1744979"/>
                  <a:gd name="connsiteX985" fmla="*/ 1844993 w 1969770"/>
                  <a:gd name="connsiteY985" fmla="*/ 851535 h 1744979"/>
                  <a:gd name="connsiteX986" fmla="*/ 1844040 w 1969770"/>
                  <a:gd name="connsiteY986" fmla="*/ 845820 h 1744979"/>
                  <a:gd name="connsiteX987" fmla="*/ 1843088 w 1969770"/>
                  <a:gd name="connsiteY987" fmla="*/ 840105 h 1744979"/>
                  <a:gd name="connsiteX988" fmla="*/ 1841183 w 1969770"/>
                  <a:gd name="connsiteY988" fmla="*/ 834390 h 1744979"/>
                  <a:gd name="connsiteX989" fmla="*/ 1839278 w 1969770"/>
                  <a:gd name="connsiteY989" fmla="*/ 828675 h 1744979"/>
                  <a:gd name="connsiteX990" fmla="*/ 1836420 w 1969770"/>
                  <a:gd name="connsiteY990" fmla="*/ 822960 h 1744979"/>
                  <a:gd name="connsiteX991" fmla="*/ 1833563 w 1969770"/>
                  <a:gd name="connsiteY991" fmla="*/ 816293 h 1744979"/>
                  <a:gd name="connsiteX992" fmla="*/ 1830705 w 1969770"/>
                  <a:gd name="connsiteY992" fmla="*/ 810578 h 1744979"/>
                  <a:gd name="connsiteX993" fmla="*/ 1824038 w 1969770"/>
                  <a:gd name="connsiteY993" fmla="*/ 798195 h 1744979"/>
                  <a:gd name="connsiteX994" fmla="*/ 1817370 w 1969770"/>
                  <a:gd name="connsiteY994" fmla="*/ 784860 h 1744979"/>
                  <a:gd name="connsiteX995" fmla="*/ 1809750 w 1969770"/>
                  <a:gd name="connsiteY995" fmla="*/ 771525 h 1744979"/>
                  <a:gd name="connsiteX996" fmla="*/ 1802130 w 1969770"/>
                  <a:gd name="connsiteY996" fmla="*/ 758190 h 1744979"/>
                  <a:gd name="connsiteX997" fmla="*/ 1794510 w 1969770"/>
                  <a:gd name="connsiteY997" fmla="*/ 745808 h 1744979"/>
                  <a:gd name="connsiteX998" fmla="*/ 1785938 w 1969770"/>
                  <a:gd name="connsiteY998" fmla="*/ 733425 h 1744979"/>
                  <a:gd name="connsiteX999" fmla="*/ 1777365 w 1969770"/>
                  <a:gd name="connsiteY999" fmla="*/ 721043 h 1744979"/>
                  <a:gd name="connsiteX1000" fmla="*/ 1768793 w 1969770"/>
                  <a:gd name="connsiteY1000" fmla="*/ 710565 h 1744979"/>
                  <a:gd name="connsiteX1001" fmla="*/ 1761173 w 1969770"/>
                  <a:gd name="connsiteY1001" fmla="*/ 700088 h 1744979"/>
                  <a:gd name="connsiteX1002" fmla="*/ 1753553 w 1969770"/>
                  <a:gd name="connsiteY1002" fmla="*/ 690563 h 1744979"/>
                  <a:gd name="connsiteX1003" fmla="*/ 1745933 w 1969770"/>
                  <a:gd name="connsiteY1003" fmla="*/ 682943 h 1744979"/>
                  <a:gd name="connsiteX1004" fmla="*/ 1739265 w 1969770"/>
                  <a:gd name="connsiteY1004" fmla="*/ 676275 h 1744979"/>
                  <a:gd name="connsiteX1005" fmla="*/ 1729740 w 1969770"/>
                  <a:gd name="connsiteY1005" fmla="*/ 663893 h 1744979"/>
                  <a:gd name="connsiteX1006" fmla="*/ 1721168 w 1969770"/>
                  <a:gd name="connsiteY1006" fmla="*/ 653415 h 1744979"/>
                  <a:gd name="connsiteX1007" fmla="*/ 1714500 w 1969770"/>
                  <a:gd name="connsiteY1007" fmla="*/ 642938 h 1744979"/>
                  <a:gd name="connsiteX1008" fmla="*/ 1707833 w 1969770"/>
                  <a:gd name="connsiteY1008" fmla="*/ 633413 h 1744979"/>
                  <a:gd name="connsiteX1009" fmla="*/ 1702118 w 1969770"/>
                  <a:gd name="connsiteY1009" fmla="*/ 624840 h 1744979"/>
                  <a:gd name="connsiteX1010" fmla="*/ 1697355 w 1969770"/>
                  <a:gd name="connsiteY1010" fmla="*/ 616268 h 1744979"/>
                  <a:gd name="connsiteX1011" fmla="*/ 1693545 w 1969770"/>
                  <a:gd name="connsiteY1011" fmla="*/ 608648 h 1744979"/>
                  <a:gd name="connsiteX1012" fmla="*/ 1689735 w 1969770"/>
                  <a:gd name="connsiteY1012" fmla="*/ 601028 h 1744979"/>
                  <a:gd name="connsiteX1013" fmla="*/ 1685925 w 1969770"/>
                  <a:gd name="connsiteY1013" fmla="*/ 592455 h 1744979"/>
                  <a:gd name="connsiteX1014" fmla="*/ 1683068 w 1969770"/>
                  <a:gd name="connsiteY1014" fmla="*/ 583883 h 1744979"/>
                  <a:gd name="connsiteX1015" fmla="*/ 1679258 w 1969770"/>
                  <a:gd name="connsiteY1015" fmla="*/ 574358 h 1744979"/>
                  <a:gd name="connsiteX1016" fmla="*/ 1675448 w 1969770"/>
                  <a:gd name="connsiteY1016" fmla="*/ 563880 h 1744979"/>
                  <a:gd name="connsiteX1017" fmla="*/ 1667828 w 1969770"/>
                  <a:gd name="connsiteY1017" fmla="*/ 541020 h 1744979"/>
                  <a:gd name="connsiteX1018" fmla="*/ 1660208 w 1969770"/>
                  <a:gd name="connsiteY1018" fmla="*/ 511493 h 1744979"/>
                  <a:gd name="connsiteX1019" fmla="*/ 1660208 w 1969770"/>
                  <a:gd name="connsiteY1019" fmla="*/ 511493 h 1744979"/>
                  <a:gd name="connsiteX1020" fmla="*/ 1721168 w 1969770"/>
                  <a:gd name="connsiteY1020" fmla="*/ 711518 h 1744979"/>
                  <a:gd name="connsiteX1021" fmla="*/ 1733550 w 1969770"/>
                  <a:gd name="connsiteY1021" fmla="*/ 727710 h 1744979"/>
                  <a:gd name="connsiteX1022" fmla="*/ 1744980 w 1969770"/>
                  <a:gd name="connsiteY1022" fmla="*/ 743903 h 1744979"/>
                  <a:gd name="connsiteX1023" fmla="*/ 1756410 w 1969770"/>
                  <a:gd name="connsiteY1023" fmla="*/ 759143 h 1744979"/>
                  <a:gd name="connsiteX1024" fmla="*/ 1766888 w 1969770"/>
                  <a:gd name="connsiteY1024" fmla="*/ 774383 h 1744979"/>
                  <a:gd name="connsiteX1025" fmla="*/ 1776413 w 1969770"/>
                  <a:gd name="connsiteY1025" fmla="*/ 788670 h 1744979"/>
                  <a:gd name="connsiteX1026" fmla="*/ 1784985 w 1969770"/>
                  <a:gd name="connsiteY1026" fmla="*/ 803910 h 1744979"/>
                  <a:gd name="connsiteX1027" fmla="*/ 1788795 w 1969770"/>
                  <a:gd name="connsiteY1027" fmla="*/ 811530 h 1744979"/>
                  <a:gd name="connsiteX1028" fmla="*/ 1792605 w 1969770"/>
                  <a:gd name="connsiteY1028" fmla="*/ 819150 h 1744979"/>
                  <a:gd name="connsiteX1029" fmla="*/ 1796415 w 1969770"/>
                  <a:gd name="connsiteY1029" fmla="*/ 826770 h 1744979"/>
                  <a:gd name="connsiteX1030" fmla="*/ 1800225 w 1969770"/>
                  <a:gd name="connsiteY1030" fmla="*/ 834390 h 1744979"/>
                  <a:gd name="connsiteX1031" fmla="*/ 1803083 w 1969770"/>
                  <a:gd name="connsiteY1031" fmla="*/ 842010 h 1744979"/>
                  <a:gd name="connsiteX1032" fmla="*/ 1805940 w 1969770"/>
                  <a:gd name="connsiteY1032" fmla="*/ 849630 h 1744979"/>
                  <a:gd name="connsiteX1033" fmla="*/ 1808798 w 1969770"/>
                  <a:gd name="connsiteY1033" fmla="*/ 857250 h 1744979"/>
                  <a:gd name="connsiteX1034" fmla="*/ 1811655 w 1969770"/>
                  <a:gd name="connsiteY1034" fmla="*/ 865823 h 1744979"/>
                  <a:gd name="connsiteX1035" fmla="*/ 1814513 w 1969770"/>
                  <a:gd name="connsiteY1035" fmla="*/ 874395 h 1744979"/>
                  <a:gd name="connsiteX1036" fmla="*/ 1816418 w 1969770"/>
                  <a:gd name="connsiteY1036" fmla="*/ 882968 h 1744979"/>
                  <a:gd name="connsiteX1037" fmla="*/ 1818323 w 1969770"/>
                  <a:gd name="connsiteY1037" fmla="*/ 891540 h 1744979"/>
                  <a:gd name="connsiteX1038" fmla="*/ 1820228 w 1969770"/>
                  <a:gd name="connsiteY1038" fmla="*/ 901065 h 1744979"/>
                  <a:gd name="connsiteX1039" fmla="*/ 1821180 w 1969770"/>
                  <a:gd name="connsiteY1039" fmla="*/ 910590 h 1744979"/>
                  <a:gd name="connsiteX1040" fmla="*/ 1822133 w 1969770"/>
                  <a:gd name="connsiteY1040" fmla="*/ 920115 h 1744979"/>
                  <a:gd name="connsiteX1041" fmla="*/ 1823085 w 1969770"/>
                  <a:gd name="connsiteY1041" fmla="*/ 929640 h 1744979"/>
                  <a:gd name="connsiteX1042" fmla="*/ 1824038 w 1969770"/>
                  <a:gd name="connsiteY1042" fmla="*/ 940118 h 1744979"/>
                  <a:gd name="connsiteX1043" fmla="*/ 1824038 w 1969770"/>
                  <a:gd name="connsiteY1043" fmla="*/ 950595 h 1744979"/>
                  <a:gd name="connsiteX1044" fmla="*/ 1824038 w 1969770"/>
                  <a:gd name="connsiteY1044" fmla="*/ 961073 h 1744979"/>
                  <a:gd name="connsiteX1045" fmla="*/ 1824038 w 1969770"/>
                  <a:gd name="connsiteY1045" fmla="*/ 972503 h 1744979"/>
                  <a:gd name="connsiteX1046" fmla="*/ 1824038 w 1969770"/>
                  <a:gd name="connsiteY1046" fmla="*/ 983933 h 1744979"/>
                  <a:gd name="connsiteX1047" fmla="*/ 1825943 w 1969770"/>
                  <a:gd name="connsiteY1047" fmla="*/ 974408 h 1744979"/>
                  <a:gd name="connsiteX1048" fmla="*/ 1828800 w 1969770"/>
                  <a:gd name="connsiteY1048" fmla="*/ 963930 h 1744979"/>
                  <a:gd name="connsiteX1049" fmla="*/ 1831658 w 1969770"/>
                  <a:gd name="connsiteY1049" fmla="*/ 954405 h 1744979"/>
                  <a:gd name="connsiteX1050" fmla="*/ 1834515 w 1969770"/>
                  <a:gd name="connsiteY1050" fmla="*/ 943928 h 1744979"/>
                  <a:gd name="connsiteX1051" fmla="*/ 1838325 w 1969770"/>
                  <a:gd name="connsiteY1051" fmla="*/ 934403 h 1744979"/>
                  <a:gd name="connsiteX1052" fmla="*/ 1842135 w 1969770"/>
                  <a:gd name="connsiteY1052" fmla="*/ 923925 h 1744979"/>
                  <a:gd name="connsiteX1053" fmla="*/ 1845945 w 1969770"/>
                  <a:gd name="connsiteY1053" fmla="*/ 914400 h 1744979"/>
                  <a:gd name="connsiteX1054" fmla="*/ 1850708 w 1969770"/>
                  <a:gd name="connsiteY1054" fmla="*/ 904875 h 1744979"/>
                  <a:gd name="connsiteX1055" fmla="*/ 1860233 w 1969770"/>
                  <a:gd name="connsiteY1055" fmla="*/ 884873 h 1744979"/>
                  <a:gd name="connsiteX1056" fmla="*/ 1870710 w 1969770"/>
                  <a:gd name="connsiteY1056" fmla="*/ 864870 h 1744979"/>
                  <a:gd name="connsiteX1057" fmla="*/ 1881188 w 1969770"/>
                  <a:gd name="connsiteY1057" fmla="*/ 844868 h 1744979"/>
                  <a:gd name="connsiteX1058" fmla="*/ 1891665 w 1969770"/>
                  <a:gd name="connsiteY1058" fmla="*/ 825818 h 1744979"/>
                  <a:gd name="connsiteX1059" fmla="*/ 1902143 w 1969770"/>
                  <a:gd name="connsiteY1059" fmla="*/ 806768 h 1744979"/>
                  <a:gd name="connsiteX1060" fmla="*/ 1911668 w 1969770"/>
                  <a:gd name="connsiteY1060" fmla="*/ 787718 h 1744979"/>
                  <a:gd name="connsiteX1061" fmla="*/ 1916430 w 1969770"/>
                  <a:gd name="connsiteY1061" fmla="*/ 778193 h 1744979"/>
                  <a:gd name="connsiteX1062" fmla="*/ 1921193 w 1969770"/>
                  <a:gd name="connsiteY1062" fmla="*/ 768668 h 1744979"/>
                  <a:gd name="connsiteX1063" fmla="*/ 1925003 w 1969770"/>
                  <a:gd name="connsiteY1063" fmla="*/ 759143 h 1744979"/>
                  <a:gd name="connsiteX1064" fmla="*/ 1928813 w 1969770"/>
                  <a:gd name="connsiteY1064" fmla="*/ 749618 h 1744979"/>
                  <a:gd name="connsiteX1065" fmla="*/ 1932623 w 1969770"/>
                  <a:gd name="connsiteY1065" fmla="*/ 740093 h 1744979"/>
                  <a:gd name="connsiteX1066" fmla="*/ 1935480 w 1969770"/>
                  <a:gd name="connsiteY1066" fmla="*/ 730568 h 1744979"/>
                  <a:gd name="connsiteX1067" fmla="*/ 1938338 w 1969770"/>
                  <a:gd name="connsiteY1067" fmla="*/ 721043 h 1744979"/>
                  <a:gd name="connsiteX1068" fmla="*/ 1941195 w 1969770"/>
                  <a:gd name="connsiteY1068" fmla="*/ 711518 h 1744979"/>
                  <a:gd name="connsiteX1069" fmla="*/ 1943100 w 1969770"/>
                  <a:gd name="connsiteY1069" fmla="*/ 702945 h 1744979"/>
                  <a:gd name="connsiteX1070" fmla="*/ 1945005 w 1969770"/>
                  <a:gd name="connsiteY1070" fmla="*/ 694373 h 1744979"/>
                  <a:gd name="connsiteX1071" fmla="*/ 1945958 w 1969770"/>
                  <a:gd name="connsiteY1071" fmla="*/ 685800 h 1744979"/>
                  <a:gd name="connsiteX1072" fmla="*/ 1946910 w 1969770"/>
                  <a:gd name="connsiteY1072" fmla="*/ 677228 h 1744979"/>
                  <a:gd name="connsiteX1073" fmla="*/ 1950720 w 1969770"/>
                  <a:gd name="connsiteY1073" fmla="*/ 696278 h 1744979"/>
                  <a:gd name="connsiteX1074" fmla="*/ 1953578 w 1969770"/>
                  <a:gd name="connsiteY1074" fmla="*/ 714375 h 1744979"/>
                  <a:gd name="connsiteX1075" fmla="*/ 1956435 w 1969770"/>
                  <a:gd name="connsiteY1075" fmla="*/ 731520 h 1744979"/>
                  <a:gd name="connsiteX1076" fmla="*/ 1958340 w 1969770"/>
                  <a:gd name="connsiteY1076" fmla="*/ 747713 h 1744979"/>
                  <a:gd name="connsiteX1077" fmla="*/ 1959293 w 1969770"/>
                  <a:gd name="connsiteY1077" fmla="*/ 763905 h 1744979"/>
                  <a:gd name="connsiteX1078" fmla="*/ 1959293 w 1969770"/>
                  <a:gd name="connsiteY1078" fmla="*/ 779145 h 1744979"/>
                  <a:gd name="connsiteX1079" fmla="*/ 1959293 w 1969770"/>
                  <a:gd name="connsiteY1079" fmla="*/ 793433 h 1744979"/>
                  <a:gd name="connsiteX1080" fmla="*/ 1958340 w 1969770"/>
                  <a:gd name="connsiteY1080" fmla="*/ 806768 h 1744979"/>
                  <a:gd name="connsiteX1081" fmla="*/ 1956435 w 1969770"/>
                  <a:gd name="connsiteY1081" fmla="*/ 820103 h 1744979"/>
                  <a:gd name="connsiteX1082" fmla="*/ 1954530 w 1969770"/>
                  <a:gd name="connsiteY1082" fmla="*/ 832485 h 1744979"/>
                  <a:gd name="connsiteX1083" fmla="*/ 1951673 w 1969770"/>
                  <a:gd name="connsiteY1083" fmla="*/ 843915 h 1744979"/>
                  <a:gd name="connsiteX1084" fmla="*/ 1947863 w 1969770"/>
                  <a:gd name="connsiteY1084" fmla="*/ 855345 h 1744979"/>
                  <a:gd name="connsiteX1085" fmla="*/ 1944053 w 1969770"/>
                  <a:gd name="connsiteY1085" fmla="*/ 866775 h 1744979"/>
                  <a:gd name="connsiteX1086" fmla="*/ 1940243 w 1969770"/>
                  <a:gd name="connsiteY1086" fmla="*/ 877253 h 1744979"/>
                  <a:gd name="connsiteX1087" fmla="*/ 1935480 w 1969770"/>
                  <a:gd name="connsiteY1087" fmla="*/ 887730 h 1744979"/>
                  <a:gd name="connsiteX1088" fmla="*/ 1930718 w 1969770"/>
                  <a:gd name="connsiteY1088" fmla="*/ 898208 h 1744979"/>
                  <a:gd name="connsiteX1089" fmla="*/ 1925003 w 1969770"/>
                  <a:gd name="connsiteY1089" fmla="*/ 908685 h 1744979"/>
                  <a:gd name="connsiteX1090" fmla="*/ 1919288 w 1969770"/>
                  <a:gd name="connsiteY1090" fmla="*/ 918210 h 1744979"/>
                  <a:gd name="connsiteX1091" fmla="*/ 1912620 w 1969770"/>
                  <a:gd name="connsiteY1091" fmla="*/ 927735 h 1744979"/>
                  <a:gd name="connsiteX1092" fmla="*/ 1905953 w 1969770"/>
                  <a:gd name="connsiteY1092" fmla="*/ 937260 h 1744979"/>
                  <a:gd name="connsiteX1093" fmla="*/ 1899285 w 1969770"/>
                  <a:gd name="connsiteY1093" fmla="*/ 946785 h 1744979"/>
                  <a:gd name="connsiteX1094" fmla="*/ 1891665 w 1969770"/>
                  <a:gd name="connsiteY1094" fmla="*/ 956310 h 1744979"/>
                  <a:gd name="connsiteX1095" fmla="*/ 1884045 w 1969770"/>
                  <a:gd name="connsiteY1095" fmla="*/ 965835 h 1744979"/>
                  <a:gd name="connsiteX1096" fmla="*/ 1876425 w 1969770"/>
                  <a:gd name="connsiteY1096" fmla="*/ 981075 h 1744979"/>
                  <a:gd name="connsiteX1097" fmla="*/ 1859280 w 1969770"/>
                  <a:gd name="connsiteY1097" fmla="*/ 1001078 h 1744979"/>
                  <a:gd name="connsiteX1098" fmla="*/ 1841183 w 1969770"/>
                  <a:gd name="connsiteY1098" fmla="*/ 1022985 h 1744979"/>
                  <a:gd name="connsiteX1099" fmla="*/ 1831658 w 1969770"/>
                  <a:gd name="connsiteY1099" fmla="*/ 1034415 h 1744979"/>
                  <a:gd name="connsiteX1100" fmla="*/ 1822133 w 1969770"/>
                  <a:gd name="connsiteY1100" fmla="*/ 1045845 h 1744979"/>
                  <a:gd name="connsiteX1101" fmla="*/ 1812608 w 1969770"/>
                  <a:gd name="connsiteY1101" fmla="*/ 1058228 h 1744979"/>
                  <a:gd name="connsiteX1102" fmla="*/ 1803083 w 1969770"/>
                  <a:gd name="connsiteY1102" fmla="*/ 1071563 h 1744979"/>
                  <a:gd name="connsiteX1103" fmla="*/ 1804035 w 1969770"/>
                  <a:gd name="connsiteY1103" fmla="*/ 1062038 h 1744979"/>
                  <a:gd name="connsiteX1104" fmla="*/ 1804035 w 1969770"/>
                  <a:gd name="connsiteY1104" fmla="*/ 1052513 h 1744979"/>
                  <a:gd name="connsiteX1105" fmla="*/ 1804035 w 1969770"/>
                  <a:gd name="connsiteY1105" fmla="*/ 1042988 h 1744979"/>
                  <a:gd name="connsiteX1106" fmla="*/ 1803083 w 1969770"/>
                  <a:gd name="connsiteY1106" fmla="*/ 1033463 h 1744979"/>
                  <a:gd name="connsiteX1107" fmla="*/ 1802130 w 1969770"/>
                  <a:gd name="connsiteY1107" fmla="*/ 1023938 h 1744979"/>
                  <a:gd name="connsiteX1108" fmla="*/ 1800225 w 1969770"/>
                  <a:gd name="connsiteY1108" fmla="*/ 1014413 h 1744979"/>
                  <a:gd name="connsiteX1109" fmla="*/ 1798320 w 1969770"/>
                  <a:gd name="connsiteY1109" fmla="*/ 1004888 h 1744979"/>
                  <a:gd name="connsiteX1110" fmla="*/ 1795463 w 1969770"/>
                  <a:gd name="connsiteY1110" fmla="*/ 994410 h 1744979"/>
                  <a:gd name="connsiteX1111" fmla="*/ 1792605 w 1969770"/>
                  <a:gd name="connsiteY1111" fmla="*/ 983933 h 1744979"/>
                  <a:gd name="connsiteX1112" fmla="*/ 1788795 w 1969770"/>
                  <a:gd name="connsiteY1112" fmla="*/ 973455 h 1744979"/>
                  <a:gd name="connsiteX1113" fmla="*/ 1784985 w 1969770"/>
                  <a:gd name="connsiteY1113" fmla="*/ 962978 h 1744979"/>
                  <a:gd name="connsiteX1114" fmla="*/ 1781175 w 1969770"/>
                  <a:gd name="connsiteY1114" fmla="*/ 952500 h 1744979"/>
                  <a:gd name="connsiteX1115" fmla="*/ 1772603 w 1969770"/>
                  <a:gd name="connsiteY1115" fmla="*/ 931545 h 1744979"/>
                  <a:gd name="connsiteX1116" fmla="*/ 1763078 w 1969770"/>
                  <a:gd name="connsiteY1116" fmla="*/ 908685 h 1744979"/>
                  <a:gd name="connsiteX1117" fmla="*/ 1754505 w 1969770"/>
                  <a:gd name="connsiteY1117" fmla="*/ 886778 h 1744979"/>
                  <a:gd name="connsiteX1118" fmla="*/ 1745933 w 1969770"/>
                  <a:gd name="connsiteY1118" fmla="*/ 863918 h 1744979"/>
                  <a:gd name="connsiteX1119" fmla="*/ 1742123 w 1969770"/>
                  <a:gd name="connsiteY1119" fmla="*/ 852488 h 1744979"/>
                  <a:gd name="connsiteX1120" fmla="*/ 1738313 w 1969770"/>
                  <a:gd name="connsiteY1120" fmla="*/ 841058 h 1744979"/>
                  <a:gd name="connsiteX1121" fmla="*/ 1734503 w 1969770"/>
                  <a:gd name="connsiteY1121" fmla="*/ 828675 h 1744979"/>
                  <a:gd name="connsiteX1122" fmla="*/ 1730693 w 1969770"/>
                  <a:gd name="connsiteY1122" fmla="*/ 816293 h 1744979"/>
                  <a:gd name="connsiteX1123" fmla="*/ 1727835 w 1969770"/>
                  <a:gd name="connsiteY1123" fmla="*/ 803910 h 1744979"/>
                  <a:gd name="connsiteX1124" fmla="*/ 1724978 w 1969770"/>
                  <a:gd name="connsiteY1124" fmla="*/ 791528 h 1744979"/>
                  <a:gd name="connsiteX1125" fmla="*/ 1722120 w 1969770"/>
                  <a:gd name="connsiteY1125" fmla="*/ 778193 h 1744979"/>
                  <a:gd name="connsiteX1126" fmla="*/ 1721168 w 1969770"/>
                  <a:gd name="connsiteY1126" fmla="*/ 765810 h 1744979"/>
                  <a:gd name="connsiteX1127" fmla="*/ 1720215 w 1969770"/>
                  <a:gd name="connsiteY1127" fmla="*/ 752475 h 1744979"/>
                  <a:gd name="connsiteX1128" fmla="*/ 1720215 w 1969770"/>
                  <a:gd name="connsiteY1128" fmla="*/ 739140 h 1744979"/>
                  <a:gd name="connsiteX1129" fmla="*/ 1720215 w 1969770"/>
                  <a:gd name="connsiteY1129" fmla="*/ 725805 h 1744979"/>
                  <a:gd name="connsiteX1130" fmla="*/ 1721168 w 1969770"/>
                  <a:gd name="connsiteY1130" fmla="*/ 711518 h 1744979"/>
                  <a:gd name="connsiteX1131" fmla="*/ 1721168 w 1969770"/>
                  <a:gd name="connsiteY1131" fmla="*/ 711518 h 1744979"/>
                  <a:gd name="connsiteX1132" fmla="*/ 1704023 w 1969770"/>
                  <a:gd name="connsiteY1132" fmla="*/ 1283018 h 1744979"/>
                  <a:gd name="connsiteX1133" fmla="*/ 1706880 w 1969770"/>
                  <a:gd name="connsiteY1133" fmla="*/ 1272540 h 1744979"/>
                  <a:gd name="connsiteX1134" fmla="*/ 1709738 w 1969770"/>
                  <a:gd name="connsiteY1134" fmla="*/ 1262063 h 1744979"/>
                  <a:gd name="connsiteX1135" fmla="*/ 1711643 w 1969770"/>
                  <a:gd name="connsiteY1135" fmla="*/ 1251585 h 1744979"/>
                  <a:gd name="connsiteX1136" fmla="*/ 1713548 w 1969770"/>
                  <a:gd name="connsiteY1136" fmla="*/ 1241108 h 1744979"/>
                  <a:gd name="connsiteX1137" fmla="*/ 1714500 w 1969770"/>
                  <a:gd name="connsiteY1137" fmla="*/ 1230630 h 1744979"/>
                  <a:gd name="connsiteX1138" fmla="*/ 1715453 w 1969770"/>
                  <a:gd name="connsiteY1138" fmla="*/ 1219200 h 1744979"/>
                  <a:gd name="connsiteX1139" fmla="*/ 1715453 w 1969770"/>
                  <a:gd name="connsiteY1139" fmla="*/ 1207770 h 1744979"/>
                  <a:gd name="connsiteX1140" fmla="*/ 1715453 w 1969770"/>
                  <a:gd name="connsiteY1140" fmla="*/ 1196340 h 1744979"/>
                  <a:gd name="connsiteX1141" fmla="*/ 1715453 w 1969770"/>
                  <a:gd name="connsiteY1141" fmla="*/ 1183958 h 1744979"/>
                  <a:gd name="connsiteX1142" fmla="*/ 1714500 w 1969770"/>
                  <a:gd name="connsiteY1142" fmla="*/ 1171575 h 1744979"/>
                  <a:gd name="connsiteX1143" fmla="*/ 1713548 w 1969770"/>
                  <a:gd name="connsiteY1143" fmla="*/ 1159193 h 1744979"/>
                  <a:gd name="connsiteX1144" fmla="*/ 1712595 w 1969770"/>
                  <a:gd name="connsiteY1144" fmla="*/ 1146810 h 1744979"/>
                  <a:gd name="connsiteX1145" fmla="*/ 1710690 w 1969770"/>
                  <a:gd name="connsiteY1145" fmla="*/ 1121093 h 1744979"/>
                  <a:gd name="connsiteX1146" fmla="*/ 1708785 w 1969770"/>
                  <a:gd name="connsiteY1146" fmla="*/ 1095375 h 1744979"/>
                  <a:gd name="connsiteX1147" fmla="*/ 1706880 w 1969770"/>
                  <a:gd name="connsiteY1147" fmla="*/ 1069658 h 1744979"/>
                  <a:gd name="connsiteX1148" fmla="*/ 1705928 w 1969770"/>
                  <a:gd name="connsiteY1148" fmla="*/ 1043940 h 1744979"/>
                  <a:gd name="connsiteX1149" fmla="*/ 1704975 w 1969770"/>
                  <a:gd name="connsiteY1149" fmla="*/ 1030605 h 1744979"/>
                  <a:gd name="connsiteX1150" fmla="*/ 1704975 w 1969770"/>
                  <a:gd name="connsiteY1150" fmla="*/ 1019175 h 1744979"/>
                  <a:gd name="connsiteX1151" fmla="*/ 1704975 w 1969770"/>
                  <a:gd name="connsiteY1151" fmla="*/ 1006793 h 1744979"/>
                  <a:gd name="connsiteX1152" fmla="*/ 1704975 w 1969770"/>
                  <a:gd name="connsiteY1152" fmla="*/ 994410 h 1744979"/>
                  <a:gd name="connsiteX1153" fmla="*/ 1705928 w 1969770"/>
                  <a:gd name="connsiteY1153" fmla="*/ 982028 h 1744979"/>
                  <a:gd name="connsiteX1154" fmla="*/ 1706880 w 1969770"/>
                  <a:gd name="connsiteY1154" fmla="*/ 969645 h 1744979"/>
                  <a:gd name="connsiteX1155" fmla="*/ 1708785 w 1969770"/>
                  <a:gd name="connsiteY1155" fmla="*/ 957263 h 1744979"/>
                  <a:gd name="connsiteX1156" fmla="*/ 1711643 w 1969770"/>
                  <a:gd name="connsiteY1156" fmla="*/ 944880 h 1744979"/>
                  <a:gd name="connsiteX1157" fmla="*/ 1714500 w 1969770"/>
                  <a:gd name="connsiteY1157" fmla="*/ 932498 h 1744979"/>
                  <a:gd name="connsiteX1158" fmla="*/ 1718310 w 1969770"/>
                  <a:gd name="connsiteY1158" fmla="*/ 921068 h 1744979"/>
                  <a:gd name="connsiteX1159" fmla="*/ 1722120 w 1969770"/>
                  <a:gd name="connsiteY1159" fmla="*/ 909638 h 1744979"/>
                  <a:gd name="connsiteX1160" fmla="*/ 1726883 w 1969770"/>
                  <a:gd name="connsiteY1160" fmla="*/ 898208 h 1744979"/>
                  <a:gd name="connsiteX1161" fmla="*/ 1732598 w 1969770"/>
                  <a:gd name="connsiteY1161" fmla="*/ 916305 h 1744979"/>
                  <a:gd name="connsiteX1162" fmla="*/ 1737360 w 1969770"/>
                  <a:gd name="connsiteY1162" fmla="*/ 933450 h 1744979"/>
                  <a:gd name="connsiteX1163" fmla="*/ 1742123 w 1969770"/>
                  <a:gd name="connsiteY1163" fmla="*/ 950595 h 1744979"/>
                  <a:gd name="connsiteX1164" fmla="*/ 1746885 w 1969770"/>
                  <a:gd name="connsiteY1164" fmla="*/ 967740 h 1744979"/>
                  <a:gd name="connsiteX1165" fmla="*/ 1751648 w 1969770"/>
                  <a:gd name="connsiteY1165" fmla="*/ 984885 h 1744979"/>
                  <a:gd name="connsiteX1166" fmla="*/ 1755458 w 1969770"/>
                  <a:gd name="connsiteY1166" fmla="*/ 1002030 h 1744979"/>
                  <a:gd name="connsiteX1167" fmla="*/ 1759268 w 1969770"/>
                  <a:gd name="connsiteY1167" fmla="*/ 1019175 h 1744979"/>
                  <a:gd name="connsiteX1168" fmla="*/ 1762125 w 1969770"/>
                  <a:gd name="connsiteY1168" fmla="*/ 1036320 h 1744979"/>
                  <a:gd name="connsiteX1169" fmla="*/ 1763078 w 1969770"/>
                  <a:gd name="connsiteY1169" fmla="*/ 1044893 h 1744979"/>
                  <a:gd name="connsiteX1170" fmla="*/ 1764030 w 1969770"/>
                  <a:gd name="connsiteY1170" fmla="*/ 1053465 h 1744979"/>
                  <a:gd name="connsiteX1171" fmla="*/ 1764983 w 1969770"/>
                  <a:gd name="connsiteY1171" fmla="*/ 1062038 h 1744979"/>
                  <a:gd name="connsiteX1172" fmla="*/ 1764983 w 1969770"/>
                  <a:gd name="connsiteY1172" fmla="*/ 1071563 h 1744979"/>
                  <a:gd name="connsiteX1173" fmla="*/ 1765935 w 1969770"/>
                  <a:gd name="connsiteY1173" fmla="*/ 1080135 h 1744979"/>
                  <a:gd name="connsiteX1174" fmla="*/ 1765935 w 1969770"/>
                  <a:gd name="connsiteY1174" fmla="*/ 1091565 h 1744979"/>
                  <a:gd name="connsiteX1175" fmla="*/ 1765935 w 1969770"/>
                  <a:gd name="connsiteY1175" fmla="*/ 1101090 h 1744979"/>
                  <a:gd name="connsiteX1176" fmla="*/ 1765935 w 1969770"/>
                  <a:gd name="connsiteY1176" fmla="*/ 1110615 h 1744979"/>
                  <a:gd name="connsiteX1177" fmla="*/ 1764983 w 1969770"/>
                  <a:gd name="connsiteY1177" fmla="*/ 1121093 h 1744979"/>
                  <a:gd name="connsiteX1178" fmla="*/ 1764030 w 1969770"/>
                  <a:gd name="connsiteY1178" fmla="*/ 1131570 h 1744979"/>
                  <a:gd name="connsiteX1179" fmla="*/ 1763078 w 1969770"/>
                  <a:gd name="connsiteY1179" fmla="*/ 1142048 h 1744979"/>
                  <a:gd name="connsiteX1180" fmla="*/ 1761173 w 1969770"/>
                  <a:gd name="connsiteY1180" fmla="*/ 1152525 h 1744979"/>
                  <a:gd name="connsiteX1181" fmla="*/ 1759268 w 1969770"/>
                  <a:gd name="connsiteY1181" fmla="*/ 1163003 h 1744979"/>
                  <a:gd name="connsiteX1182" fmla="*/ 1756410 w 1969770"/>
                  <a:gd name="connsiteY1182" fmla="*/ 1174433 h 1744979"/>
                  <a:gd name="connsiteX1183" fmla="*/ 1753553 w 1969770"/>
                  <a:gd name="connsiteY1183" fmla="*/ 1185863 h 1744979"/>
                  <a:gd name="connsiteX1184" fmla="*/ 1750695 w 1969770"/>
                  <a:gd name="connsiteY1184" fmla="*/ 1197293 h 1744979"/>
                  <a:gd name="connsiteX1185" fmla="*/ 1754505 w 1969770"/>
                  <a:gd name="connsiteY1185" fmla="*/ 1190625 h 1744979"/>
                  <a:gd name="connsiteX1186" fmla="*/ 1760220 w 1969770"/>
                  <a:gd name="connsiteY1186" fmla="*/ 1181100 h 1744979"/>
                  <a:gd name="connsiteX1187" fmla="*/ 1767840 w 1969770"/>
                  <a:gd name="connsiteY1187" fmla="*/ 1168718 h 1744979"/>
                  <a:gd name="connsiteX1188" fmla="*/ 1777365 w 1969770"/>
                  <a:gd name="connsiteY1188" fmla="*/ 1154430 h 1744979"/>
                  <a:gd name="connsiteX1189" fmla="*/ 1787843 w 1969770"/>
                  <a:gd name="connsiteY1189" fmla="*/ 1138238 h 1744979"/>
                  <a:gd name="connsiteX1190" fmla="*/ 1800225 w 1969770"/>
                  <a:gd name="connsiteY1190" fmla="*/ 1120140 h 1744979"/>
                  <a:gd name="connsiteX1191" fmla="*/ 1806893 w 1969770"/>
                  <a:gd name="connsiteY1191" fmla="*/ 1111568 h 1744979"/>
                  <a:gd name="connsiteX1192" fmla="*/ 1813560 w 1969770"/>
                  <a:gd name="connsiteY1192" fmla="*/ 1102043 h 1744979"/>
                  <a:gd name="connsiteX1193" fmla="*/ 1821180 w 1969770"/>
                  <a:gd name="connsiteY1193" fmla="*/ 1092518 h 1744979"/>
                  <a:gd name="connsiteX1194" fmla="*/ 1828800 w 1969770"/>
                  <a:gd name="connsiteY1194" fmla="*/ 1082993 h 1744979"/>
                  <a:gd name="connsiteX1195" fmla="*/ 1847850 w 1969770"/>
                  <a:gd name="connsiteY1195" fmla="*/ 1060133 h 1744979"/>
                  <a:gd name="connsiteX1196" fmla="*/ 1867853 w 1969770"/>
                  <a:gd name="connsiteY1196" fmla="*/ 1037273 h 1744979"/>
                  <a:gd name="connsiteX1197" fmla="*/ 1887855 w 1969770"/>
                  <a:gd name="connsiteY1197" fmla="*/ 1014413 h 1744979"/>
                  <a:gd name="connsiteX1198" fmla="*/ 1906905 w 1969770"/>
                  <a:gd name="connsiteY1198" fmla="*/ 991553 h 1744979"/>
                  <a:gd name="connsiteX1199" fmla="*/ 1916430 w 1969770"/>
                  <a:gd name="connsiteY1199" fmla="*/ 980123 h 1744979"/>
                  <a:gd name="connsiteX1200" fmla="*/ 1925955 w 1969770"/>
                  <a:gd name="connsiteY1200" fmla="*/ 968693 h 1744979"/>
                  <a:gd name="connsiteX1201" fmla="*/ 1934528 w 1969770"/>
                  <a:gd name="connsiteY1201" fmla="*/ 957263 h 1744979"/>
                  <a:gd name="connsiteX1202" fmla="*/ 1943100 w 1969770"/>
                  <a:gd name="connsiteY1202" fmla="*/ 945833 h 1744979"/>
                  <a:gd name="connsiteX1203" fmla="*/ 1950720 w 1969770"/>
                  <a:gd name="connsiteY1203" fmla="*/ 935355 h 1744979"/>
                  <a:gd name="connsiteX1204" fmla="*/ 1957388 w 1969770"/>
                  <a:gd name="connsiteY1204" fmla="*/ 924878 h 1744979"/>
                  <a:gd name="connsiteX1205" fmla="*/ 1964055 w 1969770"/>
                  <a:gd name="connsiteY1205" fmla="*/ 914400 h 1744979"/>
                  <a:gd name="connsiteX1206" fmla="*/ 1969770 w 1969770"/>
                  <a:gd name="connsiteY1206" fmla="*/ 904875 h 1744979"/>
                  <a:gd name="connsiteX1207" fmla="*/ 1969770 w 1969770"/>
                  <a:gd name="connsiteY1207" fmla="*/ 928688 h 1744979"/>
                  <a:gd name="connsiteX1208" fmla="*/ 1967865 w 1969770"/>
                  <a:gd name="connsiteY1208" fmla="*/ 951548 h 1744979"/>
                  <a:gd name="connsiteX1209" fmla="*/ 1965008 w 1969770"/>
                  <a:gd name="connsiteY1209" fmla="*/ 973455 h 1744979"/>
                  <a:gd name="connsiteX1210" fmla="*/ 1960245 w 1969770"/>
                  <a:gd name="connsiteY1210" fmla="*/ 993458 h 1744979"/>
                  <a:gd name="connsiteX1211" fmla="*/ 1954530 w 1969770"/>
                  <a:gd name="connsiteY1211" fmla="*/ 1012508 h 1744979"/>
                  <a:gd name="connsiteX1212" fmla="*/ 1947863 w 1969770"/>
                  <a:gd name="connsiteY1212" fmla="*/ 1031558 h 1744979"/>
                  <a:gd name="connsiteX1213" fmla="*/ 1940243 w 1969770"/>
                  <a:gd name="connsiteY1213" fmla="*/ 1048703 h 1744979"/>
                  <a:gd name="connsiteX1214" fmla="*/ 1933575 w 1969770"/>
                  <a:gd name="connsiteY1214" fmla="*/ 1066800 h 1744979"/>
                  <a:gd name="connsiteX1215" fmla="*/ 1924050 w 1969770"/>
                  <a:gd name="connsiteY1215" fmla="*/ 1082993 h 1744979"/>
                  <a:gd name="connsiteX1216" fmla="*/ 1914525 w 1969770"/>
                  <a:gd name="connsiteY1216" fmla="*/ 1098233 h 1744979"/>
                  <a:gd name="connsiteX1217" fmla="*/ 1904048 w 1969770"/>
                  <a:gd name="connsiteY1217" fmla="*/ 1112520 h 1744979"/>
                  <a:gd name="connsiteX1218" fmla="*/ 1893570 w 1969770"/>
                  <a:gd name="connsiteY1218" fmla="*/ 1125855 h 1744979"/>
                  <a:gd name="connsiteX1219" fmla="*/ 1882140 w 1969770"/>
                  <a:gd name="connsiteY1219" fmla="*/ 1139190 h 1744979"/>
                  <a:gd name="connsiteX1220" fmla="*/ 1870710 w 1969770"/>
                  <a:gd name="connsiteY1220" fmla="*/ 1151573 h 1744979"/>
                  <a:gd name="connsiteX1221" fmla="*/ 1859280 w 1969770"/>
                  <a:gd name="connsiteY1221" fmla="*/ 1163003 h 1744979"/>
                  <a:gd name="connsiteX1222" fmla="*/ 1846898 w 1969770"/>
                  <a:gd name="connsiteY1222" fmla="*/ 1173480 h 1744979"/>
                  <a:gd name="connsiteX1223" fmla="*/ 1834515 w 1969770"/>
                  <a:gd name="connsiteY1223" fmla="*/ 1183958 h 1744979"/>
                  <a:gd name="connsiteX1224" fmla="*/ 1822133 w 1969770"/>
                  <a:gd name="connsiteY1224" fmla="*/ 1193483 h 1744979"/>
                  <a:gd name="connsiteX1225" fmla="*/ 1810703 w 1969770"/>
                  <a:gd name="connsiteY1225" fmla="*/ 1202055 h 1744979"/>
                  <a:gd name="connsiteX1226" fmla="*/ 1799273 w 1969770"/>
                  <a:gd name="connsiteY1226" fmla="*/ 1210628 h 1744979"/>
                  <a:gd name="connsiteX1227" fmla="*/ 1776413 w 1969770"/>
                  <a:gd name="connsiteY1227" fmla="*/ 1225868 h 1744979"/>
                  <a:gd name="connsiteX1228" fmla="*/ 1755458 w 1969770"/>
                  <a:gd name="connsiteY1228" fmla="*/ 1240155 h 1744979"/>
                  <a:gd name="connsiteX1229" fmla="*/ 1745933 w 1969770"/>
                  <a:gd name="connsiteY1229" fmla="*/ 1246823 h 1744979"/>
                  <a:gd name="connsiteX1230" fmla="*/ 1737360 w 1969770"/>
                  <a:gd name="connsiteY1230" fmla="*/ 1252538 h 1744979"/>
                  <a:gd name="connsiteX1231" fmla="*/ 1729740 w 1969770"/>
                  <a:gd name="connsiteY1231" fmla="*/ 1258253 h 1744979"/>
                  <a:gd name="connsiteX1232" fmla="*/ 1722120 w 1969770"/>
                  <a:gd name="connsiteY1232" fmla="*/ 1263968 h 1744979"/>
                  <a:gd name="connsiteX1233" fmla="*/ 1715453 w 1969770"/>
                  <a:gd name="connsiteY1233" fmla="*/ 1269683 h 1744979"/>
                  <a:gd name="connsiteX1234" fmla="*/ 1710690 w 1969770"/>
                  <a:gd name="connsiteY1234" fmla="*/ 1274445 h 1744979"/>
                  <a:gd name="connsiteX1235" fmla="*/ 1706880 w 1969770"/>
                  <a:gd name="connsiteY1235" fmla="*/ 1279208 h 1744979"/>
                  <a:gd name="connsiteX1236" fmla="*/ 1704023 w 1969770"/>
                  <a:gd name="connsiteY1236" fmla="*/ 1283018 h 1744979"/>
                  <a:gd name="connsiteX1237" fmla="*/ 1704023 w 1969770"/>
                  <a:gd name="connsiteY1237" fmla="*/ 1283018 h 1744979"/>
                  <a:gd name="connsiteX1238" fmla="*/ 1552575 w 1969770"/>
                  <a:gd name="connsiteY1238" fmla="*/ 1446848 h 1744979"/>
                  <a:gd name="connsiteX1239" fmla="*/ 1558290 w 1969770"/>
                  <a:gd name="connsiteY1239" fmla="*/ 1438275 h 1744979"/>
                  <a:gd name="connsiteX1240" fmla="*/ 1564005 w 1969770"/>
                  <a:gd name="connsiteY1240" fmla="*/ 1428750 h 1744979"/>
                  <a:gd name="connsiteX1241" fmla="*/ 1568768 w 1969770"/>
                  <a:gd name="connsiteY1241" fmla="*/ 1419225 h 1744979"/>
                  <a:gd name="connsiteX1242" fmla="*/ 1572578 w 1969770"/>
                  <a:gd name="connsiteY1242" fmla="*/ 1409700 h 1744979"/>
                  <a:gd name="connsiteX1243" fmla="*/ 1576388 w 1969770"/>
                  <a:gd name="connsiteY1243" fmla="*/ 1399223 h 1744979"/>
                  <a:gd name="connsiteX1244" fmla="*/ 1580198 w 1969770"/>
                  <a:gd name="connsiteY1244" fmla="*/ 1388745 h 1744979"/>
                  <a:gd name="connsiteX1245" fmla="*/ 1583055 w 1969770"/>
                  <a:gd name="connsiteY1245" fmla="*/ 1378268 h 1744979"/>
                  <a:gd name="connsiteX1246" fmla="*/ 1585913 w 1969770"/>
                  <a:gd name="connsiteY1246" fmla="*/ 1367790 h 1744979"/>
                  <a:gd name="connsiteX1247" fmla="*/ 1588770 w 1969770"/>
                  <a:gd name="connsiteY1247" fmla="*/ 1356360 h 1744979"/>
                  <a:gd name="connsiteX1248" fmla="*/ 1591628 w 1969770"/>
                  <a:gd name="connsiteY1248" fmla="*/ 1344930 h 1744979"/>
                  <a:gd name="connsiteX1249" fmla="*/ 1594485 w 1969770"/>
                  <a:gd name="connsiteY1249" fmla="*/ 1333500 h 1744979"/>
                  <a:gd name="connsiteX1250" fmla="*/ 1597343 w 1969770"/>
                  <a:gd name="connsiteY1250" fmla="*/ 1322070 h 1744979"/>
                  <a:gd name="connsiteX1251" fmla="*/ 1601153 w 1969770"/>
                  <a:gd name="connsiteY1251" fmla="*/ 1299210 h 1744979"/>
                  <a:gd name="connsiteX1252" fmla="*/ 1605915 w 1969770"/>
                  <a:gd name="connsiteY1252" fmla="*/ 1275398 h 1744979"/>
                  <a:gd name="connsiteX1253" fmla="*/ 1610678 w 1969770"/>
                  <a:gd name="connsiteY1253" fmla="*/ 1251585 h 1744979"/>
                  <a:gd name="connsiteX1254" fmla="*/ 1616393 w 1969770"/>
                  <a:gd name="connsiteY1254" fmla="*/ 1227773 h 1744979"/>
                  <a:gd name="connsiteX1255" fmla="*/ 1619250 w 1969770"/>
                  <a:gd name="connsiteY1255" fmla="*/ 1215390 h 1744979"/>
                  <a:gd name="connsiteX1256" fmla="*/ 1622108 w 1969770"/>
                  <a:gd name="connsiteY1256" fmla="*/ 1203960 h 1744979"/>
                  <a:gd name="connsiteX1257" fmla="*/ 1625918 w 1969770"/>
                  <a:gd name="connsiteY1257" fmla="*/ 1192530 h 1744979"/>
                  <a:gd name="connsiteX1258" fmla="*/ 1629728 w 1969770"/>
                  <a:gd name="connsiteY1258" fmla="*/ 1181100 h 1744979"/>
                  <a:gd name="connsiteX1259" fmla="*/ 1633538 w 1969770"/>
                  <a:gd name="connsiteY1259" fmla="*/ 1169670 h 1744979"/>
                  <a:gd name="connsiteX1260" fmla="*/ 1638300 w 1969770"/>
                  <a:gd name="connsiteY1260" fmla="*/ 1158240 h 1744979"/>
                  <a:gd name="connsiteX1261" fmla="*/ 1644015 w 1969770"/>
                  <a:gd name="connsiteY1261" fmla="*/ 1147763 h 1744979"/>
                  <a:gd name="connsiteX1262" fmla="*/ 1649730 w 1969770"/>
                  <a:gd name="connsiteY1262" fmla="*/ 1137285 h 1744979"/>
                  <a:gd name="connsiteX1263" fmla="*/ 1656398 w 1969770"/>
                  <a:gd name="connsiteY1263" fmla="*/ 1126808 h 1744979"/>
                  <a:gd name="connsiteX1264" fmla="*/ 1663065 w 1969770"/>
                  <a:gd name="connsiteY1264" fmla="*/ 1116330 h 1744979"/>
                  <a:gd name="connsiteX1265" fmla="*/ 1670685 w 1969770"/>
                  <a:gd name="connsiteY1265" fmla="*/ 1106805 h 1744979"/>
                  <a:gd name="connsiteX1266" fmla="*/ 1679258 w 1969770"/>
                  <a:gd name="connsiteY1266" fmla="*/ 1097280 h 1744979"/>
                  <a:gd name="connsiteX1267" fmla="*/ 1678305 w 1969770"/>
                  <a:gd name="connsiteY1267" fmla="*/ 1118235 h 1744979"/>
                  <a:gd name="connsiteX1268" fmla="*/ 1678305 w 1969770"/>
                  <a:gd name="connsiteY1268" fmla="*/ 1138238 h 1744979"/>
                  <a:gd name="connsiteX1269" fmla="*/ 1679258 w 1969770"/>
                  <a:gd name="connsiteY1269" fmla="*/ 1158240 h 1744979"/>
                  <a:gd name="connsiteX1270" fmla="*/ 1679258 w 1969770"/>
                  <a:gd name="connsiteY1270" fmla="*/ 1177290 h 1744979"/>
                  <a:gd name="connsiteX1271" fmla="*/ 1679258 w 1969770"/>
                  <a:gd name="connsiteY1271" fmla="*/ 1195388 h 1744979"/>
                  <a:gd name="connsiteX1272" fmla="*/ 1680210 w 1969770"/>
                  <a:gd name="connsiteY1272" fmla="*/ 1212533 h 1744979"/>
                  <a:gd name="connsiteX1273" fmla="*/ 1680210 w 1969770"/>
                  <a:gd name="connsiteY1273" fmla="*/ 1229678 h 1744979"/>
                  <a:gd name="connsiteX1274" fmla="*/ 1679258 w 1969770"/>
                  <a:gd name="connsiteY1274" fmla="*/ 1245870 h 1744979"/>
                  <a:gd name="connsiteX1275" fmla="*/ 1678305 w 1969770"/>
                  <a:gd name="connsiteY1275" fmla="*/ 1254443 h 1744979"/>
                  <a:gd name="connsiteX1276" fmla="*/ 1677353 w 1969770"/>
                  <a:gd name="connsiteY1276" fmla="*/ 1262063 h 1744979"/>
                  <a:gd name="connsiteX1277" fmla="*/ 1676400 w 1969770"/>
                  <a:gd name="connsiteY1277" fmla="*/ 1269683 h 1744979"/>
                  <a:gd name="connsiteX1278" fmla="*/ 1675448 w 1969770"/>
                  <a:gd name="connsiteY1278" fmla="*/ 1277303 h 1744979"/>
                  <a:gd name="connsiteX1279" fmla="*/ 1673543 w 1969770"/>
                  <a:gd name="connsiteY1279" fmla="*/ 1284923 h 1744979"/>
                  <a:gd name="connsiteX1280" fmla="*/ 1671638 w 1969770"/>
                  <a:gd name="connsiteY1280" fmla="*/ 1292543 h 1744979"/>
                  <a:gd name="connsiteX1281" fmla="*/ 1669733 w 1969770"/>
                  <a:gd name="connsiteY1281" fmla="*/ 1300163 h 1744979"/>
                  <a:gd name="connsiteX1282" fmla="*/ 1666875 w 1969770"/>
                  <a:gd name="connsiteY1282" fmla="*/ 1307783 h 1744979"/>
                  <a:gd name="connsiteX1283" fmla="*/ 1664018 w 1969770"/>
                  <a:gd name="connsiteY1283" fmla="*/ 1315403 h 1744979"/>
                  <a:gd name="connsiteX1284" fmla="*/ 1661160 w 1969770"/>
                  <a:gd name="connsiteY1284" fmla="*/ 1323023 h 1744979"/>
                  <a:gd name="connsiteX1285" fmla="*/ 1657350 w 1969770"/>
                  <a:gd name="connsiteY1285" fmla="*/ 1330643 h 1744979"/>
                  <a:gd name="connsiteX1286" fmla="*/ 1653540 w 1969770"/>
                  <a:gd name="connsiteY1286" fmla="*/ 1338263 h 1744979"/>
                  <a:gd name="connsiteX1287" fmla="*/ 1649730 w 1969770"/>
                  <a:gd name="connsiteY1287" fmla="*/ 1344930 h 1744979"/>
                  <a:gd name="connsiteX1288" fmla="*/ 1644968 w 1969770"/>
                  <a:gd name="connsiteY1288" fmla="*/ 1352550 h 1744979"/>
                  <a:gd name="connsiteX1289" fmla="*/ 1640205 w 1969770"/>
                  <a:gd name="connsiteY1289" fmla="*/ 1360170 h 1744979"/>
                  <a:gd name="connsiteX1290" fmla="*/ 1634490 w 1969770"/>
                  <a:gd name="connsiteY1290" fmla="*/ 1366838 h 1744979"/>
                  <a:gd name="connsiteX1291" fmla="*/ 1644015 w 1969770"/>
                  <a:gd name="connsiteY1291" fmla="*/ 1358265 h 1744979"/>
                  <a:gd name="connsiteX1292" fmla="*/ 1655445 w 1969770"/>
                  <a:gd name="connsiteY1292" fmla="*/ 1348740 h 1744979"/>
                  <a:gd name="connsiteX1293" fmla="*/ 1667828 w 1969770"/>
                  <a:gd name="connsiteY1293" fmla="*/ 1338263 h 1744979"/>
                  <a:gd name="connsiteX1294" fmla="*/ 1682115 w 1969770"/>
                  <a:gd name="connsiteY1294" fmla="*/ 1327785 h 1744979"/>
                  <a:gd name="connsiteX1295" fmla="*/ 1689735 w 1969770"/>
                  <a:gd name="connsiteY1295" fmla="*/ 1322070 h 1744979"/>
                  <a:gd name="connsiteX1296" fmla="*/ 1698308 w 1969770"/>
                  <a:gd name="connsiteY1296" fmla="*/ 1316355 h 1744979"/>
                  <a:gd name="connsiteX1297" fmla="*/ 1706880 w 1969770"/>
                  <a:gd name="connsiteY1297" fmla="*/ 1310640 h 1744979"/>
                  <a:gd name="connsiteX1298" fmla="*/ 1716405 w 1969770"/>
                  <a:gd name="connsiteY1298" fmla="*/ 1304925 h 1744979"/>
                  <a:gd name="connsiteX1299" fmla="*/ 1725930 w 1969770"/>
                  <a:gd name="connsiteY1299" fmla="*/ 1299210 h 1744979"/>
                  <a:gd name="connsiteX1300" fmla="*/ 1736408 w 1969770"/>
                  <a:gd name="connsiteY1300" fmla="*/ 1294448 h 1744979"/>
                  <a:gd name="connsiteX1301" fmla="*/ 1746885 w 1969770"/>
                  <a:gd name="connsiteY1301" fmla="*/ 1289685 h 1744979"/>
                  <a:gd name="connsiteX1302" fmla="*/ 1758315 w 1969770"/>
                  <a:gd name="connsiteY1302" fmla="*/ 1284923 h 1744979"/>
                  <a:gd name="connsiteX1303" fmla="*/ 1764983 w 1969770"/>
                  <a:gd name="connsiteY1303" fmla="*/ 1282065 h 1744979"/>
                  <a:gd name="connsiteX1304" fmla="*/ 1771650 w 1969770"/>
                  <a:gd name="connsiteY1304" fmla="*/ 1279208 h 1744979"/>
                  <a:gd name="connsiteX1305" fmla="*/ 1778318 w 1969770"/>
                  <a:gd name="connsiteY1305" fmla="*/ 1276350 h 1744979"/>
                  <a:gd name="connsiteX1306" fmla="*/ 1784033 w 1969770"/>
                  <a:gd name="connsiteY1306" fmla="*/ 1272540 h 1744979"/>
                  <a:gd name="connsiteX1307" fmla="*/ 1790700 w 1969770"/>
                  <a:gd name="connsiteY1307" fmla="*/ 1268730 h 1744979"/>
                  <a:gd name="connsiteX1308" fmla="*/ 1796415 w 1969770"/>
                  <a:gd name="connsiteY1308" fmla="*/ 1264920 h 1744979"/>
                  <a:gd name="connsiteX1309" fmla="*/ 1802130 w 1969770"/>
                  <a:gd name="connsiteY1309" fmla="*/ 1261110 h 1744979"/>
                  <a:gd name="connsiteX1310" fmla="*/ 1807845 w 1969770"/>
                  <a:gd name="connsiteY1310" fmla="*/ 1257300 h 1744979"/>
                  <a:gd name="connsiteX1311" fmla="*/ 1819275 w 1969770"/>
                  <a:gd name="connsiteY1311" fmla="*/ 1248728 h 1744979"/>
                  <a:gd name="connsiteX1312" fmla="*/ 1829753 w 1969770"/>
                  <a:gd name="connsiteY1312" fmla="*/ 1240155 h 1744979"/>
                  <a:gd name="connsiteX1313" fmla="*/ 1840230 w 1969770"/>
                  <a:gd name="connsiteY1313" fmla="*/ 1230630 h 1744979"/>
                  <a:gd name="connsiteX1314" fmla="*/ 1850708 w 1969770"/>
                  <a:gd name="connsiteY1314" fmla="*/ 1221105 h 1744979"/>
                  <a:gd name="connsiteX1315" fmla="*/ 1861185 w 1969770"/>
                  <a:gd name="connsiteY1315" fmla="*/ 1211580 h 1744979"/>
                  <a:gd name="connsiteX1316" fmla="*/ 1870710 w 1969770"/>
                  <a:gd name="connsiteY1316" fmla="*/ 1202055 h 1744979"/>
                  <a:gd name="connsiteX1317" fmla="*/ 1880235 w 1969770"/>
                  <a:gd name="connsiteY1317" fmla="*/ 1192530 h 1744979"/>
                  <a:gd name="connsiteX1318" fmla="*/ 1888808 w 1969770"/>
                  <a:gd name="connsiteY1318" fmla="*/ 1183005 h 1744979"/>
                  <a:gd name="connsiteX1319" fmla="*/ 1905953 w 1969770"/>
                  <a:gd name="connsiteY1319" fmla="*/ 1163955 h 1744979"/>
                  <a:gd name="connsiteX1320" fmla="*/ 1922145 w 1969770"/>
                  <a:gd name="connsiteY1320" fmla="*/ 1146810 h 1744979"/>
                  <a:gd name="connsiteX1321" fmla="*/ 1916430 w 1969770"/>
                  <a:gd name="connsiteY1321" fmla="*/ 1160145 h 1744979"/>
                  <a:gd name="connsiteX1322" fmla="*/ 1908810 w 1969770"/>
                  <a:gd name="connsiteY1322" fmla="*/ 1184910 h 1744979"/>
                  <a:gd name="connsiteX1323" fmla="*/ 1900238 w 1969770"/>
                  <a:gd name="connsiteY1323" fmla="*/ 1207770 h 1744979"/>
                  <a:gd name="connsiteX1324" fmla="*/ 1890713 w 1969770"/>
                  <a:gd name="connsiteY1324" fmla="*/ 1228725 h 1744979"/>
                  <a:gd name="connsiteX1325" fmla="*/ 1881188 w 1969770"/>
                  <a:gd name="connsiteY1325" fmla="*/ 1248728 h 1744979"/>
                  <a:gd name="connsiteX1326" fmla="*/ 1870710 w 1969770"/>
                  <a:gd name="connsiteY1326" fmla="*/ 1266825 h 1744979"/>
                  <a:gd name="connsiteX1327" fmla="*/ 1859280 w 1969770"/>
                  <a:gd name="connsiteY1327" fmla="*/ 1283970 h 1744979"/>
                  <a:gd name="connsiteX1328" fmla="*/ 1846898 w 1969770"/>
                  <a:gd name="connsiteY1328" fmla="*/ 1299210 h 1744979"/>
                  <a:gd name="connsiteX1329" fmla="*/ 1834515 w 1969770"/>
                  <a:gd name="connsiteY1329" fmla="*/ 1313498 h 1744979"/>
                  <a:gd name="connsiteX1330" fmla="*/ 1821180 w 1969770"/>
                  <a:gd name="connsiteY1330" fmla="*/ 1326833 h 1744979"/>
                  <a:gd name="connsiteX1331" fmla="*/ 1807845 w 1969770"/>
                  <a:gd name="connsiteY1331" fmla="*/ 1338263 h 1744979"/>
                  <a:gd name="connsiteX1332" fmla="*/ 1794510 w 1969770"/>
                  <a:gd name="connsiteY1332" fmla="*/ 1348740 h 1744979"/>
                  <a:gd name="connsiteX1333" fmla="*/ 1780223 w 1969770"/>
                  <a:gd name="connsiteY1333" fmla="*/ 1358265 h 1744979"/>
                  <a:gd name="connsiteX1334" fmla="*/ 1765935 w 1969770"/>
                  <a:gd name="connsiteY1334" fmla="*/ 1366838 h 1744979"/>
                  <a:gd name="connsiteX1335" fmla="*/ 1751648 w 1969770"/>
                  <a:gd name="connsiteY1335" fmla="*/ 1374458 h 1744979"/>
                  <a:gd name="connsiteX1336" fmla="*/ 1737360 w 1969770"/>
                  <a:gd name="connsiteY1336" fmla="*/ 1381125 h 1744979"/>
                  <a:gd name="connsiteX1337" fmla="*/ 1723073 w 1969770"/>
                  <a:gd name="connsiteY1337" fmla="*/ 1387793 h 1744979"/>
                  <a:gd name="connsiteX1338" fmla="*/ 1708785 w 1969770"/>
                  <a:gd name="connsiteY1338" fmla="*/ 1393508 h 1744979"/>
                  <a:gd name="connsiteX1339" fmla="*/ 1694498 w 1969770"/>
                  <a:gd name="connsiteY1339" fmla="*/ 1398270 h 1744979"/>
                  <a:gd name="connsiteX1340" fmla="*/ 1680210 w 1969770"/>
                  <a:gd name="connsiteY1340" fmla="*/ 1403033 h 1744979"/>
                  <a:gd name="connsiteX1341" fmla="*/ 1666875 w 1969770"/>
                  <a:gd name="connsiteY1341" fmla="*/ 1406843 h 1744979"/>
                  <a:gd name="connsiteX1342" fmla="*/ 1641158 w 1969770"/>
                  <a:gd name="connsiteY1342" fmla="*/ 1413510 h 1744979"/>
                  <a:gd name="connsiteX1343" fmla="*/ 1617345 w 1969770"/>
                  <a:gd name="connsiteY1343" fmla="*/ 1419225 h 1744979"/>
                  <a:gd name="connsiteX1344" fmla="*/ 1605915 w 1969770"/>
                  <a:gd name="connsiteY1344" fmla="*/ 1422083 h 1744979"/>
                  <a:gd name="connsiteX1345" fmla="*/ 1595438 w 1969770"/>
                  <a:gd name="connsiteY1345" fmla="*/ 1424940 h 1744979"/>
                  <a:gd name="connsiteX1346" fmla="*/ 1585913 w 1969770"/>
                  <a:gd name="connsiteY1346" fmla="*/ 1427798 h 1744979"/>
                  <a:gd name="connsiteX1347" fmla="*/ 1576388 w 1969770"/>
                  <a:gd name="connsiteY1347" fmla="*/ 1430655 h 1744979"/>
                  <a:gd name="connsiteX1348" fmla="*/ 1568768 w 1969770"/>
                  <a:gd name="connsiteY1348" fmla="*/ 1434465 h 1744979"/>
                  <a:gd name="connsiteX1349" fmla="*/ 1561148 w 1969770"/>
                  <a:gd name="connsiteY1349" fmla="*/ 1438275 h 1744979"/>
                  <a:gd name="connsiteX1350" fmla="*/ 1554480 w 1969770"/>
                  <a:gd name="connsiteY1350" fmla="*/ 1442085 h 1744979"/>
                  <a:gd name="connsiteX1351" fmla="*/ 1552575 w 1969770"/>
                  <a:gd name="connsiteY1351" fmla="*/ 1446848 h 1744979"/>
                  <a:gd name="connsiteX1352" fmla="*/ 1552575 w 1969770"/>
                  <a:gd name="connsiteY1352" fmla="*/ 1446848 h 1744979"/>
                  <a:gd name="connsiteX1353" fmla="*/ 1373505 w 1969770"/>
                  <a:gd name="connsiteY1353" fmla="*/ 1568768 h 1744979"/>
                  <a:gd name="connsiteX1354" fmla="*/ 1377315 w 1969770"/>
                  <a:gd name="connsiteY1354" fmla="*/ 1563053 h 1744979"/>
                  <a:gd name="connsiteX1355" fmla="*/ 1381125 w 1969770"/>
                  <a:gd name="connsiteY1355" fmla="*/ 1556385 h 1744979"/>
                  <a:gd name="connsiteX1356" fmla="*/ 1384935 w 1969770"/>
                  <a:gd name="connsiteY1356" fmla="*/ 1549718 h 1744979"/>
                  <a:gd name="connsiteX1357" fmla="*/ 1388745 w 1969770"/>
                  <a:gd name="connsiteY1357" fmla="*/ 1543050 h 1744979"/>
                  <a:gd name="connsiteX1358" fmla="*/ 1395413 w 1969770"/>
                  <a:gd name="connsiteY1358" fmla="*/ 1526858 h 1744979"/>
                  <a:gd name="connsiteX1359" fmla="*/ 1403033 w 1969770"/>
                  <a:gd name="connsiteY1359" fmla="*/ 1509713 h 1744979"/>
                  <a:gd name="connsiteX1360" fmla="*/ 1410653 w 1969770"/>
                  <a:gd name="connsiteY1360" fmla="*/ 1490663 h 1744979"/>
                  <a:gd name="connsiteX1361" fmla="*/ 1419225 w 1969770"/>
                  <a:gd name="connsiteY1361" fmla="*/ 1470660 h 1744979"/>
                  <a:gd name="connsiteX1362" fmla="*/ 1428750 w 1969770"/>
                  <a:gd name="connsiteY1362" fmla="*/ 1449705 h 1744979"/>
                  <a:gd name="connsiteX1363" fmla="*/ 1438275 w 1969770"/>
                  <a:gd name="connsiteY1363" fmla="*/ 1428750 h 1744979"/>
                  <a:gd name="connsiteX1364" fmla="*/ 1443990 w 1969770"/>
                  <a:gd name="connsiteY1364" fmla="*/ 1418273 h 1744979"/>
                  <a:gd name="connsiteX1365" fmla="*/ 1449705 w 1969770"/>
                  <a:gd name="connsiteY1365" fmla="*/ 1407795 h 1744979"/>
                  <a:gd name="connsiteX1366" fmla="*/ 1455420 w 1969770"/>
                  <a:gd name="connsiteY1366" fmla="*/ 1397318 h 1744979"/>
                  <a:gd name="connsiteX1367" fmla="*/ 1462088 w 1969770"/>
                  <a:gd name="connsiteY1367" fmla="*/ 1386840 h 1744979"/>
                  <a:gd name="connsiteX1368" fmla="*/ 1468755 w 1969770"/>
                  <a:gd name="connsiteY1368" fmla="*/ 1376363 h 1744979"/>
                  <a:gd name="connsiteX1369" fmla="*/ 1475423 w 1969770"/>
                  <a:gd name="connsiteY1369" fmla="*/ 1365885 h 1744979"/>
                  <a:gd name="connsiteX1370" fmla="*/ 1483043 w 1969770"/>
                  <a:gd name="connsiteY1370" fmla="*/ 1355408 h 1744979"/>
                  <a:gd name="connsiteX1371" fmla="*/ 1490663 w 1969770"/>
                  <a:gd name="connsiteY1371" fmla="*/ 1345883 h 1744979"/>
                  <a:gd name="connsiteX1372" fmla="*/ 1498283 w 1969770"/>
                  <a:gd name="connsiteY1372" fmla="*/ 1336358 h 1744979"/>
                  <a:gd name="connsiteX1373" fmla="*/ 1506855 w 1969770"/>
                  <a:gd name="connsiteY1373" fmla="*/ 1326833 h 1744979"/>
                  <a:gd name="connsiteX1374" fmla="*/ 1515428 w 1969770"/>
                  <a:gd name="connsiteY1374" fmla="*/ 1317308 h 1744979"/>
                  <a:gd name="connsiteX1375" fmla="*/ 1524953 w 1969770"/>
                  <a:gd name="connsiteY1375" fmla="*/ 1308735 h 1744979"/>
                  <a:gd name="connsiteX1376" fmla="*/ 1534478 w 1969770"/>
                  <a:gd name="connsiteY1376" fmla="*/ 1300163 h 1744979"/>
                  <a:gd name="connsiteX1377" fmla="*/ 1544955 w 1969770"/>
                  <a:gd name="connsiteY1377" fmla="*/ 1291590 h 1744979"/>
                  <a:gd name="connsiteX1378" fmla="*/ 1556385 w 1969770"/>
                  <a:gd name="connsiteY1378" fmla="*/ 1283970 h 1744979"/>
                  <a:gd name="connsiteX1379" fmla="*/ 1567815 w 1969770"/>
                  <a:gd name="connsiteY1379" fmla="*/ 1277303 h 1744979"/>
                  <a:gd name="connsiteX1380" fmla="*/ 1556385 w 1969770"/>
                  <a:gd name="connsiteY1380" fmla="*/ 1316355 h 1744979"/>
                  <a:gd name="connsiteX1381" fmla="*/ 1545908 w 1969770"/>
                  <a:gd name="connsiteY1381" fmla="*/ 1352550 h 1744979"/>
                  <a:gd name="connsiteX1382" fmla="*/ 1541145 w 1969770"/>
                  <a:gd name="connsiteY1382" fmla="*/ 1369695 h 1744979"/>
                  <a:gd name="connsiteX1383" fmla="*/ 1536383 w 1969770"/>
                  <a:gd name="connsiteY1383" fmla="*/ 1385888 h 1744979"/>
                  <a:gd name="connsiteX1384" fmla="*/ 1531620 w 1969770"/>
                  <a:gd name="connsiteY1384" fmla="*/ 1402080 h 1744979"/>
                  <a:gd name="connsiteX1385" fmla="*/ 1525905 w 1969770"/>
                  <a:gd name="connsiteY1385" fmla="*/ 1417320 h 1744979"/>
                  <a:gd name="connsiteX1386" fmla="*/ 1523048 w 1969770"/>
                  <a:gd name="connsiteY1386" fmla="*/ 1424940 h 1744979"/>
                  <a:gd name="connsiteX1387" fmla="*/ 1520190 w 1969770"/>
                  <a:gd name="connsiteY1387" fmla="*/ 1431608 h 1744979"/>
                  <a:gd name="connsiteX1388" fmla="*/ 1517333 w 1969770"/>
                  <a:gd name="connsiteY1388" fmla="*/ 1438275 h 1744979"/>
                  <a:gd name="connsiteX1389" fmla="*/ 1513523 w 1969770"/>
                  <a:gd name="connsiteY1389" fmla="*/ 1444943 h 1744979"/>
                  <a:gd name="connsiteX1390" fmla="*/ 1509713 w 1969770"/>
                  <a:gd name="connsiteY1390" fmla="*/ 1451610 h 1744979"/>
                  <a:gd name="connsiteX1391" fmla="*/ 1505903 w 1969770"/>
                  <a:gd name="connsiteY1391" fmla="*/ 1458278 h 1744979"/>
                  <a:gd name="connsiteX1392" fmla="*/ 1502093 w 1969770"/>
                  <a:gd name="connsiteY1392" fmla="*/ 1464945 h 1744979"/>
                  <a:gd name="connsiteX1393" fmla="*/ 1498283 w 1969770"/>
                  <a:gd name="connsiteY1393" fmla="*/ 1471613 h 1744979"/>
                  <a:gd name="connsiteX1394" fmla="*/ 1493520 w 1969770"/>
                  <a:gd name="connsiteY1394" fmla="*/ 1478280 h 1744979"/>
                  <a:gd name="connsiteX1395" fmla="*/ 1488758 w 1969770"/>
                  <a:gd name="connsiteY1395" fmla="*/ 1484948 h 1744979"/>
                  <a:gd name="connsiteX1396" fmla="*/ 1483043 w 1969770"/>
                  <a:gd name="connsiteY1396" fmla="*/ 1491615 h 1744979"/>
                  <a:gd name="connsiteX1397" fmla="*/ 1477328 w 1969770"/>
                  <a:gd name="connsiteY1397" fmla="*/ 1498283 h 1744979"/>
                  <a:gd name="connsiteX1398" fmla="*/ 1471613 w 1969770"/>
                  <a:gd name="connsiteY1398" fmla="*/ 1504950 h 1744979"/>
                  <a:gd name="connsiteX1399" fmla="*/ 1464945 w 1969770"/>
                  <a:gd name="connsiteY1399" fmla="*/ 1510665 h 1744979"/>
                  <a:gd name="connsiteX1400" fmla="*/ 1458278 w 1969770"/>
                  <a:gd name="connsiteY1400" fmla="*/ 1516380 h 1744979"/>
                  <a:gd name="connsiteX1401" fmla="*/ 1451610 w 1969770"/>
                  <a:gd name="connsiteY1401" fmla="*/ 1523048 h 1744979"/>
                  <a:gd name="connsiteX1402" fmla="*/ 1463993 w 1969770"/>
                  <a:gd name="connsiteY1402" fmla="*/ 1517333 h 1744979"/>
                  <a:gd name="connsiteX1403" fmla="*/ 1480185 w 1969770"/>
                  <a:gd name="connsiteY1403" fmla="*/ 1510665 h 1744979"/>
                  <a:gd name="connsiteX1404" fmla="*/ 1499235 w 1969770"/>
                  <a:gd name="connsiteY1404" fmla="*/ 1503045 h 1744979"/>
                  <a:gd name="connsiteX1405" fmla="*/ 1521143 w 1969770"/>
                  <a:gd name="connsiteY1405" fmla="*/ 1495425 h 1744979"/>
                  <a:gd name="connsiteX1406" fmla="*/ 1532573 w 1969770"/>
                  <a:gd name="connsiteY1406" fmla="*/ 1491615 h 1744979"/>
                  <a:gd name="connsiteX1407" fmla="*/ 1544003 w 1969770"/>
                  <a:gd name="connsiteY1407" fmla="*/ 1487805 h 1744979"/>
                  <a:gd name="connsiteX1408" fmla="*/ 1556385 w 1969770"/>
                  <a:gd name="connsiteY1408" fmla="*/ 1483995 h 1744979"/>
                  <a:gd name="connsiteX1409" fmla="*/ 1568768 w 1969770"/>
                  <a:gd name="connsiteY1409" fmla="*/ 1481138 h 1744979"/>
                  <a:gd name="connsiteX1410" fmla="*/ 1581150 w 1969770"/>
                  <a:gd name="connsiteY1410" fmla="*/ 1478280 h 1744979"/>
                  <a:gd name="connsiteX1411" fmla="*/ 1593533 w 1969770"/>
                  <a:gd name="connsiteY1411" fmla="*/ 1475423 h 1744979"/>
                  <a:gd name="connsiteX1412" fmla="*/ 1605915 w 1969770"/>
                  <a:gd name="connsiteY1412" fmla="*/ 1473518 h 1744979"/>
                  <a:gd name="connsiteX1413" fmla="*/ 1618298 w 1969770"/>
                  <a:gd name="connsiteY1413" fmla="*/ 1471613 h 1744979"/>
                  <a:gd name="connsiteX1414" fmla="*/ 1628775 w 1969770"/>
                  <a:gd name="connsiteY1414" fmla="*/ 1470660 h 1744979"/>
                  <a:gd name="connsiteX1415" fmla="*/ 1639253 w 1969770"/>
                  <a:gd name="connsiteY1415" fmla="*/ 1468755 h 1744979"/>
                  <a:gd name="connsiteX1416" fmla="*/ 1648778 w 1969770"/>
                  <a:gd name="connsiteY1416" fmla="*/ 1466850 h 1744979"/>
                  <a:gd name="connsiteX1417" fmla="*/ 1658303 w 1969770"/>
                  <a:gd name="connsiteY1417" fmla="*/ 1464945 h 1744979"/>
                  <a:gd name="connsiteX1418" fmla="*/ 1666875 w 1969770"/>
                  <a:gd name="connsiteY1418" fmla="*/ 1463040 h 1744979"/>
                  <a:gd name="connsiteX1419" fmla="*/ 1675448 w 1969770"/>
                  <a:gd name="connsiteY1419" fmla="*/ 1461135 h 1744979"/>
                  <a:gd name="connsiteX1420" fmla="*/ 1683068 w 1969770"/>
                  <a:gd name="connsiteY1420" fmla="*/ 1459230 h 1744979"/>
                  <a:gd name="connsiteX1421" fmla="*/ 1690688 w 1969770"/>
                  <a:gd name="connsiteY1421" fmla="*/ 1457325 h 1744979"/>
                  <a:gd name="connsiteX1422" fmla="*/ 1697355 w 1969770"/>
                  <a:gd name="connsiteY1422" fmla="*/ 1454468 h 1744979"/>
                  <a:gd name="connsiteX1423" fmla="*/ 1704023 w 1969770"/>
                  <a:gd name="connsiteY1423" fmla="*/ 1451610 h 1744979"/>
                  <a:gd name="connsiteX1424" fmla="*/ 1710690 w 1969770"/>
                  <a:gd name="connsiteY1424" fmla="*/ 1448753 h 1744979"/>
                  <a:gd name="connsiteX1425" fmla="*/ 1716405 w 1969770"/>
                  <a:gd name="connsiteY1425" fmla="*/ 1445895 h 1744979"/>
                  <a:gd name="connsiteX1426" fmla="*/ 1727835 w 1969770"/>
                  <a:gd name="connsiteY1426" fmla="*/ 1440180 h 1744979"/>
                  <a:gd name="connsiteX1427" fmla="*/ 1738313 w 1969770"/>
                  <a:gd name="connsiteY1427" fmla="*/ 1434465 h 1744979"/>
                  <a:gd name="connsiteX1428" fmla="*/ 1747838 w 1969770"/>
                  <a:gd name="connsiteY1428" fmla="*/ 1428750 h 1744979"/>
                  <a:gd name="connsiteX1429" fmla="*/ 1757363 w 1969770"/>
                  <a:gd name="connsiteY1429" fmla="*/ 1423035 h 1744979"/>
                  <a:gd name="connsiteX1430" fmla="*/ 1765935 w 1969770"/>
                  <a:gd name="connsiteY1430" fmla="*/ 1417320 h 1744979"/>
                  <a:gd name="connsiteX1431" fmla="*/ 1774508 w 1969770"/>
                  <a:gd name="connsiteY1431" fmla="*/ 1411605 h 1744979"/>
                  <a:gd name="connsiteX1432" fmla="*/ 1783080 w 1969770"/>
                  <a:gd name="connsiteY1432" fmla="*/ 1405890 h 1744979"/>
                  <a:gd name="connsiteX1433" fmla="*/ 1791653 w 1969770"/>
                  <a:gd name="connsiteY1433" fmla="*/ 1400175 h 1744979"/>
                  <a:gd name="connsiteX1434" fmla="*/ 1801178 w 1969770"/>
                  <a:gd name="connsiteY1434" fmla="*/ 1394460 h 1744979"/>
                  <a:gd name="connsiteX1435" fmla="*/ 1810703 w 1969770"/>
                  <a:gd name="connsiteY1435" fmla="*/ 1388745 h 1744979"/>
                  <a:gd name="connsiteX1436" fmla="*/ 1797368 w 1969770"/>
                  <a:gd name="connsiteY1436" fmla="*/ 1411605 h 1744979"/>
                  <a:gd name="connsiteX1437" fmla="*/ 1784033 w 1969770"/>
                  <a:gd name="connsiteY1437" fmla="*/ 1432560 h 1744979"/>
                  <a:gd name="connsiteX1438" fmla="*/ 1769745 w 1969770"/>
                  <a:gd name="connsiteY1438" fmla="*/ 1451610 h 1744979"/>
                  <a:gd name="connsiteX1439" fmla="*/ 1755458 w 1969770"/>
                  <a:gd name="connsiteY1439" fmla="*/ 1468755 h 1744979"/>
                  <a:gd name="connsiteX1440" fmla="*/ 1741170 w 1969770"/>
                  <a:gd name="connsiteY1440" fmla="*/ 1483995 h 1744979"/>
                  <a:gd name="connsiteX1441" fmla="*/ 1725930 w 1969770"/>
                  <a:gd name="connsiteY1441" fmla="*/ 1497330 h 1744979"/>
                  <a:gd name="connsiteX1442" fmla="*/ 1710690 w 1969770"/>
                  <a:gd name="connsiteY1442" fmla="*/ 1509713 h 1744979"/>
                  <a:gd name="connsiteX1443" fmla="*/ 1695450 w 1969770"/>
                  <a:gd name="connsiteY1443" fmla="*/ 1520190 h 1744979"/>
                  <a:gd name="connsiteX1444" fmla="*/ 1679258 w 1969770"/>
                  <a:gd name="connsiteY1444" fmla="*/ 1529715 h 1744979"/>
                  <a:gd name="connsiteX1445" fmla="*/ 1663065 w 1969770"/>
                  <a:gd name="connsiteY1445" fmla="*/ 1537335 h 1744979"/>
                  <a:gd name="connsiteX1446" fmla="*/ 1646873 w 1969770"/>
                  <a:gd name="connsiteY1446" fmla="*/ 1544003 h 1744979"/>
                  <a:gd name="connsiteX1447" fmla="*/ 1630680 w 1969770"/>
                  <a:gd name="connsiteY1447" fmla="*/ 1549718 h 1744979"/>
                  <a:gd name="connsiteX1448" fmla="*/ 1614488 w 1969770"/>
                  <a:gd name="connsiteY1448" fmla="*/ 1554480 h 1744979"/>
                  <a:gd name="connsiteX1449" fmla="*/ 1598295 w 1969770"/>
                  <a:gd name="connsiteY1449" fmla="*/ 1558290 h 1744979"/>
                  <a:gd name="connsiteX1450" fmla="*/ 1582103 w 1969770"/>
                  <a:gd name="connsiteY1450" fmla="*/ 1561148 h 1744979"/>
                  <a:gd name="connsiteX1451" fmla="*/ 1566863 w 1969770"/>
                  <a:gd name="connsiteY1451" fmla="*/ 1563053 h 1744979"/>
                  <a:gd name="connsiteX1452" fmla="*/ 1551623 w 1969770"/>
                  <a:gd name="connsiteY1452" fmla="*/ 1564005 h 1744979"/>
                  <a:gd name="connsiteX1453" fmla="*/ 1536383 w 1969770"/>
                  <a:gd name="connsiteY1453" fmla="*/ 1564958 h 1744979"/>
                  <a:gd name="connsiteX1454" fmla="*/ 1521143 w 1969770"/>
                  <a:gd name="connsiteY1454" fmla="*/ 1564958 h 1744979"/>
                  <a:gd name="connsiteX1455" fmla="*/ 1506855 w 1969770"/>
                  <a:gd name="connsiteY1455" fmla="*/ 1564958 h 1744979"/>
                  <a:gd name="connsiteX1456" fmla="*/ 1479233 w 1969770"/>
                  <a:gd name="connsiteY1456" fmla="*/ 1564005 h 1744979"/>
                  <a:gd name="connsiteX1457" fmla="*/ 1452563 w 1969770"/>
                  <a:gd name="connsiteY1457" fmla="*/ 1563053 h 1744979"/>
                  <a:gd name="connsiteX1458" fmla="*/ 1440180 w 1969770"/>
                  <a:gd name="connsiteY1458" fmla="*/ 1563053 h 1744979"/>
                  <a:gd name="connsiteX1459" fmla="*/ 1428750 w 1969770"/>
                  <a:gd name="connsiteY1459" fmla="*/ 1563053 h 1744979"/>
                  <a:gd name="connsiteX1460" fmla="*/ 1418273 w 1969770"/>
                  <a:gd name="connsiteY1460" fmla="*/ 1563053 h 1744979"/>
                  <a:gd name="connsiteX1461" fmla="*/ 1407795 w 1969770"/>
                  <a:gd name="connsiteY1461" fmla="*/ 1563053 h 1744979"/>
                  <a:gd name="connsiteX1462" fmla="*/ 1398270 w 1969770"/>
                  <a:gd name="connsiteY1462" fmla="*/ 1564005 h 1744979"/>
                  <a:gd name="connsiteX1463" fmla="*/ 1389698 w 1969770"/>
                  <a:gd name="connsiteY1463" fmla="*/ 1564958 h 1744979"/>
                  <a:gd name="connsiteX1464" fmla="*/ 1382078 w 1969770"/>
                  <a:gd name="connsiteY1464" fmla="*/ 1566863 h 1744979"/>
                  <a:gd name="connsiteX1465" fmla="*/ 1373505 w 1969770"/>
                  <a:gd name="connsiteY1465" fmla="*/ 1568768 h 1744979"/>
                  <a:gd name="connsiteX1466" fmla="*/ 1373505 w 1969770"/>
                  <a:gd name="connsiteY1466" fmla="*/ 1568768 h 1744979"/>
                  <a:gd name="connsiteX1467" fmla="*/ 1829753 w 1969770"/>
                  <a:gd name="connsiteY1467" fmla="*/ 656273 h 1744979"/>
                  <a:gd name="connsiteX1468" fmla="*/ 1824990 w 1969770"/>
                  <a:gd name="connsiteY1468" fmla="*/ 642938 h 1744979"/>
                  <a:gd name="connsiteX1469" fmla="*/ 1819275 w 1969770"/>
                  <a:gd name="connsiteY1469" fmla="*/ 630555 h 1744979"/>
                  <a:gd name="connsiteX1470" fmla="*/ 1812608 w 1969770"/>
                  <a:gd name="connsiteY1470" fmla="*/ 618173 h 1744979"/>
                  <a:gd name="connsiteX1471" fmla="*/ 1805940 w 1969770"/>
                  <a:gd name="connsiteY1471" fmla="*/ 607695 h 1744979"/>
                  <a:gd name="connsiteX1472" fmla="*/ 1799273 w 1969770"/>
                  <a:gd name="connsiteY1472" fmla="*/ 597218 h 1744979"/>
                  <a:gd name="connsiteX1473" fmla="*/ 1790700 w 1969770"/>
                  <a:gd name="connsiteY1473" fmla="*/ 586740 h 1744979"/>
                  <a:gd name="connsiteX1474" fmla="*/ 1783080 w 1969770"/>
                  <a:gd name="connsiteY1474" fmla="*/ 577215 h 1744979"/>
                  <a:gd name="connsiteX1475" fmla="*/ 1774508 w 1969770"/>
                  <a:gd name="connsiteY1475" fmla="*/ 567690 h 1744979"/>
                  <a:gd name="connsiteX1476" fmla="*/ 1764983 w 1969770"/>
                  <a:gd name="connsiteY1476" fmla="*/ 559118 h 1744979"/>
                  <a:gd name="connsiteX1477" fmla="*/ 1755458 w 1969770"/>
                  <a:gd name="connsiteY1477" fmla="*/ 550545 h 1744979"/>
                  <a:gd name="connsiteX1478" fmla="*/ 1745933 w 1969770"/>
                  <a:gd name="connsiteY1478" fmla="*/ 541973 h 1744979"/>
                  <a:gd name="connsiteX1479" fmla="*/ 1736408 w 1969770"/>
                  <a:gd name="connsiteY1479" fmla="*/ 534353 h 1744979"/>
                  <a:gd name="connsiteX1480" fmla="*/ 1716405 w 1969770"/>
                  <a:gd name="connsiteY1480" fmla="*/ 518160 h 1744979"/>
                  <a:gd name="connsiteX1481" fmla="*/ 1696403 w 1969770"/>
                  <a:gd name="connsiteY1481" fmla="*/ 502920 h 1744979"/>
                  <a:gd name="connsiteX1482" fmla="*/ 1685925 w 1969770"/>
                  <a:gd name="connsiteY1482" fmla="*/ 495300 h 1744979"/>
                  <a:gd name="connsiteX1483" fmla="*/ 1676400 w 1969770"/>
                  <a:gd name="connsiteY1483" fmla="*/ 487680 h 1744979"/>
                  <a:gd name="connsiteX1484" fmla="*/ 1666875 w 1969770"/>
                  <a:gd name="connsiteY1484" fmla="*/ 480060 h 1744979"/>
                  <a:gd name="connsiteX1485" fmla="*/ 1657350 w 1969770"/>
                  <a:gd name="connsiteY1485" fmla="*/ 471488 h 1744979"/>
                  <a:gd name="connsiteX1486" fmla="*/ 1647825 w 1969770"/>
                  <a:gd name="connsiteY1486" fmla="*/ 462915 h 1744979"/>
                  <a:gd name="connsiteX1487" fmla="*/ 1638300 w 1969770"/>
                  <a:gd name="connsiteY1487" fmla="*/ 454343 h 1744979"/>
                  <a:gd name="connsiteX1488" fmla="*/ 1629728 w 1969770"/>
                  <a:gd name="connsiteY1488" fmla="*/ 445770 h 1744979"/>
                  <a:gd name="connsiteX1489" fmla="*/ 1621155 w 1969770"/>
                  <a:gd name="connsiteY1489" fmla="*/ 436245 h 1744979"/>
                  <a:gd name="connsiteX1490" fmla="*/ 1612583 w 1969770"/>
                  <a:gd name="connsiteY1490" fmla="*/ 426720 h 1744979"/>
                  <a:gd name="connsiteX1491" fmla="*/ 1604963 w 1969770"/>
                  <a:gd name="connsiteY1491" fmla="*/ 416243 h 1744979"/>
                  <a:gd name="connsiteX1492" fmla="*/ 1597343 w 1969770"/>
                  <a:gd name="connsiteY1492" fmla="*/ 405765 h 1744979"/>
                  <a:gd name="connsiteX1493" fmla="*/ 1590675 w 1969770"/>
                  <a:gd name="connsiteY1493" fmla="*/ 394335 h 1744979"/>
                  <a:gd name="connsiteX1494" fmla="*/ 1584008 w 1969770"/>
                  <a:gd name="connsiteY1494" fmla="*/ 381953 h 1744979"/>
                  <a:gd name="connsiteX1495" fmla="*/ 1578293 w 1969770"/>
                  <a:gd name="connsiteY1495" fmla="*/ 369570 h 1744979"/>
                  <a:gd name="connsiteX1496" fmla="*/ 1572578 w 1969770"/>
                  <a:gd name="connsiteY1496" fmla="*/ 356235 h 1744979"/>
                  <a:gd name="connsiteX1497" fmla="*/ 1568768 w 1969770"/>
                  <a:gd name="connsiteY1497" fmla="*/ 341948 h 1744979"/>
                  <a:gd name="connsiteX1498" fmla="*/ 1578293 w 1969770"/>
                  <a:gd name="connsiteY1498" fmla="*/ 351473 h 1744979"/>
                  <a:gd name="connsiteX1499" fmla="*/ 1588770 w 1969770"/>
                  <a:gd name="connsiteY1499" fmla="*/ 360045 h 1744979"/>
                  <a:gd name="connsiteX1500" fmla="*/ 1599248 w 1969770"/>
                  <a:gd name="connsiteY1500" fmla="*/ 368618 h 1744979"/>
                  <a:gd name="connsiteX1501" fmla="*/ 1609725 w 1969770"/>
                  <a:gd name="connsiteY1501" fmla="*/ 376238 h 1744979"/>
                  <a:gd name="connsiteX1502" fmla="*/ 1620203 w 1969770"/>
                  <a:gd name="connsiteY1502" fmla="*/ 383858 h 1744979"/>
                  <a:gd name="connsiteX1503" fmla="*/ 1630680 w 1969770"/>
                  <a:gd name="connsiteY1503" fmla="*/ 391478 h 1744979"/>
                  <a:gd name="connsiteX1504" fmla="*/ 1642110 w 1969770"/>
                  <a:gd name="connsiteY1504" fmla="*/ 398145 h 1744979"/>
                  <a:gd name="connsiteX1505" fmla="*/ 1653540 w 1969770"/>
                  <a:gd name="connsiteY1505" fmla="*/ 405765 h 1744979"/>
                  <a:gd name="connsiteX1506" fmla="*/ 1676400 w 1969770"/>
                  <a:gd name="connsiteY1506" fmla="*/ 420053 h 1744979"/>
                  <a:gd name="connsiteX1507" fmla="*/ 1699260 w 1969770"/>
                  <a:gd name="connsiteY1507" fmla="*/ 435293 h 1744979"/>
                  <a:gd name="connsiteX1508" fmla="*/ 1710690 w 1969770"/>
                  <a:gd name="connsiteY1508" fmla="*/ 442913 h 1744979"/>
                  <a:gd name="connsiteX1509" fmla="*/ 1721168 w 1969770"/>
                  <a:gd name="connsiteY1509" fmla="*/ 451485 h 1744979"/>
                  <a:gd name="connsiteX1510" fmla="*/ 1731645 w 1969770"/>
                  <a:gd name="connsiteY1510" fmla="*/ 461010 h 1744979"/>
                  <a:gd name="connsiteX1511" fmla="*/ 1742123 w 1969770"/>
                  <a:gd name="connsiteY1511" fmla="*/ 470535 h 1744979"/>
                  <a:gd name="connsiteX1512" fmla="*/ 1751648 w 1969770"/>
                  <a:gd name="connsiteY1512" fmla="*/ 480060 h 1744979"/>
                  <a:gd name="connsiteX1513" fmla="*/ 1760220 w 1969770"/>
                  <a:gd name="connsiteY1513" fmla="*/ 489585 h 1744979"/>
                  <a:gd name="connsiteX1514" fmla="*/ 1767840 w 1969770"/>
                  <a:gd name="connsiteY1514" fmla="*/ 499110 h 1744979"/>
                  <a:gd name="connsiteX1515" fmla="*/ 1774508 w 1969770"/>
                  <a:gd name="connsiteY1515" fmla="*/ 509588 h 1744979"/>
                  <a:gd name="connsiteX1516" fmla="*/ 1781175 w 1969770"/>
                  <a:gd name="connsiteY1516" fmla="*/ 520065 h 1744979"/>
                  <a:gd name="connsiteX1517" fmla="*/ 1787843 w 1969770"/>
                  <a:gd name="connsiteY1517" fmla="*/ 530543 h 1744979"/>
                  <a:gd name="connsiteX1518" fmla="*/ 1793558 w 1969770"/>
                  <a:gd name="connsiteY1518" fmla="*/ 541020 h 1744979"/>
                  <a:gd name="connsiteX1519" fmla="*/ 1799273 w 1969770"/>
                  <a:gd name="connsiteY1519" fmla="*/ 552450 h 1744979"/>
                  <a:gd name="connsiteX1520" fmla="*/ 1794510 w 1969770"/>
                  <a:gd name="connsiteY1520" fmla="*/ 535305 h 1744979"/>
                  <a:gd name="connsiteX1521" fmla="*/ 1790700 w 1969770"/>
                  <a:gd name="connsiteY1521" fmla="*/ 518160 h 1744979"/>
                  <a:gd name="connsiteX1522" fmla="*/ 1786890 w 1969770"/>
                  <a:gd name="connsiteY1522" fmla="*/ 501015 h 1744979"/>
                  <a:gd name="connsiteX1523" fmla="*/ 1783080 w 1969770"/>
                  <a:gd name="connsiteY1523" fmla="*/ 483870 h 1744979"/>
                  <a:gd name="connsiteX1524" fmla="*/ 1780223 w 1969770"/>
                  <a:gd name="connsiteY1524" fmla="*/ 466725 h 1744979"/>
                  <a:gd name="connsiteX1525" fmla="*/ 1777365 w 1969770"/>
                  <a:gd name="connsiteY1525" fmla="*/ 450533 h 1744979"/>
                  <a:gd name="connsiteX1526" fmla="*/ 1776413 w 1969770"/>
                  <a:gd name="connsiteY1526" fmla="*/ 442913 h 1744979"/>
                  <a:gd name="connsiteX1527" fmla="*/ 1775460 w 1969770"/>
                  <a:gd name="connsiteY1527" fmla="*/ 435293 h 1744979"/>
                  <a:gd name="connsiteX1528" fmla="*/ 1774508 w 1969770"/>
                  <a:gd name="connsiteY1528" fmla="*/ 427673 h 1744979"/>
                  <a:gd name="connsiteX1529" fmla="*/ 1774508 w 1969770"/>
                  <a:gd name="connsiteY1529" fmla="*/ 420053 h 1744979"/>
                  <a:gd name="connsiteX1530" fmla="*/ 1771650 w 1969770"/>
                  <a:gd name="connsiteY1530" fmla="*/ 400050 h 1744979"/>
                  <a:gd name="connsiteX1531" fmla="*/ 1769745 w 1969770"/>
                  <a:gd name="connsiteY1531" fmla="*/ 384810 h 1744979"/>
                  <a:gd name="connsiteX1532" fmla="*/ 1767840 w 1969770"/>
                  <a:gd name="connsiteY1532" fmla="*/ 372428 h 1744979"/>
                  <a:gd name="connsiteX1533" fmla="*/ 1765935 w 1969770"/>
                  <a:gd name="connsiteY1533" fmla="*/ 361950 h 1744979"/>
                  <a:gd name="connsiteX1534" fmla="*/ 1764983 w 1969770"/>
                  <a:gd name="connsiteY1534" fmla="*/ 357188 h 1744979"/>
                  <a:gd name="connsiteX1535" fmla="*/ 1763078 w 1969770"/>
                  <a:gd name="connsiteY1535" fmla="*/ 352425 h 1744979"/>
                  <a:gd name="connsiteX1536" fmla="*/ 1761173 w 1969770"/>
                  <a:gd name="connsiteY1536" fmla="*/ 346710 h 1744979"/>
                  <a:gd name="connsiteX1537" fmla="*/ 1758315 w 1969770"/>
                  <a:gd name="connsiteY1537" fmla="*/ 340995 h 1744979"/>
                  <a:gd name="connsiteX1538" fmla="*/ 1752600 w 1969770"/>
                  <a:gd name="connsiteY1538" fmla="*/ 326708 h 1744979"/>
                  <a:gd name="connsiteX1539" fmla="*/ 1744980 w 1969770"/>
                  <a:gd name="connsiteY1539" fmla="*/ 307658 h 1744979"/>
                  <a:gd name="connsiteX1540" fmla="*/ 1742123 w 1969770"/>
                  <a:gd name="connsiteY1540" fmla="*/ 301943 h 1744979"/>
                  <a:gd name="connsiteX1541" fmla="*/ 1737360 w 1969770"/>
                  <a:gd name="connsiteY1541" fmla="*/ 294323 h 1744979"/>
                  <a:gd name="connsiteX1542" fmla="*/ 1732598 w 1969770"/>
                  <a:gd name="connsiteY1542" fmla="*/ 286703 h 1744979"/>
                  <a:gd name="connsiteX1543" fmla="*/ 1729740 w 1969770"/>
                  <a:gd name="connsiteY1543" fmla="*/ 280988 h 1744979"/>
                  <a:gd name="connsiteX1544" fmla="*/ 1735455 w 1969770"/>
                  <a:gd name="connsiteY1544" fmla="*/ 284798 h 1744979"/>
                  <a:gd name="connsiteX1545" fmla="*/ 1741170 w 1969770"/>
                  <a:gd name="connsiteY1545" fmla="*/ 289560 h 1744979"/>
                  <a:gd name="connsiteX1546" fmla="*/ 1746885 w 1969770"/>
                  <a:gd name="connsiteY1546" fmla="*/ 293370 h 1744979"/>
                  <a:gd name="connsiteX1547" fmla="*/ 1752600 w 1969770"/>
                  <a:gd name="connsiteY1547" fmla="*/ 298133 h 1744979"/>
                  <a:gd name="connsiteX1548" fmla="*/ 1758315 w 1969770"/>
                  <a:gd name="connsiteY1548" fmla="*/ 302895 h 1744979"/>
                  <a:gd name="connsiteX1549" fmla="*/ 1763078 w 1969770"/>
                  <a:gd name="connsiteY1549" fmla="*/ 307658 h 1744979"/>
                  <a:gd name="connsiteX1550" fmla="*/ 1767840 w 1969770"/>
                  <a:gd name="connsiteY1550" fmla="*/ 312420 h 1744979"/>
                  <a:gd name="connsiteX1551" fmla="*/ 1772603 w 1969770"/>
                  <a:gd name="connsiteY1551" fmla="*/ 317183 h 1744979"/>
                  <a:gd name="connsiteX1552" fmla="*/ 1777365 w 1969770"/>
                  <a:gd name="connsiteY1552" fmla="*/ 321945 h 1744979"/>
                  <a:gd name="connsiteX1553" fmla="*/ 1781175 w 1969770"/>
                  <a:gd name="connsiteY1553" fmla="*/ 327660 h 1744979"/>
                  <a:gd name="connsiteX1554" fmla="*/ 1784985 w 1969770"/>
                  <a:gd name="connsiteY1554" fmla="*/ 332423 h 1744979"/>
                  <a:gd name="connsiteX1555" fmla="*/ 1788795 w 1969770"/>
                  <a:gd name="connsiteY1555" fmla="*/ 338138 h 1744979"/>
                  <a:gd name="connsiteX1556" fmla="*/ 1792605 w 1969770"/>
                  <a:gd name="connsiteY1556" fmla="*/ 343853 h 1744979"/>
                  <a:gd name="connsiteX1557" fmla="*/ 1796415 w 1969770"/>
                  <a:gd name="connsiteY1557" fmla="*/ 349568 h 1744979"/>
                  <a:gd name="connsiteX1558" fmla="*/ 1800225 w 1969770"/>
                  <a:gd name="connsiteY1558" fmla="*/ 355283 h 1744979"/>
                  <a:gd name="connsiteX1559" fmla="*/ 1803083 w 1969770"/>
                  <a:gd name="connsiteY1559" fmla="*/ 360998 h 1744979"/>
                  <a:gd name="connsiteX1560" fmla="*/ 1809750 w 1969770"/>
                  <a:gd name="connsiteY1560" fmla="*/ 371475 h 1744979"/>
                  <a:gd name="connsiteX1561" fmla="*/ 1815465 w 1969770"/>
                  <a:gd name="connsiteY1561" fmla="*/ 383858 h 1744979"/>
                  <a:gd name="connsiteX1562" fmla="*/ 1821180 w 1969770"/>
                  <a:gd name="connsiteY1562" fmla="*/ 396240 h 1744979"/>
                  <a:gd name="connsiteX1563" fmla="*/ 1824990 w 1969770"/>
                  <a:gd name="connsiteY1563" fmla="*/ 408623 h 1744979"/>
                  <a:gd name="connsiteX1564" fmla="*/ 1828800 w 1969770"/>
                  <a:gd name="connsiteY1564" fmla="*/ 421958 h 1744979"/>
                  <a:gd name="connsiteX1565" fmla="*/ 1832610 w 1969770"/>
                  <a:gd name="connsiteY1565" fmla="*/ 435293 h 1744979"/>
                  <a:gd name="connsiteX1566" fmla="*/ 1835468 w 1969770"/>
                  <a:gd name="connsiteY1566" fmla="*/ 449580 h 1744979"/>
                  <a:gd name="connsiteX1567" fmla="*/ 1838325 w 1969770"/>
                  <a:gd name="connsiteY1567" fmla="*/ 463868 h 1744979"/>
                  <a:gd name="connsiteX1568" fmla="*/ 1838325 w 1969770"/>
                  <a:gd name="connsiteY1568" fmla="*/ 476250 h 1744979"/>
                  <a:gd name="connsiteX1569" fmla="*/ 1839278 w 1969770"/>
                  <a:gd name="connsiteY1569" fmla="*/ 488633 h 1744979"/>
                  <a:gd name="connsiteX1570" fmla="*/ 1840230 w 1969770"/>
                  <a:gd name="connsiteY1570" fmla="*/ 501015 h 1744979"/>
                  <a:gd name="connsiteX1571" fmla="*/ 1840230 w 1969770"/>
                  <a:gd name="connsiteY1571" fmla="*/ 512445 h 1744979"/>
                  <a:gd name="connsiteX1572" fmla="*/ 1840230 w 1969770"/>
                  <a:gd name="connsiteY1572" fmla="*/ 524828 h 1744979"/>
                  <a:gd name="connsiteX1573" fmla="*/ 1840230 w 1969770"/>
                  <a:gd name="connsiteY1573" fmla="*/ 536258 h 1744979"/>
                  <a:gd name="connsiteX1574" fmla="*/ 1840230 w 1969770"/>
                  <a:gd name="connsiteY1574" fmla="*/ 547688 h 1744979"/>
                  <a:gd name="connsiteX1575" fmla="*/ 1839278 w 1969770"/>
                  <a:gd name="connsiteY1575" fmla="*/ 559118 h 1744979"/>
                  <a:gd name="connsiteX1576" fmla="*/ 1838325 w 1969770"/>
                  <a:gd name="connsiteY1576" fmla="*/ 581978 h 1744979"/>
                  <a:gd name="connsiteX1577" fmla="*/ 1836420 w 1969770"/>
                  <a:gd name="connsiteY1577" fmla="*/ 605790 h 1744979"/>
                  <a:gd name="connsiteX1578" fmla="*/ 1833563 w 1969770"/>
                  <a:gd name="connsiteY1578" fmla="*/ 630555 h 1744979"/>
                  <a:gd name="connsiteX1579" fmla="*/ 1829753 w 1969770"/>
                  <a:gd name="connsiteY1579" fmla="*/ 656273 h 1744979"/>
                  <a:gd name="connsiteX1580" fmla="*/ 1829753 w 1969770"/>
                  <a:gd name="connsiteY1580" fmla="*/ 656273 h 1744979"/>
                  <a:gd name="connsiteX1581" fmla="*/ 340995 w 1969770"/>
                  <a:gd name="connsiteY1581" fmla="*/ 1589723 h 1744979"/>
                  <a:gd name="connsiteX1582" fmla="*/ 353378 w 1969770"/>
                  <a:gd name="connsiteY1582" fmla="*/ 1597343 h 1744979"/>
                  <a:gd name="connsiteX1583" fmla="*/ 366713 w 1969770"/>
                  <a:gd name="connsiteY1583" fmla="*/ 1603058 h 1744979"/>
                  <a:gd name="connsiteX1584" fmla="*/ 381000 w 1969770"/>
                  <a:gd name="connsiteY1584" fmla="*/ 1606868 h 1744979"/>
                  <a:gd name="connsiteX1585" fmla="*/ 395288 w 1969770"/>
                  <a:gd name="connsiteY1585" fmla="*/ 1609725 h 1744979"/>
                  <a:gd name="connsiteX1586" fmla="*/ 410528 w 1969770"/>
                  <a:gd name="connsiteY1586" fmla="*/ 1611630 h 1744979"/>
                  <a:gd name="connsiteX1587" fmla="*/ 426720 w 1969770"/>
                  <a:gd name="connsiteY1587" fmla="*/ 1611630 h 1744979"/>
                  <a:gd name="connsiteX1588" fmla="*/ 443865 w 1969770"/>
                  <a:gd name="connsiteY1588" fmla="*/ 1611630 h 1744979"/>
                  <a:gd name="connsiteX1589" fmla="*/ 461010 w 1969770"/>
                  <a:gd name="connsiteY1589" fmla="*/ 1609725 h 1744979"/>
                  <a:gd name="connsiteX1590" fmla="*/ 479108 w 1969770"/>
                  <a:gd name="connsiteY1590" fmla="*/ 1607820 h 1744979"/>
                  <a:gd name="connsiteX1591" fmla="*/ 498158 w 1969770"/>
                  <a:gd name="connsiteY1591" fmla="*/ 1604963 h 1744979"/>
                  <a:gd name="connsiteX1592" fmla="*/ 517208 w 1969770"/>
                  <a:gd name="connsiteY1592" fmla="*/ 1601153 h 1744979"/>
                  <a:gd name="connsiteX1593" fmla="*/ 537210 w 1969770"/>
                  <a:gd name="connsiteY1593" fmla="*/ 1597343 h 1744979"/>
                  <a:gd name="connsiteX1594" fmla="*/ 577215 w 1969770"/>
                  <a:gd name="connsiteY1594" fmla="*/ 1587818 h 1744979"/>
                  <a:gd name="connsiteX1595" fmla="*/ 619125 w 1969770"/>
                  <a:gd name="connsiteY1595" fmla="*/ 1578293 h 1744979"/>
                  <a:gd name="connsiteX1596" fmla="*/ 640080 w 1969770"/>
                  <a:gd name="connsiteY1596" fmla="*/ 1573530 h 1744979"/>
                  <a:gd name="connsiteX1597" fmla="*/ 661988 w 1969770"/>
                  <a:gd name="connsiteY1597" fmla="*/ 1568768 h 1744979"/>
                  <a:gd name="connsiteX1598" fmla="*/ 683895 w 1969770"/>
                  <a:gd name="connsiteY1598" fmla="*/ 1564958 h 1744979"/>
                  <a:gd name="connsiteX1599" fmla="*/ 705803 w 1969770"/>
                  <a:gd name="connsiteY1599" fmla="*/ 1561148 h 1744979"/>
                  <a:gd name="connsiteX1600" fmla="*/ 728663 w 1969770"/>
                  <a:gd name="connsiteY1600" fmla="*/ 1557338 h 1744979"/>
                  <a:gd name="connsiteX1601" fmla="*/ 751523 w 1969770"/>
                  <a:gd name="connsiteY1601" fmla="*/ 1554480 h 1744979"/>
                  <a:gd name="connsiteX1602" fmla="*/ 774383 w 1969770"/>
                  <a:gd name="connsiteY1602" fmla="*/ 1551623 h 1744979"/>
                  <a:gd name="connsiteX1603" fmla="*/ 797243 w 1969770"/>
                  <a:gd name="connsiteY1603" fmla="*/ 1550670 h 1744979"/>
                  <a:gd name="connsiteX1604" fmla="*/ 820103 w 1969770"/>
                  <a:gd name="connsiteY1604" fmla="*/ 1549718 h 1744979"/>
                  <a:gd name="connsiteX1605" fmla="*/ 842963 w 1969770"/>
                  <a:gd name="connsiteY1605" fmla="*/ 1550670 h 1744979"/>
                  <a:gd name="connsiteX1606" fmla="*/ 866775 w 1969770"/>
                  <a:gd name="connsiteY1606" fmla="*/ 1551623 h 1744979"/>
                  <a:gd name="connsiteX1607" fmla="*/ 889635 w 1969770"/>
                  <a:gd name="connsiteY1607" fmla="*/ 1554480 h 1744979"/>
                  <a:gd name="connsiteX1608" fmla="*/ 913448 w 1969770"/>
                  <a:gd name="connsiteY1608" fmla="*/ 1558290 h 1744979"/>
                  <a:gd name="connsiteX1609" fmla="*/ 936308 w 1969770"/>
                  <a:gd name="connsiteY1609" fmla="*/ 1564005 h 1744979"/>
                  <a:gd name="connsiteX1610" fmla="*/ 960120 w 1969770"/>
                  <a:gd name="connsiteY1610" fmla="*/ 1571625 h 1744979"/>
                  <a:gd name="connsiteX1611" fmla="*/ 982980 w 1969770"/>
                  <a:gd name="connsiteY1611" fmla="*/ 1580198 h 1744979"/>
                  <a:gd name="connsiteX1612" fmla="*/ 1012508 w 1969770"/>
                  <a:gd name="connsiteY1612" fmla="*/ 1572578 h 1744979"/>
                  <a:gd name="connsiteX1613" fmla="*/ 1041083 w 1969770"/>
                  <a:gd name="connsiteY1613" fmla="*/ 1565910 h 1744979"/>
                  <a:gd name="connsiteX1614" fmla="*/ 1067753 w 1969770"/>
                  <a:gd name="connsiteY1614" fmla="*/ 1560195 h 1744979"/>
                  <a:gd name="connsiteX1615" fmla="*/ 1094423 w 1969770"/>
                  <a:gd name="connsiteY1615" fmla="*/ 1556385 h 1744979"/>
                  <a:gd name="connsiteX1616" fmla="*/ 1120140 w 1969770"/>
                  <a:gd name="connsiteY1616" fmla="*/ 1553528 h 1744979"/>
                  <a:gd name="connsiteX1617" fmla="*/ 1143953 w 1969770"/>
                  <a:gd name="connsiteY1617" fmla="*/ 1552575 h 1744979"/>
                  <a:gd name="connsiteX1618" fmla="*/ 1166813 w 1969770"/>
                  <a:gd name="connsiteY1618" fmla="*/ 1552575 h 1744979"/>
                  <a:gd name="connsiteX1619" fmla="*/ 1189673 w 1969770"/>
                  <a:gd name="connsiteY1619" fmla="*/ 1553528 h 1744979"/>
                  <a:gd name="connsiteX1620" fmla="*/ 1211580 w 1969770"/>
                  <a:gd name="connsiteY1620" fmla="*/ 1554480 h 1744979"/>
                  <a:gd name="connsiteX1621" fmla="*/ 1232535 w 1969770"/>
                  <a:gd name="connsiteY1621" fmla="*/ 1556385 h 1744979"/>
                  <a:gd name="connsiteX1622" fmla="*/ 1252538 w 1969770"/>
                  <a:gd name="connsiteY1622" fmla="*/ 1559243 h 1744979"/>
                  <a:gd name="connsiteX1623" fmla="*/ 1272540 w 1969770"/>
                  <a:gd name="connsiteY1623" fmla="*/ 1563053 h 1744979"/>
                  <a:gd name="connsiteX1624" fmla="*/ 1291590 w 1969770"/>
                  <a:gd name="connsiteY1624" fmla="*/ 1566863 h 1744979"/>
                  <a:gd name="connsiteX1625" fmla="*/ 1310640 w 1969770"/>
                  <a:gd name="connsiteY1625" fmla="*/ 1570673 h 1744979"/>
                  <a:gd name="connsiteX1626" fmla="*/ 1328738 w 1969770"/>
                  <a:gd name="connsiteY1626" fmla="*/ 1575435 h 1744979"/>
                  <a:gd name="connsiteX1627" fmla="*/ 1346835 w 1969770"/>
                  <a:gd name="connsiteY1627" fmla="*/ 1580198 h 1744979"/>
                  <a:gd name="connsiteX1628" fmla="*/ 1382078 w 1969770"/>
                  <a:gd name="connsiteY1628" fmla="*/ 1589723 h 1744979"/>
                  <a:gd name="connsiteX1629" fmla="*/ 1416368 w 1969770"/>
                  <a:gd name="connsiteY1629" fmla="*/ 1598295 h 1744979"/>
                  <a:gd name="connsiteX1630" fmla="*/ 1433513 w 1969770"/>
                  <a:gd name="connsiteY1630" fmla="*/ 1602105 h 1744979"/>
                  <a:gd name="connsiteX1631" fmla="*/ 1450658 w 1969770"/>
                  <a:gd name="connsiteY1631" fmla="*/ 1605915 h 1744979"/>
                  <a:gd name="connsiteX1632" fmla="*/ 1467803 w 1969770"/>
                  <a:gd name="connsiteY1632" fmla="*/ 1608773 h 1744979"/>
                  <a:gd name="connsiteX1633" fmla="*/ 1484948 w 1969770"/>
                  <a:gd name="connsiteY1633" fmla="*/ 1610678 h 1744979"/>
                  <a:gd name="connsiteX1634" fmla="*/ 1502093 w 1969770"/>
                  <a:gd name="connsiteY1634" fmla="*/ 1611630 h 1744979"/>
                  <a:gd name="connsiteX1635" fmla="*/ 1519238 w 1969770"/>
                  <a:gd name="connsiteY1635" fmla="*/ 1611630 h 1744979"/>
                  <a:gd name="connsiteX1636" fmla="*/ 1537335 w 1969770"/>
                  <a:gd name="connsiteY1636" fmla="*/ 1611630 h 1744979"/>
                  <a:gd name="connsiteX1637" fmla="*/ 1555433 w 1969770"/>
                  <a:gd name="connsiteY1637" fmla="*/ 1609725 h 1744979"/>
                  <a:gd name="connsiteX1638" fmla="*/ 1573530 w 1969770"/>
                  <a:gd name="connsiteY1638" fmla="*/ 1606868 h 1744979"/>
                  <a:gd name="connsiteX1639" fmla="*/ 1592580 w 1969770"/>
                  <a:gd name="connsiteY1639" fmla="*/ 1603058 h 1744979"/>
                  <a:gd name="connsiteX1640" fmla="*/ 1611630 w 1969770"/>
                  <a:gd name="connsiteY1640" fmla="*/ 1598295 h 1744979"/>
                  <a:gd name="connsiteX1641" fmla="*/ 1631633 w 1969770"/>
                  <a:gd name="connsiteY1641" fmla="*/ 1591628 h 1744979"/>
                  <a:gd name="connsiteX1642" fmla="*/ 1613535 w 1969770"/>
                  <a:gd name="connsiteY1642" fmla="*/ 1607820 h 1744979"/>
                  <a:gd name="connsiteX1643" fmla="*/ 1595438 w 1969770"/>
                  <a:gd name="connsiteY1643" fmla="*/ 1622108 h 1744979"/>
                  <a:gd name="connsiteX1644" fmla="*/ 1576388 w 1969770"/>
                  <a:gd name="connsiteY1644" fmla="*/ 1634490 h 1744979"/>
                  <a:gd name="connsiteX1645" fmla="*/ 1557338 w 1969770"/>
                  <a:gd name="connsiteY1645" fmla="*/ 1644968 h 1744979"/>
                  <a:gd name="connsiteX1646" fmla="*/ 1538288 w 1969770"/>
                  <a:gd name="connsiteY1646" fmla="*/ 1653540 h 1744979"/>
                  <a:gd name="connsiteX1647" fmla="*/ 1518285 w 1969770"/>
                  <a:gd name="connsiteY1647" fmla="*/ 1660208 h 1744979"/>
                  <a:gd name="connsiteX1648" fmla="*/ 1498283 w 1969770"/>
                  <a:gd name="connsiteY1648" fmla="*/ 1665923 h 1744979"/>
                  <a:gd name="connsiteX1649" fmla="*/ 1478280 w 1969770"/>
                  <a:gd name="connsiteY1649" fmla="*/ 1669733 h 1744979"/>
                  <a:gd name="connsiteX1650" fmla="*/ 1457325 w 1969770"/>
                  <a:gd name="connsiteY1650" fmla="*/ 1672590 h 1744979"/>
                  <a:gd name="connsiteX1651" fmla="*/ 1436370 w 1969770"/>
                  <a:gd name="connsiteY1651" fmla="*/ 1674495 h 1744979"/>
                  <a:gd name="connsiteX1652" fmla="*/ 1415415 w 1969770"/>
                  <a:gd name="connsiteY1652" fmla="*/ 1675448 h 1744979"/>
                  <a:gd name="connsiteX1653" fmla="*/ 1394460 w 1969770"/>
                  <a:gd name="connsiteY1653" fmla="*/ 1675448 h 1744979"/>
                  <a:gd name="connsiteX1654" fmla="*/ 1373505 w 1969770"/>
                  <a:gd name="connsiteY1654" fmla="*/ 1674495 h 1744979"/>
                  <a:gd name="connsiteX1655" fmla="*/ 1352550 w 1969770"/>
                  <a:gd name="connsiteY1655" fmla="*/ 1672590 h 1744979"/>
                  <a:gd name="connsiteX1656" fmla="*/ 1331595 w 1969770"/>
                  <a:gd name="connsiteY1656" fmla="*/ 1669733 h 1744979"/>
                  <a:gd name="connsiteX1657" fmla="*/ 1310640 w 1969770"/>
                  <a:gd name="connsiteY1657" fmla="*/ 1665923 h 1744979"/>
                  <a:gd name="connsiteX1658" fmla="*/ 1289685 w 1969770"/>
                  <a:gd name="connsiteY1658" fmla="*/ 1662113 h 1744979"/>
                  <a:gd name="connsiteX1659" fmla="*/ 1269683 w 1969770"/>
                  <a:gd name="connsiteY1659" fmla="*/ 1658303 h 1744979"/>
                  <a:gd name="connsiteX1660" fmla="*/ 1249680 w 1969770"/>
                  <a:gd name="connsiteY1660" fmla="*/ 1653540 h 1744979"/>
                  <a:gd name="connsiteX1661" fmla="*/ 1229678 w 1969770"/>
                  <a:gd name="connsiteY1661" fmla="*/ 1648778 h 1744979"/>
                  <a:gd name="connsiteX1662" fmla="*/ 1191578 w 1969770"/>
                  <a:gd name="connsiteY1662" fmla="*/ 1638300 h 1744979"/>
                  <a:gd name="connsiteX1663" fmla="*/ 1155383 w 1969770"/>
                  <a:gd name="connsiteY1663" fmla="*/ 1628775 h 1744979"/>
                  <a:gd name="connsiteX1664" fmla="*/ 1138238 w 1969770"/>
                  <a:gd name="connsiteY1664" fmla="*/ 1624013 h 1744979"/>
                  <a:gd name="connsiteX1665" fmla="*/ 1121093 w 1969770"/>
                  <a:gd name="connsiteY1665" fmla="*/ 1619250 h 1744979"/>
                  <a:gd name="connsiteX1666" fmla="*/ 1104900 w 1969770"/>
                  <a:gd name="connsiteY1666" fmla="*/ 1615440 h 1744979"/>
                  <a:gd name="connsiteX1667" fmla="*/ 1089660 w 1969770"/>
                  <a:gd name="connsiteY1667" fmla="*/ 1611630 h 1744979"/>
                  <a:gd name="connsiteX1668" fmla="*/ 1075373 w 1969770"/>
                  <a:gd name="connsiteY1668" fmla="*/ 1608773 h 1744979"/>
                  <a:gd name="connsiteX1669" fmla="*/ 1061085 w 1969770"/>
                  <a:gd name="connsiteY1669" fmla="*/ 1606868 h 1744979"/>
                  <a:gd name="connsiteX1670" fmla="*/ 1047750 w 1969770"/>
                  <a:gd name="connsiteY1670" fmla="*/ 1605915 h 1744979"/>
                  <a:gd name="connsiteX1671" fmla="*/ 1035368 w 1969770"/>
                  <a:gd name="connsiteY1671" fmla="*/ 1605915 h 1744979"/>
                  <a:gd name="connsiteX1672" fmla="*/ 1049655 w 1969770"/>
                  <a:gd name="connsiteY1672" fmla="*/ 1613535 h 1744979"/>
                  <a:gd name="connsiteX1673" fmla="*/ 1062990 w 1969770"/>
                  <a:gd name="connsiteY1673" fmla="*/ 1621155 h 1744979"/>
                  <a:gd name="connsiteX1674" fmla="*/ 1075373 w 1969770"/>
                  <a:gd name="connsiteY1674" fmla="*/ 1628775 h 1744979"/>
                  <a:gd name="connsiteX1675" fmla="*/ 1087755 w 1969770"/>
                  <a:gd name="connsiteY1675" fmla="*/ 1636395 h 1744979"/>
                  <a:gd name="connsiteX1676" fmla="*/ 1100138 w 1969770"/>
                  <a:gd name="connsiteY1676" fmla="*/ 1644968 h 1744979"/>
                  <a:gd name="connsiteX1677" fmla="*/ 1111568 w 1969770"/>
                  <a:gd name="connsiteY1677" fmla="*/ 1652588 h 1744979"/>
                  <a:gd name="connsiteX1678" fmla="*/ 1122045 w 1969770"/>
                  <a:gd name="connsiteY1678" fmla="*/ 1660208 h 1744979"/>
                  <a:gd name="connsiteX1679" fmla="*/ 1132523 w 1969770"/>
                  <a:gd name="connsiteY1679" fmla="*/ 1668780 h 1744979"/>
                  <a:gd name="connsiteX1680" fmla="*/ 1142048 w 1969770"/>
                  <a:gd name="connsiteY1680" fmla="*/ 1677353 h 1744979"/>
                  <a:gd name="connsiteX1681" fmla="*/ 1151573 w 1969770"/>
                  <a:gd name="connsiteY1681" fmla="*/ 1685925 h 1744979"/>
                  <a:gd name="connsiteX1682" fmla="*/ 1161098 w 1969770"/>
                  <a:gd name="connsiteY1682" fmla="*/ 1694498 h 1744979"/>
                  <a:gd name="connsiteX1683" fmla="*/ 1169670 w 1969770"/>
                  <a:gd name="connsiteY1683" fmla="*/ 1703070 h 1744979"/>
                  <a:gd name="connsiteX1684" fmla="*/ 1178243 w 1969770"/>
                  <a:gd name="connsiteY1684" fmla="*/ 1711643 h 1744979"/>
                  <a:gd name="connsiteX1685" fmla="*/ 1186815 w 1969770"/>
                  <a:gd name="connsiteY1685" fmla="*/ 1720215 h 1744979"/>
                  <a:gd name="connsiteX1686" fmla="*/ 1194435 w 1969770"/>
                  <a:gd name="connsiteY1686" fmla="*/ 1728788 h 1744979"/>
                  <a:gd name="connsiteX1687" fmla="*/ 1202055 w 1969770"/>
                  <a:gd name="connsiteY1687" fmla="*/ 1737360 h 1744979"/>
                  <a:gd name="connsiteX1688" fmla="*/ 1189673 w 1969770"/>
                  <a:gd name="connsiteY1688" fmla="*/ 1739265 h 1744979"/>
                  <a:gd name="connsiteX1689" fmla="*/ 1178243 w 1969770"/>
                  <a:gd name="connsiteY1689" fmla="*/ 1740218 h 1744979"/>
                  <a:gd name="connsiteX1690" fmla="*/ 1166813 w 1969770"/>
                  <a:gd name="connsiteY1690" fmla="*/ 1741170 h 1744979"/>
                  <a:gd name="connsiteX1691" fmla="*/ 1154430 w 1969770"/>
                  <a:gd name="connsiteY1691" fmla="*/ 1743075 h 1744979"/>
                  <a:gd name="connsiteX1692" fmla="*/ 1148715 w 1969770"/>
                  <a:gd name="connsiteY1692" fmla="*/ 1733550 h 1744979"/>
                  <a:gd name="connsiteX1693" fmla="*/ 1142048 w 1969770"/>
                  <a:gd name="connsiteY1693" fmla="*/ 1724025 h 1744979"/>
                  <a:gd name="connsiteX1694" fmla="*/ 1134428 w 1969770"/>
                  <a:gd name="connsiteY1694" fmla="*/ 1715453 h 1744979"/>
                  <a:gd name="connsiteX1695" fmla="*/ 1126808 w 1969770"/>
                  <a:gd name="connsiteY1695" fmla="*/ 1706880 h 1744979"/>
                  <a:gd name="connsiteX1696" fmla="*/ 1118235 w 1969770"/>
                  <a:gd name="connsiteY1696" fmla="*/ 1698308 h 1744979"/>
                  <a:gd name="connsiteX1697" fmla="*/ 1108710 w 1969770"/>
                  <a:gd name="connsiteY1697" fmla="*/ 1689735 h 1744979"/>
                  <a:gd name="connsiteX1698" fmla="*/ 1099185 w 1969770"/>
                  <a:gd name="connsiteY1698" fmla="*/ 1681163 h 1744979"/>
                  <a:gd name="connsiteX1699" fmla="*/ 1088708 w 1969770"/>
                  <a:gd name="connsiteY1699" fmla="*/ 1673543 h 1744979"/>
                  <a:gd name="connsiteX1700" fmla="*/ 1078230 w 1969770"/>
                  <a:gd name="connsiteY1700" fmla="*/ 1665923 h 1744979"/>
                  <a:gd name="connsiteX1701" fmla="*/ 1066800 w 1969770"/>
                  <a:gd name="connsiteY1701" fmla="*/ 1658303 h 1744979"/>
                  <a:gd name="connsiteX1702" fmla="*/ 1054418 w 1969770"/>
                  <a:gd name="connsiteY1702" fmla="*/ 1650683 h 1744979"/>
                  <a:gd name="connsiteX1703" fmla="*/ 1042035 w 1969770"/>
                  <a:gd name="connsiteY1703" fmla="*/ 1643063 h 1744979"/>
                  <a:gd name="connsiteX1704" fmla="*/ 1028700 w 1969770"/>
                  <a:gd name="connsiteY1704" fmla="*/ 1635443 h 1744979"/>
                  <a:gd name="connsiteX1705" fmla="*/ 1014413 w 1969770"/>
                  <a:gd name="connsiteY1705" fmla="*/ 1627823 h 1744979"/>
                  <a:gd name="connsiteX1706" fmla="*/ 1000125 w 1969770"/>
                  <a:gd name="connsiteY1706" fmla="*/ 1620203 h 1744979"/>
                  <a:gd name="connsiteX1707" fmla="*/ 984885 w 1969770"/>
                  <a:gd name="connsiteY1707" fmla="*/ 1612583 h 1744979"/>
                  <a:gd name="connsiteX1708" fmla="*/ 971550 w 1969770"/>
                  <a:gd name="connsiteY1708" fmla="*/ 1616393 h 1744979"/>
                  <a:gd name="connsiteX1709" fmla="*/ 959168 w 1969770"/>
                  <a:gd name="connsiteY1709" fmla="*/ 1621155 h 1744979"/>
                  <a:gd name="connsiteX1710" fmla="*/ 946785 w 1969770"/>
                  <a:gd name="connsiteY1710" fmla="*/ 1626870 h 1744979"/>
                  <a:gd name="connsiteX1711" fmla="*/ 934403 w 1969770"/>
                  <a:gd name="connsiteY1711" fmla="*/ 1632585 h 1744979"/>
                  <a:gd name="connsiteX1712" fmla="*/ 922020 w 1969770"/>
                  <a:gd name="connsiteY1712" fmla="*/ 1639253 h 1744979"/>
                  <a:gd name="connsiteX1713" fmla="*/ 910590 w 1969770"/>
                  <a:gd name="connsiteY1713" fmla="*/ 1645920 h 1744979"/>
                  <a:gd name="connsiteX1714" fmla="*/ 899160 w 1969770"/>
                  <a:gd name="connsiteY1714" fmla="*/ 1652588 h 1744979"/>
                  <a:gd name="connsiteX1715" fmla="*/ 887730 w 1969770"/>
                  <a:gd name="connsiteY1715" fmla="*/ 1661160 h 1744979"/>
                  <a:gd name="connsiteX1716" fmla="*/ 877253 w 1969770"/>
                  <a:gd name="connsiteY1716" fmla="*/ 1668780 h 1744979"/>
                  <a:gd name="connsiteX1717" fmla="*/ 866775 w 1969770"/>
                  <a:gd name="connsiteY1717" fmla="*/ 1678305 h 1744979"/>
                  <a:gd name="connsiteX1718" fmla="*/ 856298 w 1969770"/>
                  <a:gd name="connsiteY1718" fmla="*/ 1687830 h 1744979"/>
                  <a:gd name="connsiteX1719" fmla="*/ 846773 w 1969770"/>
                  <a:gd name="connsiteY1719" fmla="*/ 1698308 h 1744979"/>
                  <a:gd name="connsiteX1720" fmla="*/ 837248 w 1969770"/>
                  <a:gd name="connsiteY1720" fmla="*/ 1708785 h 1744979"/>
                  <a:gd name="connsiteX1721" fmla="*/ 827723 w 1969770"/>
                  <a:gd name="connsiteY1721" fmla="*/ 1720215 h 1744979"/>
                  <a:gd name="connsiteX1722" fmla="*/ 818198 w 1969770"/>
                  <a:gd name="connsiteY1722" fmla="*/ 1732598 h 1744979"/>
                  <a:gd name="connsiteX1723" fmla="*/ 809625 w 1969770"/>
                  <a:gd name="connsiteY1723" fmla="*/ 1744980 h 1744979"/>
                  <a:gd name="connsiteX1724" fmla="*/ 798195 w 1969770"/>
                  <a:gd name="connsiteY1724" fmla="*/ 1743075 h 1744979"/>
                  <a:gd name="connsiteX1725" fmla="*/ 785813 w 1969770"/>
                  <a:gd name="connsiteY1725" fmla="*/ 1742123 h 1744979"/>
                  <a:gd name="connsiteX1726" fmla="*/ 774383 w 1969770"/>
                  <a:gd name="connsiteY1726" fmla="*/ 1741170 h 1744979"/>
                  <a:gd name="connsiteX1727" fmla="*/ 762953 w 1969770"/>
                  <a:gd name="connsiteY1727" fmla="*/ 1739265 h 1744979"/>
                  <a:gd name="connsiteX1728" fmla="*/ 770573 w 1969770"/>
                  <a:gd name="connsiteY1728" fmla="*/ 1730693 h 1744979"/>
                  <a:gd name="connsiteX1729" fmla="*/ 779145 w 1969770"/>
                  <a:gd name="connsiteY1729" fmla="*/ 1722120 h 1744979"/>
                  <a:gd name="connsiteX1730" fmla="*/ 787718 w 1969770"/>
                  <a:gd name="connsiteY1730" fmla="*/ 1713548 h 1744979"/>
                  <a:gd name="connsiteX1731" fmla="*/ 796290 w 1969770"/>
                  <a:gd name="connsiteY1731" fmla="*/ 1704975 h 1744979"/>
                  <a:gd name="connsiteX1732" fmla="*/ 805815 w 1969770"/>
                  <a:gd name="connsiteY1732" fmla="*/ 1696403 h 1744979"/>
                  <a:gd name="connsiteX1733" fmla="*/ 815340 w 1969770"/>
                  <a:gd name="connsiteY1733" fmla="*/ 1687830 h 1744979"/>
                  <a:gd name="connsiteX1734" fmla="*/ 824865 w 1969770"/>
                  <a:gd name="connsiteY1734" fmla="*/ 1679258 h 1744979"/>
                  <a:gd name="connsiteX1735" fmla="*/ 834390 w 1969770"/>
                  <a:gd name="connsiteY1735" fmla="*/ 1670685 h 1744979"/>
                  <a:gd name="connsiteX1736" fmla="*/ 847725 w 1969770"/>
                  <a:gd name="connsiteY1736" fmla="*/ 1657350 h 1744979"/>
                  <a:gd name="connsiteX1737" fmla="*/ 858203 w 1969770"/>
                  <a:gd name="connsiteY1737" fmla="*/ 1649730 h 1744979"/>
                  <a:gd name="connsiteX1738" fmla="*/ 869633 w 1969770"/>
                  <a:gd name="connsiteY1738" fmla="*/ 1642110 h 1744979"/>
                  <a:gd name="connsiteX1739" fmla="*/ 881063 w 1969770"/>
                  <a:gd name="connsiteY1739" fmla="*/ 1634490 h 1744979"/>
                  <a:gd name="connsiteX1740" fmla="*/ 893445 w 1969770"/>
                  <a:gd name="connsiteY1740" fmla="*/ 1626870 h 1744979"/>
                  <a:gd name="connsiteX1741" fmla="*/ 905828 w 1969770"/>
                  <a:gd name="connsiteY1741" fmla="*/ 1619250 h 1744979"/>
                  <a:gd name="connsiteX1742" fmla="*/ 919163 w 1969770"/>
                  <a:gd name="connsiteY1742" fmla="*/ 1612583 h 1744979"/>
                  <a:gd name="connsiteX1743" fmla="*/ 932498 w 1969770"/>
                  <a:gd name="connsiteY1743" fmla="*/ 1604963 h 1744979"/>
                  <a:gd name="connsiteX1744" fmla="*/ 922973 w 1969770"/>
                  <a:gd name="connsiteY1744" fmla="*/ 1604010 h 1744979"/>
                  <a:gd name="connsiteX1745" fmla="*/ 912495 w 1969770"/>
                  <a:gd name="connsiteY1745" fmla="*/ 1604010 h 1744979"/>
                  <a:gd name="connsiteX1746" fmla="*/ 901065 w 1969770"/>
                  <a:gd name="connsiteY1746" fmla="*/ 1604963 h 1744979"/>
                  <a:gd name="connsiteX1747" fmla="*/ 888683 w 1969770"/>
                  <a:gd name="connsiteY1747" fmla="*/ 1606868 h 1744979"/>
                  <a:gd name="connsiteX1748" fmla="*/ 874395 w 1969770"/>
                  <a:gd name="connsiteY1748" fmla="*/ 1609725 h 1744979"/>
                  <a:gd name="connsiteX1749" fmla="*/ 860108 w 1969770"/>
                  <a:gd name="connsiteY1749" fmla="*/ 1613535 h 1744979"/>
                  <a:gd name="connsiteX1750" fmla="*/ 844868 w 1969770"/>
                  <a:gd name="connsiteY1750" fmla="*/ 1617345 h 1744979"/>
                  <a:gd name="connsiteX1751" fmla="*/ 828675 w 1969770"/>
                  <a:gd name="connsiteY1751" fmla="*/ 1621155 h 1744979"/>
                  <a:gd name="connsiteX1752" fmla="*/ 793433 w 1969770"/>
                  <a:gd name="connsiteY1752" fmla="*/ 1630680 h 1744979"/>
                  <a:gd name="connsiteX1753" fmla="*/ 756285 w 1969770"/>
                  <a:gd name="connsiteY1753" fmla="*/ 1640205 h 1744979"/>
                  <a:gd name="connsiteX1754" fmla="*/ 736283 w 1969770"/>
                  <a:gd name="connsiteY1754" fmla="*/ 1644968 h 1744979"/>
                  <a:gd name="connsiteX1755" fmla="*/ 716280 w 1969770"/>
                  <a:gd name="connsiteY1755" fmla="*/ 1649730 h 1744979"/>
                  <a:gd name="connsiteX1756" fmla="*/ 696278 w 1969770"/>
                  <a:gd name="connsiteY1756" fmla="*/ 1654493 h 1744979"/>
                  <a:gd name="connsiteX1757" fmla="*/ 675323 w 1969770"/>
                  <a:gd name="connsiteY1757" fmla="*/ 1658303 h 1744979"/>
                  <a:gd name="connsiteX1758" fmla="*/ 654368 w 1969770"/>
                  <a:gd name="connsiteY1758" fmla="*/ 1662113 h 1744979"/>
                  <a:gd name="connsiteX1759" fmla="*/ 632460 w 1969770"/>
                  <a:gd name="connsiteY1759" fmla="*/ 1664970 h 1744979"/>
                  <a:gd name="connsiteX1760" fmla="*/ 609600 w 1969770"/>
                  <a:gd name="connsiteY1760" fmla="*/ 1666875 h 1744979"/>
                  <a:gd name="connsiteX1761" fmla="*/ 587693 w 1969770"/>
                  <a:gd name="connsiteY1761" fmla="*/ 1668780 h 1744979"/>
                  <a:gd name="connsiteX1762" fmla="*/ 566738 w 1969770"/>
                  <a:gd name="connsiteY1762" fmla="*/ 1669733 h 1744979"/>
                  <a:gd name="connsiteX1763" fmla="*/ 544830 w 1969770"/>
                  <a:gd name="connsiteY1763" fmla="*/ 1669733 h 1744979"/>
                  <a:gd name="connsiteX1764" fmla="*/ 522923 w 1969770"/>
                  <a:gd name="connsiteY1764" fmla="*/ 1668780 h 1744979"/>
                  <a:gd name="connsiteX1765" fmla="*/ 501015 w 1969770"/>
                  <a:gd name="connsiteY1765" fmla="*/ 1665923 h 1744979"/>
                  <a:gd name="connsiteX1766" fmla="*/ 480060 w 1969770"/>
                  <a:gd name="connsiteY1766" fmla="*/ 1662113 h 1744979"/>
                  <a:gd name="connsiteX1767" fmla="*/ 459105 w 1969770"/>
                  <a:gd name="connsiteY1767" fmla="*/ 1656398 h 1744979"/>
                  <a:gd name="connsiteX1768" fmla="*/ 438150 w 1969770"/>
                  <a:gd name="connsiteY1768" fmla="*/ 1649730 h 1744979"/>
                  <a:gd name="connsiteX1769" fmla="*/ 418148 w 1969770"/>
                  <a:gd name="connsiteY1769" fmla="*/ 1641158 h 1744979"/>
                  <a:gd name="connsiteX1770" fmla="*/ 398145 w 1969770"/>
                  <a:gd name="connsiteY1770" fmla="*/ 1631633 h 1744979"/>
                  <a:gd name="connsiteX1771" fmla="*/ 379095 w 1969770"/>
                  <a:gd name="connsiteY1771" fmla="*/ 1619250 h 1744979"/>
                  <a:gd name="connsiteX1772" fmla="*/ 360045 w 1969770"/>
                  <a:gd name="connsiteY1772" fmla="*/ 1605915 h 1744979"/>
                  <a:gd name="connsiteX1773" fmla="*/ 340995 w 1969770"/>
                  <a:gd name="connsiteY1773" fmla="*/ 1589723 h 1744979"/>
                  <a:gd name="connsiteX1774" fmla="*/ 340995 w 1969770"/>
                  <a:gd name="connsiteY1774" fmla="*/ 1589723 h 1744979"/>
                  <a:gd name="connsiteX1775" fmla="*/ 1025843 w 1969770"/>
                  <a:gd name="connsiteY1775" fmla="*/ 1163003 h 1744979"/>
                  <a:gd name="connsiteX1776" fmla="*/ 1025843 w 1969770"/>
                  <a:gd name="connsiteY1776" fmla="*/ 1174433 h 1744979"/>
                  <a:gd name="connsiteX1777" fmla="*/ 1026795 w 1969770"/>
                  <a:gd name="connsiteY1777" fmla="*/ 1184910 h 1744979"/>
                  <a:gd name="connsiteX1778" fmla="*/ 1026795 w 1969770"/>
                  <a:gd name="connsiteY1778" fmla="*/ 1195388 h 1744979"/>
                  <a:gd name="connsiteX1779" fmla="*/ 1026795 w 1969770"/>
                  <a:gd name="connsiteY1779" fmla="*/ 1205865 h 1744979"/>
                  <a:gd name="connsiteX1780" fmla="*/ 1038225 w 1969770"/>
                  <a:gd name="connsiteY1780" fmla="*/ 1212533 h 1744979"/>
                  <a:gd name="connsiteX1781" fmla="*/ 1049655 w 1969770"/>
                  <a:gd name="connsiteY1781" fmla="*/ 1220153 h 1744979"/>
                  <a:gd name="connsiteX1782" fmla="*/ 1055370 w 1969770"/>
                  <a:gd name="connsiteY1782" fmla="*/ 1223963 h 1744979"/>
                  <a:gd name="connsiteX1783" fmla="*/ 1061085 w 1969770"/>
                  <a:gd name="connsiteY1783" fmla="*/ 1227773 h 1744979"/>
                  <a:gd name="connsiteX1784" fmla="*/ 1066800 w 1969770"/>
                  <a:gd name="connsiteY1784" fmla="*/ 1232535 h 1744979"/>
                  <a:gd name="connsiteX1785" fmla="*/ 1072515 w 1969770"/>
                  <a:gd name="connsiteY1785" fmla="*/ 1237298 h 1744979"/>
                  <a:gd name="connsiteX1786" fmla="*/ 1077278 w 1969770"/>
                  <a:gd name="connsiteY1786" fmla="*/ 1242060 h 1744979"/>
                  <a:gd name="connsiteX1787" fmla="*/ 1082040 w 1969770"/>
                  <a:gd name="connsiteY1787" fmla="*/ 1247775 h 1744979"/>
                  <a:gd name="connsiteX1788" fmla="*/ 1086803 w 1969770"/>
                  <a:gd name="connsiteY1788" fmla="*/ 1254443 h 1744979"/>
                  <a:gd name="connsiteX1789" fmla="*/ 1091565 w 1969770"/>
                  <a:gd name="connsiteY1789" fmla="*/ 1261110 h 1744979"/>
                  <a:gd name="connsiteX1790" fmla="*/ 1096328 w 1969770"/>
                  <a:gd name="connsiteY1790" fmla="*/ 1268730 h 1744979"/>
                  <a:gd name="connsiteX1791" fmla="*/ 1100138 w 1969770"/>
                  <a:gd name="connsiteY1791" fmla="*/ 1276350 h 1744979"/>
                  <a:gd name="connsiteX1792" fmla="*/ 1103948 w 1969770"/>
                  <a:gd name="connsiteY1792" fmla="*/ 1284923 h 1744979"/>
                  <a:gd name="connsiteX1793" fmla="*/ 1106805 w 1969770"/>
                  <a:gd name="connsiteY1793" fmla="*/ 1294448 h 1744979"/>
                  <a:gd name="connsiteX1794" fmla="*/ 1106805 w 1969770"/>
                  <a:gd name="connsiteY1794" fmla="*/ 1287780 h 1744979"/>
                  <a:gd name="connsiteX1795" fmla="*/ 1106805 w 1969770"/>
                  <a:gd name="connsiteY1795" fmla="*/ 1281113 h 1744979"/>
                  <a:gd name="connsiteX1796" fmla="*/ 1106805 w 1969770"/>
                  <a:gd name="connsiteY1796" fmla="*/ 1276350 h 1744979"/>
                  <a:gd name="connsiteX1797" fmla="*/ 1106805 w 1969770"/>
                  <a:gd name="connsiteY1797" fmla="*/ 1269683 h 1744979"/>
                  <a:gd name="connsiteX1798" fmla="*/ 1106805 w 1969770"/>
                  <a:gd name="connsiteY1798" fmla="*/ 1263968 h 1744979"/>
                  <a:gd name="connsiteX1799" fmla="*/ 1105853 w 1969770"/>
                  <a:gd name="connsiteY1799" fmla="*/ 1258253 h 1744979"/>
                  <a:gd name="connsiteX1800" fmla="*/ 1104900 w 1969770"/>
                  <a:gd name="connsiteY1800" fmla="*/ 1252538 h 1744979"/>
                  <a:gd name="connsiteX1801" fmla="*/ 1103948 w 1969770"/>
                  <a:gd name="connsiteY1801" fmla="*/ 1246823 h 1744979"/>
                  <a:gd name="connsiteX1802" fmla="*/ 1102995 w 1969770"/>
                  <a:gd name="connsiteY1802" fmla="*/ 1241108 h 1744979"/>
                  <a:gd name="connsiteX1803" fmla="*/ 1101090 w 1969770"/>
                  <a:gd name="connsiteY1803" fmla="*/ 1236345 h 1744979"/>
                  <a:gd name="connsiteX1804" fmla="*/ 1099185 w 1969770"/>
                  <a:gd name="connsiteY1804" fmla="*/ 1231583 h 1744979"/>
                  <a:gd name="connsiteX1805" fmla="*/ 1097280 w 1969770"/>
                  <a:gd name="connsiteY1805" fmla="*/ 1226820 h 1744979"/>
                  <a:gd name="connsiteX1806" fmla="*/ 1095375 w 1969770"/>
                  <a:gd name="connsiteY1806" fmla="*/ 1222058 h 1744979"/>
                  <a:gd name="connsiteX1807" fmla="*/ 1093470 w 1969770"/>
                  <a:gd name="connsiteY1807" fmla="*/ 1217295 h 1744979"/>
                  <a:gd name="connsiteX1808" fmla="*/ 1090613 w 1969770"/>
                  <a:gd name="connsiteY1808" fmla="*/ 1213485 h 1744979"/>
                  <a:gd name="connsiteX1809" fmla="*/ 1087755 w 1969770"/>
                  <a:gd name="connsiteY1809" fmla="*/ 1209675 h 1744979"/>
                  <a:gd name="connsiteX1810" fmla="*/ 1084898 w 1969770"/>
                  <a:gd name="connsiteY1810" fmla="*/ 1205865 h 1744979"/>
                  <a:gd name="connsiteX1811" fmla="*/ 1082040 w 1969770"/>
                  <a:gd name="connsiteY1811" fmla="*/ 1202055 h 1744979"/>
                  <a:gd name="connsiteX1812" fmla="*/ 1079183 w 1969770"/>
                  <a:gd name="connsiteY1812" fmla="*/ 1198245 h 1744979"/>
                  <a:gd name="connsiteX1813" fmla="*/ 1076325 w 1969770"/>
                  <a:gd name="connsiteY1813" fmla="*/ 1194435 h 1744979"/>
                  <a:gd name="connsiteX1814" fmla="*/ 1072515 w 1969770"/>
                  <a:gd name="connsiteY1814" fmla="*/ 1190625 h 1744979"/>
                  <a:gd name="connsiteX1815" fmla="*/ 1068705 w 1969770"/>
                  <a:gd name="connsiteY1815" fmla="*/ 1187768 h 1744979"/>
                  <a:gd name="connsiteX1816" fmla="*/ 1064895 w 1969770"/>
                  <a:gd name="connsiteY1816" fmla="*/ 1183958 h 1744979"/>
                  <a:gd name="connsiteX1817" fmla="*/ 1061085 w 1969770"/>
                  <a:gd name="connsiteY1817" fmla="*/ 1181100 h 1744979"/>
                  <a:gd name="connsiteX1818" fmla="*/ 1052513 w 1969770"/>
                  <a:gd name="connsiteY1818" fmla="*/ 1175385 h 1744979"/>
                  <a:gd name="connsiteX1819" fmla="*/ 1043940 w 1969770"/>
                  <a:gd name="connsiteY1819" fmla="*/ 1169670 h 1744979"/>
                  <a:gd name="connsiteX1820" fmla="*/ 1034415 w 1969770"/>
                  <a:gd name="connsiteY1820" fmla="*/ 1164908 h 1744979"/>
                  <a:gd name="connsiteX1821" fmla="*/ 1025843 w 1969770"/>
                  <a:gd name="connsiteY1821" fmla="*/ 1163003 h 1744979"/>
                  <a:gd name="connsiteX1822" fmla="*/ 1025843 w 1969770"/>
                  <a:gd name="connsiteY1822" fmla="*/ 1163003 h 1744979"/>
                  <a:gd name="connsiteX1823" fmla="*/ 1035368 w 1969770"/>
                  <a:gd name="connsiteY1823" fmla="*/ 825818 h 1744979"/>
                  <a:gd name="connsiteX1824" fmla="*/ 1035368 w 1969770"/>
                  <a:gd name="connsiteY1824" fmla="*/ 835343 h 1744979"/>
                  <a:gd name="connsiteX1825" fmla="*/ 1035368 w 1969770"/>
                  <a:gd name="connsiteY1825" fmla="*/ 844868 h 1744979"/>
                  <a:gd name="connsiteX1826" fmla="*/ 1034415 w 1969770"/>
                  <a:gd name="connsiteY1826" fmla="*/ 854393 h 1744979"/>
                  <a:gd name="connsiteX1827" fmla="*/ 1034415 w 1969770"/>
                  <a:gd name="connsiteY1827" fmla="*/ 863918 h 1744979"/>
                  <a:gd name="connsiteX1828" fmla="*/ 1034415 w 1969770"/>
                  <a:gd name="connsiteY1828" fmla="*/ 873443 h 1744979"/>
                  <a:gd name="connsiteX1829" fmla="*/ 1034415 w 1969770"/>
                  <a:gd name="connsiteY1829" fmla="*/ 882015 h 1744979"/>
                  <a:gd name="connsiteX1830" fmla="*/ 1034415 w 1969770"/>
                  <a:gd name="connsiteY1830" fmla="*/ 891540 h 1744979"/>
                  <a:gd name="connsiteX1831" fmla="*/ 1034415 w 1969770"/>
                  <a:gd name="connsiteY1831" fmla="*/ 901065 h 1744979"/>
                  <a:gd name="connsiteX1832" fmla="*/ 1043940 w 1969770"/>
                  <a:gd name="connsiteY1832" fmla="*/ 903923 h 1744979"/>
                  <a:gd name="connsiteX1833" fmla="*/ 1052513 w 1969770"/>
                  <a:gd name="connsiteY1833" fmla="*/ 907733 h 1744979"/>
                  <a:gd name="connsiteX1834" fmla="*/ 1056323 w 1969770"/>
                  <a:gd name="connsiteY1834" fmla="*/ 909638 h 1744979"/>
                  <a:gd name="connsiteX1835" fmla="*/ 1060133 w 1969770"/>
                  <a:gd name="connsiteY1835" fmla="*/ 911543 h 1744979"/>
                  <a:gd name="connsiteX1836" fmla="*/ 1063943 w 1969770"/>
                  <a:gd name="connsiteY1836" fmla="*/ 914400 h 1744979"/>
                  <a:gd name="connsiteX1837" fmla="*/ 1066800 w 1969770"/>
                  <a:gd name="connsiteY1837" fmla="*/ 917258 h 1744979"/>
                  <a:gd name="connsiteX1838" fmla="*/ 1069658 w 1969770"/>
                  <a:gd name="connsiteY1838" fmla="*/ 920115 h 1744979"/>
                  <a:gd name="connsiteX1839" fmla="*/ 1072515 w 1969770"/>
                  <a:gd name="connsiteY1839" fmla="*/ 922973 h 1744979"/>
                  <a:gd name="connsiteX1840" fmla="*/ 1074420 w 1969770"/>
                  <a:gd name="connsiteY1840" fmla="*/ 926783 h 1744979"/>
                  <a:gd name="connsiteX1841" fmla="*/ 1075373 w 1969770"/>
                  <a:gd name="connsiteY1841" fmla="*/ 930593 h 1744979"/>
                  <a:gd name="connsiteX1842" fmla="*/ 1076325 w 1969770"/>
                  <a:gd name="connsiteY1842" fmla="*/ 934403 h 1744979"/>
                  <a:gd name="connsiteX1843" fmla="*/ 1077278 w 1969770"/>
                  <a:gd name="connsiteY1843" fmla="*/ 939165 h 1744979"/>
                  <a:gd name="connsiteX1844" fmla="*/ 1077278 w 1969770"/>
                  <a:gd name="connsiteY1844" fmla="*/ 944880 h 1744979"/>
                  <a:gd name="connsiteX1845" fmla="*/ 1077278 w 1969770"/>
                  <a:gd name="connsiteY1845" fmla="*/ 950595 h 1744979"/>
                  <a:gd name="connsiteX1846" fmla="*/ 1076325 w 1969770"/>
                  <a:gd name="connsiteY1846" fmla="*/ 956310 h 1744979"/>
                  <a:gd name="connsiteX1847" fmla="*/ 1074420 w 1969770"/>
                  <a:gd name="connsiteY1847" fmla="*/ 962025 h 1744979"/>
                  <a:gd name="connsiteX1848" fmla="*/ 1071563 w 1969770"/>
                  <a:gd name="connsiteY1848" fmla="*/ 966788 h 1744979"/>
                  <a:gd name="connsiteX1849" fmla="*/ 1067753 w 1969770"/>
                  <a:gd name="connsiteY1849" fmla="*/ 971550 h 1744979"/>
                  <a:gd name="connsiteX1850" fmla="*/ 1062990 w 1969770"/>
                  <a:gd name="connsiteY1850" fmla="*/ 975360 h 1744979"/>
                  <a:gd name="connsiteX1851" fmla="*/ 1057275 w 1969770"/>
                  <a:gd name="connsiteY1851" fmla="*/ 979170 h 1744979"/>
                  <a:gd name="connsiteX1852" fmla="*/ 1050608 w 1969770"/>
                  <a:gd name="connsiteY1852" fmla="*/ 982980 h 1744979"/>
                  <a:gd name="connsiteX1853" fmla="*/ 1043940 w 1969770"/>
                  <a:gd name="connsiteY1853" fmla="*/ 985838 h 1744979"/>
                  <a:gd name="connsiteX1854" fmla="*/ 1036320 w 1969770"/>
                  <a:gd name="connsiteY1854" fmla="*/ 988695 h 1744979"/>
                  <a:gd name="connsiteX1855" fmla="*/ 1028700 w 1969770"/>
                  <a:gd name="connsiteY1855" fmla="*/ 991553 h 1744979"/>
                  <a:gd name="connsiteX1856" fmla="*/ 1021080 w 1969770"/>
                  <a:gd name="connsiteY1856" fmla="*/ 994410 h 1744979"/>
                  <a:gd name="connsiteX1857" fmla="*/ 1012508 w 1969770"/>
                  <a:gd name="connsiteY1857" fmla="*/ 997268 h 1744979"/>
                  <a:gd name="connsiteX1858" fmla="*/ 995363 w 1969770"/>
                  <a:gd name="connsiteY1858" fmla="*/ 1002983 h 1744979"/>
                  <a:gd name="connsiteX1859" fmla="*/ 977265 w 1969770"/>
                  <a:gd name="connsiteY1859" fmla="*/ 1008698 h 1744979"/>
                  <a:gd name="connsiteX1860" fmla="*/ 968693 w 1969770"/>
                  <a:gd name="connsiteY1860" fmla="*/ 1011555 h 1744979"/>
                  <a:gd name="connsiteX1861" fmla="*/ 959168 w 1969770"/>
                  <a:gd name="connsiteY1861" fmla="*/ 1014413 h 1744979"/>
                  <a:gd name="connsiteX1862" fmla="*/ 950595 w 1969770"/>
                  <a:gd name="connsiteY1862" fmla="*/ 1017270 h 1744979"/>
                  <a:gd name="connsiteX1863" fmla="*/ 942023 w 1969770"/>
                  <a:gd name="connsiteY1863" fmla="*/ 1021080 h 1744979"/>
                  <a:gd name="connsiteX1864" fmla="*/ 933450 w 1969770"/>
                  <a:gd name="connsiteY1864" fmla="*/ 1024890 h 1744979"/>
                  <a:gd name="connsiteX1865" fmla="*/ 925830 w 1969770"/>
                  <a:gd name="connsiteY1865" fmla="*/ 1028700 h 1744979"/>
                  <a:gd name="connsiteX1866" fmla="*/ 918210 w 1969770"/>
                  <a:gd name="connsiteY1866" fmla="*/ 1033463 h 1744979"/>
                  <a:gd name="connsiteX1867" fmla="*/ 911543 w 1969770"/>
                  <a:gd name="connsiteY1867" fmla="*/ 1039178 h 1744979"/>
                  <a:gd name="connsiteX1868" fmla="*/ 904875 w 1969770"/>
                  <a:gd name="connsiteY1868" fmla="*/ 1044893 h 1744979"/>
                  <a:gd name="connsiteX1869" fmla="*/ 899160 w 1969770"/>
                  <a:gd name="connsiteY1869" fmla="*/ 1050608 h 1744979"/>
                  <a:gd name="connsiteX1870" fmla="*/ 894398 w 1969770"/>
                  <a:gd name="connsiteY1870" fmla="*/ 1057275 h 1744979"/>
                  <a:gd name="connsiteX1871" fmla="*/ 890588 w 1969770"/>
                  <a:gd name="connsiteY1871" fmla="*/ 1063943 h 1744979"/>
                  <a:gd name="connsiteX1872" fmla="*/ 887730 w 1969770"/>
                  <a:gd name="connsiteY1872" fmla="*/ 1071563 h 1744979"/>
                  <a:gd name="connsiteX1873" fmla="*/ 885825 w 1969770"/>
                  <a:gd name="connsiteY1873" fmla="*/ 1080135 h 1744979"/>
                  <a:gd name="connsiteX1874" fmla="*/ 884873 w 1969770"/>
                  <a:gd name="connsiteY1874" fmla="*/ 1089660 h 1744979"/>
                  <a:gd name="connsiteX1875" fmla="*/ 884873 w 1969770"/>
                  <a:gd name="connsiteY1875" fmla="*/ 1099185 h 1744979"/>
                  <a:gd name="connsiteX1876" fmla="*/ 884873 w 1969770"/>
                  <a:gd name="connsiteY1876" fmla="*/ 1102995 h 1744979"/>
                  <a:gd name="connsiteX1877" fmla="*/ 884873 w 1969770"/>
                  <a:gd name="connsiteY1877" fmla="*/ 1105853 h 1744979"/>
                  <a:gd name="connsiteX1878" fmla="*/ 885825 w 1969770"/>
                  <a:gd name="connsiteY1878" fmla="*/ 1108710 h 1744979"/>
                  <a:gd name="connsiteX1879" fmla="*/ 886778 w 1969770"/>
                  <a:gd name="connsiteY1879" fmla="*/ 1111568 h 1744979"/>
                  <a:gd name="connsiteX1880" fmla="*/ 887730 w 1969770"/>
                  <a:gd name="connsiteY1880" fmla="*/ 1114425 h 1744979"/>
                  <a:gd name="connsiteX1881" fmla="*/ 888683 w 1969770"/>
                  <a:gd name="connsiteY1881" fmla="*/ 1117283 h 1744979"/>
                  <a:gd name="connsiteX1882" fmla="*/ 889635 w 1969770"/>
                  <a:gd name="connsiteY1882" fmla="*/ 1120140 h 1744979"/>
                  <a:gd name="connsiteX1883" fmla="*/ 891540 w 1969770"/>
                  <a:gd name="connsiteY1883" fmla="*/ 1122998 h 1744979"/>
                  <a:gd name="connsiteX1884" fmla="*/ 894398 w 1969770"/>
                  <a:gd name="connsiteY1884" fmla="*/ 1127760 h 1744979"/>
                  <a:gd name="connsiteX1885" fmla="*/ 898208 w 1969770"/>
                  <a:gd name="connsiteY1885" fmla="*/ 1132523 h 1744979"/>
                  <a:gd name="connsiteX1886" fmla="*/ 902018 w 1969770"/>
                  <a:gd name="connsiteY1886" fmla="*/ 1136333 h 1744979"/>
                  <a:gd name="connsiteX1887" fmla="*/ 905828 w 1969770"/>
                  <a:gd name="connsiteY1887" fmla="*/ 1140143 h 1744979"/>
                  <a:gd name="connsiteX1888" fmla="*/ 915353 w 1969770"/>
                  <a:gd name="connsiteY1888" fmla="*/ 1147763 h 1744979"/>
                  <a:gd name="connsiteX1889" fmla="*/ 924878 w 1969770"/>
                  <a:gd name="connsiteY1889" fmla="*/ 1154430 h 1744979"/>
                  <a:gd name="connsiteX1890" fmla="*/ 934403 w 1969770"/>
                  <a:gd name="connsiteY1890" fmla="*/ 1161098 h 1744979"/>
                  <a:gd name="connsiteX1891" fmla="*/ 942975 w 1969770"/>
                  <a:gd name="connsiteY1891" fmla="*/ 1167765 h 1744979"/>
                  <a:gd name="connsiteX1892" fmla="*/ 942975 w 1969770"/>
                  <a:gd name="connsiteY1892" fmla="*/ 1159193 h 1744979"/>
                  <a:gd name="connsiteX1893" fmla="*/ 942975 w 1969770"/>
                  <a:gd name="connsiteY1893" fmla="*/ 1150620 h 1744979"/>
                  <a:gd name="connsiteX1894" fmla="*/ 942975 w 1969770"/>
                  <a:gd name="connsiteY1894" fmla="*/ 1142048 h 1744979"/>
                  <a:gd name="connsiteX1895" fmla="*/ 942975 w 1969770"/>
                  <a:gd name="connsiteY1895" fmla="*/ 1133475 h 1744979"/>
                  <a:gd name="connsiteX1896" fmla="*/ 942975 w 1969770"/>
                  <a:gd name="connsiteY1896" fmla="*/ 1124903 h 1744979"/>
                  <a:gd name="connsiteX1897" fmla="*/ 942975 w 1969770"/>
                  <a:gd name="connsiteY1897" fmla="*/ 1116330 h 1744979"/>
                  <a:gd name="connsiteX1898" fmla="*/ 942975 w 1969770"/>
                  <a:gd name="connsiteY1898" fmla="*/ 1107758 h 1744979"/>
                  <a:gd name="connsiteX1899" fmla="*/ 942975 w 1969770"/>
                  <a:gd name="connsiteY1899" fmla="*/ 1099185 h 1744979"/>
                  <a:gd name="connsiteX1900" fmla="*/ 942975 w 1969770"/>
                  <a:gd name="connsiteY1900" fmla="*/ 1097280 h 1744979"/>
                  <a:gd name="connsiteX1901" fmla="*/ 942975 w 1969770"/>
                  <a:gd name="connsiteY1901" fmla="*/ 1095375 h 1744979"/>
                  <a:gd name="connsiteX1902" fmla="*/ 943928 w 1969770"/>
                  <a:gd name="connsiteY1902" fmla="*/ 1093470 h 1744979"/>
                  <a:gd name="connsiteX1903" fmla="*/ 944880 w 1969770"/>
                  <a:gd name="connsiteY1903" fmla="*/ 1091565 h 1744979"/>
                  <a:gd name="connsiteX1904" fmla="*/ 946785 w 1969770"/>
                  <a:gd name="connsiteY1904" fmla="*/ 1089660 h 1744979"/>
                  <a:gd name="connsiteX1905" fmla="*/ 947738 w 1969770"/>
                  <a:gd name="connsiteY1905" fmla="*/ 1087755 h 1744979"/>
                  <a:gd name="connsiteX1906" fmla="*/ 949643 w 1969770"/>
                  <a:gd name="connsiteY1906" fmla="*/ 1085850 h 1744979"/>
                  <a:gd name="connsiteX1907" fmla="*/ 951548 w 1969770"/>
                  <a:gd name="connsiteY1907" fmla="*/ 1083945 h 1744979"/>
                  <a:gd name="connsiteX1908" fmla="*/ 956310 w 1969770"/>
                  <a:gd name="connsiteY1908" fmla="*/ 1080135 h 1744979"/>
                  <a:gd name="connsiteX1909" fmla="*/ 962025 w 1969770"/>
                  <a:gd name="connsiteY1909" fmla="*/ 1077278 h 1744979"/>
                  <a:gd name="connsiteX1910" fmla="*/ 967740 w 1969770"/>
                  <a:gd name="connsiteY1910" fmla="*/ 1074420 h 1744979"/>
                  <a:gd name="connsiteX1911" fmla="*/ 974408 w 1969770"/>
                  <a:gd name="connsiteY1911" fmla="*/ 1071563 h 1744979"/>
                  <a:gd name="connsiteX1912" fmla="*/ 981075 w 1969770"/>
                  <a:gd name="connsiteY1912" fmla="*/ 1068705 h 1744979"/>
                  <a:gd name="connsiteX1913" fmla="*/ 988695 w 1969770"/>
                  <a:gd name="connsiteY1913" fmla="*/ 1065848 h 1744979"/>
                  <a:gd name="connsiteX1914" fmla="*/ 996315 w 1969770"/>
                  <a:gd name="connsiteY1914" fmla="*/ 1062990 h 1744979"/>
                  <a:gd name="connsiteX1915" fmla="*/ 1004888 w 1969770"/>
                  <a:gd name="connsiteY1915" fmla="*/ 1060133 h 1744979"/>
                  <a:gd name="connsiteX1916" fmla="*/ 1022033 w 1969770"/>
                  <a:gd name="connsiteY1916" fmla="*/ 1054418 h 1744979"/>
                  <a:gd name="connsiteX1917" fmla="*/ 1039178 w 1969770"/>
                  <a:gd name="connsiteY1917" fmla="*/ 1048703 h 1744979"/>
                  <a:gd name="connsiteX1918" fmla="*/ 1051560 w 1969770"/>
                  <a:gd name="connsiteY1918" fmla="*/ 1044893 h 1744979"/>
                  <a:gd name="connsiteX1919" fmla="*/ 1063943 w 1969770"/>
                  <a:gd name="connsiteY1919" fmla="*/ 1041083 h 1744979"/>
                  <a:gd name="connsiteX1920" fmla="*/ 1076325 w 1969770"/>
                  <a:gd name="connsiteY1920" fmla="*/ 1037273 h 1744979"/>
                  <a:gd name="connsiteX1921" fmla="*/ 1087755 w 1969770"/>
                  <a:gd name="connsiteY1921" fmla="*/ 1032510 h 1744979"/>
                  <a:gd name="connsiteX1922" fmla="*/ 1093470 w 1969770"/>
                  <a:gd name="connsiteY1922" fmla="*/ 1029653 h 1744979"/>
                  <a:gd name="connsiteX1923" fmla="*/ 1099185 w 1969770"/>
                  <a:gd name="connsiteY1923" fmla="*/ 1026795 h 1744979"/>
                  <a:gd name="connsiteX1924" fmla="*/ 1104900 w 1969770"/>
                  <a:gd name="connsiteY1924" fmla="*/ 1023938 h 1744979"/>
                  <a:gd name="connsiteX1925" fmla="*/ 1109663 w 1969770"/>
                  <a:gd name="connsiteY1925" fmla="*/ 1021080 h 1744979"/>
                  <a:gd name="connsiteX1926" fmla="*/ 1114425 w 1969770"/>
                  <a:gd name="connsiteY1926" fmla="*/ 1018223 h 1744979"/>
                  <a:gd name="connsiteX1927" fmla="*/ 1119188 w 1969770"/>
                  <a:gd name="connsiteY1927" fmla="*/ 1015365 h 1744979"/>
                  <a:gd name="connsiteX1928" fmla="*/ 1123950 w 1969770"/>
                  <a:gd name="connsiteY1928" fmla="*/ 1012508 h 1744979"/>
                  <a:gd name="connsiteX1929" fmla="*/ 1127760 w 1969770"/>
                  <a:gd name="connsiteY1929" fmla="*/ 1008698 h 1744979"/>
                  <a:gd name="connsiteX1930" fmla="*/ 1131570 w 1969770"/>
                  <a:gd name="connsiteY1930" fmla="*/ 1004888 h 1744979"/>
                  <a:gd name="connsiteX1931" fmla="*/ 1135380 w 1969770"/>
                  <a:gd name="connsiteY1931" fmla="*/ 1001078 h 1744979"/>
                  <a:gd name="connsiteX1932" fmla="*/ 1139190 w 1969770"/>
                  <a:gd name="connsiteY1932" fmla="*/ 997268 h 1744979"/>
                  <a:gd name="connsiteX1933" fmla="*/ 1142048 w 1969770"/>
                  <a:gd name="connsiteY1933" fmla="*/ 993458 h 1744979"/>
                  <a:gd name="connsiteX1934" fmla="*/ 1144905 w 1969770"/>
                  <a:gd name="connsiteY1934" fmla="*/ 989648 h 1744979"/>
                  <a:gd name="connsiteX1935" fmla="*/ 1147763 w 1969770"/>
                  <a:gd name="connsiteY1935" fmla="*/ 984885 h 1744979"/>
                  <a:gd name="connsiteX1936" fmla="*/ 1150620 w 1969770"/>
                  <a:gd name="connsiteY1936" fmla="*/ 980123 h 1744979"/>
                  <a:gd name="connsiteX1937" fmla="*/ 1152525 w 1969770"/>
                  <a:gd name="connsiteY1937" fmla="*/ 975360 h 1744979"/>
                  <a:gd name="connsiteX1938" fmla="*/ 1154430 w 1969770"/>
                  <a:gd name="connsiteY1938" fmla="*/ 969645 h 1744979"/>
                  <a:gd name="connsiteX1939" fmla="*/ 1156335 w 1969770"/>
                  <a:gd name="connsiteY1939" fmla="*/ 963930 h 1744979"/>
                  <a:gd name="connsiteX1940" fmla="*/ 1157288 w 1969770"/>
                  <a:gd name="connsiteY1940" fmla="*/ 958215 h 1744979"/>
                  <a:gd name="connsiteX1941" fmla="*/ 1158240 w 1969770"/>
                  <a:gd name="connsiteY1941" fmla="*/ 952500 h 1744979"/>
                  <a:gd name="connsiteX1942" fmla="*/ 1158240 w 1969770"/>
                  <a:gd name="connsiteY1942" fmla="*/ 946785 h 1744979"/>
                  <a:gd name="connsiteX1943" fmla="*/ 1158240 w 1969770"/>
                  <a:gd name="connsiteY1943" fmla="*/ 940118 h 1744979"/>
                  <a:gd name="connsiteX1944" fmla="*/ 1158240 w 1969770"/>
                  <a:gd name="connsiteY1944" fmla="*/ 934403 h 1744979"/>
                  <a:gd name="connsiteX1945" fmla="*/ 1157288 w 1969770"/>
                  <a:gd name="connsiteY1945" fmla="*/ 927735 h 1744979"/>
                  <a:gd name="connsiteX1946" fmla="*/ 1157288 w 1969770"/>
                  <a:gd name="connsiteY1946" fmla="*/ 922973 h 1744979"/>
                  <a:gd name="connsiteX1947" fmla="*/ 1156335 w 1969770"/>
                  <a:gd name="connsiteY1947" fmla="*/ 918210 h 1744979"/>
                  <a:gd name="connsiteX1948" fmla="*/ 1155383 w 1969770"/>
                  <a:gd name="connsiteY1948" fmla="*/ 913448 h 1744979"/>
                  <a:gd name="connsiteX1949" fmla="*/ 1154430 w 1969770"/>
                  <a:gd name="connsiteY1949" fmla="*/ 909638 h 1744979"/>
                  <a:gd name="connsiteX1950" fmla="*/ 1152525 w 1969770"/>
                  <a:gd name="connsiteY1950" fmla="*/ 905828 h 1744979"/>
                  <a:gd name="connsiteX1951" fmla="*/ 1150620 w 1969770"/>
                  <a:gd name="connsiteY1951" fmla="*/ 902018 h 1744979"/>
                  <a:gd name="connsiteX1952" fmla="*/ 1148715 w 1969770"/>
                  <a:gd name="connsiteY1952" fmla="*/ 898208 h 1744979"/>
                  <a:gd name="connsiteX1953" fmla="*/ 1146810 w 1969770"/>
                  <a:gd name="connsiteY1953" fmla="*/ 894398 h 1744979"/>
                  <a:gd name="connsiteX1954" fmla="*/ 1143953 w 1969770"/>
                  <a:gd name="connsiteY1954" fmla="*/ 890588 h 1744979"/>
                  <a:gd name="connsiteX1955" fmla="*/ 1141095 w 1969770"/>
                  <a:gd name="connsiteY1955" fmla="*/ 886778 h 1744979"/>
                  <a:gd name="connsiteX1956" fmla="*/ 1138238 w 1969770"/>
                  <a:gd name="connsiteY1956" fmla="*/ 882968 h 1744979"/>
                  <a:gd name="connsiteX1957" fmla="*/ 1135380 w 1969770"/>
                  <a:gd name="connsiteY1957" fmla="*/ 879158 h 1744979"/>
                  <a:gd name="connsiteX1958" fmla="*/ 1132523 w 1969770"/>
                  <a:gd name="connsiteY1958" fmla="*/ 875348 h 1744979"/>
                  <a:gd name="connsiteX1959" fmla="*/ 1128713 w 1969770"/>
                  <a:gd name="connsiteY1959" fmla="*/ 871538 h 1744979"/>
                  <a:gd name="connsiteX1960" fmla="*/ 1124903 w 1969770"/>
                  <a:gd name="connsiteY1960" fmla="*/ 868680 h 1744979"/>
                  <a:gd name="connsiteX1961" fmla="*/ 1121093 w 1969770"/>
                  <a:gd name="connsiteY1961" fmla="*/ 865823 h 1744979"/>
                  <a:gd name="connsiteX1962" fmla="*/ 1112520 w 1969770"/>
                  <a:gd name="connsiteY1962" fmla="*/ 860108 h 1744979"/>
                  <a:gd name="connsiteX1963" fmla="*/ 1103948 w 1969770"/>
                  <a:gd name="connsiteY1963" fmla="*/ 854393 h 1744979"/>
                  <a:gd name="connsiteX1964" fmla="*/ 1094423 w 1969770"/>
                  <a:gd name="connsiteY1964" fmla="*/ 848678 h 1744979"/>
                  <a:gd name="connsiteX1965" fmla="*/ 1084898 w 1969770"/>
                  <a:gd name="connsiteY1965" fmla="*/ 842963 h 1744979"/>
                  <a:gd name="connsiteX1966" fmla="*/ 1074420 w 1969770"/>
                  <a:gd name="connsiteY1966" fmla="*/ 838200 h 1744979"/>
                  <a:gd name="connsiteX1967" fmla="*/ 1063943 w 1969770"/>
                  <a:gd name="connsiteY1967" fmla="*/ 833438 h 1744979"/>
                  <a:gd name="connsiteX1968" fmla="*/ 1052513 w 1969770"/>
                  <a:gd name="connsiteY1968" fmla="*/ 828675 h 1744979"/>
                  <a:gd name="connsiteX1969" fmla="*/ 1035368 w 1969770"/>
                  <a:gd name="connsiteY1969" fmla="*/ 825818 h 1744979"/>
                  <a:gd name="connsiteX1970" fmla="*/ 1035368 w 1969770"/>
                  <a:gd name="connsiteY1970" fmla="*/ 825818 h 1744979"/>
                  <a:gd name="connsiteX1971" fmla="*/ 1046798 w 1969770"/>
                  <a:gd name="connsiteY1971" fmla="*/ 241935 h 1744979"/>
                  <a:gd name="connsiteX1972" fmla="*/ 1044893 w 1969770"/>
                  <a:gd name="connsiteY1972" fmla="*/ 278130 h 1744979"/>
                  <a:gd name="connsiteX1973" fmla="*/ 1044893 w 1969770"/>
                  <a:gd name="connsiteY1973" fmla="*/ 278130 h 1744979"/>
                  <a:gd name="connsiteX1974" fmla="*/ 1044893 w 1969770"/>
                  <a:gd name="connsiteY1974" fmla="*/ 285750 h 1744979"/>
                  <a:gd name="connsiteX1975" fmla="*/ 1042988 w 1969770"/>
                  <a:gd name="connsiteY1975" fmla="*/ 320040 h 1744979"/>
                  <a:gd name="connsiteX1976" fmla="*/ 1058228 w 1969770"/>
                  <a:gd name="connsiteY1976" fmla="*/ 322898 h 1744979"/>
                  <a:gd name="connsiteX1977" fmla="*/ 1072515 w 1969770"/>
                  <a:gd name="connsiteY1977" fmla="*/ 326708 h 1744979"/>
                  <a:gd name="connsiteX1978" fmla="*/ 1079183 w 1969770"/>
                  <a:gd name="connsiteY1978" fmla="*/ 328613 h 1744979"/>
                  <a:gd name="connsiteX1979" fmla="*/ 1085850 w 1969770"/>
                  <a:gd name="connsiteY1979" fmla="*/ 330518 h 1744979"/>
                  <a:gd name="connsiteX1980" fmla="*/ 1092518 w 1969770"/>
                  <a:gd name="connsiteY1980" fmla="*/ 332423 h 1744979"/>
                  <a:gd name="connsiteX1981" fmla="*/ 1098233 w 1969770"/>
                  <a:gd name="connsiteY1981" fmla="*/ 335280 h 1744979"/>
                  <a:gd name="connsiteX1982" fmla="*/ 1103948 w 1969770"/>
                  <a:gd name="connsiteY1982" fmla="*/ 338138 h 1744979"/>
                  <a:gd name="connsiteX1983" fmla="*/ 1109663 w 1969770"/>
                  <a:gd name="connsiteY1983" fmla="*/ 340995 h 1744979"/>
                  <a:gd name="connsiteX1984" fmla="*/ 1115378 w 1969770"/>
                  <a:gd name="connsiteY1984" fmla="*/ 343853 h 1744979"/>
                  <a:gd name="connsiteX1985" fmla="*/ 1121093 w 1969770"/>
                  <a:gd name="connsiteY1985" fmla="*/ 346710 h 1744979"/>
                  <a:gd name="connsiteX1986" fmla="*/ 1125855 w 1969770"/>
                  <a:gd name="connsiteY1986" fmla="*/ 349568 h 1744979"/>
                  <a:gd name="connsiteX1987" fmla="*/ 1130618 w 1969770"/>
                  <a:gd name="connsiteY1987" fmla="*/ 352425 h 1744979"/>
                  <a:gd name="connsiteX1988" fmla="*/ 1134428 w 1969770"/>
                  <a:gd name="connsiteY1988" fmla="*/ 355283 h 1744979"/>
                  <a:gd name="connsiteX1989" fmla="*/ 1138238 w 1969770"/>
                  <a:gd name="connsiteY1989" fmla="*/ 358140 h 1744979"/>
                  <a:gd name="connsiteX1990" fmla="*/ 1142048 w 1969770"/>
                  <a:gd name="connsiteY1990" fmla="*/ 361950 h 1744979"/>
                  <a:gd name="connsiteX1991" fmla="*/ 1145858 w 1969770"/>
                  <a:gd name="connsiteY1991" fmla="*/ 364808 h 1744979"/>
                  <a:gd name="connsiteX1992" fmla="*/ 1148715 w 1969770"/>
                  <a:gd name="connsiteY1992" fmla="*/ 368618 h 1744979"/>
                  <a:gd name="connsiteX1993" fmla="*/ 1151573 w 1969770"/>
                  <a:gd name="connsiteY1993" fmla="*/ 372428 h 1744979"/>
                  <a:gd name="connsiteX1994" fmla="*/ 1154430 w 1969770"/>
                  <a:gd name="connsiteY1994" fmla="*/ 376238 h 1744979"/>
                  <a:gd name="connsiteX1995" fmla="*/ 1157288 w 1969770"/>
                  <a:gd name="connsiteY1995" fmla="*/ 380048 h 1744979"/>
                  <a:gd name="connsiteX1996" fmla="*/ 1159193 w 1969770"/>
                  <a:gd name="connsiteY1996" fmla="*/ 383858 h 1744979"/>
                  <a:gd name="connsiteX1997" fmla="*/ 1161098 w 1969770"/>
                  <a:gd name="connsiteY1997" fmla="*/ 387668 h 1744979"/>
                  <a:gd name="connsiteX1998" fmla="*/ 1163003 w 1969770"/>
                  <a:gd name="connsiteY1998" fmla="*/ 391478 h 1744979"/>
                  <a:gd name="connsiteX1999" fmla="*/ 1163955 w 1969770"/>
                  <a:gd name="connsiteY1999" fmla="*/ 396240 h 1744979"/>
                  <a:gd name="connsiteX2000" fmla="*/ 1164908 w 1969770"/>
                  <a:gd name="connsiteY2000" fmla="*/ 401003 h 1744979"/>
                  <a:gd name="connsiteX2001" fmla="*/ 1165860 w 1969770"/>
                  <a:gd name="connsiteY2001" fmla="*/ 405765 h 1744979"/>
                  <a:gd name="connsiteX2002" fmla="*/ 1166813 w 1969770"/>
                  <a:gd name="connsiteY2002" fmla="*/ 410528 h 1744979"/>
                  <a:gd name="connsiteX2003" fmla="*/ 1166813 w 1969770"/>
                  <a:gd name="connsiteY2003" fmla="*/ 415290 h 1744979"/>
                  <a:gd name="connsiteX2004" fmla="*/ 1166813 w 1969770"/>
                  <a:gd name="connsiteY2004" fmla="*/ 420053 h 1744979"/>
                  <a:gd name="connsiteX2005" fmla="*/ 1166813 w 1969770"/>
                  <a:gd name="connsiteY2005" fmla="*/ 425768 h 1744979"/>
                  <a:gd name="connsiteX2006" fmla="*/ 1166813 w 1969770"/>
                  <a:gd name="connsiteY2006" fmla="*/ 432435 h 1744979"/>
                  <a:gd name="connsiteX2007" fmla="*/ 1165860 w 1969770"/>
                  <a:gd name="connsiteY2007" fmla="*/ 438150 h 1744979"/>
                  <a:gd name="connsiteX2008" fmla="*/ 1164908 w 1969770"/>
                  <a:gd name="connsiteY2008" fmla="*/ 443865 h 1744979"/>
                  <a:gd name="connsiteX2009" fmla="*/ 1163955 w 1969770"/>
                  <a:gd name="connsiteY2009" fmla="*/ 449580 h 1744979"/>
                  <a:gd name="connsiteX2010" fmla="*/ 1149668 w 1969770"/>
                  <a:gd name="connsiteY2010" fmla="*/ 442913 h 1744979"/>
                  <a:gd name="connsiteX2011" fmla="*/ 1135380 w 1969770"/>
                  <a:gd name="connsiteY2011" fmla="*/ 437198 h 1744979"/>
                  <a:gd name="connsiteX2012" fmla="*/ 1120140 w 1969770"/>
                  <a:gd name="connsiteY2012" fmla="*/ 431483 h 1744979"/>
                  <a:gd name="connsiteX2013" fmla="*/ 1105853 w 1969770"/>
                  <a:gd name="connsiteY2013" fmla="*/ 426720 h 1744979"/>
                  <a:gd name="connsiteX2014" fmla="*/ 1090613 w 1969770"/>
                  <a:gd name="connsiteY2014" fmla="*/ 422910 h 1744979"/>
                  <a:gd name="connsiteX2015" fmla="*/ 1075373 w 1969770"/>
                  <a:gd name="connsiteY2015" fmla="*/ 419100 h 1744979"/>
                  <a:gd name="connsiteX2016" fmla="*/ 1060133 w 1969770"/>
                  <a:gd name="connsiteY2016" fmla="*/ 416243 h 1744979"/>
                  <a:gd name="connsiteX2017" fmla="*/ 1044893 w 1969770"/>
                  <a:gd name="connsiteY2017" fmla="*/ 413385 h 1744979"/>
                  <a:gd name="connsiteX2018" fmla="*/ 1044893 w 1969770"/>
                  <a:gd name="connsiteY2018" fmla="*/ 436245 h 1744979"/>
                  <a:gd name="connsiteX2019" fmla="*/ 1060133 w 1969770"/>
                  <a:gd name="connsiteY2019" fmla="*/ 439103 h 1744979"/>
                  <a:gd name="connsiteX2020" fmla="*/ 1074420 w 1969770"/>
                  <a:gd name="connsiteY2020" fmla="*/ 441960 h 1744979"/>
                  <a:gd name="connsiteX2021" fmla="*/ 1088708 w 1969770"/>
                  <a:gd name="connsiteY2021" fmla="*/ 445770 h 1744979"/>
                  <a:gd name="connsiteX2022" fmla="*/ 1102995 w 1969770"/>
                  <a:gd name="connsiteY2022" fmla="*/ 449580 h 1744979"/>
                  <a:gd name="connsiteX2023" fmla="*/ 1116330 w 1969770"/>
                  <a:gd name="connsiteY2023" fmla="*/ 454343 h 1744979"/>
                  <a:gd name="connsiteX2024" fmla="*/ 1129665 w 1969770"/>
                  <a:gd name="connsiteY2024" fmla="*/ 459105 h 1744979"/>
                  <a:gd name="connsiteX2025" fmla="*/ 1143000 w 1969770"/>
                  <a:gd name="connsiteY2025" fmla="*/ 464820 h 1744979"/>
                  <a:gd name="connsiteX2026" fmla="*/ 1156335 w 1969770"/>
                  <a:gd name="connsiteY2026" fmla="*/ 470535 h 1744979"/>
                  <a:gd name="connsiteX2027" fmla="*/ 1153478 w 1969770"/>
                  <a:gd name="connsiteY2027" fmla="*/ 474345 h 1744979"/>
                  <a:gd name="connsiteX2028" fmla="*/ 1150620 w 1969770"/>
                  <a:gd name="connsiteY2028" fmla="*/ 478155 h 1744979"/>
                  <a:gd name="connsiteX2029" fmla="*/ 1147763 w 1969770"/>
                  <a:gd name="connsiteY2029" fmla="*/ 481965 h 1744979"/>
                  <a:gd name="connsiteX2030" fmla="*/ 1144905 w 1969770"/>
                  <a:gd name="connsiteY2030" fmla="*/ 485775 h 1744979"/>
                  <a:gd name="connsiteX2031" fmla="*/ 1142048 w 1969770"/>
                  <a:gd name="connsiteY2031" fmla="*/ 488633 h 1744979"/>
                  <a:gd name="connsiteX2032" fmla="*/ 1138238 w 1969770"/>
                  <a:gd name="connsiteY2032" fmla="*/ 491490 h 1744979"/>
                  <a:gd name="connsiteX2033" fmla="*/ 1134428 w 1969770"/>
                  <a:gd name="connsiteY2033" fmla="*/ 494348 h 1744979"/>
                  <a:gd name="connsiteX2034" fmla="*/ 1130618 w 1969770"/>
                  <a:gd name="connsiteY2034" fmla="*/ 497205 h 1744979"/>
                  <a:gd name="connsiteX2035" fmla="*/ 1126808 w 1969770"/>
                  <a:gd name="connsiteY2035" fmla="*/ 500063 h 1744979"/>
                  <a:gd name="connsiteX2036" fmla="*/ 1122045 w 1969770"/>
                  <a:gd name="connsiteY2036" fmla="*/ 502920 h 1744979"/>
                  <a:gd name="connsiteX2037" fmla="*/ 1118235 w 1969770"/>
                  <a:gd name="connsiteY2037" fmla="*/ 505778 h 1744979"/>
                  <a:gd name="connsiteX2038" fmla="*/ 1113473 w 1969770"/>
                  <a:gd name="connsiteY2038" fmla="*/ 508635 h 1744979"/>
                  <a:gd name="connsiteX2039" fmla="*/ 1103948 w 1969770"/>
                  <a:gd name="connsiteY2039" fmla="*/ 514350 h 1744979"/>
                  <a:gd name="connsiteX2040" fmla="*/ 1093470 w 1969770"/>
                  <a:gd name="connsiteY2040" fmla="*/ 519113 h 1744979"/>
                  <a:gd name="connsiteX2041" fmla="*/ 1082993 w 1969770"/>
                  <a:gd name="connsiteY2041" fmla="*/ 523875 h 1744979"/>
                  <a:gd name="connsiteX2042" fmla="*/ 1070610 w 1969770"/>
                  <a:gd name="connsiteY2042" fmla="*/ 527685 h 1744979"/>
                  <a:gd name="connsiteX2043" fmla="*/ 1058228 w 1969770"/>
                  <a:gd name="connsiteY2043" fmla="*/ 531495 h 1744979"/>
                  <a:gd name="connsiteX2044" fmla="*/ 1044893 w 1969770"/>
                  <a:gd name="connsiteY2044" fmla="*/ 535305 h 1744979"/>
                  <a:gd name="connsiteX2045" fmla="*/ 1031558 w 1969770"/>
                  <a:gd name="connsiteY2045" fmla="*/ 539115 h 1744979"/>
                  <a:gd name="connsiteX2046" fmla="*/ 1017270 w 1969770"/>
                  <a:gd name="connsiteY2046" fmla="*/ 542925 h 1744979"/>
                  <a:gd name="connsiteX2047" fmla="*/ 1002030 w 1969770"/>
                  <a:gd name="connsiteY2047" fmla="*/ 545783 h 1744979"/>
                  <a:gd name="connsiteX2048" fmla="*/ 986790 w 1969770"/>
                  <a:gd name="connsiteY2048" fmla="*/ 549593 h 1744979"/>
                  <a:gd name="connsiteX2049" fmla="*/ 969645 w 1969770"/>
                  <a:gd name="connsiteY2049" fmla="*/ 553403 h 1744979"/>
                  <a:gd name="connsiteX2050" fmla="*/ 952500 w 1969770"/>
                  <a:gd name="connsiteY2050" fmla="*/ 557213 h 1744979"/>
                  <a:gd name="connsiteX2051" fmla="*/ 942975 w 1969770"/>
                  <a:gd name="connsiteY2051" fmla="*/ 557213 h 1744979"/>
                  <a:gd name="connsiteX2052" fmla="*/ 933450 w 1969770"/>
                  <a:gd name="connsiteY2052" fmla="*/ 560070 h 1744979"/>
                  <a:gd name="connsiteX2053" fmla="*/ 923925 w 1969770"/>
                  <a:gd name="connsiteY2053" fmla="*/ 562928 h 1744979"/>
                  <a:gd name="connsiteX2054" fmla="*/ 915353 w 1969770"/>
                  <a:gd name="connsiteY2054" fmla="*/ 565785 h 1744979"/>
                  <a:gd name="connsiteX2055" fmla="*/ 906780 w 1969770"/>
                  <a:gd name="connsiteY2055" fmla="*/ 568643 h 1744979"/>
                  <a:gd name="connsiteX2056" fmla="*/ 898208 w 1969770"/>
                  <a:gd name="connsiteY2056" fmla="*/ 571500 h 1744979"/>
                  <a:gd name="connsiteX2057" fmla="*/ 889635 w 1969770"/>
                  <a:gd name="connsiteY2057" fmla="*/ 575310 h 1744979"/>
                  <a:gd name="connsiteX2058" fmla="*/ 881063 w 1969770"/>
                  <a:gd name="connsiteY2058" fmla="*/ 579120 h 1744979"/>
                  <a:gd name="connsiteX2059" fmla="*/ 872490 w 1969770"/>
                  <a:gd name="connsiteY2059" fmla="*/ 582930 h 1744979"/>
                  <a:gd name="connsiteX2060" fmla="*/ 863918 w 1969770"/>
                  <a:gd name="connsiteY2060" fmla="*/ 587693 h 1744979"/>
                  <a:gd name="connsiteX2061" fmla="*/ 855345 w 1969770"/>
                  <a:gd name="connsiteY2061" fmla="*/ 592455 h 1744979"/>
                  <a:gd name="connsiteX2062" fmla="*/ 847725 w 1969770"/>
                  <a:gd name="connsiteY2062" fmla="*/ 597218 h 1744979"/>
                  <a:gd name="connsiteX2063" fmla="*/ 840105 w 1969770"/>
                  <a:gd name="connsiteY2063" fmla="*/ 602933 h 1744979"/>
                  <a:gd name="connsiteX2064" fmla="*/ 833438 w 1969770"/>
                  <a:gd name="connsiteY2064" fmla="*/ 608648 h 1744979"/>
                  <a:gd name="connsiteX2065" fmla="*/ 826770 w 1969770"/>
                  <a:gd name="connsiteY2065" fmla="*/ 614363 h 1744979"/>
                  <a:gd name="connsiteX2066" fmla="*/ 820103 w 1969770"/>
                  <a:gd name="connsiteY2066" fmla="*/ 620078 h 1744979"/>
                  <a:gd name="connsiteX2067" fmla="*/ 814388 w 1969770"/>
                  <a:gd name="connsiteY2067" fmla="*/ 626745 h 1744979"/>
                  <a:gd name="connsiteX2068" fmla="*/ 809625 w 1969770"/>
                  <a:gd name="connsiteY2068" fmla="*/ 633413 h 1744979"/>
                  <a:gd name="connsiteX2069" fmla="*/ 803910 w 1969770"/>
                  <a:gd name="connsiteY2069" fmla="*/ 641033 h 1744979"/>
                  <a:gd name="connsiteX2070" fmla="*/ 799148 w 1969770"/>
                  <a:gd name="connsiteY2070" fmla="*/ 648653 h 1744979"/>
                  <a:gd name="connsiteX2071" fmla="*/ 795338 w 1969770"/>
                  <a:gd name="connsiteY2071" fmla="*/ 657225 h 1744979"/>
                  <a:gd name="connsiteX2072" fmla="*/ 791528 w 1969770"/>
                  <a:gd name="connsiteY2072" fmla="*/ 665798 h 1744979"/>
                  <a:gd name="connsiteX2073" fmla="*/ 788670 w 1969770"/>
                  <a:gd name="connsiteY2073" fmla="*/ 674370 h 1744979"/>
                  <a:gd name="connsiteX2074" fmla="*/ 785813 w 1969770"/>
                  <a:gd name="connsiteY2074" fmla="*/ 683895 h 1744979"/>
                  <a:gd name="connsiteX2075" fmla="*/ 783908 w 1969770"/>
                  <a:gd name="connsiteY2075" fmla="*/ 693420 h 1744979"/>
                  <a:gd name="connsiteX2076" fmla="*/ 782955 w 1969770"/>
                  <a:gd name="connsiteY2076" fmla="*/ 702945 h 1744979"/>
                  <a:gd name="connsiteX2077" fmla="*/ 782955 w 1969770"/>
                  <a:gd name="connsiteY2077" fmla="*/ 713423 h 1744979"/>
                  <a:gd name="connsiteX2078" fmla="*/ 782955 w 1969770"/>
                  <a:gd name="connsiteY2078" fmla="*/ 723900 h 1744979"/>
                  <a:gd name="connsiteX2079" fmla="*/ 783908 w 1969770"/>
                  <a:gd name="connsiteY2079" fmla="*/ 733425 h 1744979"/>
                  <a:gd name="connsiteX2080" fmla="*/ 784860 w 1969770"/>
                  <a:gd name="connsiteY2080" fmla="*/ 741998 h 1744979"/>
                  <a:gd name="connsiteX2081" fmla="*/ 786765 w 1969770"/>
                  <a:gd name="connsiteY2081" fmla="*/ 750570 h 1744979"/>
                  <a:gd name="connsiteX2082" fmla="*/ 788670 w 1969770"/>
                  <a:gd name="connsiteY2082" fmla="*/ 759143 h 1744979"/>
                  <a:gd name="connsiteX2083" fmla="*/ 791528 w 1969770"/>
                  <a:gd name="connsiteY2083" fmla="*/ 766763 h 1744979"/>
                  <a:gd name="connsiteX2084" fmla="*/ 794385 w 1969770"/>
                  <a:gd name="connsiteY2084" fmla="*/ 774383 h 1744979"/>
                  <a:gd name="connsiteX2085" fmla="*/ 798195 w 1969770"/>
                  <a:gd name="connsiteY2085" fmla="*/ 781050 h 1744979"/>
                  <a:gd name="connsiteX2086" fmla="*/ 802005 w 1969770"/>
                  <a:gd name="connsiteY2086" fmla="*/ 787718 h 1744979"/>
                  <a:gd name="connsiteX2087" fmla="*/ 805815 w 1969770"/>
                  <a:gd name="connsiteY2087" fmla="*/ 794385 h 1744979"/>
                  <a:gd name="connsiteX2088" fmla="*/ 810578 w 1969770"/>
                  <a:gd name="connsiteY2088" fmla="*/ 800100 h 1744979"/>
                  <a:gd name="connsiteX2089" fmla="*/ 815340 w 1969770"/>
                  <a:gd name="connsiteY2089" fmla="*/ 805815 h 1744979"/>
                  <a:gd name="connsiteX2090" fmla="*/ 820103 w 1969770"/>
                  <a:gd name="connsiteY2090" fmla="*/ 811530 h 1744979"/>
                  <a:gd name="connsiteX2091" fmla="*/ 824865 w 1969770"/>
                  <a:gd name="connsiteY2091" fmla="*/ 817245 h 1744979"/>
                  <a:gd name="connsiteX2092" fmla="*/ 830580 w 1969770"/>
                  <a:gd name="connsiteY2092" fmla="*/ 822008 h 1744979"/>
                  <a:gd name="connsiteX2093" fmla="*/ 836295 w 1969770"/>
                  <a:gd name="connsiteY2093" fmla="*/ 826770 h 1744979"/>
                  <a:gd name="connsiteX2094" fmla="*/ 842010 w 1969770"/>
                  <a:gd name="connsiteY2094" fmla="*/ 831533 h 1744979"/>
                  <a:gd name="connsiteX2095" fmla="*/ 847725 w 1969770"/>
                  <a:gd name="connsiteY2095" fmla="*/ 835343 h 1744979"/>
                  <a:gd name="connsiteX2096" fmla="*/ 853440 w 1969770"/>
                  <a:gd name="connsiteY2096" fmla="*/ 839153 h 1744979"/>
                  <a:gd name="connsiteX2097" fmla="*/ 859155 w 1969770"/>
                  <a:gd name="connsiteY2097" fmla="*/ 842963 h 1744979"/>
                  <a:gd name="connsiteX2098" fmla="*/ 864870 w 1969770"/>
                  <a:gd name="connsiteY2098" fmla="*/ 846773 h 1744979"/>
                  <a:gd name="connsiteX2099" fmla="*/ 871538 w 1969770"/>
                  <a:gd name="connsiteY2099" fmla="*/ 849630 h 1744979"/>
                  <a:gd name="connsiteX2100" fmla="*/ 877253 w 1969770"/>
                  <a:gd name="connsiteY2100" fmla="*/ 852488 h 1744979"/>
                  <a:gd name="connsiteX2101" fmla="*/ 882968 w 1969770"/>
                  <a:gd name="connsiteY2101" fmla="*/ 855345 h 1744979"/>
                  <a:gd name="connsiteX2102" fmla="*/ 889635 w 1969770"/>
                  <a:gd name="connsiteY2102" fmla="*/ 858203 h 1744979"/>
                  <a:gd name="connsiteX2103" fmla="*/ 902018 w 1969770"/>
                  <a:gd name="connsiteY2103" fmla="*/ 862965 h 1744979"/>
                  <a:gd name="connsiteX2104" fmla="*/ 913448 w 1969770"/>
                  <a:gd name="connsiteY2104" fmla="*/ 866775 h 1744979"/>
                  <a:gd name="connsiteX2105" fmla="*/ 923925 w 1969770"/>
                  <a:gd name="connsiteY2105" fmla="*/ 869633 h 1744979"/>
                  <a:gd name="connsiteX2106" fmla="*/ 933450 w 1969770"/>
                  <a:gd name="connsiteY2106" fmla="*/ 872490 h 1744979"/>
                  <a:gd name="connsiteX2107" fmla="*/ 933450 w 1969770"/>
                  <a:gd name="connsiteY2107" fmla="*/ 862013 h 1744979"/>
                  <a:gd name="connsiteX2108" fmla="*/ 933450 w 1969770"/>
                  <a:gd name="connsiteY2108" fmla="*/ 851535 h 1744979"/>
                  <a:gd name="connsiteX2109" fmla="*/ 933450 w 1969770"/>
                  <a:gd name="connsiteY2109" fmla="*/ 841058 h 1744979"/>
                  <a:gd name="connsiteX2110" fmla="*/ 933450 w 1969770"/>
                  <a:gd name="connsiteY2110" fmla="*/ 830580 h 1744979"/>
                  <a:gd name="connsiteX2111" fmla="*/ 933450 w 1969770"/>
                  <a:gd name="connsiteY2111" fmla="*/ 820103 h 1744979"/>
                  <a:gd name="connsiteX2112" fmla="*/ 933450 w 1969770"/>
                  <a:gd name="connsiteY2112" fmla="*/ 808673 h 1744979"/>
                  <a:gd name="connsiteX2113" fmla="*/ 933450 w 1969770"/>
                  <a:gd name="connsiteY2113" fmla="*/ 798195 h 1744979"/>
                  <a:gd name="connsiteX2114" fmla="*/ 933450 w 1969770"/>
                  <a:gd name="connsiteY2114" fmla="*/ 787718 h 1744979"/>
                  <a:gd name="connsiteX2115" fmla="*/ 927735 w 1969770"/>
                  <a:gd name="connsiteY2115" fmla="*/ 784860 h 1744979"/>
                  <a:gd name="connsiteX2116" fmla="*/ 922020 w 1969770"/>
                  <a:gd name="connsiteY2116" fmla="*/ 782003 h 1744979"/>
                  <a:gd name="connsiteX2117" fmla="*/ 915353 w 1969770"/>
                  <a:gd name="connsiteY2117" fmla="*/ 781050 h 1744979"/>
                  <a:gd name="connsiteX2118" fmla="*/ 909638 w 1969770"/>
                  <a:gd name="connsiteY2118" fmla="*/ 778193 h 1744979"/>
                  <a:gd name="connsiteX2119" fmla="*/ 904875 w 1969770"/>
                  <a:gd name="connsiteY2119" fmla="*/ 774383 h 1744979"/>
                  <a:gd name="connsiteX2120" fmla="*/ 900113 w 1969770"/>
                  <a:gd name="connsiteY2120" fmla="*/ 770573 h 1744979"/>
                  <a:gd name="connsiteX2121" fmla="*/ 895350 w 1969770"/>
                  <a:gd name="connsiteY2121" fmla="*/ 766763 h 1744979"/>
                  <a:gd name="connsiteX2122" fmla="*/ 892493 w 1969770"/>
                  <a:gd name="connsiteY2122" fmla="*/ 762000 h 1744979"/>
                  <a:gd name="connsiteX2123" fmla="*/ 888683 w 1969770"/>
                  <a:gd name="connsiteY2123" fmla="*/ 757238 h 1744979"/>
                  <a:gd name="connsiteX2124" fmla="*/ 885825 w 1969770"/>
                  <a:gd name="connsiteY2124" fmla="*/ 752475 h 1744979"/>
                  <a:gd name="connsiteX2125" fmla="*/ 882968 w 1969770"/>
                  <a:gd name="connsiteY2125" fmla="*/ 746760 h 1744979"/>
                  <a:gd name="connsiteX2126" fmla="*/ 881063 w 1969770"/>
                  <a:gd name="connsiteY2126" fmla="*/ 740093 h 1744979"/>
                  <a:gd name="connsiteX2127" fmla="*/ 880110 w 1969770"/>
                  <a:gd name="connsiteY2127" fmla="*/ 737235 h 1744979"/>
                  <a:gd name="connsiteX2128" fmla="*/ 879158 w 1969770"/>
                  <a:gd name="connsiteY2128" fmla="*/ 734378 h 1744979"/>
                  <a:gd name="connsiteX2129" fmla="*/ 878205 w 1969770"/>
                  <a:gd name="connsiteY2129" fmla="*/ 730568 h 1744979"/>
                  <a:gd name="connsiteX2130" fmla="*/ 878205 w 1969770"/>
                  <a:gd name="connsiteY2130" fmla="*/ 726758 h 1744979"/>
                  <a:gd name="connsiteX2131" fmla="*/ 878205 w 1969770"/>
                  <a:gd name="connsiteY2131" fmla="*/ 722948 h 1744979"/>
                  <a:gd name="connsiteX2132" fmla="*/ 878205 w 1969770"/>
                  <a:gd name="connsiteY2132" fmla="*/ 719138 h 1744979"/>
                  <a:gd name="connsiteX2133" fmla="*/ 878205 w 1969770"/>
                  <a:gd name="connsiteY2133" fmla="*/ 715328 h 1744979"/>
                  <a:gd name="connsiteX2134" fmla="*/ 878205 w 1969770"/>
                  <a:gd name="connsiteY2134" fmla="*/ 711518 h 1744979"/>
                  <a:gd name="connsiteX2135" fmla="*/ 879158 w 1969770"/>
                  <a:gd name="connsiteY2135" fmla="*/ 705803 h 1744979"/>
                  <a:gd name="connsiteX2136" fmla="*/ 880110 w 1969770"/>
                  <a:gd name="connsiteY2136" fmla="*/ 701040 h 1744979"/>
                  <a:gd name="connsiteX2137" fmla="*/ 882015 w 1969770"/>
                  <a:gd name="connsiteY2137" fmla="*/ 695325 h 1744979"/>
                  <a:gd name="connsiteX2138" fmla="*/ 884873 w 1969770"/>
                  <a:gd name="connsiteY2138" fmla="*/ 690563 h 1744979"/>
                  <a:gd name="connsiteX2139" fmla="*/ 887730 w 1969770"/>
                  <a:gd name="connsiteY2139" fmla="*/ 685800 h 1744979"/>
                  <a:gd name="connsiteX2140" fmla="*/ 891540 w 1969770"/>
                  <a:gd name="connsiteY2140" fmla="*/ 681038 h 1744979"/>
                  <a:gd name="connsiteX2141" fmla="*/ 895350 w 1969770"/>
                  <a:gd name="connsiteY2141" fmla="*/ 677228 h 1744979"/>
                  <a:gd name="connsiteX2142" fmla="*/ 900113 w 1969770"/>
                  <a:gd name="connsiteY2142" fmla="*/ 673418 h 1744979"/>
                  <a:gd name="connsiteX2143" fmla="*/ 904875 w 1969770"/>
                  <a:gd name="connsiteY2143" fmla="*/ 669608 h 1744979"/>
                  <a:gd name="connsiteX2144" fmla="*/ 910590 w 1969770"/>
                  <a:gd name="connsiteY2144" fmla="*/ 665798 h 1744979"/>
                  <a:gd name="connsiteX2145" fmla="*/ 916305 w 1969770"/>
                  <a:gd name="connsiteY2145" fmla="*/ 661988 h 1744979"/>
                  <a:gd name="connsiteX2146" fmla="*/ 922973 w 1969770"/>
                  <a:gd name="connsiteY2146" fmla="*/ 659130 h 1744979"/>
                  <a:gd name="connsiteX2147" fmla="*/ 929640 w 1969770"/>
                  <a:gd name="connsiteY2147" fmla="*/ 655320 h 1744979"/>
                  <a:gd name="connsiteX2148" fmla="*/ 936308 w 1969770"/>
                  <a:gd name="connsiteY2148" fmla="*/ 652463 h 1744979"/>
                  <a:gd name="connsiteX2149" fmla="*/ 942975 w 1969770"/>
                  <a:gd name="connsiteY2149" fmla="*/ 647700 h 1744979"/>
                  <a:gd name="connsiteX2150" fmla="*/ 950595 w 1969770"/>
                  <a:gd name="connsiteY2150" fmla="*/ 644843 h 1744979"/>
                  <a:gd name="connsiteX2151" fmla="*/ 966788 w 1969770"/>
                  <a:gd name="connsiteY2151" fmla="*/ 639128 h 1744979"/>
                  <a:gd name="connsiteX2152" fmla="*/ 982980 w 1969770"/>
                  <a:gd name="connsiteY2152" fmla="*/ 634365 h 1744979"/>
                  <a:gd name="connsiteX2153" fmla="*/ 1000125 w 1969770"/>
                  <a:gd name="connsiteY2153" fmla="*/ 629603 h 1744979"/>
                  <a:gd name="connsiteX2154" fmla="*/ 1018223 w 1969770"/>
                  <a:gd name="connsiteY2154" fmla="*/ 624840 h 1744979"/>
                  <a:gd name="connsiteX2155" fmla="*/ 1054418 w 1969770"/>
                  <a:gd name="connsiteY2155" fmla="*/ 615315 h 1744979"/>
                  <a:gd name="connsiteX2156" fmla="*/ 1090613 w 1969770"/>
                  <a:gd name="connsiteY2156" fmla="*/ 605790 h 1744979"/>
                  <a:gd name="connsiteX2157" fmla="*/ 1104900 w 1969770"/>
                  <a:gd name="connsiteY2157" fmla="*/ 601028 h 1744979"/>
                  <a:gd name="connsiteX2158" fmla="*/ 1118235 w 1969770"/>
                  <a:gd name="connsiteY2158" fmla="*/ 596265 h 1744979"/>
                  <a:gd name="connsiteX2159" fmla="*/ 1130618 w 1969770"/>
                  <a:gd name="connsiteY2159" fmla="*/ 591503 h 1744979"/>
                  <a:gd name="connsiteX2160" fmla="*/ 1142048 w 1969770"/>
                  <a:gd name="connsiteY2160" fmla="*/ 586740 h 1744979"/>
                  <a:gd name="connsiteX2161" fmla="*/ 1153478 w 1969770"/>
                  <a:gd name="connsiteY2161" fmla="*/ 581978 h 1744979"/>
                  <a:gd name="connsiteX2162" fmla="*/ 1163955 w 1969770"/>
                  <a:gd name="connsiteY2162" fmla="*/ 577215 h 1744979"/>
                  <a:gd name="connsiteX2163" fmla="*/ 1173480 w 1969770"/>
                  <a:gd name="connsiteY2163" fmla="*/ 572453 h 1744979"/>
                  <a:gd name="connsiteX2164" fmla="*/ 1182053 w 1969770"/>
                  <a:gd name="connsiteY2164" fmla="*/ 567690 h 1744979"/>
                  <a:gd name="connsiteX2165" fmla="*/ 1190625 w 1969770"/>
                  <a:gd name="connsiteY2165" fmla="*/ 561975 h 1744979"/>
                  <a:gd name="connsiteX2166" fmla="*/ 1198245 w 1969770"/>
                  <a:gd name="connsiteY2166" fmla="*/ 557213 h 1744979"/>
                  <a:gd name="connsiteX2167" fmla="*/ 1204913 w 1969770"/>
                  <a:gd name="connsiteY2167" fmla="*/ 551498 h 1744979"/>
                  <a:gd name="connsiteX2168" fmla="*/ 1211580 w 1969770"/>
                  <a:gd name="connsiteY2168" fmla="*/ 545783 h 1744979"/>
                  <a:gd name="connsiteX2169" fmla="*/ 1217295 w 1969770"/>
                  <a:gd name="connsiteY2169" fmla="*/ 540068 h 1744979"/>
                  <a:gd name="connsiteX2170" fmla="*/ 1223010 w 1969770"/>
                  <a:gd name="connsiteY2170" fmla="*/ 534353 h 1744979"/>
                  <a:gd name="connsiteX2171" fmla="*/ 1227773 w 1969770"/>
                  <a:gd name="connsiteY2171" fmla="*/ 528638 h 1744979"/>
                  <a:gd name="connsiteX2172" fmla="*/ 1232535 w 1969770"/>
                  <a:gd name="connsiteY2172" fmla="*/ 521970 h 1744979"/>
                  <a:gd name="connsiteX2173" fmla="*/ 1236345 w 1969770"/>
                  <a:gd name="connsiteY2173" fmla="*/ 525780 h 1744979"/>
                  <a:gd name="connsiteX2174" fmla="*/ 1241108 w 1969770"/>
                  <a:gd name="connsiteY2174" fmla="*/ 529590 h 1744979"/>
                  <a:gd name="connsiteX2175" fmla="*/ 1244918 w 1969770"/>
                  <a:gd name="connsiteY2175" fmla="*/ 533400 h 1744979"/>
                  <a:gd name="connsiteX2176" fmla="*/ 1248728 w 1969770"/>
                  <a:gd name="connsiteY2176" fmla="*/ 537210 h 1744979"/>
                  <a:gd name="connsiteX2177" fmla="*/ 1247775 w 1969770"/>
                  <a:gd name="connsiteY2177" fmla="*/ 538163 h 1744979"/>
                  <a:gd name="connsiteX2178" fmla="*/ 1247775 w 1969770"/>
                  <a:gd name="connsiteY2178" fmla="*/ 538163 h 1744979"/>
                  <a:gd name="connsiteX2179" fmla="*/ 1248728 w 1969770"/>
                  <a:gd name="connsiteY2179" fmla="*/ 538163 h 1744979"/>
                  <a:gd name="connsiteX2180" fmla="*/ 1252538 w 1969770"/>
                  <a:gd name="connsiteY2180" fmla="*/ 541973 h 1744979"/>
                  <a:gd name="connsiteX2181" fmla="*/ 1173480 w 1969770"/>
                  <a:gd name="connsiteY2181" fmla="*/ 621030 h 1744979"/>
                  <a:gd name="connsiteX2182" fmla="*/ 1167765 w 1969770"/>
                  <a:gd name="connsiteY2182" fmla="*/ 616268 h 1744979"/>
                  <a:gd name="connsiteX2183" fmla="*/ 1162050 w 1969770"/>
                  <a:gd name="connsiteY2183" fmla="*/ 611505 h 1744979"/>
                  <a:gd name="connsiteX2184" fmla="*/ 1156335 w 1969770"/>
                  <a:gd name="connsiteY2184" fmla="*/ 606743 h 1744979"/>
                  <a:gd name="connsiteX2185" fmla="*/ 1150620 w 1969770"/>
                  <a:gd name="connsiteY2185" fmla="*/ 602933 h 1744979"/>
                  <a:gd name="connsiteX2186" fmla="*/ 1125855 w 1969770"/>
                  <a:gd name="connsiteY2186" fmla="*/ 610553 h 1744979"/>
                  <a:gd name="connsiteX2187" fmla="*/ 1134428 w 1969770"/>
                  <a:gd name="connsiteY2187" fmla="*/ 616268 h 1744979"/>
                  <a:gd name="connsiteX2188" fmla="*/ 1142048 w 1969770"/>
                  <a:gd name="connsiteY2188" fmla="*/ 622935 h 1744979"/>
                  <a:gd name="connsiteX2189" fmla="*/ 1152525 w 1969770"/>
                  <a:gd name="connsiteY2189" fmla="*/ 628650 h 1744979"/>
                  <a:gd name="connsiteX2190" fmla="*/ 1160145 w 1969770"/>
                  <a:gd name="connsiteY2190" fmla="*/ 635318 h 1744979"/>
                  <a:gd name="connsiteX2191" fmla="*/ 1129665 w 1969770"/>
                  <a:gd name="connsiteY2191" fmla="*/ 666750 h 1744979"/>
                  <a:gd name="connsiteX2192" fmla="*/ 1127760 w 1969770"/>
                  <a:gd name="connsiteY2192" fmla="*/ 664845 h 1744979"/>
                  <a:gd name="connsiteX2193" fmla="*/ 1093470 w 1969770"/>
                  <a:gd name="connsiteY2193" fmla="*/ 670560 h 1744979"/>
                  <a:gd name="connsiteX2194" fmla="*/ 1087755 w 1969770"/>
                  <a:gd name="connsiteY2194" fmla="*/ 679133 h 1744979"/>
                  <a:gd name="connsiteX2195" fmla="*/ 1080135 w 1969770"/>
                  <a:gd name="connsiteY2195" fmla="*/ 679133 h 1744979"/>
                  <a:gd name="connsiteX2196" fmla="*/ 1098233 w 1969770"/>
                  <a:gd name="connsiteY2196" fmla="*/ 661035 h 1744979"/>
                  <a:gd name="connsiteX2197" fmla="*/ 1093470 w 1969770"/>
                  <a:gd name="connsiteY2197" fmla="*/ 658178 h 1744979"/>
                  <a:gd name="connsiteX2198" fmla="*/ 1075373 w 1969770"/>
                  <a:gd name="connsiteY2198" fmla="*/ 681990 h 1744979"/>
                  <a:gd name="connsiteX2199" fmla="*/ 1080135 w 1969770"/>
                  <a:gd name="connsiteY2199" fmla="*/ 681990 h 1744979"/>
                  <a:gd name="connsiteX2200" fmla="*/ 1080135 w 1969770"/>
                  <a:gd name="connsiteY2200" fmla="*/ 690563 h 1744979"/>
                  <a:gd name="connsiteX2201" fmla="*/ 1085850 w 1969770"/>
                  <a:gd name="connsiteY2201" fmla="*/ 693420 h 1744979"/>
                  <a:gd name="connsiteX2202" fmla="*/ 1088708 w 1969770"/>
                  <a:gd name="connsiteY2202" fmla="*/ 701993 h 1744979"/>
                  <a:gd name="connsiteX2203" fmla="*/ 1076325 w 1969770"/>
                  <a:gd name="connsiteY2203" fmla="*/ 701993 h 1744979"/>
                  <a:gd name="connsiteX2204" fmla="*/ 1064895 w 1969770"/>
                  <a:gd name="connsiteY2204" fmla="*/ 701993 h 1744979"/>
                  <a:gd name="connsiteX2205" fmla="*/ 1036320 w 1969770"/>
                  <a:gd name="connsiteY2205" fmla="*/ 687705 h 1744979"/>
                  <a:gd name="connsiteX2206" fmla="*/ 1033463 w 1969770"/>
                  <a:gd name="connsiteY2206" fmla="*/ 803910 h 1744979"/>
                  <a:gd name="connsiteX2207" fmla="*/ 1059180 w 1969770"/>
                  <a:gd name="connsiteY2207" fmla="*/ 812483 h 1744979"/>
                  <a:gd name="connsiteX2208" fmla="*/ 1084898 w 1969770"/>
                  <a:gd name="connsiteY2208" fmla="*/ 823913 h 1744979"/>
                  <a:gd name="connsiteX2209" fmla="*/ 1107758 w 1969770"/>
                  <a:gd name="connsiteY2209" fmla="*/ 835343 h 1744979"/>
                  <a:gd name="connsiteX2210" fmla="*/ 1127760 w 1969770"/>
                  <a:gd name="connsiteY2210" fmla="*/ 852488 h 1744979"/>
                  <a:gd name="connsiteX2211" fmla="*/ 1147763 w 1969770"/>
                  <a:gd name="connsiteY2211" fmla="*/ 869633 h 1744979"/>
                  <a:gd name="connsiteX2212" fmla="*/ 1162050 w 1969770"/>
                  <a:gd name="connsiteY2212" fmla="*/ 892493 h 1744979"/>
                  <a:gd name="connsiteX2213" fmla="*/ 1170623 w 1969770"/>
                  <a:gd name="connsiteY2213" fmla="*/ 918210 h 1744979"/>
                  <a:gd name="connsiteX2214" fmla="*/ 1173480 w 1969770"/>
                  <a:gd name="connsiteY2214" fmla="*/ 932498 h 1744979"/>
                  <a:gd name="connsiteX2215" fmla="*/ 1173480 w 1969770"/>
                  <a:gd name="connsiteY2215" fmla="*/ 946785 h 1744979"/>
                  <a:gd name="connsiteX2216" fmla="*/ 1170623 w 1969770"/>
                  <a:gd name="connsiteY2216" fmla="*/ 975360 h 1744979"/>
                  <a:gd name="connsiteX2217" fmla="*/ 1162050 w 1969770"/>
                  <a:gd name="connsiteY2217" fmla="*/ 998220 h 1744979"/>
                  <a:gd name="connsiteX2218" fmla="*/ 1144905 w 1969770"/>
                  <a:gd name="connsiteY2218" fmla="*/ 1021080 h 1744979"/>
                  <a:gd name="connsiteX2219" fmla="*/ 1124903 w 1969770"/>
                  <a:gd name="connsiteY2219" fmla="*/ 1038225 h 1744979"/>
                  <a:gd name="connsiteX2220" fmla="*/ 1122045 w 1969770"/>
                  <a:gd name="connsiteY2220" fmla="*/ 1041083 h 1744979"/>
                  <a:gd name="connsiteX2221" fmla="*/ 1111568 w 1969770"/>
                  <a:gd name="connsiteY2221" fmla="*/ 1047750 h 1744979"/>
                  <a:gd name="connsiteX2222" fmla="*/ 1104900 w 1969770"/>
                  <a:gd name="connsiteY2222" fmla="*/ 1051560 h 1744979"/>
                  <a:gd name="connsiteX2223" fmla="*/ 1098233 w 1969770"/>
                  <a:gd name="connsiteY2223" fmla="*/ 1055370 h 1744979"/>
                  <a:gd name="connsiteX2224" fmla="*/ 1091565 w 1969770"/>
                  <a:gd name="connsiteY2224" fmla="*/ 1058228 h 1744979"/>
                  <a:gd name="connsiteX2225" fmla="*/ 1083945 w 1969770"/>
                  <a:gd name="connsiteY2225" fmla="*/ 1061085 h 1744979"/>
                  <a:gd name="connsiteX2226" fmla="*/ 1077278 w 1969770"/>
                  <a:gd name="connsiteY2226" fmla="*/ 1063943 h 1744979"/>
                  <a:gd name="connsiteX2227" fmla="*/ 1039178 w 1969770"/>
                  <a:gd name="connsiteY2227" fmla="*/ 1075373 h 1744979"/>
                  <a:gd name="connsiteX2228" fmla="*/ 1035368 w 1969770"/>
                  <a:gd name="connsiteY2228" fmla="*/ 1076325 h 1744979"/>
                  <a:gd name="connsiteX2229" fmla="*/ 1030605 w 1969770"/>
                  <a:gd name="connsiteY2229" fmla="*/ 1077278 h 1744979"/>
                  <a:gd name="connsiteX2230" fmla="*/ 1030605 w 1969770"/>
                  <a:gd name="connsiteY2230" fmla="*/ 1079183 h 1744979"/>
                  <a:gd name="connsiteX2231" fmla="*/ 1029653 w 1969770"/>
                  <a:gd name="connsiteY2231" fmla="*/ 1079183 h 1744979"/>
                  <a:gd name="connsiteX2232" fmla="*/ 1026795 w 1969770"/>
                  <a:gd name="connsiteY2232" fmla="*/ 1141095 h 1744979"/>
                  <a:gd name="connsiteX2233" fmla="*/ 1046798 w 1969770"/>
                  <a:gd name="connsiteY2233" fmla="*/ 1149668 h 1744979"/>
                  <a:gd name="connsiteX2234" fmla="*/ 1066800 w 1969770"/>
                  <a:gd name="connsiteY2234" fmla="*/ 1161098 h 1744979"/>
                  <a:gd name="connsiteX2235" fmla="*/ 1083945 w 1969770"/>
                  <a:gd name="connsiteY2235" fmla="*/ 1175385 h 1744979"/>
                  <a:gd name="connsiteX2236" fmla="*/ 1101090 w 1969770"/>
                  <a:gd name="connsiteY2236" fmla="*/ 1192530 h 1744979"/>
                  <a:gd name="connsiteX2237" fmla="*/ 1105853 w 1969770"/>
                  <a:gd name="connsiteY2237" fmla="*/ 1200150 h 1744979"/>
                  <a:gd name="connsiteX2238" fmla="*/ 1115378 w 1969770"/>
                  <a:gd name="connsiteY2238" fmla="*/ 1218248 h 1744979"/>
                  <a:gd name="connsiteX2239" fmla="*/ 1123950 w 1969770"/>
                  <a:gd name="connsiteY2239" fmla="*/ 1238250 h 1744979"/>
                  <a:gd name="connsiteX2240" fmla="*/ 1129665 w 1969770"/>
                  <a:gd name="connsiteY2240" fmla="*/ 1266825 h 1744979"/>
                  <a:gd name="connsiteX2241" fmla="*/ 1129665 w 1969770"/>
                  <a:gd name="connsiteY2241" fmla="*/ 1301115 h 1744979"/>
                  <a:gd name="connsiteX2242" fmla="*/ 1129665 w 1969770"/>
                  <a:gd name="connsiteY2242" fmla="*/ 1318260 h 1744979"/>
                  <a:gd name="connsiteX2243" fmla="*/ 1124903 w 1969770"/>
                  <a:gd name="connsiteY2243" fmla="*/ 1326833 h 1744979"/>
                  <a:gd name="connsiteX2244" fmla="*/ 1119188 w 1969770"/>
                  <a:gd name="connsiteY2244" fmla="*/ 1332548 h 1744979"/>
                  <a:gd name="connsiteX2245" fmla="*/ 1119188 w 1969770"/>
                  <a:gd name="connsiteY2245" fmla="*/ 1332548 h 1744979"/>
                  <a:gd name="connsiteX2246" fmla="*/ 1120140 w 1969770"/>
                  <a:gd name="connsiteY2246" fmla="*/ 1333500 h 1744979"/>
                  <a:gd name="connsiteX2247" fmla="*/ 1107758 w 1969770"/>
                  <a:gd name="connsiteY2247" fmla="*/ 1336358 h 1744979"/>
                  <a:gd name="connsiteX2248" fmla="*/ 1096328 w 1969770"/>
                  <a:gd name="connsiteY2248" fmla="*/ 1339215 h 1744979"/>
                  <a:gd name="connsiteX2249" fmla="*/ 1083945 w 1969770"/>
                  <a:gd name="connsiteY2249" fmla="*/ 1341120 h 1744979"/>
                  <a:gd name="connsiteX2250" fmla="*/ 1071563 w 1969770"/>
                  <a:gd name="connsiteY2250" fmla="*/ 1343025 h 1744979"/>
                  <a:gd name="connsiteX2251" fmla="*/ 1057275 w 1969770"/>
                  <a:gd name="connsiteY2251" fmla="*/ 1343025 h 1744979"/>
                  <a:gd name="connsiteX2252" fmla="*/ 1044893 w 1969770"/>
                  <a:gd name="connsiteY2252" fmla="*/ 1344930 h 1744979"/>
                  <a:gd name="connsiteX2253" fmla="*/ 1032510 w 1969770"/>
                  <a:gd name="connsiteY2253" fmla="*/ 1345883 h 1744979"/>
                  <a:gd name="connsiteX2254" fmla="*/ 1020128 w 1969770"/>
                  <a:gd name="connsiteY2254" fmla="*/ 1346835 h 1744979"/>
                  <a:gd name="connsiteX2255" fmla="*/ 1019175 w 1969770"/>
                  <a:gd name="connsiteY2255" fmla="*/ 1370648 h 1744979"/>
                  <a:gd name="connsiteX2256" fmla="*/ 1031558 w 1969770"/>
                  <a:gd name="connsiteY2256" fmla="*/ 1369695 h 1744979"/>
                  <a:gd name="connsiteX2257" fmla="*/ 1043940 w 1969770"/>
                  <a:gd name="connsiteY2257" fmla="*/ 1368743 h 1744979"/>
                  <a:gd name="connsiteX2258" fmla="*/ 1056323 w 1969770"/>
                  <a:gd name="connsiteY2258" fmla="*/ 1366838 h 1744979"/>
                  <a:gd name="connsiteX2259" fmla="*/ 1068705 w 1969770"/>
                  <a:gd name="connsiteY2259" fmla="*/ 1364933 h 1744979"/>
                  <a:gd name="connsiteX2260" fmla="*/ 1081088 w 1969770"/>
                  <a:gd name="connsiteY2260" fmla="*/ 1363028 h 1744979"/>
                  <a:gd name="connsiteX2261" fmla="*/ 1093470 w 1969770"/>
                  <a:gd name="connsiteY2261" fmla="*/ 1360170 h 1744979"/>
                  <a:gd name="connsiteX2262" fmla="*/ 1105853 w 1969770"/>
                  <a:gd name="connsiteY2262" fmla="*/ 1357313 h 1744979"/>
                  <a:gd name="connsiteX2263" fmla="*/ 1118235 w 1969770"/>
                  <a:gd name="connsiteY2263" fmla="*/ 1354455 h 1744979"/>
                  <a:gd name="connsiteX2264" fmla="*/ 1129665 w 1969770"/>
                  <a:gd name="connsiteY2264" fmla="*/ 1351598 h 1744979"/>
                  <a:gd name="connsiteX2265" fmla="*/ 1142048 w 1969770"/>
                  <a:gd name="connsiteY2265" fmla="*/ 1348740 h 1744979"/>
                  <a:gd name="connsiteX2266" fmla="*/ 1153478 w 1969770"/>
                  <a:gd name="connsiteY2266" fmla="*/ 1344930 h 1744979"/>
                  <a:gd name="connsiteX2267" fmla="*/ 1164908 w 1969770"/>
                  <a:gd name="connsiteY2267" fmla="*/ 1341120 h 1744979"/>
                  <a:gd name="connsiteX2268" fmla="*/ 1176338 w 1969770"/>
                  <a:gd name="connsiteY2268" fmla="*/ 1337310 h 1744979"/>
                  <a:gd name="connsiteX2269" fmla="*/ 1187768 w 1969770"/>
                  <a:gd name="connsiteY2269" fmla="*/ 1333500 h 1744979"/>
                  <a:gd name="connsiteX2270" fmla="*/ 1199198 w 1969770"/>
                  <a:gd name="connsiteY2270" fmla="*/ 1328738 h 1744979"/>
                  <a:gd name="connsiteX2271" fmla="*/ 1209675 w 1969770"/>
                  <a:gd name="connsiteY2271" fmla="*/ 1323975 h 1744979"/>
                  <a:gd name="connsiteX2272" fmla="*/ 1220153 w 1969770"/>
                  <a:gd name="connsiteY2272" fmla="*/ 1319213 h 1744979"/>
                  <a:gd name="connsiteX2273" fmla="*/ 1230630 w 1969770"/>
                  <a:gd name="connsiteY2273" fmla="*/ 1313498 h 1744979"/>
                  <a:gd name="connsiteX2274" fmla="*/ 1241108 w 1969770"/>
                  <a:gd name="connsiteY2274" fmla="*/ 1307783 h 1744979"/>
                  <a:gd name="connsiteX2275" fmla="*/ 1251585 w 1969770"/>
                  <a:gd name="connsiteY2275" fmla="*/ 1302068 h 1744979"/>
                  <a:gd name="connsiteX2276" fmla="*/ 1262063 w 1969770"/>
                  <a:gd name="connsiteY2276" fmla="*/ 1296353 h 1744979"/>
                  <a:gd name="connsiteX2277" fmla="*/ 1272540 w 1969770"/>
                  <a:gd name="connsiteY2277" fmla="*/ 1289685 h 1744979"/>
                  <a:gd name="connsiteX2278" fmla="*/ 1282065 w 1969770"/>
                  <a:gd name="connsiteY2278" fmla="*/ 1283018 h 1744979"/>
                  <a:gd name="connsiteX2279" fmla="*/ 1292543 w 1969770"/>
                  <a:gd name="connsiteY2279" fmla="*/ 1276350 h 1744979"/>
                  <a:gd name="connsiteX2280" fmla="*/ 1302068 w 1969770"/>
                  <a:gd name="connsiteY2280" fmla="*/ 1269683 h 1744979"/>
                  <a:gd name="connsiteX2281" fmla="*/ 1311593 w 1969770"/>
                  <a:gd name="connsiteY2281" fmla="*/ 1263015 h 1744979"/>
                  <a:gd name="connsiteX2282" fmla="*/ 1321118 w 1969770"/>
                  <a:gd name="connsiteY2282" fmla="*/ 1256348 h 1744979"/>
                  <a:gd name="connsiteX2283" fmla="*/ 1330643 w 1969770"/>
                  <a:gd name="connsiteY2283" fmla="*/ 1248728 h 1744979"/>
                  <a:gd name="connsiteX2284" fmla="*/ 1340168 w 1969770"/>
                  <a:gd name="connsiteY2284" fmla="*/ 1241108 h 1744979"/>
                  <a:gd name="connsiteX2285" fmla="*/ 1349693 w 1969770"/>
                  <a:gd name="connsiteY2285" fmla="*/ 1233488 h 1744979"/>
                  <a:gd name="connsiteX2286" fmla="*/ 1358265 w 1969770"/>
                  <a:gd name="connsiteY2286" fmla="*/ 1225868 h 1744979"/>
                  <a:gd name="connsiteX2287" fmla="*/ 1366838 w 1969770"/>
                  <a:gd name="connsiteY2287" fmla="*/ 1217295 h 1744979"/>
                  <a:gd name="connsiteX2288" fmla="*/ 1444943 w 1969770"/>
                  <a:gd name="connsiteY2288" fmla="*/ 1295400 h 1744979"/>
                  <a:gd name="connsiteX2289" fmla="*/ 1433513 w 1969770"/>
                  <a:gd name="connsiteY2289" fmla="*/ 1305878 h 1744979"/>
                  <a:gd name="connsiteX2290" fmla="*/ 1422083 w 1969770"/>
                  <a:gd name="connsiteY2290" fmla="*/ 1316355 h 1744979"/>
                  <a:gd name="connsiteX2291" fmla="*/ 1410653 w 1969770"/>
                  <a:gd name="connsiteY2291" fmla="*/ 1326833 h 1744979"/>
                  <a:gd name="connsiteX2292" fmla="*/ 1398270 w 1969770"/>
                  <a:gd name="connsiteY2292" fmla="*/ 1336358 h 1744979"/>
                  <a:gd name="connsiteX2293" fmla="*/ 1385888 w 1969770"/>
                  <a:gd name="connsiteY2293" fmla="*/ 1345883 h 1744979"/>
                  <a:gd name="connsiteX2294" fmla="*/ 1373505 w 1969770"/>
                  <a:gd name="connsiteY2294" fmla="*/ 1355408 h 1744979"/>
                  <a:gd name="connsiteX2295" fmla="*/ 1361123 w 1969770"/>
                  <a:gd name="connsiteY2295" fmla="*/ 1364933 h 1744979"/>
                  <a:gd name="connsiteX2296" fmla="*/ 1348740 w 1969770"/>
                  <a:gd name="connsiteY2296" fmla="*/ 1373505 h 1744979"/>
                  <a:gd name="connsiteX2297" fmla="*/ 1335405 w 1969770"/>
                  <a:gd name="connsiteY2297" fmla="*/ 1382078 h 1744979"/>
                  <a:gd name="connsiteX2298" fmla="*/ 1322070 w 1969770"/>
                  <a:gd name="connsiteY2298" fmla="*/ 1389698 h 1744979"/>
                  <a:gd name="connsiteX2299" fmla="*/ 1308735 w 1969770"/>
                  <a:gd name="connsiteY2299" fmla="*/ 1397318 h 1744979"/>
                  <a:gd name="connsiteX2300" fmla="*/ 1295400 w 1969770"/>
                  <a:gd name="connsiteY2300" fmla="*/ 1404938 h 1744979"/>
                  <a:gd name="connsiteX2301" fmla="*/ 1281113 w 1969770"/>
                  <a:gd name="connsiteY2301" fmla="*/ 1411605 h 1744979"/>
                  <a:gd name="connsiteX2302" fmla="*/ 1266825 w 1969770"/>
                  <a:gd name="connsiteY2302" fmla="*/ 1418273 h 1744979"/>
                  <a:gd name="connsiteX2303" fmla="*/ 1252538 w 1969770"/>
                  <a:gd name="connsiteY2303" fmla="*/ 1424940 h 1744979"/>
                  <a:gd name="connsiteX2304" fmla="*/ 1238250 w 1969770"/>
                  <a:gd name="connsiteY2304" fmla="*/ 1430655 h 1744979"/>
                  <a:gd name="connsiteX2305" fmla="*/ 1223963 w 1969770"/>
                  <a:gd name="connsiteY2305" fmla="*/ 1436370 h 1744979"/>
                  <a:gd name="connsiteX2306" fmla="*/ 1209675 w 1969770"/>
                  <a:gd name="connsiteY2306" fmla="*/ 1442085 h 1744979"/>
                  <a:gd name="connsiteX2307" fmla="*/ 1194435 w 1969770"/>
                  <a:gd name="connsiteY2307" fmla="*/ 1447800 h 1744979"/>
                  <a:gd name="connsiteX2308" fmla="*/ 1179195 w 1969770"/>
                  <a:gd name="connsiteY2308" fmla="*/ 1452563 h 1744979"/>
                  <a:gd name="connsiteX2309" fmla="*/ 1163955 w 1969770"/>
                  <a:gd name="connsiteY2309" fmla="*/ 1456373 h 1744979"/>
                  <a:gd name="connsiteX2310" fmla="*/ 1148715 w 1969770"/>
                  <a:gd name="connsiteY2310" fmla="*/ 1460183 h 1744979"/>
                  <a:gd name="connsiteX2311" fmla="*/ 1133475 w 1969770"/>
                  <a:gd name="connsiteY2311" fmla="*/ 1463993 h 1744979"/>
                  <a:gd name="connsiteX2312" fmla="*/ 1117283 w 1969770"/>
                  <a:gd name="connsiteY2312" fmla="*/ 1466850 h 1744979"/>
                  <a:gd name="connsiteX2313" fmla="*/ 1101090 w 1969770"/>
                  <a:gd name="connsiteY2313" fmla="*/ 1469708 h 1744979"/>
                  <a:gd name="connsiteX2314" fmla="*/ 1084898 w 1969770"/>
                  <a:gd name="connsiteY2314" fmla="*/ 1472565 h 1744979"/>
                  <a:gd name="connsiteX2315" fmla="*/ 1068705 w 1969770"/>
                  <a:gd name="connsiteY2315" fmla="*/ 1474470 h 1744979"/>
                  <a:gd name="connsiteX2316" fmla="*/ 1052513 w 1969770"/>
                  <a:gd name="connsiteY2316" fmla="*/ 1476375 h 1744979"/>
                  <a:gd name="connsiteX2317" fmla="*/ 1036320 w 1969770"/>
                  <a:gd name="connsiteY2317" fmla="*/ 1478280 h 1744979"/>
                  <a:gd name="connsiteX2318" fmla="*/ 1020128 w 1969770"/>
                  <a:gd name="connsiteY2318" fmla="*/ 1479233 h 1744979"/>
                  <a:gd name="connsiteX2319" fmla="*/ 1003935 w 1969770"/>
                  <a:gd name="connsiteY2319" fmla="*/ 1480185 h 1744979"/>
                  <a:gd name="connsiteX2320" fmla="*/ 986790 w 1969770"/>
                  <a:gd name="connsiteY2320" fmla="*/ 1480185 h 1744979"/>
                  <a:gd name="connsiteX2321" fmla="*/ 970598 w 1969770"/>
                  <a:gd name="connsiteY2321" fmla="*/ 1480185 h 1744979"/>
                  <a:gd name="connsiteX2322" fmla="*/ 954405 w 1969770"/>
                  <a:gd name="connsiteY2322" fmla="*/ 1479233 h 1744979"/>
                  <a:gd name="connsiteX2323" fmla="*/ 938213 w 1969770"/>
                  <a:gd name="connsiteY2323" fmla="*/ 1478280 h 1744979"/>
                  <a:gd name="connsiteX2324" fmla="*/ 922020 w 1969770"/>
                  <a:gd name="connsiteY2324" fmla="*/ 1477328 h 1744979"/>
                  <a:gd name="connsiteX2325" fmla="*/ 905828 w 1969770"/>
                  <a:gd name="connsiteY2325" fmla="*/ 1475423 h 1744979"/>
                  <a:gd name="connsiteX2326" fmla="*/ 889635 w 1969770"/>
                  <a:gd name="connsiteY2326" fmla="*/ 1472565 h 1744979"/>
                  <a:gd name="connsiteX2327" fmla="*/ 873443 w 1969770"/>
                  <a:gd name="connsiteY2327" fmla="*/ 1469708 h 1744979"/>
                  <a:gd name="connsiteX2328" fmla="*/ 858203 w 1969770"/>
                  <a:gd name="connsiteY2328" fmla="*/ 1466850 h 1744979"/>
                  <a:gd name="connsiteX2329" fmla="*/ 842010 w 1969770"/>
                  <a:gd name="connsiteY2329" fmla="*/ 1463040 h 1744979"/>
                  <a:gd name="connsiteX2330" fmla="*/ 826770 w 1969770"/>
                  <a:gd name="connsiteY2330" fmla="*/ 1459230 h 1744979"/>
                  <a:gd name="connsiteX2331" fmla="*/ 811530 w 1969770"/>
                  <a:gd name="connsiteY2331" fmla="*/ 1455420 h 1744979"/>
                  <a:gd name="connsiteX2332" fmla="*/ 796290 w 1969770"/>
                  <a:gd name="connsiteY2332" fmla="*/ 1451610 h 1744979"/>
                  <a:gd name="connsiteX2333" fmla="*/ 782003 w 1969770"/>
                  <a:gd name="connsiteY2333" fmla="*/ 1446848 h 1744979"/>
                  <a:gd name="connsiteX2334" fmla="*/ 766763 w 1969770"/>
                  <a:gd name="connsiteY2334" fmla="*/ 1441133 h 1744979"/>
                  <a:gd name="connsiteX2335" fmla="*/ 751523 w 1969770"/>
                  <a:gd name="connsiteY2335" fmla="*/ 1435418 h 1744979"/>
                  <a:gd name="connsiteX2336" fmla="*/ 737235 w 1969770"/>
                  <a:gd name="connsiteY2336" fmla="*/ 1429703 h 1744979"/>
                  <a:gd name="connsiteX2337" fmla="*/ 722948 w 1969770"/>
                  <a:gd name="connsiteY2337" fmla="*/ 1423988 h 1744979"/>
                  <a:gd name="connsiteX2338" fmla="*/ 708660 w 1969770"/>
                  <a:gd name="connsiteY2338" fmla="*/ 1417320 h 1744979"/>
                  <a:gd name="connsiteX2339" fmla="*/ 694373 w 1969770"/>
                  <a:gd name="connsiteY2339" fmla="*/ 1410653 h 1744979"/>
                  <a:gd name="connsiteX2340" fmla="*/ 681038 w 1969770"/>
                  <a:gd name="connsiteY2340" fmla="*/ 1403985 h 1744979"/>
                  <a:gd name="connsiteX2341" fmla="*/ 667703 w 1969770"/>
                  <a:gd name="connsiteY2341" fmla="*/ 1396365 h 1744979"/>
                  <a:gd name="connsiteX2342" fmla="*/ 654368 w 1969770"/>
                  <a:gd name="connsiteY2342" fmla="*/ 1388745 h 1744979"/>
                  <a:gd name="connsiteX2343" fmla="*/ 641033 w 1969770"/>
                  <a:gd name="connsiteY2343" fmla="*/ 1381125 h 1744979"/>
                  <a:gd name="connsiteX2344" fmla="*/ 627698 w 1969770"/>
                  <a:gd name="connsiteY2344" fmla="*/ 1372553 h 1744979"/>
                  <a:gd name="connsiteX2345" fmla="*/ 614363 w 1969770"/>
                  <a:gd name="connsiteY2345" fmla="*/ 1363980 h 1744979"/>
                  <a:gd name="connsiteX2346" fmla="*/ 601980 w 1969770"/>
                  <a:gd name="connsiteY2346" fmla="*/ 1355408 h 1744979"/>
                  <a:gd name="connsiteX2347" fmla="*/ 589598 w 1969770"/>
                  <a:gd name="connsiteY2347" fmla="*/ 1345883 h 1744979"/>
                  <a:gd name="connsiteX2348" fmla="*/ 577215 w 1969770"/>
                  <a:gd name="connsiteY2348" fmla="*/ 1336358 h 1744979"/>
                  <a:gd name="connsiteX2349" fmla="*/ 564833 w 1969770"/>
                  <a:gd name="connsiteY2349" fmla="*/ 1326833 h 1744979"/>
                  <a:gd name="connsiteX2350" fmla="*/ 552450 w 1969770"/>
                  <a:gd name="connsiteY2350" fmla="*/ 1317308 h 1744979"/>
                  <a:gd name="connsiteX2351" fmla="*/ 541020 w 1969770"/>
                  <a:gd name="connsiteY2351" fmla="*/ 1306830 h 1744979"/>
                  <a:gd name="connsiteX2352" fmla="*/ 529590 w 1969770"/>
                  <a:gd name="connsiteY2352" fmla="*/ 1296353 h 1744979"/>
                  <a:gd name="connsiteX2353" fmla="*/ 607695 w 1969770"/>
                  <a:gd name="connsiteY2353" fmla="*/ 1218248 h 1744979"/>
                  <a:gd name="connsiteX2354" fmla="*/ 616268 w 1969770"/>
                  <a:gd name="connsiteY2354" fmla="*/ 1225868 h 1744979"/>
                  <a:gd name="connsiteX2355" fmla="*/ 624840 w 1969770"/>
                  <a:gd name="connsiteY2355" fmla="*/ 1233488 h 1744979"/>
                  <a:gd name="connsiteX2356" fmla="*/ 633413 w 1969770"/>
                  <a:gd name="connsiteY2356" fmla="*/ 1241108 h 1744979"/>
                  <a:gd name="connsiteX2357" fmla="*/ 641985 w 1969770"/>
                  <a:gd name="connsiteY2357" fmla="*/ 1247775 h 1744979"/>
                  <a:gd name="connsiteX2358" fmla="*/ 650558 w 1969770"/>
                  <a:gd name="connsiteY2358" fmla="*/ 1254443 h 1744979"/>
                  <a:gd name="connsiteX2359" fmla="*/ 660083 w 1969770"/>
                  <a:gd name="connsiteY2359" fmla="*/ 1261110 h 1744979"/>
                  <a:gd name="connsiteX2360" fmla="*/ 668655 w 1969770"/>
                  <a:gd name="connsiteY2360" fmla="*/ 1267778 h 1744979"/>
                  <a:gd name="connsiteX2361" fmla="*/ 678180 w 1969770"/>
                  <a:gd name="connsiteY2361" fmla="*/ 1274445 h 1744979"/>
                  <a:gd name="connsiteX2362" fmla="*/ 687705 w 1969770"/>
                  <a:gd name="connsiteY2362" fmla="*/ 1281113 h 1744979"/>
                  <a:gd name="connsiteX2363" fmla="*/ 697230 w 1969770"/>
                  <a:gd name="connsiteY2363" fmla="*/ 1286828 h 1744979"/>
                  <a:gd name="connsiteX2364" fmla="*/ 706755 w 1969770"/>
                  <a:gd name="connsiteY2364" fmla="*/ 1292543 h 1744979"/>
                  <a:gd name="connsiteX2365" fmla="*/ 716280 w 1969770"/>
                  <a:gd name="connsiteY2365" fmla="*/ 1298258 h 1744979"/>
                  <a:gd name="connsiteX2366" fmla="*/ 725805 w 1969770"/>
                  <a:gd name="connsiteY2366" fmla="*/ 1303973 h 1744979"/>
                  <a:gd name="connsiteX2367" fmla="*/ 735330 w 1969770"/>
                  <a:gd name="connsiteY2367" fmla="*/ 1309688 h 1744979"/>
                  <a:gd name="connsiteX2368" fmla="*/ 745808 w 1969770"/>
                  <a:gd name="connsiteY2368" fmla="*/ 1314450 h 1744979"/>
                  <a:gd name="connsiteX2369" fmla="*/ 756285 w 1969770"/>
                  <a:gd name="connsiteY2369" fmla="*/ 1319213 h 1744979"/>
                  <a:gd name="connsiteX2370" fmla="*/ 766763 w 1969770"/>
                  <a:gd name="connsiteY2370" fmla="*/ 1323975 h 1744979"/>
                  <a:gd name="connsiteX2371" fmla="*/ 777240 w 1969770"/>
                  <a:gd name="connsiteY2371" fmla="*/ 1328738 h 1744979"/>
                  <a:gd name="connsiteX2372" fmla="*/ 787718 w 1969770"/>
                  <a:gd name="connsiteY2372" fmla="*/ 1332548 h 1744979"/>
                  <a:gd name="connsiteX2373" fmla="*/ 798195 w 1969770"/>
                  <a:gd name="connsiteY2373" fmla="*/ 1336358 h 1744979"/>
                  <a:gd name="connsiteX2374" fmla="*/ 809625 w 1969770"/>
                  <a:gd name="connsiteY2374" fmla="*/ 1343025 h 1744979"/>
                  <a:gd name="connsiteX2375" fmla="*/ 820103 w 1969770"/>
                  <a:gd name="connsiteY2375" fmla="*/ 1346835 h 1744979"/>
                  <a:gd name="connsiteX2376" fmla="*/ 830580 w 1969770"/>
                  <a:gd name="connsiteY2376" fmla="*/ 1350645 h 1744979"/>
                  <a:gd name="connsiteX2377" fmla="*/ 842010 w 1969770"/>
                  <a:gd name="connsiteY2377" fmla="*/ 1353503 h 1744979"/>
                  <a:gd name="connsiteX2378" fmla="*/ 853440 w 1969770"/>
                  <a:gd name="connsiteY2378" fmla="*/ 1356360 h 1744979"/>
                  <a:gd name="connsiteX2379" fmla="*/ 864870 w 1969770"/>
                  <a:gd name="connsiteY2379" fmla="*/ 1359218 h 1744979"/>
                  <a:gd name="connsiteX2380" fmla="*/ 876300 w 1969770"/>
                  <a:gd name="connsiteY2380" fmla="*/ 1362075 h 1744979"/>
                  <a:gd name="connsiteX2381" fmla="*/ 887730 w 1969770"/>
                  <a:gd name="connsiteY2381" fmla="*/ 1363980 h 1744979"/>
                  <a:gd name="connsiteX2382" fmla="*/ 899160 w 1969770"/>
                  <a:gd name="connsiteY2382" fmla="*/ 1365885 h 1744979"/>
                  <a:gd name="connsiteX2383" fmla="*/ 910590 w 1969770"/>
                  <a:gd name="connsiteY2383" fmla="*/ 1367790 h 1744979"/>
                  <a:gd name="connsiteX2384" fmla="*/ 922020 w 1969770"/>
                  <a:gd name="connsiteY2384" fmla="*/ 1369695 h 1744979"/>
                  <a:gd name="connsiteX2385" fmla="*/ 934403 w 1969770"/>
                  <a:gd name="connsiteY2385" fmla="*/ 1370648 h 1744979"/>
                  <a:gd name="connsiteX2386" fmla="*/ 934403 w 1969770"/>
                  <a:gd name="connsiteY2386" fmla="*/ 1346835 h 1744979"/>
                  <a:gd name="connsiteX2387" fmla="*/ 923925 w 1969770"/>
                  <a:gd name="connsiteY2387" fmla="*/ 1345883 h 1744979"/>
                  <a:gd name="connsiteX2388" fmla="*/ 912495 w 1969770"/>
                  <a:gd name="connsiteY2388" fmla="*/ 1343978 h 1744979"/>
                  <a:gd name="connsiteX2389" fmla="*/ 902018 w 1969770"/>
                  <a:gd name="connsiteY2389" fmla="*/ 1342073 h 1744979"/>
                  <a:gd name="connsiteX2390" fmla="*/ 890588 w 1969770"/>
                  <a:gd name="connsiteY2390" fmla="*/ 1340168 h 1744979"/>
                  <a:gd name="connsiteX2391" fmla="*/ 880110 w 1969770"/>
                  <a:gd name="connsiteY2391" fmla="*/ 1338263 h 1744979"/>
                  <a:gd name="connsiteX2392" fmla="*/ 869633 w 1969770"/>
                  <a:gd name="connsiteY2392" fmla="*/ 1336358 h 1744979"/>
                  <a:gd name="connsiteX2393" fmla="*/ 859155 w 1969770"/>
                  <a:gd name="connsiteY2393" fmla="*/ 1333500 h 1744979"/>
                  <a:gd name="connsiteX2394" fmla="*/ 848678 w 1969770"/>
                  <a:gd name="connsiteY2394" fmla="*/ 1330643 h 1744979"/>
                  <a:gd name="connsiteX2395" fmla="*/ 838200 w 1969770"/>
                  <a:gd name="connsiteY2395" fmla="*/ 1327785 h 1744979"/>
                  <a:gd name="connsiteX2396" fmla="*/ 827723 w 1969770"/>
                  <a:gd name="connsiteY2396" fmla="*/ 1324928 h 1744979"/>
                  <a:gd name="connsiteX2397" fmla="*/ 817245 w 1969770"/>
                  <a:gd name="connsiteY2397" fmla="*/ 1321118 h 1744979"/>
                  <a:gd name="connsiteX2398" fmla="*/ 806768 w 1969770"/>
                  <a:gd name="connsiteY2398" fmla="*/ 1317308 h 1744979"/>
                  <a:gd name="connsiteX2399" fmla="*/ 796290 w 1969770"/>
                  <a:gd name="connsiteY2399" fmla="*/ 1313498 h 1744979"/>
                  <a:gd name="connsiteX2400" fmla="*/ 785813 w 1969770"/>
                  <a:gd name="connsiteY2400" fmla="*/ 1309688 h 1744979"/>
                  <a:gd name="connsiteX2401" fmla="*/ 776288 w 1969770"/>
                  <a:gd name="connsiteY2401" fmla="*/ 1305878 h 1744979"/>
                  <a:gd name="connsiteX2402" fmla="*/ 766763 w 1969770"/>
                  <a:gd name="connsiteY2402" fmla="*/ 1301115 h 1744979"/>
                  <a:gd name="connsiteX2403" fmla="*/ 757238 w 1969770"/>
                  <a:gd name="connsiteY2403" fmla="*/ 1296353 h 1744979"/>
                  <a:gd name="connsiteX2404" fmla="*/ 747713 w 1969770"/>
                  <a:gd name="connsiteY2404" fmla="*/ 1291590 h 1744979"/>
                  <a:gd name="connsiteX2405" fmla="*/ 738188 w 1969770"/>
                  <a:gd name="connsiteY2405" fmla="*/ 1286828 h 1744979"/>
                  <a:gd name="connsiteX2406" fmla="*/ 728663 w 1969770"/>
                  <a:gd name="connsiteY2406" fmla="*/ 1281113 h 1744979"/>
                  <a:gd name="connsiteX2407" fmla="*/ 719138 w 1969770"/>
                  <a:gd name="connsiteY2407" fmla="*/ 1275398 h 1744979"/>
                  <a:gd name="connsiteX2408" fmla="*/ 709613 w 1969770"/>
                  <a:gd name="connsiteY2408" fmla="*/ 1269683 h 1744979"/>
                  <a:gd name="connsiteX2409" fmla="*/ 700088 w 1969770"/>
                  <a:gd name="connsiteY2409" fmla="*/ 1263968 h 1744979"/>
                  <a:gd name="connsiteX2410" fmla="*/ 691515 w 1969770"/>
                  <a:gd name="connsiteY2410" fmla="*/ 1258253 h 1744979"/>
                  <a:gd name="connsiteX2411" fmla="*/ 682943 w 1969770"/>
                  <a:gd name="connsiteY2411" fmla="*/ 1251585 h 1744979"/>
                  <a:gd name="connsiteX2412" fmla="*/ 674370 w 1969770"/>
                  <a:gd name="connsiteY2412" fmla="*/ 1245870 h 1744979"/>
                  <a:gd name="connsiteX2413" fmla="*/ 665798 w 1969770"/>
                  <a:gd name="connsiteY2413" fmla="*/ 1239203 h 1744979"/>
                  <a:gd name="connsiteX2414" fmla="*/ 657225 w 1969770"/>
                  <a:gd name="connsiteY2414" fmla="*/ 1232535 h 1744979"/>
                  <a:gd name="connsiteX2415" fmla="*/ 648653 w 1969770"/>
                  <a:gd name="connsiteY2415" fmla="*/ 1225868 h 1744979"/>
                  <a:gd name="connsiteX2416" fmla="*/ 640080 w 1969770"/>
                  <a:gd name="connsiteY2416" fmla="*/ 1219200 h 1744979"/>
                  <a:gd name="connsiteX2417" fmla="*/ 632460 w 1969770"/>
                  <a:gd name="connsiteY2417" fmla="*/ 1212533 h 1744979"/>
                  <a:gd name="connsiteX2418" fmla="*/ 624840 w 1969770"/>
                  <a:gd name="connsiteY2418" fmla="*/ 1205865 h 1744979"/>
                  <a:gd name="connsiteX2419" fmla="*/ 644843 w 1969770"/>
                  <a:gd name="connsiteY2419" fmla="*/ 1185863 h 1744979"/>
                  <a:gd name="connsiteX2420" fmla="*/ 645795 w 1969770"/>
                  <a:gd name="connsiteY2420" fmla="*/ 1186815 h 1744979"/>
                  <a:gd name="connsiteX2421" fmla="*/ 674370 w 1969770"/>
                  <a:gd name="connsiteY2421" fmla="*/ 1189673 h 1744979"/>
                  <a:gd name="connsiteX2422" fmla="*/ 688658 w 1969770"/>
                  <a:gd name="connsiteY2422" fmla="*/ 1172528 h 1744979"/>
                  <a:gd name="connsiteX2423" fmla="*/ 728663 w 1969770"/>
                  <a:gd name="connsiteY2423" fmla="*/ 1175385 h 1744979"/>
                  <a:gd name="connsiteX2424" fmla="*/ 734378 w 1969770"/>
                  <a:gd name="connsiteY2424" fmla="*/ 1161098 h 1744979"/>
                  <a:gd name="connsiteX2425" fmla="*/ 734378 w 1969770"/>
                  <a:gd name="connsiteY2425" fmla="*/ 1155383 h 1744979"/>
                  <a:gd name="connsiteX2426" fmla="*/ 735330 w 1969770"/>
                  <a:gd name="connsiteY2426" fmla="*/ 1156335 h 1744979"/>
                  <a:gd name="connsiteX2427" fmla="*/ 735330 w 1969770"/>
                  <a:gd name="connsiteY2427" fmla="*/ 1155383 h 1744979"/>
                  <a:gd name="connsiteX2428" fmla="*/ 735330 w 1969770"/>
                  <a:gd name="connsiteY2428" fmla="*/ 1155383 h 1744979"/>
                  <a:gd name="connsiteX2429" fmla="*/ 745808 w 1969770"/>
                  <a:gd name="connsiteY2429" fmla="*/ 1163003 h 1744979"/>
                  <a:gd name="connsiteX2430" fmla="*/ 756285 w 1969770"/>
                  <a:gd name="connsiteY2430" fmla="*/ 1170623 h 1744979"/>
                  <a:gd name="connsiteX2431" fmla="*/ 767715 w 1969770"/>
                  <a:gd name="connsiteY2431" fmla="*/ 1177290 h 1744979"/>
                  <a:gd name="connsiteX2432" fmla="*/ 779145 w 1969770"/>
                  <a:gd name="connsiteY2432" fmla="*/ 1183958 h 1744979"/>
                  <a:gd name="connsiteX2433" fmla="*/ 790575 w 1969770"/>
                  <a:gd name="connsiteY2433" fmla="*/ 1190625 h 1744979"/>
                  <a:gd name="connsiteX2434" fmla="*/ 802005 w 1969770"/>
                  <a:gd name="connsiteY2434" fmla="*/ 1197293 h 1744979"/>
                  <a:gd name="connsiteX2435" fmla="*/ 814388 w 1969770"/>
                  <a:gd name="connsiteY2435" fmla="*/ 1203008 h 1744979"/>
                  <a:gd name="connsiteX2436" fmla="*/ 826770 w 1969770"/>
                  <a:gd name="connsiteY2436" fmla="*/ 1207770 h 1744979"/>
                  <a:gd name="connsiteX2437" fmla="*/ 839153 w 1969770"/>
                  <a:gd name="connsiteY2437" fmla="*/ 1212533 h 1744979"/>
                  <a:gd name="connsiteX2438" fmla="*/ 851535 w 1969770"/>
                  <a:gd name="connsiteY2438" fmla="*/ 1217295 h 1744979"/>
                  <a:gd name="connsiteX2439" fmla="*/ 864870 w 1969770"/>
                  <a:gd name="connsiteY2439" fmla="*/ 1221105 h 1744979"/>
                  <a:gd name="connsiteX2440" fmla="*/ 877253 w 1969770"/>
                  <a:gd name="connsiteY2440" fmla="*/ 1224915 h 1744979"/>
                  <a:gd name="connsiteX2441" fmla="*/ 890588 w 1969770"/>
                  <a:gd name="connsiteY2441" fmla="*/ 1228725 h 1744979"/>
                  <a:gd name="connsiteX2442" fmla="*/ 903923 w 1969770"/>
                  <a:gd name="connsiteY2442" fmla="*/ 1231583 h 1744979"/>
                  <a:gd name="connsiteX2443" fmla="*/ 917258 w 1969770"/>
                  <a:gd name="connsiteY2443" fmla="*/ 1233488 h 1744979"/>
                  <a:gd name="connsiteX2444" fmla="*/ 931545 w 1969770"/>
                  <a:gd name="connsiteY2444" fmla="*/ 1235393 h 1744979"/>
                  <a:gd name="connsiteX2445" fmla="*/ 931545 w 1969770"/>
                  <a:gd name="connsiteY2445" fmla="*/ 1210628 h 1744979"/>
                  <a:gd name="connsiteX2446" fmla="*/ 916305 w 1969770"/>
                  <a:gd name="connsiteY2446" fmla="*/ 1207770 h 1744979"/>
                  <a:gd name="connsiteX2447" fmla="*/ 901065 w 1969770"/>
                  <a:gd name="connsiteY2447" fmla="*/ 1204913 h 1744979"/>
                  <a:gd name="connsiteX2448" fmla="*/ 885825 w 1969770"/>
                  <a:gd name="connsiteY2448" fmla="*/ 1201103 h 1744979"/>
                  <a:gd name="connsiteX2449" fmla="*/ 871538 w 1969770"/>
                  <a:gd name="connsiteY2449" fmla="*/ 1197293 h 1744979"/>
                  <a:gd name="connsiteX2450" fmla="*/ 857250 w 1969770"/>
                  <a:gd name="connsiteY2450" fmla="*/ 1192530 h 1744979"/>
                  <a:gd name="connsiteX2451" fmla="*/ 842963 w 1969770"/>
                  <a:gd name="connsiteY2451" fmla="*/ 1187768 h 1744979"/>
                  <a:gd name="connsiteX2452" fmla="*/ 828675 w 1969770"/>
                  <a:gd name="connsiteY2452" fmla="*/ 1182053 h 1744979"/>
                  <a:gd name="connsiteX2453" fmla="*/ 814388 w 1969770"/>
                  <a:gd name="connsiteY2453" fmla="*/ 1175385 h 1744979"/>
                  <a:gd name="connsiteX2454" fmla="*/ 801053 w 1969770"/>
                  <a:gd name="connsiteY2454" fmla="*/ 1168718 h 1744979"/>
                  <a:gd name="connsiteX2455" fmla="*/ 787718 w 1969770"/>
                  <a:gd name="connsiteY2455" fmla="*/ 1162050 h 1744979"/>
                  <a:gd name="connsiteX2456" fmla="*/ 775335 w 1969770"/>
                  <a:gd name="connsiteY2456" fmla="*/ 1154430 h 1744979"/>
                  <a:gd name="connsiteX2457" fmla="*/ 762953 w 1969770"/>
                  <a:gd name="connsiteY2457" fmla="*/ 1145858 h 1744979"/>
                  <a:gd name="connsiteX2458" fmla="*/ 750570 w 1969770"/>
                  <a:gd name="connsiteY2458" fmla="*/ 1137285 h 1744979"/>
                  <a:gd name="connsiteX2459" fmla="*/ 739140 w 1969770"/>
                  <a:gd name="connsiteY2459" fmla="*/ 1128713 h 1744979"/>
                  <a:gd name="connsiteX2460" fmla="*/ 727710 w 1969770"/>
                  <a:gd name="connsiteY2460" fmla="*/ 1119188 h 1744979"/>
                  <a:gd name="connsiteX2461" fmla="*/ 716280 w 1969770"/>
                  <a:gd name="connsiteY2461" fmla="*/ 1108710 h 1744979"/>
                  <a:gd name="connsiteX2462" fmla="*/ 795338 w 1969770"/>
                  <a:gd name="connsiteY2462" fmla="*/ 1029653 h 1744979"/>
                  <a:gd name="connsiteX2463" fmla="*/ 802005 w 1969770"/>
                  <a:gd name="connsiteY2463" fmla="*/ 1035368 h 1744979"/>
                  <a:gd name="connsiteX2464" fmla="*/ 809625 w 1969770"/>
                  <a:gd name="connsiteY2464" fmla="*/ 1042035 h 1744979"/>
                  <a:gd name="connsiteX2465" fmla="*/ 817245 w 1969770"/>
                  <a:gd name="connsiteY2465" fmla="*/ 1047750 h 1744979"/>
                  <a:gd name="connsiteX2466" fmla="*/ 824865 w 1969770"/>
                  <a:gd name="connsiteY2466" fmla="*/ 1053465 h 1744979"/>
                  <a:gd name="connsiteX2467" fmla="*/ 832485 w 1969770"/>
                  <a:gd name="connsiteY2467" fmla="*/ 1058228 h 1744979"/>
                  <a:gd name="connsiteX2468" fmla="*/ 841058 w 1969770"/>
                  <a:gd name="connsiteY2468" fmla="*/ 1062990 h 1744979"/>
                  <a:gd name="connsiteX2469" fmla="*/ 849630 w 1969770"/>
                  <a:gd name="connsiteY2469" fmla="*/ 1067753 h 1744979"/>
                  <a:gd name="connsiteX2470" fmla="*/ 858203 w 1969770"/>
                  <a:gd name="connsiteY2470" fmla="*/ 1072515 h 1744979"/>
                  <a:gd name="connsiteX2471" fmla="*/ 858203 w 1969770"/>
                  <a:gd name="connsiteY2471" fmla="*/ 1071563 h 1744979"/>
                  <a:gd name="connsiteX2472" fmla="*/ 861060 w 1969770"/>
                  <a:gd name="connsiteY2472" fmla="*/ 1060133 h 1744979"/>
                  <a:gd name="connsiteX2473" fmla="*/ 864870 w 1969770"/>
                  <a:gd name="connsiteY2473" fmla="*/ 1052513 h 1744979"/>
                  <a:gd name="connsiteX2474" fmla="*/ 857250 w 1969770"/>
                  <a:gd name="connsiteY2474" fmla="*/ 1048703 h 1744979"/>
                  <a:gd name="connsiteX2475" fmla="*/ 849630 w 1969770"/>
                  <a:gd name="connsiteY2475" fmla="*/ 1044893 h 1744979"/>
                  <a:gd name="connsiteX2476" fmla="*/ 842963 w 1969770"/>
                  <a:gd name="connsiteY2476" fmla="*/ 1041083 h 1744979"/>
                  <a:gd name="connsiteX2477" fmla="*/ 836295 w 1969770"/>
                  <a:gd name="connsiteY2477" fmla="*/ 1036320 h 1744979"/>
                  <a:gd name="connsiteX2478" fmla="*/ 829628 w 1969770"/>
                  <a:gd name="connsiteY2478" fmla="*/ 1031558 h 1744979"/>
                  <a:gd name="connsiteX2479" fmla="*/ 822960 w 1969770"/>
                  <a:gd name="connsiteY2479" fmla="*/ 1025843 h 1744979"/>
                  <a:gd name="connsiteX2480" fmla="*/ 816293 w 1969770"/>
                  <a:gd name="connsiteY2480" fmla="*/ 1021080 h 1744979"/>
                  <a:gd name="connsiteX2481" fmla="*/ 809625 w 1969770"/>
                  <a:gd name="connsiteY2481" fmla="*/ 1015365 h 1744979"/>
                  <a:gd name="connsiteX2482" fmla="*/ 889635 w 1969770"/>
                  <a:gd name="connsiteY2482" fmla="*/ 935355 h 1744979"/>
                  <a:gd name="connsiteX2483" fmla="*/ 894398 w 1969770"/>
                  <a:gd name="connsiteY2483" fmla="*/ 939165 h 1744979"/>
                  <a:gd name="connsiteX2484" fmla="*/ 899160 w 1969770"/>
                  <a:gd name="connsiteY2484" fmla="*/ 942975 h 1744979"/>
                  <a:gd name="connsiteX2485" fmla="*/ 904875 w 1969770"/>
                  <a:gd name="connsiteY2485" fmla="*/ 945833 h 1744979"/>
                  <a:gd name="connsiteX2486" fmla="*/ 909638 w 1969770"/>
                  <a:gd name="connsiteY2486" fmla="*/ 948690 h 1744979"/>
                  <a:gd name="connsiteX2487" fmla="*/ 915353 w 1969770"/>
                  <a:gd name="connsiteY2487" fmla="*/ 951548 h 1744979"/>
                  <a:gd name="connsiteX2488" fmla="*/ 920115 w 1969770"/>
                  <a:gd name="connsiteY2488" fmla="*/ 954405 h 1744979"/>
                  <a:gd name="connsiteX2489" fmla="*/ 925830 w 1969770"/>
                  <a:gd name="connsiteY2489" fmla="*/ 957263 h 1744979"/>
                  <a:gd name="connsiteX2490" fmla="*/ 931545 w 1969770"/>
                  <a:gd name="connsiteY2490" fmla="*/ 959168 h 1744979"/>
                  <a:gd name="connsiteX2491" fmla="*/ 931545 w 1969770"/>
                  <a:gd name="connsiteY2491" fmla="*/ 935355 h 1744979"/>
                  <a:gd name="connsiteX2492" fmla="*/ 924878 w 1969770"/>
                  <a:gd name="connsiteY2492" fmla="*/ 932498 h 1744979"/>
                  <a:gd name="connsiteX2493" fmla="*/ 918210 w 1969770"/>
                  <a:gd name="connsiteY2493" fmla="*/ 928688 h 1744979"/>
                  <a:gd name="connsiteX2494" fmla="*/ 911543 w 1969770"/>
                  <a:gd name="connsiteY2494" fmla="*/ 924878 h 1744979"/>
                  <a:gd name="connsiteX2495" fmla="*/ 905828 w 1969770"/>
                  <a:gd name="connsiteY2495" fmla="*/ 920115 h 1744979"/>
                  <a:gd name="connsiteX2496" fmla="*/ 929640 w 1969770"/>
                  <a:gd name="connsiteY2496" fmla="*/ 896303 h 1744979"/>
                  <a:gd name="connsiteX2497" fmla="*/ 908685 w 1969770"/>
                  <a:gd name="connsiteY2497" fmla="*/ 885825 h 1744979"/>
                  <a:gd name="connsiteX2498" fmla="*/ 892493 w 1969770"/>
                  <a:gd name="connsiteY2498" fmla="*/ 902018 h 1744979"/>
                  <a:gd name="connsiteX2499" fmla="*/ 887730 w 1969770"/>
                  <a:gd name="connsiteY2499" fmla="*/ 895350 h 1744979"/>
                  <a:gd name="connsiteX2500" fmla="*/ 882968 w 1969770"/>
                  <a:gd name="connsiteY2500" fmla="*/ 888683 h 1744979"/>
                  <a:gd name="connsiteX2501" fmla="*/ 879158 w 1969770"/>
                  <a:gd name="connsiteY2501" fmla="*/ 882015 h 1744979"/>
                  <a:gd name="connsiteX2502" fmla="*/ 875348 w 1969770"/>
                  <a:gd name="connsiteY2502" fmla="*/ 874395 h 1744979"/>
                  <a:gd name="connsiteX2503" fmla="*/ 859155 w 1969770"/>
                  <a:gd name="connsiteY2503" fmla="*/ 868680 h 1744979"/>
                  <a:gd name="connsiteX2504" fmla="*/ 856298 w 1969770"/>
                  <a:gd name="connsiteY2504" fmla="*/ 867728 h 1744979"/>
                  <a:gd name="connsiteX2505" fmla="*/ 855345 w 1969770"/>
                  <a:gd name="connsiteY2505" fmla="*/ 866775 h 1744979"/>
                  <a:gd name="connsiteX2506" fmla="*/ 835343 w 1969770"/>
                  <a:gd name="connsiteY2506" fmla="*/ 855345 h 1744979"/>
                  <a:gd name="connsiteX2507" fmla="*/ 818198 w 1969770"/>
                  <a:gd name="connsiteY2507" fmla="*/ 843915 h 1744979"/>
                  <a:gd name="connsiteX2508" fmla="*/ 803910 w 1969770"/>
                  <a:gd name="connsiteY2508" fmla="*/ 829628 h 1744979"/>
                  <a:gd name="connsiteX2509" fmla="*/ 789623 w 1969770"/>
                  <a:gd name="connsiteY2509" fmla="*/ 815340 h 1744979"/>
                  <a:gd name="connsiteX2510" fmla="*/ 781050 w 1969770"/>
                  <a:gd name="connsiteY2510" fmla="*/ 798195 h 1744979"/>
                  <a:gd name="connsiteX2511" fmla="*/ 772478 w 1969770"/>
                  <a:gd name="connsiteY2511" fmla="*/ 781050 h 1744979"/>
                  <a:gd name="connsiteX2512" fmla="*/ 766763 w 1969770"/>
                  <a:gd name="connsiteY2512" fmla="*/ 762000 h 1744979"/>
                  <a:gd name="connsiteX2513" fmla="*/ 761048 w 1969770"/>
                  <a:gd name="connsiteY2513" fmla="*/ 744855 h 1744979"/>
                  <a:gd name="connsiteX2514" fmla="*/ 761048 w 1969770"/>
                  <a:gd name="connsiteY2514" fmla="*/ 721043 h 1744979"/>
                  <a:gd name="connsiteX2515" fmla="*/ 762953 w 1969770"/>
                  <a:gd name="connsiteY2515" fmla="*/ 695325 h 1744979"/>
                  <a:gd name="connsiteX2516" fmla="*/ 767715 w 1969770"/>
                  <a:gd name="connsiteY2516" fmla="*/ 671513 h 1744979"/>
                  <a:gd name="connsiteX2517" fmla="*/ 769620 w 1969770"/>
                  <a:gd name="connsiteY2517" fmla="*/ 664845 h 1744979"/>
                  <a:gd name="connsiteX2518" fmla="*/ 782955 w 1969770"/>
                  <a:gd name="connsiteY2518" fmla="*/ 635318 h 1744979"/>
                  <a:gd name="connsiteX2519" fmla="*/ 787718 w 1969770"/>
                  <a:gd name="connsiteY2519" fmla="*/ 627698 h 1744979"/>
                  <a:gd name="connsiteX2520" fmla="*/ 785813 w 1969770"/>
                  <a:gd name="connsiteY2520" fmla="*/ 628650 h 1744979"/>
                  <a:gd name="connsiteX2521" fmla="*/ 786765 w 1969770"/>
                  <a:gd name="connsiteY2521" fmla="*/ 624840 h 1744979"/>
                  <a:gd name="connsiteX2522" fmla="*/ 796290 w 1969770"/>
                  <a:gd name="connsiteY2522" fmla="*/ 613410 h 1744979"/>
                  <a:gd name="connsiteX2523" fmla="*/ 720090 w 1969770"/>
                  <a:gd name="connsiteY2523" fmla="*/ 536258 h 1744979"/>
                  <a:gd name="connsiteX2524" fmla="*/ 730568 w 1969770"/>
                  <a:gd name="connsiteY2524" fmla="*/ 526733 h 1744979"/>
                  <a:gd name="connsiteX2525" fmla="*/ 741998 w 1969770"/>
                  <a:gd name="connsiteY2525" fmla="*/ 517208 h 1744979"/>
                  <a:gd name="connsiteX2526" fmla="*/ 753428 w 1969770"/>
                  <a:gd name="connsiteY2526" fmla="*/ 508635 h 1744979"/>
                  <a:gd name="connsiteX2527" fmla="*/ 765810 w 1969770"/>
                  <a:gd name="connsiteY2527" fmla="*/ 500063 h 1744979"/>
                  <a:gd name="connsiteX2528" fmla="*/ 778193 w 1969770"/>
                  <a:gd name="connsiteY2528" fmla="*/ 491490 h 1744979"/>
                  <a:gd name="connsiteX2529" fmla="*/ 790575 w 1969770"/>
                  <a:gd name="connsiteY2529" fmla="*/ 483870 h 1744979"/>
                  <a:gd name="connsiteX2530" fmla="*/ 802958 w 1969770"/>
                  <a:gd name="connsiteY2530" fmla="*/ 477203 h 1744979"/>
                  <a:gd name="connsiteX2531" fmla="*/ 815340 w 1969770"/>
                  <a:gd name="connsiteY2531" fmla="*/ 470535 h 1744979"/>
                  <a:gd name="connsiteX2532" fmla="*/ 828675 w 1969770"/>
                  <a:gd name="connsiteY2532" fmla="*/ 463868 h 1744979"/>
                  <a:gd name="connsiteX2533" fmla="*/ 842010 w 1969770"/>
                  <a:gd name="connsiteY2533" fmla="*/ 458153 h 1744979"/>
                  <a:gd name="connsiteX2534" fmla="*/ 855345 w 1969770"/>
                  <a:gd name="connsiteY2534" fmla="*/ 452438 h 1744979"/>
                  <a:gd name="connsiteX2535" fmla="*/ 869633 w 1969770"/>
                  <a:gd name="connsiteY2535" fmla="*/ 447675 h 1744979"/>
                  <a:gd name="connsiteX2536" fmla="*/ 883920 w 1969770"/>
                  <a:gd name="connsiteY2536" fmla="*/ 443865 h 1744979"/>
                  <a:gd name="connsiteX2537" fmla="*/ 898208 w 1969770"/>
                  <a:gd name="connsiteY2537" fmla="*/ 440055 h 1744979"/>
                  <a:gd name="connsiteX2538" fmla="*/ 912495 w 1969770"/>
                  <a:gd name="connsiteY2538" fmla="*/ 437198 h 1744979"/>
                  <a:gd name="connsiteX2539" fmla="*/ 927735 w 1969770"/>
                  <a:gd name="connsiteY2539" fmla="*/ 434340 h 1744979"/>
                  <a:gd name="connsiteX2540" fmla="*/ 927735 w 1969770"/>
                  <a:gd name="connsiteY2540" fmla="*/ 410528 h 1744979"/>
                  <a:gd name="connsiteX2541" fmla="*/ 911543 w 1969770"/>
                  <a:gd name="connsiteY2541" fmla="*/ 413385 h 1744979"/>
                  <a:gd name="connsiteX2542" fmla="*/ 895350 w 1969770"/>
                  <a:gd name="connsiteY2542" fmla="*/ 416243 h 1744979"/>
                  <a:gd name="connsiteX2543" fmla="*/ 880110 w 1969770"/>
                  <a:gd name="connsiteY2543" fmla="*/ 420053 h 1744979"/>
                  <a:gd name="connsiteX2544" fmla="*/ 864870 w 1969770"/>
                  <a:gd name="connsiteY2544" fmla="*/ 423863 h 1744979"/>
                  <a:gd name="connsiteX2545" fmla="*/ 849630 w 1969770"/>
                  <a:gd name="connsiteY2545" fmla="*/ 428625 h 1744979"/>
                  <a:gd name="connsiteX2546" fmla="*/ 835343 w 1969770"/>
                  <a:gd name="connsiteY2546" fmla="*/ 434340 h 1744979"/>
                  <a:gd name="connsiteX2547" fmla="*/ 819150 w 1969770"/>
                  <a:gd name="connsiteY2547" fmla="*/ 443865 h 1744979"/>
                  <a:gd name="connsiteX2548" fmla="*/ 804863 w 1969770"/>
                  <a:gd name="connsiteY2548" fmla="*/ 450533 h 1744979"/>
                  <a:gd name="connsiteX2549" fmla="*/ 791528 w 1969770"/>
                  <a:gd name="connsiteY2549" fmla="*/ 457200 h 1744979"/>
                  <a:gd name="connsiteX2550" fmla="*/ 778193 w 1969770"/>
                  <a:gd name="connsiteY2550" fmla="*/ 464820 h 1744979"/>
                  <a:gd name="connsiteX2551" fmla="*/ 764858 w 1969770"/>
                  <a:gd name="connsiteY2551" fmla="*/ 473393 h 1744979"/>
                  <a:gd name="connsiteX2552" fmla="*/ 751523 w 1969770"/>
                  <a:gd name="connsiteY2552" fmla="*/ 481965 h 1744979"/>
                  <a:gd name="connsiteX2553" fmla="*/ 739140 w 1969770"/>
                  <a:gd name="connsiteY2553" fmla="*/ 491490 h 1744979"/>
                  <a:gd name="connsiteX2554" fmla="*/ 726758 w 1969770"/>
                  <a:gd name="connsiteY2554" fmla="*/ 501015 h 1744979"/>
                  <a:gd name="connsiteX2555" fmla="*/ 714375 w 1969770"/>
                  <a:gd name="connsiteY2555" fmla="*/ 510540 h 1744979"/>
                  <a:gd name="connsiteX2556" fmla="*/ 702945 w 1969770"/>
                  <a:gd name="connsiteY2556" fmla="*/ 521018 h 1744979"/>
                  <a:gd name="connsiteX2557" fmla="*/ 691515 w 1969770"/>
                  <a:gd name="connsiteY2557" fmla="*/ 509588 h 1744979"/>
                  <a:gd name="connsiteX2558" fmla="*/ 680085 w 1969770"/>
                  <a:gd name="connsiteY2558" fmla="*/ 531495 h 1744979"/>
                  <a:gd name="connsiteX2559" fmla="*/ 686753 w 1969770"/>
                  <a:gd name="connsiteY2559" fmla="*/ 538163 h 1744979"/>
                  <a:gd name="connsiteX2560" fmla="*/ 680085 w 1969770"/>
                  <a:gd name="connsiteY2560" fmla="*/ 544830 h 1744979"/>
                  <a:gd name="connsiteX2561" fmla="*/ 674370 w 1969770"/>
                  <a:gd name="connsiteY2561" fmla="*/ 551498 h 1744979"/>
                  <a:gd name="connsiteX2562" fmla="*/ 668655 w 1969770"/>
                  <a:gd name="connsiteY2562" fmla="*/ 558165 h 1744979"/>
                  <a:gd name="connsiteX2563" fmla="*/ 662940 w 1969770"/>
                  <a:gd name="connsiteY2563" fmla="*/ 564833 h 1744979"/>
                  <a:gd name="connsiteX2564" fmla="*/ 657225 w 1969770"/>
                  <a:gd name="connsiteY2564" fmla="*/ 572453 h 1744979"/>
                  <a:gd name="connsiteX2565" fmla="*/ 651510 w 1969770"/>
                  <a:gd name="connsiteY2565" fmla="*/ 580073 h 1744979"/>
                  <a:gd name="connsiteX2566" fmla="*/ 646748 w 1969770"/>
                  <a:gd name="connsiteY2566" fmla="*/ 587693 h 1744979"/>
                  <a:gd name="connsiteX2567" fmla="*/ 641033 w 1969770"/>
                  <a:gd name="connsiteY2567" fmla="*/ 595313 h 1744979"/>
                  <a:gd name="connsiteX2568" fmla="*/ 636270 w 1969770"/>
                  <a:gd name="connsiteY2568" fmla="*/ 602933 h 1744979"/>
                  <a:gd name="connsiteX2569" fmla="*/ 631508 w 1969770"/>
                  <a:gd name="connsiteY2569" fmla="*/ 610553 h 1744979"/>
                  <a:gd name="connsiteX2570" fmla="*/ 625793 w 1969770"/>
                  <a:gd name="connsiteY2570" fmla="*/ 619125 h 1744979"/>
                  <a:gd name="connsiteX2571" fmla="*/ 621030 w 1969770"/>
                  <a:gd name="connsiteY2571" fmla="*/ 627698 h 1744979"/>
                  <a:gd name="connsiteX2572" fmla="*/ 617220 w 1969770"/>
                  <a:gd name="connsiteY2572" fmla="*/ 636270 h 1744979"/>
                  <a:gd name="connsiteX2573" fmla="*/ 613410 w 1969770"/>
                  <a:gd name="connsiteY2573" fmla="*/ 643890 h 1744979"/>
                  <a:gd name="connsiteX2574" fmla="*/ 609600 w 1969770"/>
                  <a:gd name="connsiteY2574" fmla="*/ 652463 h 1744979"/>
                  <a:gd name="connsiteX2575" fmla="*/ 605790 w 1969770"/>
                  <a:gd name="connsiteY2575" fmla="*/ 661035 h 1744979"/>
                  <a:gd name="connsiteX2576" fmla="*/ 601980 w 1969770"/>
                  <a:gd name="connsiteY2576" fmla="*/ 669608 h 1744979"/>
                  <a:gd name="connsiteX2577" fmla="*/ 598170 w 1969770"/>
                  <a:gd name="connsiteY2577" fmla="*/ 678180 h 1744979"/>
                  <a:gd name="connsiteX2578" fmla="*/ 595313 w 1969770"/>
                  <a:gd name="connsiteY2578" fmla="*/ 687705 h 1744979"/>
                  <a:gd name="connsiteX2579" fmla="*/ 592455 w 1969770"/>
                  <a:gd name="connsiteY2579" fmla="*/ 696278 h 1744979"/>
                  <a:gd name="connsiteX2580" fmla="*/ 589598 w 1969770"/>
                  <a:gd name="connsiteY2580" fmla="*/ 705803 h 1744979"/>
                  <a:gd name="connsiteX2581" fmla="*/ 586740 w 1969770"/>
                  <a:gd name="connsiteY2581" fmla="*/ 715328 h 1744979"/>
                  <a:gd name="connsiteX2582" fmla="*/ 583883 w 1969770"/>
                  <a:gd name="connsiteY2582" fmla="*/ 724853 h 1744979"/>
                  <a:gd name="connsiteX2583" fmla="*/ 581978 w 1969770"/>
                  <a:gd name="connsiteY2583" fmla="*/ 734378 h 1744979"/>
                  <a:gd name="connsiteX2584" fmla="*/ 580073 w 1969770"/>
                  <a:gd name="connsiteY2584" fmla="*/ 743903 h 1744979"/>
                  <a:gd name="connsiteX2585" fmla="*/ 578168 w 1969770"/>
                  <a:gd name="connsiteY2585" fmla="*/ 753428 h 1744979"/>
                  <a:gd name="connsiteX2586" fmla="*/ 577215 w 1969770"/>
                  <a:gd name="connsiteY2586" fmla="*/ 762953 h 1744979"/>
                  <a:gd name="connsiteX2587" fmla="*/ 576263 w 1969770"/>
                  <a:gd name="connsiteY2587" fmla="*/ 772478 h 1744979"/>
                  <a:gd name="connsiteX2588" fmla="*/ 575310 w 1969770"/>
                  <a:gd name="connsiteY2588" fmla="*/ 782003 h 1744979"/>
                  <a:gd name="connsiteX2589" fmla="*/ 574358 w 1969770"/>
                  <a:gd name="connsiteY2589" fmla="*/ 791528 h 1744979"/>
                  <a:gd name="connsiteX2590" fmla="*/ 573405 w 1969770"/>
                  <a:gd name="connsiteY2590" fmla="*/ 801053 h 1744979"/>
                  <a:gd name="connsiteX2591" fmla="*/ 573405 w 1969770"/>
                  <a:gd name="connsiteY2591" fmla="*/ 811530 h 1744979"/>
                  <a:gd name="connsiteX2592" fmla="*/ 461963 w 1969770"/>
                  <a:gd name="connsiteY2592" fmla="*/ 811530 h 1744979"/>
                  <a:gd name="connsiteX2593" fmla="*/ 461963 w 1969770"/>
                  <a:gd name="connsiteY2593" fmla="*/ 798195 h 1744979"/>
                  <a:gd name="connsiteX2594" fmla="*/ 462915 w 1969770"/>
                  <a:gd name="connsiteY2594" fmla="*/ 785813 h 1744979"/>
                  <a:gd name="connsiteX2595" fmla="*/ 463868 w 1969770"/>
                  <a:gd name="connsiteY2595" fmla="*/ 773430 h 1744979"/>
                  <a:gd name="connsiteX2596" fmla="*/ 465773 w 1969770"/>
                  <a:gd name="connsiteY2596" fmla="*/ 761048 h 1744979"/>
                  <a:gd name="connsiteX2597" fmla="*/ 466725 w 1969770"/>
                  <a:gd name="connsiteY2597" fmla="*/ 748665 h 1744979"/>
                  <a:gd name="connsiteX2598" fmla="*/ 468630 w 1969770"/>
                  <a:gd name="connsiteY2598" fmla="*/ 736283 h 1744979"/>
                  <a:gd name="connsiteX2599" fmla="*/ 470535 w 1969770"/>
                  <a:gd name="connsiteY2599" fmla="*/ 723900 h 1744979"/>
                  <a:gd name="connsiteX2600" fmla="*/ 473393 w 1969770"/>
                  <a:gd name="connsiteY2600" fmla="*/ 711518 h 1744979"/>
                  <a:gd name="connsiteX2601" fmla="*/ 476250 w 1969770"/>
                  <a:gd name="connsiteY2601" fmla="*/ 699135 h 1744979"/>
                  <a:gd name="connsiteX2602" fmla="*/ 479108 w 1969770"/>
                  <a:gd name="connsiteY2602" fmla="*/ 686753 h 1744979"/>
                  <a:gd name="connsiteX2603" fmla="*/ 481965 w 1969770"/>
                  <a:gd name="connsiteY2603" fmla="*/ 674370 h 1744979"/>
                  <a:gd name="connsiteX2604" fmla="*/ 485775 w 1969770"/>
                  <a:gd name="connsiteY2604" fmla="*/ 662940 h 1744979"/>
                  <a:gd name="connsiteX2605" fmla="*/ 489585 w 1969770"/>
                  <a:gd name="connsiteY2605" fmla="*/ 651510 h 1744979"/>
                  <a:gd name="connsiteX2606" fmla="*/ 493395 w 1969770"/>
                  <a:gd name="connsiteY2606" fmla="*/ 640080 h 1744979"/>
                  <a:gd name="connsiteX2607" fmla="*/ 497205 w 1969770"/>
                  <a:gd name="connsiteY2607" fmla="*/ 628650 h 1744979"/>
                  <a:gd name="connsiteX2608" fmla="*/ 501968 w 1969770"/>
                  <a:gd name="connsiteY2608" fmla="*/ 617220 h 1744979"/>
                  <a:gd name="connsiteX2609" fmla="*/ 506730 w 1969770"/>
                  <a:gd name="connsiteY2609" fmla="*/ 605790 h 1744979"/>
                  <a:gd name="connsiteX2610" fmla="*/ 511493 w 1969770"/>
                  <a:gd name="connsiteY2610" fmla="*/ 595313 h 1744979"/>
                  <a:gd name="connsiteX2611" fmla="*/ 517208 w 1969770"/>
                  <a:gd name="connsiteY2611" fmla="*/ 584835 h 1744979"/>
                  <a:gd name="connsiteX2612" fmla="*/ 522923 w 1969770"/>
                  <a:gd name="connsiteY2612" fmla="*/ 574358 h 1744979"/>
                  <a:gd name="connsiteX2613" fmla="*/ 528638 w 1969770"/>
                  <a:gd name="connsiteY2613" fmla="*/ 563880 h 1744979"/>
                  <a:gd name="connsiteX2614" fmla="*/ 534353 w 1969770"/>
                  <a:gd name="connsiteY2614" fmla="*/ 553403 h 1744979"/>
                  <a:gd name="connsiteX2615" fmla="*/ 541020 w 1969770"/>
                  <a:gd name="connsiteY2615" fmla="*/ 542925 h 1744979"/>
                  <a:gd name="connsiteX2616" fmla="*/ 547688 w 1969770"/>
                  <a:gd name="connsiteY2616" fmla="*/ 532448 h 1744979"/>
                  <a:gd name="connsiteX2617" fmla="*/ 554355 w 1969770"/>
                  <a:gd name="connsiteY2617" fmla="*/ 522923 h 1744979"/>
                  <a:gd name="connsiteX2618" fmla="*/ 561023 w 1969770"/>
                  <a:gd name="connsiteY2618" fmla="*/ 513398 h 1744979"/>
                  <a:gd name="connsiteX2619" fmla="*/ 567690 w 1969770"/>
                  <a:gd name="connsiteY2619" fmla="*/ 503873 h 1744979"/>
                  <a:gd name="connsiteX2620" fmla="*/ 575310 w 1969770"/>
                  <a:gd name="connsiteY2620" fmla="*/ 494348 h 1744979"/>
                  <a:gd name="connsiteX2621" fmla="*/ 582930 w 1969770"/>
                  <a:gd name="connsiteY2621" fmla="*/ 484823 h 1744979"/>
                  <a:gd name="connsiteX2622" fmla="*/ 590550 w 1969770"/>
                  <a:gd name="connsiteY2622" fmla="*/ 475298 h 1744979"/>
                  <a:gd name="connsiteX2623" fmla="*/ 598170 w 1969770"/>
                  <a:gd name="connsiteY2623" fmla="*/ 466725 h 1744979"/>
                  <a:gd name="connsiteX2624" fmla="*/ 606743 w 1969770"/>
                  <a:gd name="connsiteY2624" fmla="*/ 458153 h 1744979"/>
                  <a:gd name="connsiteX2625" fmla="*/ 641985 w 1969770"/>
                  <a:gd name="connsiteY2625" fmla="*/ 494348 h 1744979"/>
                  <a:gd name="connsiteX2626" fmla="*/ 667703 w 1969770"/>
                  <a:gd name="connsiteY2626" fmla="*/ 485775 h 1744979"/>
                  <a:gd name="connsiteX2627" fmla="*/ 623888 w 1969770"/>
                  <a:gd name="connsiteY2627" fmla="*/ 441960 h 1744979"/>
                  <a:gd name="connsiteX2628" fmla="*/ 633413 w 1969770"/>
                  <a:gd name="connsiteY2628" fmla="*/ 433388 h 1744979"/>
                  <a:gd name="connsiteX2629" fmla="*/ 642938 w 1969770"/>
                  <a:gd name="connsiteY2629" fmla="*/ 424815 h 1744979"/>
                  <a:gd name="connsiteX2630" fmla="*/ 652463 w 1969770"/>
                  <a:gd name="connsiteY2630" fmla="*/ 417195 h 1744979"/>
                  <a:gd name="connsiteX2631" fmla="*/ 662940 w 1969770"/>
                  <a:gd name="connsiteY2631" fmla="*/ 409575 h 1744979"/>
                  <a:gd name="connsiteX2632" fmla="*/ 673418 w 1969770"/>
                  <a:gd name="connsiteY2632" fmla="*/ 401955 h 1744979"/>
                  <a:gd name="connsiteX2633" fmla="*/ 683895 w 1969770"/>
                  <a:gd name="connsiteY2633" fmla="*/ 394335 h 1744979"/>
                  <a:gd name="connsiteX2634" fmla="*/ 694373 w 1969770"/>
                  <a:gd name="connsiteY2634" fmla="*/ 386715 h 1744979"/>
                  <a:gd name="connsiteX2635" fmla="*/ 704850 w 1969770"/>
                  <a:gd name="connsiteY2635" fmla="*/ 380048 h 1744979"/>
                  <a:gd name="connsiteX2636" fmla="*/ 722948 w 1969770"/>
                  <a:gd name="connsiteY2636" fmla="*/ 341948 h 1744979"/>
                  <a:gd name="connsiteX2637" fmla="*/ 706755 w 1969770"/>
                  <a:gd name="connsiteY2637" fmla="*/ 351473 h 1744979"/>
                  <a:gd name="connsiteX2638" fmla="*/ 691515 w 1969770"/>
                  <a:gd name="connsiteY2638" fmla="*/ 360998 h 1744979"/>
                  <a:gd name="connsiteX2639" fmla="*/ 676275 w 1969770"/>
                  <a:gd name="connsiteY2639" fmla="*/ 371475 h 1744979"/>
                  <a:gd name="connsiteX2640" fmla="*/ 661988 w 1969770"/>
                  <a:gd name="connsiteY2640" fmla="*/ 381953 h 1744979"/>
                  <a:gd name="connsiteX2641" fmla="*/ 648653 w 1969770"/>
                  <a:gd name="connsiteY2641" fmla="*/ 390525 h 1744979"/>
                  <a:gd name="connsiteX2642" fmla="*/ 634365 w 1969770"/>
                  <a:gd name="connsiteY2642" fmla="*/ 401955 h 1744979"/>
                  <a:gd name="connsiteX2643" fmla="*/ 621030 w 1969770"/>
                  <a:gd name="connsiteY2643" fmla="*/ 413385 h 1744979"/>
                  <a:gd name="connsiteX2644" fmla="*/ 607695 w 1969770"/>
                  <a:gd name="connsiteY2644" fmla="*/ 425768 h 1744979"/>
                  <a:gd name="connsiteX2645" fmla="*/ 529590 w 1969770"/>
                  <a:gd name="connsiteY2645" fmla="*/ 347663 h 1744979"/>
                  <a:gd name="connsiteX2646" fmla="*/ 539115 w 1969770"/>
                  <a:gd name="connsiteY2646" fmla="*/ 338138 h 1744979"/>
                  <a:gd name="connsiteX2647" fmla="*/ 549593 w 1969770"/>
                  <a:gd name="connsiteY2647" fmla="*/ 329565 h 1744979"/>
                  <a:gd name="connsiteX2648" fmla="*/ 559118 w 1969770"/>
                  <a:gd name="connsiteY2648" fmla="*/ 320993 h 1744979"/>
                  <a:gd name="connsiteX2649" fmla="*/ 569595 w 1969770"/>
                  <a:gd name="connsiteY2649" fmla="*/ 312420 h 1744979"/>
                  <a:gd name="connsiteX2650" fmla="*/ 580073 w 1969770"/>
                  <a:gd name="connsiteY2650" fmla="*/ 303848 h 1744979"/>
                  <a:gd name="connsiteX2651" fmla="*/ 590550 w 1969770"/>
                  <a:gd name="connsiteY2651" fmla="*/ 295275 h 1744979"/>
                  <a:gd name="connsiteX2652" fmla="*/ 601028 w 1969770"/>
                  <a:gd name="connsiteY2652" fmla="*/ 287655 h 1744979"/>
                  <a:gd name="connsiteX2653" fmla="*/ 611505 w 1969770"/>
                  <a:gd name="connsiteY2653" fmla="*/ 280035 h 1744979"/>
                  <a:gd name="connsiteX2654" fmla="*/ 621983 w 1969770"/>
                  <a:gd name="connsiteY2654" fmla="*/ 272415 h 1744979"/>
                  <a:gd name="connsiteX2655" fmla="*/ 633413 w 1969770"/>
                  <a:gd name="connsiteY2655" fmla="*/ 265748 h 1744979"/>
                  <a:gd name="connsiteX2656" fmla="*/ 644843 w 1969770"/>
                  <a:gd name="connsiteY2656" fmla="*/ 259080 h 1744979"/>
                  <a:gd name="connsiteX2657" fmla="*/ 656273 w 1969770"/>
                  <a:gd name="connsiteY2657" fmla="*/ 252413 h 1744979"/>
                  <a:gd name="connsiteX2658" fmla="*/ 668655 w 1969770"/>
                  <a:gd name="connsiteY2658" fmla="*/ 245745 h 1744979"/>
                  <a:gd name="connsiteX2659" fmla="*/ 680085 w 1969770"/>
                  <a:gd name="connsiteY2659" fmla="*/ 239078 h 1744979"/>
                  <a:gd name="connsiteX2660" fmla="*/ 692468 w 1969770"/>
                  <a:gd name="connsiteY2660" fmla="*/ 233363 h 1744979"/>
                  <a:gd name="connsiteX2661" fmla="*/ 704850 w 1969770"/>
                  <a:gd name="connsiteY2661" fmla="*/ 227648 h 1744979"/>
                  <a:gd name="connsiteX2662" fmla="*/ 717233 w 1969770"/>
                  <a:gd name="connsiteY2662" fmla="*/ 221933 h 1744979"/>
                  <a:gd name="connsiteX2663" fmla="*/ 729615 w 1969770"/>
                  <a:gd name="connsiteY2663" fmla="*/ 216218 h 1744979"/>
                  <a:gd name="connsiteX2664" fmla="*/ 741998 w 1969770"/>
                  <a:gd name="connsiteY2664" fmla="*/ 210503 h 1744979"/>
                  <a:gd name="connsiteX2665" fmla="*/ 754380 w 1969770"/>
                  <a:gd name="connsiteY2665" fmla="*/ 205740 h 1744979"/>
                  <a:gd name="connsiteX2666" fmla="*/ 766763 w 1969770"/>
                  <a:gd name="connsiteY2666" fmla="*/ 200978 h 1744979"/>
                  <a:gd name="connsiteX2667" fmla="*/ 780098 w 1969770"/>
                  <a:gd name="connsiteY2667" fmla="*/ 197168 h 1744979"/>
                  <a:gd name="connsiteX2668" fmla="*/ 793433 w 1969770"/>
                  <a:gd name="connsiteY2668" fmla="*/ 193358 h 1744979"/>
                  <a:gd name="connsiteX2669" fmla="*/ 806768 w 1969770"/>
                  <a:gd name="connsiteY2669" fmla="*/ 189548 h 1744979"/>
                  <a:gd name="connsiteX2670" fmla="*/ 820103 w 1969770"/>
                  <a:gd name="connsiteY2670" fmla="*/ 185738 h 1744979"/>
                  <a:gd name="connsiteX2671" fmla="*/ 833438 w 1969770"/>
                  <a:gd name="connsiteY2671" fmla="*/ 181928 h 1744979"/>
                  <a:gd name="connsiteX2672" fmla="*/ 846773 w 1969770"/>
                  <a:gd name="connsiteY2672" fmla="*/ 179070 h 1744979"/>
                  <a:gd name="connsiteX2673" fmla="*/ 860108 w 1969770"/>
                  <a:gd name="connsiteY2673" fmla="*/ 176213 h 1744979"/>
                  <a:gd name="connsiteX2674" fmla="*/ 873443 w 1969770"/>
                  <a:gd name="connsiteY2674" fmla="*/ 173355 h 1744979"/>
                  <a:gd name="connsiteX2675" fmla="*/ 886778 w 1969770"/>
                  <a:gd name="connsiteY2675" fmla="*/ 170498 h 1744979"/>
                  <a:gd name="connsiteX2676" fmla="*/ 901065 w 1969770"/>
                  <a:gd name="connsiteY2676" fmla="*/ 168593 h 1744979"/>
                  <a:gd name="connsiteX2677" fmla="*/ 915353 w 1969770"/>
                  <a:gd name="connsiteY2677" fmla="*/ 166688 h 1744979"/>
                  <a:gd name="connsiteX2678" fmla="*/ 915353 w 1969770"/>
                  <a:gd name="connsiteY2678" fmla="*/ 142875 h 1744979"/>
                  <a:gd name="connsiteX2679" fmla="*/ 882968 w 1969770"/>
                  <a:gd name="connsiteY2679" fmla="*/ 146685 h 1744979"/>
                  <a:gd name="connsiteX2680" fmla="*/ 852488 w 1969770"/>
                  <a:gd name="connsiteY2680" fmla="*/ 152400 h 1744979"/>
                  <a:gd name="connsiteX2681" fmla="*/ 821055 w 1969770"/>
                  <a:gd name="connsiteY2681" fmla="*/ 159068 h 1744979"/>
                  <a:gd name="connsiteX2682" fmla="*/ 790575 w 1969770"/>
                  <a:gd name="connsiteY2682" fmla="*/ 168593 h 1744979"/>
                  <a:gd name="connsiteX2683" fmla="*/ 761048 w 1969770"/>
                  <a:gd name="connsiteY2683" fmla="*/ 178118 h 1744979"/>
                  <a:gd name="connsiteX2684" fmla="*/ 731520 w 1969770"/>
                  <a:gd name="connsiteY2684" fmla="*/ 189548 h 1744979"/>
                  <a:gd name="connsiteX2685" fmla="*/ 702945 w 1969770"/>
                  <a:gd name="connsiteY2685" fmla="*/ 201930 h 1744979"/>
                  <a:gd name="connsiteX2686" fmla="*/ 675323 w 1969770"/>
                  <a:gd name="connsiteY2686" fmla="*/ 215265 h 1744979"/>
                  <a:gd name="connsiteX2687" fmla="*/ 647700 w 1969770"/>
                  <a:gd name="connsiteY2687" fmla="*/ 229553 h 1744979"/>
                  <a:gd name="connsiteX2688" fmla="*/ 621030 w 1969770"/>
                  <a:gd name="connsiteY2688" fmla="*/ 245745 h 1744979"/>
                  <a:gd name="connsiteX2689" fmla="*/ 595313 w 1969770"/>
                  <a:gd name="connsiteY2689" fmla="*/ 262890 h 1744979"/>
                  <a:gd name="connsiteX2690" fmla="*/ 570548 w 1969770"/>
                  <a:gd name="connsiteY2690" fmla="*/ 280988 h 1744979"/>
                  <a:gd name="connsiteX2691" fmla="*/ 546735 w 1969770"/>
                  <a:gd name="connsiteY2691" fmla="*/ 300038 h 1744979"/>
                  <a:gd name="connsiteX2692" fmla="*/ 523875 w 1969770"/>
                  <a:gd name="connsiteY2692" fmla="*/ 320040 h 1744979"/>
                  <a:gd name="connsiteX2693" fmla="*/ 501968 w 1969770"/>
                  <a:gd name="connsiteY2693" fmla="*/ 340995 h 1744979"/>
                  <a:gd name="connsiteX2694" fmla="*/ 481013 w 1969770"/>
                  <a:gd name="connsiteY2694" fmla="*/ 363855 h 1744979"/>
                  <a:gd name="connsiteX2695" fmla="*/ 461010 w 1969770"/>
                  <a:gd name="connsiteY2695" fmla="*/ 386715 h 1744979"/>
                  <a:gd name="connsiteX2696" fmla="*/ 441960 w 1969770"/>
                  <a:gd name="connsiteY2696" fmla="*/ 410528 h 1744979"/>
                  <a:gd name="connsiteX2697" fmla="*/ 423863 w 1969770"/>
                  <a:gd name="connsiteY2697" fmla="*/ 435293 h 1744979"/>
                  <a:gd name="connsiteX2698" fmla="*/ 406718 w 1969770"/>
                  <a:gd name="connsiteY2698" fmla="*/ 461010 h 1744979"/>
                  <a:gd name="connsiteX2699" fmla="*/ 390525 w 1969770"/>
                  <a:gd name="connsiteY2699" fmla="*/ 488633 h 1744979"/>
                  <a:gd name="connsiteX2700" fmla="*/ 376238 w 1969770"/>
                  <a:gd name="connsiteY2700" fmla="*/ 516255 h 1744979"/>
                  <a:gd name="connsiteX2701" fmla="*/ 362903 w 1969770"/>
                  <a:gd name="connsiteY2701" fmla="*/ 544830 h 1744979"/>
                  <a:gd name="connsiteX2702" fmla="*/ 350520 w 1969770"/>
                  <a:gd name="connsiteY2702" fmla="*/ 573405 h 1744979"/>
                  <a:gd name="connsiteX2703" fmla="*/ 340043 w 1969770"/>
                  <a:gd name="connsiteY2703" fmla="*/ 602933 h 1744979"/>
                  <a:gd name="connsiteX2704" fmla="*/ 330518 w 1969770"/>
                  <a:gd name="connsiteY2704" fmla="*/ 632460 h 1744979"/>
                  <a:gd name="connsiteX2705" fmla="*/ 321945 w 1969770"/>
                  <a:gd name="connsiteY2705" fmla="*/ 662940 h 1744979"/>
                  <a:gd name="connsiteX2706" fmla="*/ 315278 w 1969770"/>
                  <a:gd name="connsiteY2706" fmla="*/ 694373 h 1744979"/>
                  <a:gd name="connsiteX2707" fmla="*/ 309563 w 1969770"/>
                  <a:gd name="connsiteY2707" fmla="*/ 725805 h 1744979"/>
                  <a:gd name="connsiteX2708" fmla="*/ 305753 w 1969770"/>
                  <a:gd name="connsiteY2708" fmla="*/ 758190 h 1744979"/>
                  <a:gd name="connsiteX2709" fmla="*/ 304800 w 1969770"/>
                  <a:gd name="connsiteY2709" fmla="*/ 789623 h 1744979"/>
                  <a:gd name="connsiteX2710" fmla="*/ 303848 w 1969770"/>
                  <a:gd name="connsiteY2710" fmla="*/ 822008 h 1744979"/>
                  <a:gd name="connsiteX2711" fmla="*/ 304800 w 1969770"/>
                  <a:gd name="connsiteY2711" fmla="*/ 857250 h 1744979"/>
                  <a:gd name="connsiteX2712" fmla="*/ 307658 w 1969770"/>
                  <a:gd name="connsiteY2712" fmla="*/ 891540 h 1744979"/>
                  <a:gd name="connsiteX2713" fmla="*/ 312420 w 1969770"/>
                  <a:gd name="connsiteY2713" fmla="*/ 925830 h 1744979"/>
                  <a:gd name="connsiteX2714" fmla="*/ 318135 w 1969770"/>
                  <a:gd name="connsiteY2714" fmla="*/ 959168 h 1744979"/>
                  <a:gd name="connsiteX2715" fmla="*/ 325755 w 1969770"/>
                  <a:gd name="connsiteY2715" fmla="*/ 992505 h 1744979"/>
                  <a:gd name="connsiteX2716" fmla="*/ 335280 w 1969770"/>
                  <a:gd name="connsiteY2716" fmla="*/ 1024890 h 1744979"/>
                  <a:gd name="connsiteX2717" fmla="*/ 345758 w 1969770"/>
                  <a:gd name="connsiteY2717" fmla="*/ 1056323 h 1744979"/>
                  <a:gd name="connsiteX2718" fmla="*/ 358140 w 1969770"/>
                  <a:gd name="connsiteY2718" fmla="*/ 1086803 h 1744979"/>
                  <a:gd name="connsiteX2719" fmla="*/ 371475 w 1969770"/>
                  <a:gd name="connsiteY2719" fmla="*/ 1117283 h 1744979"/>
                  <a:gd name="connsiteX2720" fmla="*/ 386715 w 1969770"/>
                  <a:gd name="connsiteY2720" fmla="*/ 1146810 h 1744979"/>
                  <a:gd name="connsiteX2721" fmla="*/ 402908 w 1969770"/>
                  <a:gd name="connsiteY2721" fmla="*/ 1175385 h 1744979"/>
                  <a:gd name="connsiteX2722" fmla="*/ 420053 w 1969770"/>
                  <a:gd name="connsiteY2722" fmla="*/ 1203008 h 1744979"/>
                  <a:gd name="connsiteX2723" fmla="*/ 439103 w 1969770"/>
                  <a:gd name="connsiteY2723" fmla="*/ 1229678 h 1744979"/>
                  <a:gd name="connsiteX2724" fmla="*/ 459105 w 1969770"/>
                  <a:gd name="connsiteY2724" fmla="*/ 1255395 h 1744979"/>
                  <a:gd name="connsiteX2725" fmla="*/ 480060 w 1969770"/>
                  <a:gd name="connsiteY2725" fmla="*/ 1280160 h 1744979"/>
                  <a:gd name="connsiteX2726" fmla="*/ 502920 w 1969770"/>
                  <a:gd name="connsiteY2726" fmla="*/ 1303973 h 1744979"/>
                  <a:gd name="connsiteX2727" fmla="*/ 526733 w 1969770"/>
                  <a:gd name="connsiteY2727" fmla="*/ 1326833 h 1744979"/>
                  <a:gd name="connsiteX2728" fmla="*/ 551498 w 1969770"/>
                  <a:gd name="connsiteY2728" fmla="*/ 1348740 h 1744979"/>
                  <a:gd name="connsiteX2729" fmla="*/ 577215 w 1969770"/>
                  <a:gd name="connsiteY2729" fmla="*/ 1368743 h 1744979"/>
                  <a:gd name="connsiteX2730" fmla="*/ 603885 w 1969770"/>
                  <a:gd name="connsiteY2730" fmla="*/ 1387793 h 1744979"/>
                  <a:gd name="connsiteX2731" fmla="*/ 631508 w 1969770"/>
                  <a:gd name="connsiteY2731" fmla="*/ 1405890 h 1744979"/>
                  <a:gd name="connsiteX2732" fmla="*/ 660083 w 1969770"/>
                  <a:gd name="connsiteY2732" fmla="*/ 1422083 h 1744979"/>
                  <a:gd name="connsiteX2733" fmla="*/ 689610 w 1969770"/>
                  <a:gd name="connsiteY2733" fmla="*/ 1437323 h 1744979"/>
                  <a:gd name="connsiteX2734" fmla="*/ 720090 w 1969770"/>
                  <a:gd name="connsiteY2734" fmla="*/ 1450658 h 1744979"/>
                  <a:gd name="connsiteX2735" fmla="*/ 751523 w 1969770"/>
                  <a:gd name="connsiteY2735" fmla="*/ 1463040 h 1744979"/>
                  <a:gd name="connsiteX2736" fmla="*/ 782955 w 1969770"/>
                  <a:gd name="connsiteY2736" fmla="*/ 1473518 h 1744979"/>
                  <a:gd name="connsiteX2737" fmla="*/ 815340 w 1969770"/>
                  <a:gd name="connsiteY2737" fmla="*/ 1483043 h 1744979"/>
                  <a:gd name="connsiteX2738" fmla="*/ 848678 w 1969770"/>
                  <a:gd name="connsiteY2738" fmla="*/ 1490663 h 1744979"/>
                  <a:gd name="connsiteX2739" fmla="*/ 882015 w 1969770"/>
                  <a:gd name="connsiteY2739" fmla="*/ 1496378 h 1744979"/>
                  <a:gd name="connsiteX2740" fmla="*/ 916305 w 1969770"/>
                  <a:gd name="connsiteY2740" fmla="*/ 1500188 h 1744979"/>
                  <a:gd name="connsiteX2741" fmla="*/ 950595 w 1969770"/>
                  <a:gd name="connsiteY2741" fmla="*/ 1503045 h 1744979"/>
                  <a:gd name="connsiteX2742" fmla="*/ 985838 w 1969770"/>
                  <a:gd name="connsiteY2742" fmla="*/ 1503998 h 1744979"/>
                  <a:gd name="connsiteX2743" fmla="*/ 1021080 w 1969770"/>
                  <a:gd name="connsiteY2743" fmla="*/ 1503045 h 1744979"/>
                  <a:gd name="connsiteX2744" fmla="*/ 1055370 w 1969770"/>
                  <a:gd name="connsiteY2744" fmla="*/ 1500188 h 1744979"/>
                  <a:gd name="connsiteX2745" fmla="*/ 1089660 w 1969770"/>
                  <a:gd name="connsiteY2745" fmla="*/ 1496378 h 1744979"/>
                  <a:gd name="connsiteX2746" fmla="*/ 1122998 w 1969770"/>
                  <a:gd name="connsiteY2746" fmla="*/ 1490663 h 1744979"/>
                  <a:gd name="connsiteX2747" fmla="*/ 1156335 w 1969770"/>
                  <a:gd name="connsiteY2747" fmla="*/ 1483043 h 1744979"/>
                  <a:gd name="connsiteX2748" fmla="*/ 1188720 w 1969770"/>
                  <a:gd name="connsiteY2748" fmla="*/ 1473518 h 1744979"/>
                  <a:gd name="connsiteX2749" fmla="*/ 1221105 w 1969770"/>
                  <a:gd name="connsiteY2749" fmla="*/ 1463040 h 1744979"/>
                  <a:gd name="connsiteX2750" fmla="*/ 1252538 w 1969770"/>
                  <a:gd name="connsiteY2750" fmla="*/ 1450658 h 1744979"/>
                  <a:gd name="connsiteX2751" fmla="*/ 1283018 w 1969770"/>
                  <a:gd name="connsiteY2751" fmla="*/ 1437323 h 1744979"/>
                  <a:gd name="connsiteX2752" fmla="*/ 1312545 w 1969770"/>
                  <a:gd name="connsiteY2752" fmla="*/ 1422083 h 1744979"/>
                  <a:gd name="connsiteX2753" fmla="*/ 1341120 w 1969770"/>
                  <a:gd name="connsiteY2753" fmla="*/ 1405890 h 1744979"/>
                  <a:gd name="connsiteX2754" fmla="*/ 1368743 w 1969770"/>
                  <a:gd name="connsiteY2754" fmla="*/ 1387793 h 1744979"/>
                  <a:gd name="connsiteX2755" fmla="*/ 1395413 w 1969770"/>
                  <a:gd name="connsiteY2755" fmla="*/ 1368743 h 1744979"/>
                  <a:gd name="connsiteX2756" fmla="*/ 1421130 w 1969770"/>
                  <a:gd name="connsiteY2756" fmla="*/ 1348740 h 1744979"/>
                  <a:gd name="connsiteX2757" fmla="*/ 1445895 w 1969770"/>
                  <a:gd name="connsiteY2757" fmla="*/ 1326833 h 1744979"/>
                  <a:gd name="connsiteX2758" fmla="*/ 1469708 w 1969770"/>
                  <a:gd name="connsiteY2758" fmla="*/ 1303973 h 1744979"/>
                  <a:gd name="connsiteX2759" fmla="*/ 1492568 w 1969770"/>
                  <a:gd name="connsiteY2759" fmla="*/ 1280160 h 1744979"/>
                  <a:gd name="connsiteX2760" fmla="*/ 1514475 w 1969770"/>
                  <a:gd name="connsiteY2760" fmla="*/ 1255395 h 1744979"/>
                  <a:gd name="connsiteX2761" fmla="*/ 1534478 w 1969770"/>
                  <a:gd name="connsiteY2761" fmla="*/ 1229678 h 1744979"/>
                  <a:gd name="connsiteX2762" fmla="*/ 1553528 w 1969770"/>
                  <a:gd name="connsiteY2762" fmla="*/ 1203008 h 1744979"/>
                  <a:gd name="connsiteX2763" fmla="*/ 1571625 w 1969770"/>
                  <a:gd name="connsiteY2763" fmla="*/ 1175385 h 1744979"/>
                  <a:gd name="connsiteX2764" fmla="*/ 1587818 w 1969770"/>
                  <a:gd name="connsiteY2764" fmla="*/ 1146810 h 1744979"/>
                  <a:gd name="connsiteX2765" fmla="*/ 1603058 w 1969770"/>
                  <a:gd name="connsiteY2765" fmla="*/ 1117283 h 1744979"/>
                  <a:gd name="connsiteX2766" fmla="*/ 1616393 w 1969770"/>
                  <a:gd name="connsiteY2766" fmla="*/ 1086803 h 1744979"/>
                  <a:gd name="connsiteX2767" fmla="*/ 1628775 w 1969770"/>
                  <a:gd name="connsiteY2767" fmla="*/ 1056323 h 1744979"/>
                  <a:gd name="connsiteX2768" fmla="*/ 1639253 w 1969770"/>
                  <a:gd name="connsiteY2768" fmla="*/ 1024890 h 1744979"/>
                  <a:gd name="connsiteX2769" fmla="*/ 1648778 w 1969770"/>
                  <a:gd name="connsiteY2769" fmla="*/ 992505 h 1744979"/>
                  <a:gd name="connsiteX2770" fmla="*/ 1656398 w 1969770"/>
                  <a:gd name="connsiteY2770" fmla="*/ 959168 h 1744979"/>
                  <a:gd name="connsiteX2771" fmla="*/ 1662113 w 1969770"/>
                  <a:gd name="connsiteY2771" fmla="*/ 925830 h 1744979"/>
                  <a:gd name="connsiteX2772" fmla="*/ 1665923 w 1969770"/>
                  <a:gd name="connsiteY2772" fmla="*/ 891540 h 1744979"/>
                  <a:gd name="connsiteX2773" fmla="*/ 1668780 w 1969770"/>
                  <a:gd name="connsiteY2773" fmla="*/ 857250 h 1744979"/>
                  <a:gd name="connsiteX2774" fmla="*/ 1669733 w 1969770"/>
                  <a:gd name="connsiteY2774" fmla="*/ 822008 h 1744979"/>
                  <a:gd name="connsiteX2775" fmla="*/ 1668780 w 1969770"/>
                  <a:gd name="connsiteY2775" fmla="*/ 788670 h 1744979"/>
                  <a:gd name="connsiteX2776" fmla="*/ 1665923 w 1969770"/>
                  <a:gd name="connsiteY2776" fmla="*/ 756285 h 1744979"/>
                  <a:gd name="connsiteX2777" fmla="*/ 1662113 w 1969770"/>
                  <a:gd name="connsiteY2777" fmla="*/ 723900 h 1744979"/>
                  <a:gd name="connsiteX2778" fmla="*/ 1656398 w 1969770"/>
                  <a:gd name="connsiteY2778" fmla="*/ 692468 h 1744979"/>
                  <a:gd name="connsiteX2779" fmla="*/ 1649730 w 1969770"/>
                  <a:gd name="connsiteY2779" fmla="*/ 661035 h 1744979"/>
                  <a:gd name="connsiteX2780" fmla="*/ 1642110 w 1969770"/>
                  <a:gd name="connsiteY2780" fmla="*/ 630555 h 1744979"/>
                  <a:gd name="connsiteX2781" fmla="*/ 1632585 w 1969770"/>
                  <a:gd name="connsiteY2781" fmla="*/ 601028 h 1744979"/>
                  <a:gd name="connsiteX2782" fmla="*/ 1622108 w 1969770"/>
                  <a:gd name="connsiteY2782" fmla="*/ 571500 h 1744979"/>
                  <a:gd name="connsiteX2783" fmla="*/ 1609725 w 1969770"/>
                  <a:gd name="connsiteY2783" fmla="*/ 542925 h 1744979"/>
                  <a:gd name="connsiteX2784" fmla="*/ 1596390 w 1969770"/>
                  <a:gd name="connsiteY2784" fmla="*/ 514350 h 1744979"/>
                  <a:gd name="connsiteX2785" fmla="*/ 1582103 w 1969770"/>
                  <a:gd name="connsiteY2785" fmla="*/ 486728 h 1744979"/>
                  <a:gd name="connsiteX2786" fmla="*/ 1565910 w 1969770"/>
                  <a:gd name="connsiteY2786" fmla="*/ 460058 h 1744979"/>
                  <a:gd name="connsiteX2787" fmla="*/ 1548765 w 1969770"/>
                  <a:gd name="connsiteY2787" fmla="*/ 434340 h 1744979"/>
                  <a:gd name="connsiteX2788" fmla="*/ 1530668 w 1969770"/>
                  <a:gd name="connsiteY2788" fmla="*/ 409575 h 1744979"/>
                  <a:gd name="connsiteX2789" fmla="*/ 1511618 w 1969770"/>
                  <a:gd name="connsiteY2789" fmla="*/ 385763 h 1744979"/>
                  <a:gd name="connsiteX2790" fmla="*/ 1491615 w 1969770"/>
                  <a:gd name="connsiteY2790" fmla="*/ 362903 h 1744979"/>
                  <a:gd name="connsiteX2791" fmla="*/ 1470660 w 1969770"/>
                  <a:gd name="connsiteY2791" fmla="*/ 340043 h 1744979"/>
                  <a:gd name="connsiteX2792" fmla="*/ 1448753 w 1969770"/>
                  <a:gd name="connsiteY2792" fmla="*/ 319088 h 1744979"/>
                  <a:gd name="connsiteX2793" fmla="*/ 1425893 w 1969770"/>
                  <a:gd name="connsiteY2793" fmla="*/ 299085 h 1744979"/>
                  <a:gd name="connsiteX2794" fmla="*/ 1402080 w 1969770"/>
                  <a:gd name="connsiteY2794" fmla="*/ 280035 h 1744979"/>
                  <a:gd name="connsiteX2795" fmla="*/ 1377315 w 1969770"/>
                  <a:gd name="connsiteY2795" fmla="*/ 261938 h 1744979"/>
                  <a:gd name="connsiteX2796" fmla="*/ 1351598 w 1969770"/>
                  <a:gd name="connsiteY2796" fmla="*/ 244793 h 1744979"/>
                  <a:gd name="connsiteX2797" fmla="*/ 1323975 w 1969770"/>
                  <a:gd name="connsiteY2797" fmla="*/ 228600 h 1744979"/>
                  <a:gd name="connsiteX2798" fmla="*/ 1296353 w 1969770"/>
                  <a:gd name="connsiteY2798" fmla="*/ 214313 h 1744979"/>
                  <a:gd name="connsiteX2799" fmla="*/ 1267778 w 1969770"/>
                  <a:gd name="connsiteY2799" fmla="*/ 200978 h 1744979"/>
                  <a:gd name="connsiteX2800" fmla="*/ 1239203 w 1969770"/>
                  <a:gd name="connsiteY2800" fmla="*/ 188595 h 1744979"/>
                  <a:gd name="connsiteX2801" fmla="*/ 1209675 w 1969770"/>
                  <a:gd name="connsiteY2801" fmla="*/ 178118 h 1744979"/>
                  <a:gd name="connsiteX2802" fmla="*/ 1180148 w 1969770"/>
                  <a:gd name="connsiteY2802" fmla="*/ 168593 h 1744979"/>
                  <a:gd name="connsiteX2803" fmla="*/ 1149668 w 1969770"/>
                  <a:gd name="connsiteY2803" fmla="*/ 160973 h 1744979"/>
                  <a:gd name="connsiteX2804" fmla="*/ 1119188 w 1969770"/>
                  <a:gd name="connsiteY2804" fmla="*/ 154305 h 1744979"/>
                  <a:gd name="connsiteX2805" fmla="*/ 1086803 w 1969770"/>
                  <a:gd name="connsiteY2805" fmla="*/ 148590 h 1744979"/>
                  <a:gd name="connsiteX2806" fmla="*/ 1054418 w 1969770"/>
                  <a:gd name="connsiteY2806" fmla="*/ 144780 h 1744979"/>
                  <a:gd name="connsiteX2807" fmla="*/ 1054418 w 1969770"/>
                  <a:gd name="connsiteY2807" fmla="*/ 168593 h 1744979"/>
                  <a:gd name="connsiteX2808" fmla="*/ 1067753 w 1969770"/>
                  <a:gd name="connsiteY2808" fmla="*/ 169545 h 1744979"/>
                  <a:gd name="connsiteX2809" fmla="*/ 1082040 w 1969770"/>
                  <a:gd name="connsiteY2809" fmla="*/ 171450 h 1744979"/>
                  <a:gd name="connsiteX2810" fmla="*/ 1096328 w 1969770"/>
                  <a:gd name="connsiteY2810" fmla="*/ 173355 h 1744979"/>
                  <a:gd name="connsiteX2811" fmla="*/ 1110615 w 1969770"/>
                  <a:gd name="connsiteY2811" fmla="*/ 176213 h 1744979"/>
                  <a:gd name="connsiteX2812" fmla="*/ 1123950 w 1969770"/>
                  <a:gd name="connsiteY2812" fmla="*/ 179070 h 1744979"/>
                  <a:gd name="connsiteX2813" fmla="*/ 1137285 w 1969770"/>
                  <a:gd name="connsiteY2813" fmla="*/ 181928 h 1744979"/>
                  <a:gd name="connsiteX2814" fmla="*/ 1150620 w 1969770"/>
                  <a:gd name="connsiteY2814" fmla="*/ 184785 h 1744979"/>
                  <a:gd name="connsiteX2815" fmla="*/ 1163955 w 1969770"/>
                  <a:gd name="connsiteY2815" fmla="*/ 188595 h 1744979"/>
                  <a:gd name="connsiteX2816" fmla="*/ 1177290 w 1969770"/>
                  <a:gd name="connsiteY2816" fmla="*/ 192405 h 1744979"/>
                  <a:gd name="connsiteX2817" fmla="*/ 1190625 w 1969770"/>
                  <a:gd name="connsiteY2817" fmla="*/ 196215 h 1744979"/>
                  <a:gd name="connsiteX2818" fmla="*/ 1203960 w 1969770"/>
                  <a:gd name="connsiteY2818" fmla="*/ 200978 h 1744979"/>
                  <a:gd name="connsiteX2819" fmla="*/ 1217295 w 1969770"/>
                  <a:gd name="connsiteY2819" fmla="*/ 205740 h 1744979"/>
                  <a:gd name="connsiteX2820" fmla="*/ 1230630 w 1969770"/>
                  <a:gd name="connsiteY2820" fmla="*/ 210503 h 1744979"/>
                  <a:gd name="connsiteX2821" fmla="*/ 1243013 w 1969770"/>
                  <a:gd name="connsiteY2821" fmla="*/ 216218 h 1744979"/>
                  <a:gd name="connsiteX2822" fmla="*/ 1255395 w 1969770"/>
                  <a:gd name="connsiteY2822" fmla="*/ 221933 h 1744979"/>
                  <a:gd name="connsiteX2823" fmla="*/ 1267778 w 1969770"/>
                  <a:gd name="connsiteY2823" fmla="*/ 227648 h 1744979"/>
                  <a:gd name="connsiteX2824" fmla="*/ 1280160 w 1969770"/>
                  <a:gd name="connsiteY2824" fmla="*/ 233363 h 1744979"/>
                  <a:gd name="connsiteX2825" fmla="*/ 1292543 w 1969770"/>
                  <a:gd name="connsiteY2825" fmla="*/ 240030 h 1744979"/>
                  <a:gd name="connsiteX2826" fmla="*/ 1304925 w 1969770"/>
                  <a:gd name="connsiteY2826" fmla="*/ 246698 h 1744979"/>
                  <a:gd name="connsiteX2827" fmla="*/ 1317308 w 1969770"/>
                  <a:gd name="connsiteY2827" fmla="*/ 253365 h 1744979"/>
                  <a:gd name="connsiteX2828" fmla="*/ 1328738 w 1969770"/>
                  <a:gd name="connsiteY2828" fmla="*/ 260033 h 1744979"/>
                  <a:gd name="connsiteX2829" fmla="*/ 1340168 w 1969770"/>
                  <a:gd name="connsiteY2829" fmla="*/ 267653 h 1744979"/>
                  <a:gd name="connsiteX2830" fmla="*/ 1351598 w 1969770"/>
                  <a:gd name="connsiteY2830" fmla="*/ 275273 h 1744979"/>
                  <a:gd name="connsiteX2831" fmla="*/ 1363028 w 1969770"/>
                  <a:gd name="connsiteY2831" fmla="*/ 282893 h 1744979"/>
                  <a:gd name="connsiteX2832" fmla="*/ 1374458 w 1969770"/>
                  <a:gd name="connsiteY2832" fmla="*/ 290513 h 1744979"/>
                  <a:gd name="connsiteX2833" fmla="*/ 1384935 w 1969770"/>
                  <a:gd name="connsiteY2833" fmla="*/ 298133 h 1744979"/>
                  <a:gd name="connsiteX2834" fmla="*/ 1395413 w 1969770"/>
                  <a:gd name="connsiteY2834" fmla="*/ 306705 h 1744979"/>
                  <a:gd name="connsiteX2835" fmla="*/ 1405890 w 1969770"/>
                  <a:gd name="connsiteY2835" fmla="*/ 315278 h 1744979"/>
                  <a:gd name="connsiteX2836" fmla="*/ 1416368 w 1969770"/>
                  <a:gd name="connsiteY2836" fmla="*/ 323850 h 1744979"/>
                  <a:gd name="connsiteX2837" fmla="*/ 1426845 w 1969770"/>
                  <a:gd name="connsiteY2837" fmla="*/ 332423 h 1744979"/>
                  <a:gd name="connsiteX2838" fmla="*/ 1437323 w 1969770"/>
                  <a:gd name="connsiteY2838" fmla="*/ 341948 h 1744979"/>
                  <a:gd name="connsiteX2839" fmla="*/ 1446848 w 1969770"/>
                  <a:gd name="connsiteY2839" fmla="*/ 351473 h 1744979"/>
                  <a:gd name="connsiteX2840" fmla="*/ 1371600 w 1969770"/>
                  <a:gd name="connsiteY2840" fmla="*/ 426720 h 1744979"/>
                  <a:gd name="connsiteX2841" fmla="*/ 1374458 w 1969770"/>
                  <a:gd name="connsiteY2841" fmla="*/ 415290 h 1744979"/>
                  <a:gd name="connsiteX2842" fmla="*/ 1365885 w 1969770"/>
                  <a:gd name="connsiteY2842" fmla="*/ 412433 h 1744979"/>
                  <a:gd name="connsiteX2843" fmla="*/ 1351598 w 1969770"/>
                  <a:gd name="connsiteY2843" fmla="*/ 409575 h 1744979"/>
                  <a:gd name="connsiteX2844" fmla="*/ 1354455 w 1969770"/>
                  <a:gd name="connsiteY2844" fmla="*/ 401003 h 1744979"/>
                  <a:gd name="connsiteX2845" fmla="*/ 1345883 w 1969770"/>
                  <a:gd name="connsiteY2845" fmla="*/ 369570 h 1744979"/>
                  <a:gd name="connsiteX2846" fmla="*/ 1325880 w 1969770"/>
                  <a:gd name="connsiteY2846" fmla="*/ 349568 h 1744979"/>
                  <a:gd name="connsiteX2847" fmla="*/ 1268730 w 1969770"/>
                  <a:gd name="connsiteY2847" fmla="*/ 318135 h 1744979"/>
                  <a:gd name="connsiteX2848" fmla="*/ 1263015 w 1969770"/>
                  <a:gd name="connsiteY2848" fmla="*/ 323850 h 1744979"/>
                  <a:gd name="connsiteX2849" fmla="*/ 1251585 w 1969770"/>
                  <a:gd name="connsiteY2849" fmla="*/ 326708 h 1744979"/>
                  <a:gd name="connsiteX2850" fmla="*/ 1265873 w 1969770"/>
                  <a:gd name="connsiteY2850" fmla="*/ 349568 h 1744979"/>
                  <a:gd name="connsiteX2851" fmla="*/ 1266825 w 1969770"/>
                  <a:gd name="connsiteY2851" fmla="*/ 351473 h 1744979"/>
                  <a:gd name="connsiteX2852" fmla="*/ 1257300 w 1969770"/>
                  <a:gd name="connsiteY2852" fmla="*/ 345758 h 1744979"/>
                  <a:gd name="connsiteX2853" fmla="*/ 1247775 w 1969770"/>
                  <a:gd name="connsiteY2853" fmla="*/ 340995 h 1744979"/>
                  <a:gd name="connsiteX2854" fmla="*/ 1238250 w 1969770"/>
                  <a:gd name="connsiteY2854" fmla="*/ 335280 h 1744979"/>
                  <a:gd name="connsiteX2855" fmla="*/ 1228725 w 1969770"/>
                  <a:gd name="connsiteY2855" fmla="*/ 330518 h 1744979"/>
                  <a:gd name="connsiteX2856" fmla="*/ 1224915 w 1969770"/>
                  <a:gd name="connsiteY2856" fmla="*/ 325755 h 1744979"/>
                  <a:gd name="connsiteX2857" fmla="*/ 1221105 w 1969770"/>
                  <a:gd name="connsiteY2857" fmla="*/ 320993 h 1744979"/>
                  <a:gd name="connsiteX2858" fmla="*/ 1216343 w 1969770"/>
                  <a:gd name="connsiteY2858" fmla="*/ 316230 h 1744979"/>
                  <a:gd name="connsiteX2859" fmla="*/ 1212533 w 1969770"/>
                  <a:gd name="connsiteY2859" fmla="*/ 311468 h 1744979"/>
                  <a:gd name="connsiteX2860" fmla="*/ 1207770 w 1969770"/>
                  <a:gd name="connsiteY2860" fmla="*/ 307658 h 1744979"/>
                  <a:gd name="connsiteX2861" fmla="*/ 1203008 w 1969770"/>
                  <a:gd name="connsiteY2861" fmla="*/ 303848 h 1744979"/>
                  <a:gd name="connsiteX2862" fmla="*/ 1197293 w 1969770"/>
                  <a:gd name="connsiteY2862" fmla="*/ 300038 h 1744979"/>
                  <a:gd name="connsiteX2863" fmla="*/ 1192530 w 1969770"/>
                  <a:gd name="connsiteY2863" fmla="*/ 296228 h 1744979"/>
                  <a:gd name="connsiteX2864" fmla="*/ 1182053 w 1969770"/>
                  <a:gd name="connsiteY2864" fmla="*/ 288608 h 1744979"/>
                  <a:gd name="connsiteX2865" fmla="*/ 1170623 w 1969770"/>
                  <a:gd name="connsiteY2865" fmla="*/ 281940 h 1744979"/>
                  <a:gd name="connsiteX2866" fmla="*/ 1159193 w 1969770"/>
                  <a:gd name="connsiteY2866" fmla="*/ 275273 h 1744979"/>
                  <a:gd name="connsiteX2867" fmla="*/ 1146810 w 1969770"/>
                  <a:gd name="connsiteY2867" fmla="*/ 269558 h 1744979"/>
                  <a:gd name="connsiteX2868" fmla="*/ 1134428 w 1969770"/>
                  <a:gd name="connsiteY2868" fmla="*/ 263843 h 1744979"/>
                  <a:gd name="connsiteX2869" fmla="*/ 1122045 w 1969770"/>
                  <a:gd name="connsiteY2869" fmla="*/ 259080 h 1744979"/>
                  <a:gd name="connsiteX2870" fmla="*/ 1109663 w 1969770"/>
                  <a:gd name="connsiteY2870" fmla="*/ 255270 h 1744979"/>
                  <a:gd name="connsiteX2871" fmla="*/ 1097280 w 1969770"/>
                  <a:gd name="connsiteY2871" fmla="*/ 251460 h 1744979"/>
                  <a:gd name="connsiteX2872" fmla="*/ 1084898 w 1969770"/>
                  <a:gd name="connsiteY2872" fmla="*/ 248603 h 1744979"/>
                  <a:gd name="connsiteX2873" fmla="*/ 1072515 w 1969770"/>
                  <a:gd name="connsiteY2873" fmla="*/ 246698 h 1744979"/>
                  <a:gd name="connsiteX2874" fmla="*/ 1060133 w 1969770"/>
                  <a:gd name="connsiteY2874" fmla="*/ 244793 h 1744979"/>
                  <a:gd name="connsiteX2875" fmla="*/ 1046798 w 1969770"/>
                  <a:gd name="connsiteY2875" fmla="*/ 241935 h 1744979"/>
                  <a:gd name="connsiteX2876" fmla="*/ 1046798 w 1969770"/>
                  <a:gd name="connsiteY2876" fmla="*/ 241935 h 1744979"/>
                  <a:gd name="connsiteX2877" fmla="*/ 1245870 w 1969770"/>
                  <a:gd name="connsiteY2877" fmla="*/ 499110 h 1744979"/>
                  <a:gd name="connsiteX2878" fmla="*/ 1248728 w 1969770"/>
                  <a:gd name="connsiteY2878" fmla="*/ 491490 h 1744979"/>
                  <a:gd name="connsiteX2879" fmla="*/ 1251585 w 1969770"/>
                  <a:gd name="connsiteY2879" fmla="*/ 482918 h 1744979"/>
                  <a:gd name="connsiteX2880" fmla="*/ 1253490 w 1969770"/>
                  <a:gd name="connsiteY2880" fmla="*/ 474345 h 1744979"/>
                  <a:gd name="connsiteX2881" fmla="*/ 1255395 w 1969770"/>
                  <a:gd name="connsiteY2881" fmla="*/ 464820 h 1744979"/>
                  <a:gd name="connsiteX2882" fmla="*/ 1257300 w 1969770"/>
                  <a:gd name="connsiteY2882" fmla="*/ 455295 h 1744979"/>
                  <a:gd name="connsiteX2883" fmla="*/ 1258253 w 1969770"/>
                  <a:gd name="connsiteY2883" fmla="*/ 444818 h 1744979"/>
                  <a:gd name="connsiteX2884" fmla="*/ 1259205 w 1969770"/>
                  <a:gd name="connsiteY2884" fmla="*/ 434340 h 1744979"/>
                  <a:gd name="connsiteX2885" fmla="*/ 1259205 w 1969770"/>
                  <a:gd name="connsiteY2885" fmla="*/ 423863 h 1744979"/>
                  <a:gd name="connsiteX2886" fmla="*/ 1259205 w 1969770"/>
                  <a:gd name="connsiteY2886" fmla="*/ 416243 h 1744979"/>
                  <a:gd name="connsiteX2887" fmla="*/ 1259205 w 1969770"/>
                  <a:gd name="connsiteY2887" fmla="*/ 409575 h 1744979"/>
                  <a:gd name="connsiteX2888" fmla="*/ 1258253 w 1969770"/>
                  <a:gd name="connsiteY2888" fmla="*/ 402908 h 1744979"/>
                  <a:gd name="connsiteX2889" fmla="*/ 1257300 w 1969770"/>
                  <a:gd name="connsiteY2889" fmla="*/ 396240 h 1744979"/>
                  <a:gd name="connsiteX2890" fmla="*/ 1256348 w 1969770"/>
                  <a:gd name="connsiteY2890" fmla="*/ 389573 h 1744979"/>
                  <a:gd name="connsiteX2891" fmla="*/ 1254443 w 1969770"/>
                  <a:gd name="connsiteY2891" fmla="*/ 382905 h 1744979"/>
                  <a:gd name="connsiteX2892" fmla="*/ 1252538 w 1969770"/>
                  <a:gd name="connsiteY2892" fmla="*/ 376238 h 1744979"/>
                  <a:gd name="connsiteX2893" fmla="*/ 1250633 w 1969770"/>
                  <a:gd name="connsiteY2893" fmla="*/ 369570 h 1744979"/>
                  <a:gd name="connsiteX2894" fmla="*/ 1257300 w 1969770"/>
                  <a:gd name="connsiteY2894" fmla="*/ 373380 h 1744979"/>
                  <a:gd name="connsiteX2895" fmla="*/ 1263968 w 1969770"/>
                  <a:gd name="connsiteY2895" fmla="*/ 377190 h 1744979"/>
                  <a:gd name="connsiteX2896" fmla="*/ 1270635 w 1969770"/>
                  <a:gd name="connsiteY2896" fmla="*/ 381000 h 1744979"/>
                  <a:gd name="connsiteX2897" fmla="*/ 1277303 w 1969770"/>
                  <a:gd name="connsiteY2897" fmla="*/ 384810 h 1744979"/>
                  <a:gd name="connsiteX2898" fmla="*/ 1280160 w 1969770"/>
                  <a:gd name="connsiteY2898" fmla="*/ 399098 h 1744979"/>
                  <a:gd name="connsiteX2899" fmla="*/ 1283018 w 1969770"/>
                  <a:gd name="connsiteY2899" fmla="*/ 424815 h 1744979"/>
                  <a:gd name="connsiteX2900" fmla="*/ 1283018 w 1969770"/>
                  <a:gd name="connsiteY2900" fmla="*/ 439103 h 1744979"/>
                  <a:gd name="connsiteX2901" fmla="*/ 1311593 w 1969770"/>
                  <a:gd name="connsiteY2901" fmla="*/ 476250 h 1744979"/>
                  <a:gd name="connsiteX2902" fmla="*/ 1297305 w 1969770"/>
                  <a:gd name="connsiteY2902" fmla="*/ 479108 h 1744979"/>
                  <a:gd name="connsiteX2903" fmla="*/ 1306830 w 1969770"/>
                  <a:gd name="connsiteY2903" fmla="*/ 490538 h 1744979"/>
                  <a:gd name="connsiteX2904" fmla="*/ 1281113 w 1969770"/>
                  <a:gd name="connsiteY2904" fmla="*/ 515303 h 1744979"/>
                  <a:gd name="connsiteX2905" fmla="*/ 1271588 w 1969770"/>
                  <a:gd name="connsiteY2905" fmla="*/ 499110 h 1744979"/>
                  <a:gd name="connsiteX2906" fmla="*/ 1264920 w 1969770"/>
                  <a:gd name="connsiteY2906" fmla="*/ 515303 h 1744979"/>
                  <a:gd name="connsiteX2907" fmla="*/ 1260158 w 1969770"/>
                  <a:gd name="connsiteY2907" fmla="*/ 511493 h 1744979"/>
                  <a:gd name="connsiteX2908" fmla="*/ 1255395 w 1969770"/>
                  <a:gd name="connsiteY2908" fmla="*/ 507683 h 1744979"/>
                  <a:gd name="connsiteX2909" fmla="*/ 1250633 w 1969770"/>
                  <a:gd name="connsiteY2909" fmla="*/ 503873 h 1744979"/>
                  <a:gd name="connsiteX2910" fmla="*/ 1245870 w 1969770"/>
                  <a:gd name="connsiteY2910" fmla="*/ 499110 h 1744979"/>
                  <a:gd name="connsiteX2911" fmla="*/ 1245870 w 1969770"/>
                  <a:gd name="connsiteY2911" fmla="*/ 499110 h 1744979"/>
                  <a:gd name="connsiteX2912" fmla="*/ 920115 w 1969770"/>
                  <a:gd name="connsiteY2912" fmla="*/ 256223 h 1744979"/>
                  <a:gd name="connsiteX2913" fmla="*/ 911543 w 1969770"/>
                  <a:gd name="connsiteY2913" fmla="*/ 260033 h 1744979"/>
                  <a:gd name="connsiteX2914" fmla="*/ 902970 w 1969770"/>
                  <a:gd name="connsiteY2914" fmla="*/ 263843 h 1744979"/>
                  <a:gd name="connsiteX2915" fmla="*/ 894398 w 1969770"/>
                  <a:gd name="connsiteY2915" fmla="*/ 266700 h 1744979"/>
                  <a:gd name="connsiteX2916" fmla="*/ 885825 w 1969770"/>
                  <a:gd name="connsiteY2916" fmla="*/ 270510 h 1744979"/>
                  <a:gd name="connsiteX2917" fmla="*/ 877253 w 1969770"/>
                  <a:gd name="connsiteY2917" fmla="*/ 274320 h 1744979"/>
                  <a:gd name="connsiteX2918" fmla="*/ 868680 w 1969770"/>
                  <a:gd name="connsiteY2918" fmla="*/ 278130 h 1744979"/>
                  <a:gd name="connsiteX2919" fmla="*/ 860108 w 1969770"/>
                  <a:gd name="connsiteY2919" fmla="*/ 281940 h 1744979"/>
                  <a:gd name="connsiteX2920" fmla="*/ 851535 w 1969770"/>
                  <a:gd name="connsiteY2920" fmla="*/ 285750 h 1744979"/>
                  <a:gd name="connsiteX2921" fmla="*/ 843915 w 1969770"/>
                  <a:gd name="connsiteY2921" fmla="*/ 285750 h 1744979"/>
                  <a:gd name="connsiteX2922" fmla="*/ 836295 w 1969770"/>
                  <a:gd name="connsiteY2922" fmla="*/ 286703 h 1744979"/>
                  <a:gd name="connsiteX2923" fmla="*/ 829628 w 1969770"/>
                  <a:gd name="connsiteY2923" fmla="*/ 288608 h 1744979"/>
                  <a:gd name="connsiteX2924" fmla="*/ 822960 w 1969770"/>
                  <a:gd name="connsiteY2924" fmla="*/ 290513 h 1744979"/>
                  <a:gd name="connsiteX2925" fmla="*/ 816293 w 1969770"/>
                  <a:gd name="connsiteY2925" fmla="*/ 293370 h 1744979"/>
                  <a:gd name="connsiteX2926" fmla="*/ 810578 w 1969770"/>
                  <a:gd name="connsiteY2926" fmla="*/ 295275 h 1744979"/>
                  <a:gd name="connsiteX2927" fmla="*/ 803910 w 1969770"/>
                  <a:gd name="connsiteY2927" fmla="*/ 298133 h 1744979"/>
                  <a:gd name="connsiteX2928" fmla="*/ 797243 w 1969770"/>
                  <a:gd name="connsiteY2928" fmla="*/ 300990 h 1744979"/>
                  <a:gd name="connsiteX2929" fmla="*/ 791528 w 1969770"/>
                  <a:gd name="connsiteY2929" fmla="*/ 304800 h 1744979"/>
                  <a:gd name="connsiteX2930" fmla="*/ 785813 w 1969770"/>
                  <a:gd name="connsiteY2930" fmla="*/ 308610 h 1744979"/>
                  <a:gd name="connsiteX2931" fmla="*/ 780098 w 1969770"/>
                  <a:gd name="connsiteY2931" fmla="*/ 312420 h 1744979"/>
                  <a:gd name="connsiteX2932" fmla="*/ 774383 w 1969770"/>
                  <a:gd name="connsiteY2932" fmla="*/ 316230 h 1744979"/>
                  <a:gd name="connsiteX2933" fmla="*/ 769620 w 1969770"/>
                  <a:gd name="connsiteY2933" fmla="*/ 320993 h 1744979"/>
                  <a:gd name="connsiteX2934" fmla="*/ 764858 w 1969770"/>
                  <a:gd name="connsiteY2934" fmla="*/ 325755 h 1744979"/>
                  <a:gd name="connsiteX2935" fmla="*/ 760095 w 1969770"/>
                  <a:gd name="connsiteY2935" fmla="*/ 330518 h 1744979"/>
                  <a:gd name="connsiteX2936" fmla="*/ 755333 w 1969770"/>
                  <a:gd name="connsiteY2936" fmla="*/ 335280 h 1744979"/>
                  <a:gd name="connsiteX2937" fmla="*/ 750570 w 1969770"/>
                  <a:gd name="connsiteY2937" fmla="*/ 340043 h 1744979"/>
                  <a:gd name="connsiteX2938" fmla="*/ 745808 w 1969770"/>
                  <a:gd name="connsiteY2938" fmla="*/ 345758 h 1744979"/>
                  <a:gd name="connsiteX2939" fmla="*/ 741998 w 1969770"/>
                  <a:gd name="connsiteY2939" fmla="*/ 351473 h 1744979"/>
                  <a:gd name="connsiteX2940" fmla="*/ 738188 w 1969770"/>
                  <a:gd name="connsiteY2940" fmla="*/ 358140 h 1744979"/>
                  <a:gd name="connsiteX2941" fmla="*/ 733425 w 1969770"/>
                  <a:gd name="connsiteY2941" fmla="*/ 363855 h 1744979"/>
                  <a:gd name="connsiteX2942" fmla="*/ 729615 w 1969770"/>
                  <a:gd name="connsiteY2942" fmla="*/ 370523 h 1744979"/>
                  <a:gd name="connsiteX2943" fmla="*/ 725805 w 1969770"/>
                  <a:gd name="connsiteY2943" fmla="*/ 377190 h 1744979"/>
                  <a:gd name="connsiteX2944" fmla="*/ 721995 w 1969770"/>
                  <a:gd name="connsiteY2944" fmla="*/ 383858 h 1744979"/>
                  <a:gd name="connsiteX2945" fmla="*/ 719138 w 1969770"/>
                  <a:gd name="connsiteY2945" fmla="*/ 391478 h 1744979"/>
                  <a:gd name="connsiteX2946" fmla="*/ 716280 w 1969770"/>
                  <a:gd name="connsiteY2946" fmla="*/ 399098 h 1744979"/>
                  <a:gd name="connsiteX2947" fmla="*/ 713423 w 1969770"/>
                  <a:gd name="connsiteY2947" fmla="*/ 406718 h 1744979"/>
                  <a:gd name="connsiteX2948" fmla="*/ 710565 w 1969770"/>
                  <a:gd name="connsiteY2948" fmla="*/ 415290 h 1744979"/>
                  <a:gd name="connsiteX2949" fmla="*/ 707708 w 1969770"/>
                  <a:gd name="connsiteY2949" fmla="*/ 423863 h 1744979"/>
                  <a:gd name="connsiteX2950" fmla="*/ 704850 w 1969770"/>
                  <a:gd name="connsiteY2950" fmla="*/ 432435 h 1744979"/>
                  <a:gd name="connsiteX2951" fmla="*/ 702945 w 1969770"/>
                  <a:gd name="connsiteY2951" fmla="*/ 441008 h 1744979"/>
                  <a:gd name="connsiteX2952" fmla="*/ 701040 w 1969770"/>
                  <a:gd name="connsiteY2952" fmla="*/ 450533 h 1744979"/>
                  <a:gd name="connsiteX2953" fmla="*/ 701040 w 1969770"/>
                  <a:gd name="connsiteY2953" fmla="*/ 450533 h 1744979"/>
                  <a:gd name="connsiteX2954" fmla="*/ 701040 w 1969770"/>
                  <a:gd name="connsiteY2954" fmla="*/ 450533 h 1744979"/>
                  <a:gd name="connsiteX2955" fmla="*/ 701040 w 1969770"/>
                  <a:gd name="connsiteY2955" fmla="*/ 452438 h 1744979"/>
                  <a:gd name="connsiteX2956" fmla="*/ 701040 w 1969770"/>
                  <a:gd name="connsiteY2956" fmla="*/ 454343 h 1744979"/>
                  <a:gd name="connsiteX2957" fmla="*/ 700088 w 1969770"/>
                  <a:gd name="connsiteY2957" fmla="*/ 454343 h 1744979"/>
                  <a:gd name="connsiteX2958" fmla="*/ 698183 w 1969770"/>
                  <a:gd name="connsiteY2958" fmla="*/ 460058 h 1744979"/>
                  <a:gd name="connsiteX2959" fmla="*/ 696278 w 1969770"/>
                  <a:gd name="connsiteY2959" fmla="*/ 465773 h 1744979"/>
                  <a:gd name="connsiteX2960" fmla="*/ 694373 w 1969770"/>
                  <a:gd name="connsiteY2960" fmla="*/ 471488 h 1744979"/>
                  <a:gd name="connsiteX2961" fmla="*/ 691515 w 1969770"/>
                  <a:gd name="connsiteY2961" fmla="*/ 475298 h 1744979"/>
                  <a:gd name="connsiteX2962" fmla="*/ 688658 w 1969770"/>
                  <a:gd name="connsiteY2962" fmla="*/ 479108 h 1744979"/>
                  <a:gd name="connsiteX2963" fmla="*/ 685800 w 1969770"/>
                  <a:gd name="connsiteY2963" fmla="*/ 483870 h 1744979"/>
                  <a:gd name="connsiteX2964" fmla="*/ 681990 w 1969770"/>
                  <a:gd name="connsiteY2964" fmla="*/ 486728 h 1744979"/>
                  <a:gd name="connsiteX2965" fmla="*/ 678180 w 1969770"/>
                  <a:gd name="connsiteY2965" fmla="*/ 489585 h 1744979"/>
                  <a:gd name="connsiteX2966" fmla="*/ 674370 w 1969770"/>
                  <a:gd name="connsiteY2966" fmla="*/ 492443 h 1744979"/>
                  <a:gd name="connsiteX2967" fmla="*/ 670560 w 1969770"/>
                  <a:gd name="connsiteY2967" fmla="*/ 494348 h 1744979"/>
                  <a:gd name="connsiteX2968" fmla="*/ 665798 w 1969770"/>
                  <a:gd name="connsiteY2968" fmla="*/ 496253 h 1744979"/>
                  <a:gd name="connsiteX2969" fmla="*/ 661035 w 1969770"/>
                  <a:gd name="connsiteY2969" fmla="*/ 497205 h 1744979"/>
                  <a:gd name="connsiteX2970" fmla="*/ 656273 w 1969770"/>
                  <a:gd name="connsiteY2970" fmla="*/ 498158 h 1744979"/>
                  <a:gd name="connsiteX2971" fmla="*/ 650558 w 1969770"/>
                  <a:gd name="connsiteY2971" fmla="*/ 499110 h 1744979"/>
                  <a:gd name="connsiteX2972" fmla="*/ 644843 w 1969770"/>
                  <a:gd name="connsiteY2972" fmla="*/ 499110 h 1744979"/>
                  <a:gd name="connsiteX2973" fmla="*/ 639128 w 1969770"/>
                  <a:gd name="connsiteY2973" fmla="*/ 499110 h 1744979"/>
                  <a:gd name="connsiteX2974" fmla="*/ 641985 w 1969770"/>
                  <a:gd name="connsiteY2974" fmla="*/ 499110 h 1744979"/>
                  <a:gd name="connsiteX2975" fmla="*/ 645795 w 1969770"/>
                  <a:gd name="connsiteY2975" fmla="*/ 500063 h 1744979"/>
                  <a:gd name="connsiteX2976" fmla="*/ 649605 w 1969770"/>
                  <a:gd name="connsiteY2976" fmla="*/ 500063 h 1744979"/>
                  <a:gd name="connsiteX2977" fmla="*/ 654368 w 1969770"/>
                  <a:gd name="connsiteY2977" fmla="*/ 500063 h 1744979"/>
                  <a:gd name="connsiteX2978" fmla="*/ 659130 w 1969770"/>
                  <a:gd name="connsiteY2978" fmla="*/ 500063 h 1744979"/>
                  <a:gd name="connsiteX2979" fmla="*/ 664845 w 1969770"/>
                  <a:gd name="connsiteY2979" fmla="*/ 499110 h 1744979"/>
                  <a:gd name="connsiteX2980" fmla="*/ 670560 w 1969770"/>
                  <a:gd name="connsiteY2980" fmla="*/ 498158 h 1744979"/>
                  <a:gd name="connsiteX2981" fmla="*/ 677228 w 1969770"/>
                  <a:gd name="connsiteY2981" fmla="*/ 496253 h 1744979"/>
                  <a:gd name="connsiteX2982" fmla="*/ 676275 w 1969770"/>
                  <a:gd name="connsiteY2982" fmla="*/ 503873 h 1744979"/>
                  <a:gd name="connsiteX2983" fmla="*/ 673418 w 1969770"/>
                  <a:gd name="connsiteY2983" fmla="*/ 511493 h 1744979"/>
                  <a:gd name="connsiteX2984" fmla="*/ 673418 w 1969770"/>
                  <a:gd name="connsiteY2984" fmla="*/ 514350 h 1744979"/>
                  <a:gd name="connsiteX2985" fmla="*/ 672465 w 1969770"/>
                  <a:gd name="connsiteY2985" fmla="*/ 518160 h 1744979"/>
                  <a:gd name="connsiteX2986" fmla="*/ 671513 w 1969770"/>
                  <a:gd name="connsiteY2986" fmla="*/ 521970 h 1744979"/>
                  <a:gd name="connsiteX2987" fmla="*/ 671513 w 1969770"/>
                  <a:gd name="connsiteY2987" fmla="*/ 525780 h 1744979"/>
                  <a:gd name="connsiteX2988" fmla="*/ 673418 w 1969770"/>
                  <a:gd name="connsiteY2988" fmla="*/ 520065 h 1744979"/>
                  <a:gd name="connsiteX2989" fmla="*/ 676275 w 1969770"/>
                  <a:gd name="connsiteY2989" fmla="*/ 514350 h 1744979"/>
                  <a:gd name="connsiteX2990" fmla="*/ 678180 w 1969770"/>
                  <a:gd name="connsiteY2990" fmla="*/ 509588 h 1744979"/>
                  <a:gd name="connsiteX2991" fmla="*/ 681038 w 1969770"/>
                  <a:gd name="connsiteY2991" fmla="*/ 504825 h 1744979"/>
                  <a:gd name="connsiteX2992" fmla="*/ 683895 w 1969770"/>
                  <a:gd name="connsiteY2992" fmla="*/ 500063 h 1744979"/>
                  <a:gd name="connsiteX2993" fmla="*/ 685800 w 1969770"/>
                  <a:gd name="connsiteY2993" fmla="*/ 495300 h 1744979"/>
                  <a:gd name="connsiteX2994" fmla="*/ 688658 w 1969770"/>
                  <a:gd name="connsiteY2994" fmla="*/ 490538 h 1744979"/>
                  <a:gd name="connsiteX2995" fmla="*/ 691515 w 1969770"/>
                  <a:gd name="connsiteY2995" fmla="*/ 486728 h 1744979"/>
                  <a:gd name="connsiteX2996" fmla="*/ 694373 w 1969770"/>
                  <a:gd name="connsiteY2996" fmla="*/ 482918 h 1744979"/>
                  <a:gd name="connsiteX2997" fmla="*/ 697230 w 1969770"/>
                  <a:gd name="connsiteY2997" fmla="*/ 479108 h 1744979"/>
                  <a:gd name="connsiteX2998" fmla="*/ 700088 w 1969770"/>
                  <a:gd name="connsiteY2998" fmla="*/ 476250 h 1744979"/>
                  <a:gd name="connsiteX2999" fmla="*/ 702945 w 1969770"/>
                  <a:gd name="connsiteY2999" fmla="*/ 473393 h 1744979"/>
                  <a:gd name="connsiteX3000" fmla="*/ 706755 w 1969770"/>
                  <a:gd name="connsiteY3000" fmla="*/ 470535 h 1744979"/>
                  <a:gd name="connsiteX3001" fmla="*/ 710565 w 1969770"/>
                  <a:gd name="connsiteY3001" fmla="*/ 468630 h 1744979"/>
                  <a:gd name="connsiteX3002" fmla="*/ 714375 w 1969770"/>
                  <a:gd name="connsiteY3002" fmla="*/ 467678 h 1744979"/>
                  <a:gd name="connsiteX3003" fmla="*/ 718185 w 1969770"/>
                  <a:gd name="connsiteY3003" fmla="*/ 466725 h 1744979"/>
                  <a:gd name="connsiteX3004" fmla="*/ 720090 w 1969770"/>
                  <a:gd name="connsiteY3004" fmla="*/ 466725 h 1744979"/>
                  <a:gd name="connsiteX3005" fmla="*/ 745808 w 1969770"/>
                  <a:gd name="connsiteY3005" fmla="*/ 459105 h 1744979"/>
                  <a:gd name="connsiteX3006" fmla="*/ 755333 w 1969770"/>
                  <a:gd name="connsiteY3006" fmla="*/ 454343 h 1744979"/>
                  <a:gd name="connsiteX3007" fmla="*/ 764858 w 1969770"/>
                  <a:gd name="connsiteY3007" fmla="*/ 449580 h 1744979"/>
                  <a:gd name="connsiteX3008" fmla="*/ 774383 w 1969770"/>
                  <a:gd name="connsiteY3008" fmla="*/ 444818 h 1744979"/>
                  <a:gd name="connsiteX3009" fmla="*/ 782955 w 1969770"/>
                  <a:gd name="connsiteY3009" fmla="*/ 440055 h 1744979"/>
                  <a:gd name="connsiteX3010" fmla="*/ 791528 w 1969770"/>
                  <a:gd name="connsiteY3010" fmla="*/ 435293 h 1744979"/>
                  <a:gd name="connsiteX3011" fmla="*/ 800100 w 1969770"/>
                  <a:gd name="connsiteY3011" fmla="*/ 430530 h 1744979"/>
                  <a:gd name="connsiteX3012" fmla="*/ 808673 w 1969770"/>
                  <a:gd name="connsiteY3012" fmla="*/ 424815 h 1744979"/>
                  <a:gd name="connsiteX3013" fmla="*/ 817245 w 1969770"/>
                  <a:gd name="connsiteY3013" fmla="*/ 419100 h 1744979"/>
                  <a:gd name="connsiteX3014" fmla="*/ 825818 w 1969770"/>
                  <a:gd name="connsiteY3014" fmla="*/ 412433 h 1744979"/>
                  <a:gd name="connsiteX3015" fmla="*/ 833438 w 1969770"/>
                  <a:gd name="connsiteY3015" fmla="*/ 405765 h 1744979"/>
                  <a:gd name="connsiteX3016" fmla="*/ 841058 w 1969770"/>
                  <a:gd name="connsiteY3016" fmla="*/ 399098 h 1744979"/>
                  <a:gd name="connsiteX3017" fmla="*/ 848678 w 1969770"/>
                  <a:gd name="connsiteY3017" fmla="*/ 392430 h 1744979"/>
                  <a:gd name="connsiteX3018" fmla="*/ 856298 w 1969770"/>
                  <a:gd name="connsiteY3018" fmla="*/ 384810 h 1744979"/>
                  <a:gd name="connsiteX3019" fmla="*/ 863918 w 1969770"/>
                  <a:gd name="connsiteY3019" fmla="*/ 377190 h 1744979"/>
                  <a:gd name="connsiteX3020" fmla="*/ 870585 w 1969770"/>
                  <a:gd name="connsiteY3020" fmla="*/ 369570 h 1744979"/>
                  <a:gd name="connsiteX3021" fmla="*/ 877253 w 1969770"/>
                  <a:gd name="connsiteY3021" fmla="*/ 360998 h 1744979"/>
                  <a:gd name="connsiteX3022" fmla="*/ 923925 w 1969770"/>
                  <a:gd name="connsiteY3022" fmla="*/ 332423 h 1744979"/>
                  <a:gd name="connsiteX3023" fmla="*/ 920115 w 1969770"/>
                  <a:gd name="connsiteY3023" fmla="*/ 256223 h 1744979"/>
                  <a:gd name="connsiteX3024" fmla="*/ 920115 w 1969770"/>
                  <a:gd name="connsiteY3024" fmla="*/ 256223 h 1744979"/>
                  <a:gd name="connsiteX3025" fmla="*/ 768668 w 1969770"/>
                  <a:gd name="connsiteY3025" fmla="*/ 376238 h 1744979"/>
                  <a:gd name="connsiteX3026" fmla="*/ 779145 w 1969770"/>
                  <a:gd name="connsiteY3026" fmla="*/ 355283 h 1744979"/>
                  <a:gd name="connsiteX3027" fmla="*/ 795338 w 1969770"/>
                  <a:gd name="connsiteY3027" fmla="*/ 355283 h 1744979"/>
                  <a:gd name="connsiteX3028" fmla="*/ 785813 w 1969770"/>
                  <a:gd name="connsiteY3028" fmla="*/ 372428 h 1744979"/>
                  <a:gd name="connsiteX3029" fmla="*/ 768668 w 1969770"/>
                  <a:gd name="connsiteY3029" fmla="*/ 376238 h 1744979"/>
                  <a:gd name="connsiteX3030" fmla="*/ 768668 w 1969770"/>
                  <a:gd name="connsiteY3030" fmla="*/ 376238 h 1744979"/>
                  <a:gd name="connsiteX3031" fmla="*/ 985838 w 1969770"/>
                  <a:gd name="connsiteY3031" fmla="*/ 0 h 1744979"/>
                  <a:gd name="connsiteX3032" fmla="*/ 971550 w 1969770"/>
                  <a:gd name="connsiteY3032" fmla="*/ 0 h 1744979"/>
                  <a:gd name="connsiteX3033" fmla="*/ 957263 w 1969770"/>
                  <a:gd name="connsiteY3033" fmla="*/ 5715 h 1744979"/>
                  <a:gd name="connsiteX3034" fmla="*/ 948690 w 1969770"/>
                  <a:gd name="connsiteY3034" fmla="*/ 11430 h 1744979"/>
                  <a:gd name="connsiteX3035" fmla="*/ 940118 w 1969770"/>
                  <a:gd name="connsiteY3035" fmla="*/ 20003 h 1744979"/>
                  <a:gd name="connsiteX3036" fmla="*/ 934403 w 1969770"/>
                  <a:gd name="connsiteY3036" fmla="*/ 31433 h 1744979"/>
                  <a:gd name="connsiteX3037" fmla="*/ 931545 w 1969770"/>
                  <a:gd name="connsiteY3037" fmla="*/ 42863 h 1744979"/>
                  <a:gd name="connsiteX3038" fmla="*/ 928688 w 1969770"/>
                  <a:gd name="connsiteY3038" fmla="*/ 68580 h 1744979"/>
                  <a:gd name="connsiteX3039" fmla="*/ 928688 w 1969770"/>
                  <a:gd name="connsiteY3039" fmla="*/ 97155 h 1744979"/>
                  <a:gd name="connsiteX3040" fmla="*/ 934403 w 1969770"/>
                  <a:gd name="connsiteY3040" fmla="*/ 125730 h 1744979"/>
                  <a:gd name="connsiteX3041" fmla="*/ 942975 w 1969770"/>
                  <a:gd name="connsiteY3041" fmla="*/ 171450 h 1744979"/>
                  <a:gd name="connsiteX3042" fmla="*/ 951548 w 1969770"/>
                  <a:gd name="connsiteY3042" fmla="*/ 530543 h 1744979"/>
                  <a:gd name="connsiteX3043" fmla="*/ 988695 w 1969770"/>
                  <a:gd name="connsiteY3043" fmla="*/ 521970 h 1744979"/>
                  <a:gd name="connsiteX3044" fmla="*/ 1017270 w 1969770"/>
                  <a:gd name="connsiteY3044" fmla="*/ 516255 h 1744979"/>
                  <a:gd name="connsiteX3045" fmla="*/ 1025843 w 1969770"/>
                  <a:gd name="connsiteY3045" fmla="*/ 171450 h 1744979"/>
                  <a:gd name="connsiteX3046" fmla="*/ 1034415 w 1969770"/>
                  <a:gd name="connsiteY3046" fmla="*/ 125730 h 1744979"/>
                  <a:gd name="connsiteX3047" fmla="*/ 1037273 w 1969770"/>
                  <a:gd name="connsiteY3047" fmla="*/ 97155 h 1744979"/>
                  <a:gd name="connsiteX3048" fmla="*/ 1040130 w 1969770"/>
                  <a:gd name="connsiteY3048" fmla="*/ 68580 h 1744979"/>
                  <a:gd name="connsiteX3049" fmla="*/ 1040130 w 1969770"/>
                  <a:gd name="connsiteY3049" fmla="*/ 42863 h 1744979"/>
                  <a:gd name="connsiteX3050" fmla="*/ 1033463 w 1969770"/>
                  <a:gd name="connsiteY3050" fmla="*/ 28575 h 1744979"/>
                  <a:gd name="connsiteX3051" fmla="*/ 1030605 w 1969770"/>
                  <a:gd name="connsiteY3051" fmla="*/ 20003 h 1744979"/>
                  <a:gd name="connsiteX3052" fmla="*/ 1022033 w 1969770"/>
                  <a:gd name="connsiteY3052" fmla="*/ 11430 h 1744979"/>
                  <a:gd name="connsiteX3053" fmla="*/ 1013460 w 1969770"/>
                  <a:gd name="connsiteY3053" fmla="*/ 5715 h 1744979"/>
                  <a:gd name="connsiteX3054" fmla="*/ 1000125 w 1969770"/>
                  <a:gd name="connsiteY3054" fmla="*/ 0 h 1744979"/>
                  <a:gd name="connsiteX3055" fmla="*/ 985838 w 1969770"/>
                  <a:gd name="connsiteY3055" fmla="*/ 0 h 1744979"/>
                  <a:gd name="connsiteX3056" fmla="*/ 985838 w 1969770"/>
                  <a:gd name="connsiteY3056" fmla="*/ 0 h 1744979"/>
                  <a:gd name="connsiteX3057" fmla="*/ 1119188 w 1969770"/>
                  <a:gd name="connsiteY3057" fmla="*/ 225743 h 1744979"/>
                  <a:gd name="connsiteX3058" fmla="*/ 1124903 w 1969770"/>
                  <a:gd name="connsiteY3058" fmla="*/ 220028 h 1744979"/>
                  <a:gd name="connsiteX3059" fmla="*/ 1112520 w 1969770"/>
                  <a:gd name="connsiteY3059" fmla="*/ 214313 h 1744979"/>
                  <a:gd name="connsiteX3060" fmla="*/ 1077278 w 1969770"/>
                  <a:gd name="connsiteY3060" fmla="*/ 214313 h 1744979"/>
                  <a:gd name="connsiteX3061" fmla="*/ 1068705 w 1969770"/>
                  <a:gd name="connsiteY3061" fmla="*/ 220028 h 1744979"/>
                  <a:gd name="connsiteX3062" fmla="*/ 1047750 w 1969770"/>
                  <a:gd name="connsiteY3062" fmla="*/ 217170 h 1744979"/>
                  <a:gd name="connsiteX3063" fmla="*/ 1047750 w 1969770"/>
                  <a:gd name="connsiteY3063" fmla="*/ 222885 h 1744979"/>
                  <a:gd name="connsiteX3064" fmla="*/ 1082993 w 1969770"/>
                  <a:gd name="connsiteY3064" fmla="*/ 225743 h 1744979"/>
                  <a:gd name="connsiteX3065" fmla="*/ 1101090 w 1969770"/>
                  <a:gd name="connsiteY3065" fmla="*/ 225743 h 1744979"/>
                  <a:gd name="connsiteX3066" fmla="*/ 1119188 w 1969770"/>
                  <a:gd name="connsiteY3066" fmla="*/ 225743 h 1744979"/>
                  <a:gd name="connsiteX3067" fmla="*/ 1119188 w 1969770"/>
                  <a:gd name="connsiteY3067" fmla="*/ 225743 h 1744979"/>
                  <a:gd name="connsiteX3068" fmla="*/ 1051560 w 1969770"/>
                  <a:gd name="connsiteY3068" fmla="*/ 945833 h 1744979"/>
                  <a:gd name="connsiteX3069" fmla="*/ 1051560 w 1969770"/>
                  <a:gd name="connsiteY3069" fmla="*/ 942975 h 1744979"/>
                  <a:gd name="connsiteX3070" fmla="*/ 1045845 w 1969770"/>
                  <a:gd name="connsiteY3070" fmla="*/ 937260 h 1744979"/>
                  <a:gd name="connsiteX3071" fmla="*/ 1033463 w 1969770"/>
                  <a:gd name="connsiteY3071" fmla="*/ 928688 h 1744979"/>
                  <a:gd name="connsiteX3072" fmla="*/ 1030605 w 1969770"/>
                  <a:gd name="connsiteY3072" fmla="*/ 928688 h 1744979"/>
                  <a:gd name="connsiteX3073" fmla="*/ 1030605 w 1969770"/>
                  <a:gd name="connsiteY3073" fmla="*/ 968693 h 1744979"/>
                  <a:gd name="connsiteX3074" fmla="*/ 1045845 w 1969770"/>
                  <a:gd name="connsiteY3074" fmla="*/ 957263 h 1744979"/>
                  <a:gd name="connsiteX3075" fmla="*/ 1051560 w 1969770"/>
                  <a:gd name="connsiteY3075" fmla="*/ 951548 h 1744979"/>
                  <a:gd name="connsiteX3076" fmla="*/ 1051560 w 1969770"/>
                  <a:gd name="connsiteY3076" fmla="*/ 945833 h 1744979"/>
                  <a:gd name="connsiteX3077" fmla="*/ 1051560 w 1969770"/>
                  <a:gd name="connsiteY3077" fmla="*/ 945833 h 1744979"/>
                  <a:gd name="connsiteX3078" fmla="*/ 1476375 w 1969770"/>
                  <a:gd name="connsiteY3078" fmla="*/ 576263 h 1744979"/>
                  <a:gd name="connsiteX3079" fmla="*/ 1476375 w 1969770"/>
                  <a:gd name="connsiteY3079" fmla="*/ 576263 h 1744979"/>
                  <a:gd name="connsiteX3080" fmla="*/ 1481138 w 1969770"/>
                  <a:gd name="connsiteY3080" fmla="*/ 578168 h 1744979"/>
                  <a:gd name="connsiteX3081" fmla="*/ 1483995 w 1969770"/>
                  <a:gd name="connsiteY3081" fmla="*/ 572453 h 1744979"/>
                  <a:gd name="connsiteX3082" fmla="*/ 1463993 w 1969770"/>
                  <a:gd name="connsiteY3082" fmla="*/ 538163 h 1744979"/>
                  <a:gd name="connsiteX3083" fmla="*/ 1441133 w 1969770"/>
                  <a:gd name="connsiteY3083" fmla="*/ 503873 h 1744979"/>
                  <a:gd name="connsiteX3084" fmla="*/ 1422083 w 1969770"/>
                  <a:gd name="connsiteY3084" fmla="*/ 488633 h 1744979"/>
                  <a:gd name="connsiteX3085" fmla="*/ 1412558 w 1969770"/>
                  <a:gd name="connsiteY3085" fmla="*/ 477203 h 1744979"/>
                  <a:gd name="connsiteX3086" fmla="*/ 1403033 w 1969770"/>
                  <a:gd name="connsiteY3086" fmla="*/ 465773 h 1744979"/>
                  <a:gd name="connsiteX3087" fmla="*/ 1393508 w 1969770"/>
                  <a:gd name="connsiteY3087" fmla="*/ 455295 h 1744979"/>
                  <a:gd name="connsiteX3088" fmla="*/ 1383983 w 1969770"/>
                  <a:gd name="connsiteY3088" fmla="*/ 444818 h 1744979"/>
                  <a:gd name="connsiteX3089" fmla="*/ 1462088 w 1969770"/>
                  <a:gd name="connsiteY3089" fmla="*/ 366713 h 1744979"/>
                  <a:gd name="connsiteX3090" fmla="*/ 1472565 w 1969770"/>
                  <a:gd name="connsiteY3090" fmla="*/ 377190 h 1744979"/>
                  <a:gd name="connsiteX3091" fmla="*/ 1482090 w 1969770"/>
                  <a:gd name="connsiteY3091" fmla="*/ 388620 h 1744979"/>
                  <a:gd name="connsiteX3092" fmla="*/ 1491615 w 1969770"/>
                  <a:gd name="connsiteY3092" fmla="*/ 400050 h 1744979"/>
                  <a:gd name="connsiteX3093" fmla="*/ 1501140 w 1969770"/>
                  <a:gd name="connsiteY3093" fmla="*/ 411480 h 1744979"/>
                  <a:gd name="connsiteX3094" fmla="*/ 1510665 w 1969770"/>
                  <a:gd name="connsiteY3094" fmla="*/ 423863 h 1744979"/>
                  <a:gd name="connsiteX3095" fmla="*/ 1520190 w 1969770"/>
                  <a:gd name="connsiteY3095" fmla="*/ 436245 h 1744979"/>
                  <a:gd name="connsiteX3096" fmla="*/ 1528763 w 1969770"/>
                  <a:gd name="connsiteY3096" fmla="*/ 448628 h 1744979"/>
                  <a:gd name="connsiteX3097" fmla="*/ 1537335 w 1969770"/>
                  <a:gd name="connsiteY3097" fmla="*/ 461010 h 1744979"/>
                  <a:gd name="connsiteX3098" fmla="*/ 1544955 w 1969770"/>
                  <a:gd name="connsiteY3098" fmla="*/ 473393 h 1744979"/>
                  <a:gd name="connsiteX3099" fmla="*/ 1552575 w 1969770"/>
                  <a:gd name="connsiteY3099" fmla="*/ 486728 h 1744979"/>
                  <a:gd name="connsiteX3100" fmla="*/ 1560195 w 1969770"/>
                  <a:gd name="connsiteY3100" fmla="*/ 500063 h 1744979"/>
                  <a:gd name="connsiteX3101" fmla="*/ 1567815 w 1969770"/>
                  <a:gd name="connsiteY3101" fmla="*/ 513398 h 1744979"/>
                  <a:gd name="connsiteX3102" fmla="*/ 1574483 w 1969770"/>
                  <a:gd name="connsiteY3102" fmla="*/ 526733 h 1744979"/>
                  <a:gd name="connsiteX3103" fmla="*/ 1581150 w 1969770"/>
                  <a:gd name="connsiteY3103" fmla="*/ 540068 h 1744979"/>
                  <a:gd name="connsiteX3104" fmla="*/ 1587818 w 1969770"/>
                  <a:gd name="connsiteY3104" fmla="*/ 554355 h 1744979"/>
                  <a:gd name="connsiteX3105" fmla="*/ 1593533 w 1969770"/>
                  <a:gd name="connsiteY3105" fmla="*/ 567690 h 1744979"/>
                  <a:gd name="connsiteX3106" fmla="*/ 1599248 w 1969770"/>
                  <a:gd name="connsiteY3106" fmla="*/ 581978 h 1744979"/>
                  <a:gd name="connsiteX3107" fmla="*/ 1604963 w 1969770"/>
                  <a:gd name="connsiteY3107" fmla="*/ 596265 h 1744979"/>
                  <a:gd name="connsiteX3108" fmla="*/ 1609725 w 1969770"/>
                  <a:gd name="connsiteY3108" fmla="*/ 610553 h 1744979"/>
                  <a:gd name="connsiteX3109" fmla="*/ 1614488 w 1969770"/>
                  <a:gd name="connsiteY3109" fmla="*/ 624840 h 1744979"/>
                  <a:gd name="connsiteX3110" fmla="*/ 1619250 w 1969770"/>
                  <a:gd name="connsiteY3110" fmla="*/ 640080 h 1744979"/>
                  <a:gd name="connsiteX3111" fmla="*/ 1623060 w 1969770"/>
                  <a:gd name="connsiteY3111" fmla="*/ 654368 h 1744979"/>
                  <a:gd name="connsiteX3112" fmla="*/ 1626870 w 1969770"/>
                  <a:gd name="connsiteY3112" fmla="*/ 669608 h 1744979"/>
                  <a:gd name="connsiteX3113" fmla="*/ 1630680 w 1969770"/>
                  <a:gd name="connsiteY3113" fmla="*/ 684848 h 1744979"/>
                  <a:gd name="connsiteX3114" fmla="*/ 1633538 w 1969770"/>
                  <a:gd name="connsiteY3114" fmla="*/ 700088 h 1744979"/>
                  <a:gd name="connsiteX3115" fmla="*/ 1636395 w 1969770"/>
                  <a:gd name="connsiteY3115" fmla="*/ 715328 h 1744979"/>
                  <a:gd name="connsiteX3116" fmla="*/ 1639253 w 1969770"/>
                  <a:gd name="connsiteY3116" fmla="*/ 730568 h 1744979"/>
                  <a:gd name="connsiteX3117" fmla="*/ 1641158 w 1969770"/>
                  <a:gd name="connsiteY3117" fmla="*/ 746760 h 1744979"/>
                  <a:gd name="connsiteX3118" fmla="*/ 1643063 w 1969770"/>
                  <a:gd name="connsiteY3118" fmla="*/ 762953 h 1744979"/>
                  <a:gd name="connsiteX3119" fmla="*/ 1644015 w 1969770"/>
                  <a:gd name="connsiteY3119" fmla="*/ 779145 h 1744979"/>
                  <a:gd name="connsiteX3120" fmla="*/ 1644968 w 1969770"/>
                  <a:gd name="connsiteY3120" fmla="*/ 795338 h 1744979"/>
                  <a:gd name="connsiteX3121" fmla="*/ 1644968 w 1969770"/>
                  <a:gd name="connsiteY3121" fmla="*/ 811530 h 1744979"/>
                  <a:gd name="connsiteX3122" fmla="*/ 1534478 w 1969770"/>
                  <a:gd name="connsiteY3122" fmla="*/ 811530 h 1744979"/>
                  <a:gd name="connsiteX3123" fmla="*/ 1533525 w 1969770"/>
                  <a:gd name="connsiteY3123" fmla="*/ 795338 h 1744979"/>
                  <a:gd name="connsiteX3124" fmla="*/ 1532573 w 1969770"/>
                  <a:gd name="connsiteY3124" fmla="*/ 779145 h 1744979"/>
                  <a:gd name="connsiteX3125" fmla="*/ 1531620 w 1969770"/>
                  <a:gd name="connsiteY3125" fmla="*/ 763905 h 1744979"/>
                  <a:gd name="connsiteX3126" fmla="*/ 1529715 w 1969770"/>
                  <a:gd name="connsiteY3126" fmla="*/ 748665 h 1744979"/>
                  <a:gd name="connsiteX3127" fmla="*/ 1527810 w 1969770"/>
                  <a:gd name="connsiteY3127" fmla="*/ 733425 h 1744979"/>
                  <a:gd name="connsiteX3128" fmla="*/ 1524953 w 1969770"/>
                  <a:gd name="connsiteY3128" fmla="*/ 718185 h 1744979"/>
                  <a:gd name="connsiteX3129" fmla="*/ 1522095 w 1969770"/>
                  <a:gd name="connsiteY3129" fmla="*/ 702945 h 1744979"/>
                  <a:gd name="connsiteX3130" fmla="*/ 1518285 w 1969770"/>
                  <a:gd name="connsiteY3130" fmla="*/ 688658 h 1744979"/>
                  <a:gd name="connsiteX3131" fmla="*/ 1514475 w 1969770"/>
                  <a:gd name="connsiteY3131" fmla="*/ 673418 h 1744979"/>
                  <a:gd name="connsiteX3132" fmla="*/ 1510665 w 1969770"/>
                  <a:gd name="connsiteY3132" fmla="*/ 659130 h 1744979"/>
                  <a:gd name="connsiteX3133" fmla="*/ 1505903 w 1969770"/>
                  <a:gd name="connsiteY3133" fmla="*/ 644843 h 1744979"/>
                  <a:gd name="connsiteX3134" fmla="*/ 1500188 w 1969770"/>
                  <a:gd name="connsiteY3134" fmla="*/ 630555 h 1744979"/>
                  <a:gd name="connsiteX3135" fmla="*/ 1494473 w 1969770"/>
                  <a:gd name="connsiteY3135" fmla="*/ 616268 h 1744979"/>
                  <a:gd name="connsiteX3136" fmla="*/ 1488758 w 1969770"/>
                  <a:gd name="connsiteY3136" fmla="*/ 602933 h 1744979"/>
                  <a:gd name="connsiteX3137" fmla="*/ 1483043 w 1969770"/>
                  <a:gd name="connsiteY3137" fmla="*/ 589598 h 1744979"/>
                  <a:gd name="connsiteX3138" fmla="*/ 1476375 w 1969770"/>
                  <a:gd name="connsiteY3138" fmla="*/ 576263 h 1744979"/>
                  <a:gd name="connsiteX3139" fmla="*/ 1476375 w 1969770"/>
                  <a:gd name="connsiteY3139" fmla="*/ 576263 h 1744979"/>
                  <a:gd name="connsiteX3140" fmla="*/ 1319213 w 1969770"/>
                  <a:gd name="connsiteY3140" fmla="*/ 510540 h 1744979"/>
                  <a:gd name="connsiteX3141" fmla="*/ 1319213 w 1969770"/>
                  <a:gd name="connsiteY3141" fmla="*/ 510540 h 1744979"/>
                  <a:gd name="connsiteX3142" fmla="*/ 1319213 w 1969770"/>
                  <a:gd name="connsiteY3142" fmla="*/ 510540 h 1744979"/>
                  <a:gd name="connsiteX3143" fmla="*/ 1346835 w 1969770"/>
                  <a:gd name="connsiteY3143" fmla="*/ 514350 h 1744979"/>
                  <a:gd name="connsiteX3144" fmla="*/ 1352550 w 1969770"/>
                  <a:gd name="connsiteY3144" fmla="*/ 522923 h 1744979"/>
                  <a:gd name="connsiteX3145" fmla="*/ 1349693 w 1969770"/>
                  <a:gd name="connsiteY3145" fmla="*/ 534353 h 1744979"/>
                  <a:gd name="connsiteX3146" fmla="*/ 1386840 w 1969770"/>
                  <a:gd name="connsiteY3146" fmla="*/ 557213 h 1744979"/>
                  <a:gd name="connsiteX3147" fmla="*/ 1392555 w 1969770"/>
                  <a:gd name="connsiteY3147" fmla="*/ 554355 h 1744979"/>
                  <a:gd name="connsiteX3148" fmla="*/ 1440180 w 1969770"/>
                  <a:gd name="connsiteY3148" fmla="*/ 611505 h 1744979"/>
                  <a:gd name="connsiteX3149" fmla="*/ 1459230 w 1969770"/>
                  <a:gd name="connsiteY3149" fmla="*/ 603885 h 1744979"/>
                  <a:gd name="connsiteX3150" fmla="*/ 1460183 w 1969770"/>
                  <a:gd name="connsiteY3150" fmla="*/ 602933 h 1744979"/>
                  <a:gd name="connsiteX3151" fmla="*/ 1460183 w 1969770"/>
                  <a:gd name="connsiteY3151" fmla="*/ 601980 h 1744979"/>
                  <a:gd name="connsiteX3152" fmla="*/ 1465898 w 1969770"/>
                  <a:gd name="connsiteY3152" fmla="*/ 614363 h 1744979"/>
                  <a:gd name="connsiteX3153" fmla="*/ 1471613 w 1969770"/>
                  <a:gd name="connsiteY3153" fmla="*/ 626745 h 1744979"/>
                  <a:gd name="connsiteX3154" fmla="*/ 1476375 w 1969770"/>
                  <a:gd name="connsiteY3154" fmla="*/ 639128 h 1744979"/>
                  <a:gd name="connsiteX3155" fmla="*/ 1481138 w 1969770"/>
                  <a:gd name="connsiteY3155" fmla="*/ 651510 h 1744979"/>
                  <a:gd name="connsiteX3156" fmla="*/ 1484948 w 1969770"/>
                  <a:gd name="connsiteY3156" fmla="*/ 664845 h 1744979"/>
                  <a:gd name="connsiteX3157" fmla="*/ 1488758 w 1969770"/>
                  <a:gd name="connsiteY3157" fmla="*/ 677228 h 1744979"/>
                  <a:gd name="connsiteX3158" fmla="*/ 1492568 w 1969770"/>
                  <a:gd name="connsiteY3158" fmla="*/ 690563 h 1744979"/>
                  <a:gd name="connsiteX3159" fmla="*/ 1495425 w 1969770"/>
                  <a:gd name="connsiteY3159" fmla="*/ 703898 h 1744979"/>
                  <a:gd name="connsiteX3160" fmla="*/ 1498283 w 1969770"/>
                  <a:gd name="connsiteY3160" fmla="*/ 717233 h 1744979"/>
                  <a:gd name="connsiteX3161" fmla="*/ 1501140 w 1969770"/>
                  <a:gd name="connsiteY3161" fmla="*/ 730568 h 1744979"/>
                  <a:gd name="connsiteX3162" fmla="*/ 1503045 w 1969770"/>
                  <a:gd name="connsiteY3162" fmla="*/ 743903 h 1744979"/>
                  <a:gd name="connsiteX3163" fmla="*/ 1504950 w 1969770"/>
                  <a:gd name="connsiteY3163" fmla="*/ 757238 h 1744979"/>
                  <a:gd name="connsiteX3164" fmla="*/ 1505903 w 1969770"/>
                  <a:gd name="connsiteY3164" fmla="*/ 770573 h 1744979"/>
                  <a:gd name="connsiteX3165" fmla="*/ 1506855 w 1969770"/>
                  <a:gd name="connsiteY3165" fmla="*/ 784860 h 1744979"/>
                  <a:gd name="connsiteX3166" fmla="*/ 1507808 w 1969770"/>
                  <a:gd name="connsiteY3166" fmla="*/ 798195 h 1744979"/>
                  <a:gd name="connsiteX3167" fmla="*/ 1508760 w 1969770"/>
                  <a:gd name="connsiteY3167" fmla="*/ 812483 h 1744979"/>
                  <a:gd name="connsiteX3168" fmla="*/ 1398270 w 1969770"/>
                  <a:gd name="connsiteY3168" fmla="*/ 812483 h 1744979"/>
                  <a:gd name="connsiteX3169" fmla="*/ 1397318 w 1969770"/>
                  <a:gd name="connsiteY3169" fmla="*/ 802005 h 1744979"/>
                  <a:gd name="connsiteX3170" fmla="*/ 1396365 w 1969770"/>
                  <a:gd name="connsiteY3170" fmla="*/ 791528 h 1744979"/>
                  <a:gd name="connsiteX3171" fmla="*/ 1395413 w 1969770"/>
                  <a:gd name="connsiteY3171" fmla="*/ 781050 h 1744979"/>
                  <a:gd name="connsiteX3172" fmla="*/ 1394460 w 1969770"/>
                  <a:gd name="connsiteY3172" fmla="*/ 770573 h 1744979"/>
                  <a:gd name="connsiteX3173" fmla="*/ 1393508 w 1969770"/>
                  <a:gd name="connsiteY3173" fmla="*/ 760095 h 1744979"/>
                  <a:gd name="connsiteX3174" fmla="*/ 1391603 w 1969770"/>
                  <a:gd name="connsiteY3174" fmla="*/ 749618 h 1744979"/>
                  <a:gd name="connsiteX3175" fmla="*/ 1389698 w 1969770"/>
                  <a:gd name="connsiteY3175" fmla="*/ 739140 h 1744979"/>
                  <a:gd name="connsiteX3176" fmla="*/ 1386840 w 1969770"/>
                  <a:gd name="connsiteY3176" fmla="*/ 728663 h 1744979"/>
                  <a:gd name="connsiteX3177" fmla="*/ 1390650 w 1969770"/>
                  <a:gd name="connsiteY3177" fmla="*/ 725805 h 1744979"/>
                  <a:gd name="connsiteX3178" fmla="*/ 1396365 w 1969770"/>
                  <a:gd name="connsiteY3178" fmla="*/ 691515 h 1744979"/>
                  <a:gd name="connsiteX3179" fmla="*/ 1390650 w 1969770"/>
                  <a:gd name="connsiteY3179" fmla="*/ 651510 h 1744979"/>
                  <a:gd name="connsiteX3180" fmla="*/ 1379220 w 1969770"/>
                  <a:gd name="connsiteY3180" fmla="*/ 608648 h 1744979"/>
                  <a:gd name="connsiteX3181" fmla="*/ 1347788 w 1969770"/>
                  <a:gd name="connsiteY3181" fmla="*/ 562928 h 1744979"/>
                  <a:gd name="connsiteX3182" fmla="*/ 1353503 w 1969770"/>
                  <a:gd name="connsiteY3182" fmla="*/ 565785 h 1744979"/>
                  <a:gd name="connsiteX3183" fmla="*/ 1362075 w 1969770"/>
                  <a:gd name="connsiteY3183" fmla="*/ 561975 h 1744979"/>
                  <a:gd name="connsiteX3184" fmla="*/ 1336358 w 1969770"/>
                  <a:gd name="connsiteY3184" fmla="*/ 544830 h 1744979"/>
                  <a:gd name="connsiteX3185" fmla="*/ 1333500 w 1969770"/>
                  <a:gd name="connsiteY3185" fmla="*/ 550545 h 1744979"/>
                  <a:gd name="connsiteX3186" fmla="*/ 1359218 w 1969770"/>
                  <a:gd name="connsiteY3186" fmla="*/ 587693 h 1744979"/>
                  <a:gd name="connsiteX3187" fmla="*/ 1373505 w 1969770"/>
                  <a:gd name="connsiteY3187" fmla="*/ 616268 h 1744979"/>
                  <a:gd name="connsiteX3188" fmla="*/ 1384935 w 1969770"/>
                  <a:gd name="connsiteY3188" fmla="*/ 644843 h 1744979"/>
                  <a:gd name="connsiteX3189" fmla="*/ 1387793 w 1969770"/>
                  <a:gd name="connsiteY3189" fmla="*/ 664845 h 1744979"/>
                  <a:gd name="connsiteX3190" fmla="*/ 1393508 w 1969770"/>
                  <a:gd name="connsiteY3190" fmla="*/ 699135 h 1744979"/>
                  <a:gd name="connsiteX3191" fmla="*/ 1382078 w 1969770"/>
                  <a:gd name="connsiteY3191" fmla="*/ 699135 h 1744979"/>
                  <a:gd name="connsiteX3192" fmla="*/ 1379220 w 1969770"/>
                  <a:gd name="connsiteY3192" fmla="*/ 691515 h 1744979"/>
                  <a:gd name="connsiteX3193" fmla="*/ 1376363 w 1969770"/>
                  <a:gd name="connsiteY3193" fmla="*/ 683895 h 1744979"/>
                  <a:gd name="connsiteX3194" fmla="*/ 1373505 w 1969770"/>
                  <a:gd name="connsiteY3194" fmla="*/ 675323 h 1744979"/>
                  <a:gd name="connsiteX3195" fmla="*/ 1370648 w 1969770"/>
                  <a:gd name="connsiteY3195" fmla="*/ 667703 h 1744979"/>
                  <a:gd name="connsiteX3196" fmla="*/ 1373505 w 1969770"/>
                  <a:gd name="connsiteY3196" fmla="*/ 662940 h 1744979"/>
                  <a:gd name="connsiteX3197" fmla="*/ 1364933 w 1969770"/>
                  <a:gd name="connsiteY3197" fmla="*/ 651510 h 1744979"/>
                  <a:gd name="connsiteX3198" fmla="*/ 1364933 w 1969770"/>
                  <a:gd name="connsiteY3198" fmla="*/ 637223 h 1744979"/>
                  <a:gd name="connsiteX3199" fmla="*/ 1356360 w 1969770"/>
                  <a:gd name="connsiteY3199" fmla="*/ 628650 h 1744979"/>
                  <a:gd name="connsiteX3200" fmla="*/ 1352550 w 1969770"/>
                  <a:gd name="connsiteY3200" fmla="*/ 628650 h 1744979"/>
                  <a:gd name="connsiteX3201" fmla="*/ 1350645 w 1969770"/>
                  <a:gd name="connsiteY3201" fmla="*/ 624840 h 1744979"/>
                  <a:gd name="connsiteX3202" fmla="*/ 1348740 w 1969770"/>
                  <a:gd name="connsiteY3202" fmla="*/ 621030 h 1744979"/>
                  <a:gd name="connsiteX3203" fmla="*/ 1346835 w 1969770"/>
                  <a:gd name="connsiteY3203" fmla="*/ 617220 h 1744979"/>
                  <a:gd name="connsiteX3204" fmla="*/ 1344930 w 1969770"/>
                  <a:gd name="connsiteY3204" fmla="*/ 613410 h 1744979"/>
                  <a:gd name="connsiteX3205" fmla="*/ 1345883 w 1969770"/>
                  <a:gd name="connsiteY3205" fmla="*/ 613410 h 1744979"/>
                  <a:gd name="connsiteX3206" fmla="*/ 1347788 w 1969770"/>
                  <a:gd name="connsiteY3206" fmla="*/ 613410 h 1744979"/>
                  <a:gd name="connsiteX3207" fmla="*/ 1344930 w 1969770"/>
                  <a:gd name="connsiteY3207" fmla="*/ 604838 h 1744979"/>
                  <a:gd name="connsiteX3208" fmla="*/ 1350645 w 1969770"/>
                  <a:gd name="connsiteY3208" fmla="*/ 601980 h 1744979"/>
                  <a:gd name="connsiteX3209" fmla="*/ 1347788 w 1969770"/>
                  <a:gd name="connsiteY3209" fmla="*/ 596265 h 1744979"/>
                  <a:gd name="connsiteX3210" fmla="*/ 1337310 w 1969770"/>
                  <a:gd name="connsiteY3210" fmla="*/ 601980 h 1744979"/>
                  <a:gd name="connsiteX3211" fmla="*/ 1337310 w 1969770"/>
                  <a:gd name="connsiteY3211" fmla="*/ 601028 h 1744979"/>
                  <a:gd name="connsiteX3212" fmla="*/ 1343025 w 1969770"/>
                  <a:gd name="connsiteY3212" fmla="*/ 584835 h 1744979"/>
                  <a:gd name="connsiteX3213" fmla="*/ 1334453 w 1969770"/>
                  <a:gd name="connsiteY3213" fmla="*/ 581978 h 1744979"/>
                  <a:gd name="connsiteX3214" fmla="*/ 1330643 w 1969770"/>
                  <a:gd name="connsiteY3214" fmla="*/ 589598 h 1744979"/>
                  <a:gd name="connsiteX3215" fmla="*/ 1321118 w 1969770"/>
                  <a:gd name="connsiteY3215" fmla="*/ 576263 h 1744979"/>
                  <a:gd name="connsiteX3216" fmla="*/ 1311593 w 1969770"/>
                  <a:gd name="connsiteY3216" fmla="*/ 563880 h 1744979"/>
                  <a:gd name="connsiteX3217" fmla="*/ 1301115 w 1969770"/>
                  <a:gd name="connsiteY3217" fmla="*/ 551498 h 1744979"/>
                  <a:gd name="connsiteX3218" fmla="*/ 1290638 w 1969770"/>
                  <a:gd name="connsiteY3218" fmla="*/ 540068 h 1744979"/>
                  <a:gd name="connsiteX3219" fmla="*/ 1319213 w 1969770"/>
                  <a:gd name="connsiteY3219" fmla="*/ 510540 h 1744979"/>
                  <a:gd name="connsiteX3220" fmla="*/ 1319213 w 1969770"/>
                  <a:gd name="connsiteY3220" fmla="*/ 510540 h 1744979"/>
                  <a:gd name="connsiteX3221" fmla="*/ 1271588 w 1969770"/>
                  <a:gd name="connsiteY3221" fmla="*/ 557213 h 1744979"/>
                  <a:gd name="connsiteX3222" fmla="*/ 1272540 w 1969770"/>
                  <a:gd name="connsiteY3222" fmla="*/ 558165 h 1744979"/>
                  <a:gd name="connsiteX3223" fmla="*/ 1273493 w 1969770"/>
                  <a:gd name="connsiteY3223" fmla="*/ 557213 h 1744979"/>
                  <a:gd name="connsiteX3224" fmla="*/ 1287780 w 1969770"/>
                  <a:gd name="connsiteY3224" fmla="*/ 575310 h 1744979"/>
                  <a:gd name="connsiteX3225" fmla="*/ 1288733 w 1969770"/>
                  <a:gd name="connsiteY3225" fmla="*/ 574358 h 1744979"/>
                  <a:gd name="connsiteX3226" fmla="*/ 1298258 w 1969770"/>
                  <a:gd name="connsiteY3226" fmla="*/ 585788 h 1744979"/>
                  <a:gd name="connsiteX3227" fmla="*/ 1306830 w 1969770"/>
                  <a:gd name="connsiteY3227" fmla="*/ 598170 h 1744979"/>
                  <a:gd name="connsiteX3228" fmla="*/ 1314450 w 1969770"/>
                  <a:gd name="connsiteY3228" fmla="*/ 610553 h 1744979"/>
                  <a:gd name="connsiteX3229" fmla="*/ 1322070 w 1969770"/>
                  <a:gd name="connsiteY3229" fmla="*/ 622935 h 1744979"/>
                  <a:gd name="connsiteX3230" fmla="*/ 1321118 w 1969770"/>
                  <a:gd name="connsiteY3230" fmla="*/ 622935 h 1744979"/>
                  <a:gd name="connsiteX3231" fmla="*/ 1321118 w 1969770"/>
                  <a:gd name="connsiteY3231" fmla="*/ 622935 h 1744979"/>
                  <a:gd name="connsiteX3232" fmla="*/ 1309688 w 1969770"/>
                  <a:gd name="connsiteY3232" fmla="*/ 625793 h 1744979"/>
                  <a:gd name="connsiteX3233" fmla="*/ 1309688 w 1969770"/>
                  <a:gd name="connsiteY3233" fmla="*/ 642938 h 1744979"/>
                  <a:gd name="connsiteX3234" fmla="*/ 1341120 w 1969770"/>
                  <a:gd name="connsiteY3234" fmla="*/ 662940 h 1744979"/>
                  <a:gd name="connsiteX3235" fmla="*/ 1342073 w 1969770"/>
                  <a:gd name="connsiteY3235" fmla="*/ 662940 h 1744979"/>
                  <a:gd name="connsiteX3236" fmla="*/ 1343025 w 1969770"/>
                  <a:gd name="connsiteY3236" fmla="*/ 662940 h 1744979"/>
                  <a:gd name="connsiteX3237" fmla="*/ 1347788 w 1969770"/>
                  <a:gd name="connsiteY3237" fmla="*/ 674370 h 1744979"/>
                  <a:gd name="connsiteX3238" fmla="*/ 1352550 w 1969770"/>
                  <a:gd name="connsiteY3238" fmla="*/ 685800 h 1744979"/>
                  <a:gd name="connsiteX3239" fmla="*/ 1357313 w 1969770"/>
                  <a:gd name="connsiteY3239" fmla="*/ 697230 h 1744979"/>
                  <a:gd name="connsiteX3240" fmla="*/ 1361123 w 1969770"/>
                  <a:gd name="connsiteY3240" fmla="*/ 709613 h 1744979"/>
                  <a:gd name="connsiteX3241" fmla="*/ 1359218 w 1969770"/>
                  <a:gd name="connsiteY3241" fmla="*/ 710565 h 1744979"/>
                  <a:gd name="connsiteX3242" fmla="*/ 1359218 w 1969770"/>
                  <a:gd name="connsiteY3242" fmla="*/ 710565 h 1744979"/>
                  <a:gd name="connsiteX3243" fmla="*/ 1356360 w 1969770"/>
                  <a:gd name="connsiteY3243" fmla="*/ 719138 h 1744979"/>
                  <a:gd name="connsiteX3244" fmla="*/ 1344930 w 1969770"/>
                  <a:gd name="connsiteY3244" fmla="*/ 724853 h 1744979"/>
                  <a:gd name="connsiteX3245" fmla="*/ 1342073 w 1969770"/>
                  <a:gd name="connsiteY3245" fmla="*/ 741998 h 1744979"/>
                  <a:gd name="connsiteX3246" fmla="*/ 1333500 w 1969770"/>
                  <a:gd name="connsiteY3246" fmla="*/ 744855 h 1744979"/>
                  <a:gd name="connsiteX3247" fmla="*/ 1327785 w 1969770"/>
                  <a:gd name="connsiteY3247" fmla="*/ 753428 h 1744979"/>
                  <a:gd name="connsiteX3248" fmla="*/ 1322070 w 1969770"/>
                  <a:gd name="connsiteY3248" fmla="*/ 750570 h 1744979"/>
                  <a:gd name="connsiteX3249" fmla="*/ 1310640 w 1969770"/>
                  <a:gd name="connsiteY3249" fmla="*/ 750570 h 1744979"/>
                  <a:gd name="connsiteX3250" fmla="*/ 1316355 w 1969770"/>
                  <a:gd name="connsiteY3250" fmla="*/ 741998 h 1744979"/>
                  <a:gd name="connsiteX3251" fmla="*/ 1322070 w 1969770"/>
                  <a:gd name="connsiteY3251" fmla="*/ 719138 h 1744979"/>
                  <a:gd name="connsiteX3252" fmla="*/ 1330643 w 1969770"/>
                  <a:gd name="connsiteY3252" fmla="*/ 713423 h 1744979"/>
                  <a:gd name="connsiteX3253" fmla="*/ 1307783 w 1969770"/>
                  <a:gd name="connsiteY3253" fmla="*/ 693420 h 1744979"/>
                  <a:gd name="connsiteX3254" fmla="*/ 1290638 w 1969770"/>
                  <a:gd name="connsiteY3254" fmla="*/ 699135 h 1744979"/>
                  <a:gd name="connsiteX3255" fmla="*/ 1287780 w 1969770"/>
                  <a:gd name="connsiteY3255" fmla="*/ 713423 h 1744979"/>
                  <a:gd name="connsiteX3256" fmla="*/ 1279208 w 1969770"/>
                  <a:gd name="connsiteY3256" fmla="*/ 724853 h 1744979"/>
                  <a:gd name="connsiteX3257" fmla="*/ 1267778 w 1969770"/>
                  <a:gd name="connsiteY3257" fmla="*/ 716280 h 1744979"/>
                  <a:gd name="connsiteX3258" fmla="*/ 1264920 w 1969770"/>
                  <a:gd name="connsiteY3258" fmla="*/ 707708 h 1744979"/>
                  <a:gd name="connsiteX3259" fmla="*/ 1270635 w 1969770"/>
                  <a:gd name="connsiteY3259" fmla="*/ 704850 h 1744979"/>
                  <a:gd name="connsiteX3260" fmla="*/ 1273493 w 1969770"/>
                  <a:gd name="connsiteY3260" fmla="*/ 710565 h 1744979"/>
                  <a:gd name="connsiteX3261" fmla="*/ 1279208 w 1969770"/>
                  <a:gd name="connsiteY3261" fmla="*/ 707708 h 1744979"/>
                  <a:gd name="connsiteX3262" fmla="*/ 1276350 w 1969770"/>
                  <a:gd name="connsiteY3262" fmla="*/ 699135 h 1744979"/>
                  <a:gd name="connsiteX3263" fmla="*/ 1267778 w 1969770"/>
                  <a:gd name="connsiteY3263" fmla="*/ 699135 h 1744979"/>
                  <a:gd name="connsiteX3264" fmla="*/ 1267778 w 1969770"/>
                  <a:gd name="connsiteY3264" fmla="*/ 704850 h 1744979"/>
                  <a:gd name="connsiteX3265" fmla="*/ 1264920 w 1969770"/>
                  <a:gd name="connsiteY3265" fmla="*/ 704850 h 1744979"/>
                  <a:gd name="connsiteX3266" fmla="*/ 1239203 w 1969770"/>
                  <a:gd name="connsiteY3266" fmla="*/ 675323 h 1744979"/>
                  <a:gd name="connsiteX3267" fmla="*/ 1230630 w 1969770"/>
                  <a:gd name="connsiteY3267" fmla="*/ 669608 h 1744979"/>
                  <a:gd name="connsiteX3268" fmla="*/ 1233488 w 1969770"/>
                  <a:gd name="connsiteY3268" fmla="*/ 666750 h 1744979"/>
                  <a:gd name="connsiteX3269" fmla="*/ 1242060 w 1969770"/>
                  <a:gd name="connsiteY3269" fmla="*/ 663893 h 1744979"/>
                  <a:gd name="connsiteX3270" fmla="*/ 1233488 w 1969770"/>
                  <a:gd name="connsiteY3270" fmla="*/ 661035 h 1744979"/>
                  <a:gd name="connsiteX3271" fmla="*/ 1224915 w 1969770"/>
                  <a:gd name="connsiteY3271" fmla="*/ 663893 h 1744979"/>
                  <a:gd name="connsiteX3272" fmla="*/ 1230630 w 1969770"/>
                  <a:gd name="connsiteY3272" fmla="*/ 669608 h 1744979"/>
                  <a:gd name="connsiteX3273" fmla="*/ 1218248 w 1969770"/>
                  <a:gd name="connsiteY3273" fmla="*/ 669608 h 1744979"/>
                  <a:gd name="connsiteX3274" fmla="*/ 1212533 w 1969770"/>
                  <a:gd name="connsiteY3274" fmla="*/ 661035 h 1744979"/>
                  <a:gd name="connsiteX3275" fmla="*/ 1206818 w 1969770"/>
                  <a:gd name="connsiteY3275" fmla="*/ 652463 h 1744979"/>
                  <a:gd name="connsiteX3276" fmla="*/ 1200150 w 1969770"/>
                  <a:gd name="connsiteY3276" fmla="*/ 643890 h 1744979"/>
                  <a:gd name="connsiteX3277" fmla="*/ 1193483 w 1969770"/>
                  <a:gd name="connsiteY3277" fmla="*/ 636270 h 1744979"/>
                  <a:gd name="connsiteX3278" fmla="*/ 1271588 w 1969770"/>
                  <a:gd name="connsiteY3278" fmla="*/ 557213 h 1744979"/>
                  <a:gd name="connsiteX3279" fmla="*/ 1271588 w 1969770"/>
                  <a:gd name="connsiteY3279" fmla="*/ 557213 h 1744979"/>
                  <a:gd name="connsiteX3280" fmla="*/ 1198245 w 1969770"/>
                  <a:gd name="connsiteY3280" fmla="*/ 678180 h 1744979"/>
                  <a:gd name="connsiteX3281" fmla="*/ 1196340 w 1969770"/>
                  <a:gd name="connsiteY3281" fmla="*/ 678180 h 1744979"/>
                  <a:gd name="connsiteX3282" fmla="*/ 1196340 w 1969770"/>
                  <a:gd name="connsiteY3282" fmla="*/ 679133 h 1744979"/>
                  <a:gd name="connsiteX3283" fmla="*/ 1193483 w 1969770"/>
                  <a:gd name="connsiteY3283" fmla="*/ 693420 h 1744979"/>
                  <a:gd name="connsiteX3284" fmla="*/ 1182053 w 1969770"/>
                  <a:gd name="connsiteY3284" fmla="*/ 684848 h 1744979"/>
                  <a:gd name="connsiteX3285" fmla="*/ 1173480 w 1969770"/>
                  <a:gd name="connsiteY3285" fmla="*/ 687705 h 1744979"/>
                  <a:gd name="connsiteX3286" fmla="*/ 1179195 w 1969770"/>
                  <a:gd name="connsiteY3286" fmla="*/ 696278 h 1744979"/>
                  <a:gd name="connsiteX3287" fmla="*/ 1182053 w 1969770"/>
                  <a:gd name="connsiteY3287" fmla="*/ 696278 h 1744979"/>
                  <a:gd name="connsiteX3288" fmla="*/ 1179195 w 1969770"/>
                  <a:gd name="connsiteY3288" fmla="*/ 707708 h 1744979"/>
                  <a:gd name="connsiteX3289" fmla="*/ 1173480 w 1969770"/>
                  <a:gd name="connsiteY3289" fmla="*/ 701993 h 1744979"/>
                  <a:gd name="connsiteX3290" fmla="*/ 1162050 w 1969770"/>
                  <a:gd name="connsiteY3290" fmla="*/ 699135 h 1744979"/>
                  <a:gd name="connsiteX3291" fmla="*/ 1171575 w 1969770"/>
                  <a:gd name="connsiteY3291" fmla="*/ 695325 h 1744979"/>
                  <a:gd name="connsiteX3292" fmla="*/ 1171575 w 1969770"/>
                  <a:gd name="connsiteY3292" fmla="*/ 692468 h 1744979"/>
                  <a:gd name="connsiteX3293" fmla="*/ 1163003 w 1969770"/>
                  <a:gd name="connsiteY3293" fmla="*/ 686753 h 1744979"/>
                  <a:gd name="connsiteX3294" fmla="*/ 1165860 w 1969770"/>
                  <a:gd name="connsiteY3294" fmla="*/ 663893 h 1744979"/>
                  <a:gd name="connsiteX3295" fmla="*/ 1165860 w 1969770"/>
                  <a:gd name="connsiteY3295" fmla="*/ 663893 h 1744979"/>
                  <a:gd name="connsiteX3296" fmla="*/ 1178243 w 1969770"/>
                  <a:gd name="connsiteY3296" fmla="*/ 651510 h 1744979"/>
                  <a:gd name="connsiteX3297" fmla="*/ 1183958 w 1969770"/>
                  <a:gd name="connsiteY3297" fmla="*/ 657225 h 1744979"/>
                  <a:gd name="connsiteX3298" fmla="*/ 1188720 w 1969770"/>
                  <a:gd name="connsiteY3298" fmla="*/ 663893 h 1744979"/>
                  <a:gd name="connsiteX3299" fmla="*/ 1193483 w 1969770"/>
                  <a:gd name="connsiteY3299" fmla="*/ 670560 h 1744979"/>
                  <a:gd name="connsiteX3300" fmla="*/ 1198245 w 1969770"/>
                  <a:gd name="connsiteY3300" fmla="*/ 678180 h 1744979"/>
                  <a:gd name="connsiteX3301" fmla="*/ 1198245 w 1969770"/>
                  <a:gd name="connsiteY3301" fmla="*/ 678180 h 1744979"/>
                  <a:gd name="connsiteX3302" fmla="*/ 1248728 w 1969770"/>
                  <a:gd name="connsiteY3302" fmla="*/ 1278255 h 1744979"/>
                  <a:gd name="connsiteX3303" fmla="*/ 1259205 w 1969770"/>
                  <a:gd name="connsiteY3303" fmla="*/ 1257300 h 1744979"/>
                  <a:gd name="connsiteX3304" fmla="*/ 1253490 w 1969770"/>
                  <a:gd name="connsiteY3304" fmla="*/ 1245870 h 1744979"/>
                  <a:gd name="connsiteX3305" fmla="*/ 1270635 w 1969770"/>
                  <a:gd name="connsiteY3305" fmla="*/ 1231583 h 1744979"/>
                  <a:gd name="connsiteX3306" fmla="*/ 1270635 w 1969770"/>
                  <a:gd name="connsiteY3306" fmla="*/ 1223010 h 1744979"/>
                  <a:gd name="connsiteX3307" fmla="*/ 1256348 w 1969770"/>
                  <a:gd name="connsiteY3307" fmla="*/ 1214438 h 1744979"/>
                  <a:gd name="connsiteX3308" fmla="*/ 1267778 w 1969770"/>
                  <a:gd name="connsiteY3308" fmla="*/ 1194435 h 1744979"/>
                  <a:gd name="connsiteX3309" fmla="*/ 1284923 w 1969770"/>
                  <a:gd name="connsiteY3309" fmla="*/ 1171575 h 1744979"/>
                  <a:gd name="connsiteX3310" fmla="*/ 1267778 w 1969770"/>
                  <a:gd name="connsiteY3310" fmla="*/ 1154430 h 1744979"/>
                  <a:gd name="connsiteX3311" fmla="*/ 1256348 w 1969770"/>
                  <a:gd name="connsiteY3311" fmla="*/ 1154430 h 1744979"/>
                  <a:gd name="connsiteX3312" fmla="*/ 1248728 w 1969770"/>
                  <a:gd name="connsiteY3312" fmla="*/ 1143953 h 1744979"/>
                  <a:gd name="connsiteX3313" fmla="*/ 1254443 w 1969770"/>
                  <a:gd name="connsiteY3313" fmla="*/ 1139190 h 1744979"/>
                  <a:gd name="connsiteX3314" fmla="*/ 1260158 w 1969770"/>
                  <a:gd name="connsiteY3314" fmla="*/ 1133475 h 1744979"/>
                  <a:gd name="connsiteX3315" fmla="*/ 1265873 w 1969770"/>
                  <a:gd name="connsiteY3315" fmla="*/ 1128713 h 1744979"/>
                  <a:gd name="connsiteX3316" fmla="*/ 1271588 w 1969770"/>
                  <a:gd name="connsiteY3316" fmla="*/ 1122998 h 1744979"/>
                  <a:gd name="connsiteX3317" fmla="*/ 1311593 w 1969770"/>
                  <a:gd name="connsiteY3317" fmla="*/ 1163003 h 1744979"/>
                  <a:gd name="connsiteX3318" fmla="*/ 1311593 w 1969770"/>
                  <a:gd name="connsiteY3318" fmla="*/ 1169670 h 1744979"/>
                  <a:gd name="connsiteX3319" fmla="*/ 1311593 w 1969770"/>
                  <a:gd name="connsiteY3319" fmla="*/ 1169670 h 1744979"/>
                  <a:gd name="connsiteX3320" fmla="*/ 1319213 w 1969770"/>
                  <a:gd name="connsiteY3320" fmla="*/ 1170623 h 1744979"/>
                  <a:gd name="connsiteX3321" fmla="*/ 1349693 w 1969770"/>
                  <a:gd name="connsiteY3321" fmla="*/ 1201103 h 1744979"/>
                  <a:gd name="connsiteX3322" fmla="*/ 1338263 w 1969770"/>
                  <a:gd name="connsiteY3322" fmla="*/ 1211580 h 1744979"/>
                  <a:gd name="connsiteX3323" fmla="*/ 1326833 w 1969770"/>
                  <a:gd name="connsiteY3323" fmla="*/ 1222058 h 1744979"/>
                  <a:gd name="connsiteX3324" fmla="*/ 1314450 w 1969770"/>
                  <a:gd name="connsiteY3324" fmla="*/ 1232535 h 1744979"/>
                  <a:gd name="connsiteX3325" fmla="*/ 1302068 w 1969770"/>
                  <a:gd name="connsiteY3325" fmla="*/ 1242060 h 1744979"/>
                  <a:gd name="connsiteX3326" fmla="*/ 1288733 w 1969770"/>
                  <a:gd name="connsiteY3326" fmla="*/ 1251585 h 1744979"/>
                  <a:gd name="connsiteX3327" fmla="*/ 1275398 w 1969770"/>
                  <a:gd name="connsiteY3327" fmla="*/ 1261110 h 1744979"/>
                  <a:gd name="connsiteX3328" fmla="*/ 1262063 w 1969770"/>
                  <a:gd name="connsiteY3328" fmla="*/ 1269683 h 1744979"/>
                  <a:gd name="connsiteX3329" fmla="*/ 1248728 w 1969770"/>
                  <a:gd name="connsiteY3329" fmla="*/ 1278255 h 1744979"/>
                  <a:gd name="connsiteX3330" fmla="*/ 1248728 w 1969770"/>
                  <a:gd name="connsiteY3330" fmla="*/ 1278255 h 1744979"/>
                  <a:gd name="connsiteX3331" fmla="*/ 1258253 w 1969770"/>
                  <a:gd name="connsiteY3331" fmla="*/ 1076325 h 1744979"/>
                  <a:gd name="connsiteX3332" fmla="*/ 1262063 w 1969770"/>
                  <a:gd name="connsiteY3332" fmla="*/ 1065848 h 1744979"/>
                  <a:gd name="connsiteX3333" fmla="*/ 1250633 w 1969770"/>
                  <a:gd name="connsiteY3333" fmla="*/ 1031558 h 1744979"/>
                  <a:gd name="connsiteX3334" fmla="*/ 1237298 w 1969770"/>
                  <a:gd name="connsiteY3334" fmla="*/ 1054418 h 1744979"/>
                  <a:gd name="connsiteX3335" fmla="*/ 1226820 w 1969770"/>
                  <a:gd name="connsiteY3335" fmla="*/ 1043940 h 1744979"/>
                  <a:gd name="connsiteX3336" fmla="*/ 1231583 w 1969770"/>
                  <a:gd name="connsiteY3336" fmla="*/ 1037273 h 1744979"/>
                  <a:gd name="connsiteX3337" fmla="*/ 1243013 w 1969770"/>
                  <a:gd name="connsiteY3337" fmla="*/ 1017270 h 1744979"/>
                  <a:gd name="connsiteX3338" fmla="*/ 1237298 w 1969770"/>
                  <a:gd name="connsiteY3338" fmla="*/ 1011555 h 1744979"/>
                  <a:gd name="connsiteX3339" fmla="*/ 1245870 w 1969770"/>
                  <a:gd name="connsiteY3339" fmla="*/ 994410 h 1744979"/>
                  <a:gd name="connsiteX3340" fmla="*/ 1243013 w 1969770"/>
                  <a:gd name="connsiteY3340" fmla="*/ 980123 h 1744979"/>
                  <a:gd name="connsiteX3341" fmla="*/ 1240155 w 1969770"/>
                  <a:gd name="connsiteY3341" fmla="*/ 965835 h 1744979"/>
                  <a:gd name="connsiteX3342" fmla="*/ 1228725 w 1969770"/>
                  <a:gd name="connsiteY3342" fmla="*/ 962978 h 1744979"/>
                  <a:gd name="connsiteX3343" fmla="*/ 1225868 w 1969770"/>
                  <a:gd name="connsiteY3343" fmla="*/ 971550 h 1744979"/>
                  <a:gd name="connsiteX3344" fmla="*/ 1223010 w 1969770"/>
                  <a:gd name="connsiteY3344" fmla="*/ 970598 h 1744979"/>
                  <a:gd name="connsiteX3345" fmla="*/ 1228725 w 1969770"/>
                  <a:gd name="connsiteY3345" fmla="*/ 960120 h 1744979"/>
                  <a:gd name="connsiteX3346" fmla="*/ 1234440 w 1969770"/>
                  <a:gd name="connsiteY3346" fmla="*/ 949643 h 1744979"/>
                  <a:gd name="connsiteX3347" fmla="*/ 1239203 w 1969770"/>
                  <a:gd name="connsiteY3347" fmla="*/ 939165 h 1744979"/>
                  <a:gd name="connsiteX3348" fmla="*/ 1243965 w 1969770"/>
                  <a:gd name="connsiteY3348" fmla="*/ 928688 h 1744979"/>
                  <a:gd name="connsiteX3349" fmla="*/ 1253490 w 1969770"/>
                  <a:gd name="connsiteY3349" fmla="*/ 923925 h 1744979"/>
                  <a:gd name="connsiteX3350" fmla="*/ 1259205 w 1969770"/>
                  <a:gd name="connsiteY3350" fmla="*/ 918210 h 1744979"/>
                  <a:gd name="connsiteX3351" fmla="*/ 1262063 w 1969770"/>
                  <a:gd name="connsiteY3351" fmla="*/ 921068 h 1744979"/>
                  <a:gd name="connsiteX3352" fmla="*/ 1267778 w 1969770"/>
                  <a:gd name="connsiteY3352" fmla="*/ 912495 h 1744979"/>
                  <a:gd name="connsiteX3353" fmla="*/ 1262063 w 1969770"/>
                  <a:gd name="connsiteY3353" fmla="*/ 906780 h 1744979"/>
                  <a:gd name="connsiteX3354" fmla="*/ 1267778 w 1969770"/>
                  <a:gd name="connsiteY3354" fmla="*/ 903923 h 1744979"/>
                  <a:gd name="connsiteX3355" fmla="*/ 1276350 w 1969770"/>
                  <a:gd name="connsiteY3355" fmla="*/ 906780 h 1744979"/>
                  <a:gd name="connsiteX3356" fmla="*/ 1293495 w 1969770"/>
                  <a:gd name="connsiteY3356" fmla="*/ 906780 h 1744979"/>
                  <a:gd name="connsiteX3357" fmla="*/ 1304925 w 1969770"/>
                  <a:gd name="connsiteY3357" fmla="*/ 903923 h 1744979"/>
                  <a:gd name="connsiteX3358" fmla="*/ 1333500 w 1969770"/>
                  <a:gd name="connsiteY3358" fmla="*/ 895350 h 1744979"/>
                  <a:gd name="connsiteX3359" fmla="*/ 1327785 w 1969770"/>
                  <a:gd name="connsiteY3359" fmla="*/ 886778 h 1744979"/>
                  <a:gd name="connsiteX3360" fmla="*/ 1323975 w 1969770"/>
                  <a:gd name="connsiteY3360" fmla="*/ 876300 h 1744979"/>
                  <a:gd name="connsiteX3361" fmla="*/ 1338263 w 1969770"/>
                  <a:gd name="connsiteY3361" fmla="*/ 882015 h 1744979"/>
                  <a:gd name="connsiteX3362" fmla="*/ 1343978 w 1969770"/>
                  <a:gd name="connsiteY3362" fmla="*/ 879158 h 1744979"/>
                  <a:gd name="connsiteX3363" fmla="*/ 1341120 w 1969770"/>
                  <a:gd name="connsiteY3363" fmla="*/ 867728 h 1744979"/>
                  <a:gd name="connsiteX3364" fmla="*/ 1323975 w 1969770"/>
                  <a:gd name="connsiteY3364" fmla="*/ 873443 h 1744979"/>
                  <a:gd name="connsiteX3365" fmla="*/ 1303973 w 1969770"/>
                  <a:gd name="connsiteY3365" fmla="*/ 870585 h 1744979"/>
                  <a:gd name="connsiteX3366" fmla="*/ 1289685 w 1969770"/>
                  <a:gd name="connsiteY3366" fmla="*/ 839153 h 1744979"/>
                  <a:gd name="connsiteX3367" fmla="*/ 1290638 w 1969770"/>
                  <a:gd name="connsiteY3367" fmla="*/ 839153 h 1744979"/>
                  <a:gd name="connsiteX3368" fmla="*/ 1290638 w 1969770"/>
                  <a:gd name="connsiteY3368" fmla="*/ 839153 h 1744979"/>
                  <a:gd name="connsiteX3369" fmla="*/ 1288733 w 1969770"/>
                  <a:gd name="connsiteY3369" fmla="*/ 836295 h 1744979"/>
                  <a:gd name="connsiteX3370" fmla="*/ 1376363 w 1969770"/>
                  <a:gd name="connsiteY3370" fmla="*/ 836295 h 1744979"/>
                  <a:gd name="connsiteX3371" fmla="*/ 1376363 w 1969770"/>
                  <a:gd name="connsiteY3371" fmla="*/ 845820 h 1744979"/>
                  <a:gd name="connsiteX3372" fmla="*/ 1375410 w 1969770"/>
                  <a:gd name="connsiteY3372" fmla="*/ 855345 h 1744979"/>
                  <a:gd name="connsiteX3373" fmla="*/ 1374458 w 1969770"/>
                  <a:gd name="connsiteY3373" fmla="*/ 864870 h 1744979"/>
                  <a:gd name="connsiteX3374" fmla="*/ 1373505 w 1969770"/>
                  <a:gd name="connsiteY3374" fmla="*/ 874395 h 1744979"/>
                  <a:gd name="connsiteX3375" fmla="*/ 1372553 w 1969770"/>
                  <a:gd name="connsiteY3375" fmla="*/ 882968 h 1744979"/>
                  <a:gd name="connsiteX3376" fmla="*/ 1370648 w 1969770"/>
                  <a:gd name="connsiteY3376" fmla="*/ 891540 h 1744979"/>
                  <a:gd name="connsiteX3377" fmla="*/ 1368743 w 1969770"/>
                  <a:gd name="connsiteY3377" fmla="*/ 900113 h 1744979"/>
                  <a:gd name="connsiteX3378" fmla="*/ 1366838 w 1969770"/>
                  <a:gd name="connsiteY3378" fmla="*/ 908685 h 1744979"/>
                  <a:gd name="connsiteX3379" fmla="*/ 1364933 w 1969770"/>
                  <a:gd name="connsiteY3379" fmla="*/ 917258 h 1744979"/>
                  <a:gd name="connsiteX3380" fmla="*/ 1363028 w 1969770"/>
                  <a:gd name="connsiteY3380" fmla="*/ 925830 h 1744979"/>
                  <a:gd name="connsiteX3381" fmla="*/ 1360170 w 1969770"/>
                  <a:gd name="connsiteY3381" fmla="*/ 934403 h 1744979"/>
                  <a:gd name="connsiteX3382" fmla="*/ 1357313 w 1969770"/>
                  <a:gd name="connsiteY3382" fmla="*/ 942975 h 1744979"/>
                  <a:gd name="connsiteX3383" fmla="*/ 1354455 w 1969770"/>
                  <a:gd name="connsiteY3383" fmla="*/ 950595 h 1744979"/>
                  <a:gd name="connsiteX3384" fmla="*/ 1351598 w 1969770"/>
                  <a:gd name="connsiteY3384" fmla="*/ 959168 h 1744979"/>
                  <a:gd name="connsiteX3385" fmla="*/ 1348740 w 1969770"/>
                  <a:gd name="connsiteY3385" fmla="*/ 966788 h 1744979"/>
                  <a:gd name="connsiteX3386" fmla="*/ 1345883 w 1969770"/>
                  <a:gd name="connsiteY3386" fmla="*/ 974408 h 1744979"/>
                  <a:gd name="connsiteX3387" fmla="*/ 1342073 w 1969770"/>
                  <a:gd name="connsiteY3387" fmla="*/ 982028 h 1744979"/>
                  <a:gd name="connsiteX3388" fmla="*/ 1338263 w 1969770"/>
                  <a:gd name="connsiteY3388" fmla="*/ 989648 h 1744979"/>
                  <a:gd name="connsiteX3389" fmla="*/ 1334453 w 1969770"/>
                  <a:gd name="connsiteY3389" fmla="*/ 997268 h 1744979"/>
                  <a:gd name="connsiteX3390" fmla="*/ 1330643 w 1969770"/>
                  <a:gd name="connsiteY3390" fmla="*/ 1004888 h 1744979"/>
                  <a:gd name="connsiteX3391" fmla="*/ 1326833 w 1969770"/>
                  <a:gd name="connsiteY3391" fmla="*/ 1012508 h 1744979"/>
                  <a:gd name="connsiteX3392" fmla="*/ 1323023 w 1969770"/>
                  <a:gd name="connsiteY3392" fmla="*/ 1020128 h 1744979"/>
                  <a:gd name="connsiteX3393" fmla="*/ 1318260 w 1969770"/>
                  <a:gd name="connsiteY3393" fmla="*/ 1027748 h 1744979"/>
                  <a:gd name="connsiteX3394" fmla="*/ 1313498 w 1969770"/>
                  <a:gd name="connsiteY3394" fmla="*/ 1035368 h 1744979"/>
                  <a:gd name="connsiteX3395" fmla="*/ 1308735 w 1969770"/>
                  <a:gd name="connsiteY3395" fmla="*/ 1042035 h 1744979"/>
                  <a:gd name="connsiteX3396" fmla="*/ 1303973 w 1969770"/>
                  <a:gd name="connsiteY3396" fmla="*/ 1048703 h 1744979"/>
                  <a:gd name="connsiteX3397" fmla="*/ 1299210 w 1969770"/>
                  <a:gd name="connsiteY3397" fmla="*/ 1055370 h 1744979"/>
                  <a:gd name="connsiteX3398" fmla="*/ 1293495 w 1969770"/>
                  <a:gd name="connsiteY3398" fmla="*/ 1062038 h 1744979"/>
                  <a:gd name="connsiteX3399" fmla="*/ 1287780 w 1969770"/>
                  <a:gd name="connsiteY3399" fmla="*/ 1068705 h 1744979"/>
                  <a:gd name="connsiteX3400" fmla="*/ 1283018 w 1969770"/>
                  <a:gd name="connsiteY3400" fmla="*/ 1075373 h 1744979"/>
                  <a:gd name="connsiteX3401" fmla="*/ 1277303 w 1969770"/>
                  <a:gd name="connsiteY3401" fmla="*/ 1082040 h 1744979"/>
                  <a:gd name="connsiteX3402" fmla="*/ 1271588 w 1969770"/>
                  <a:gd name="connsiteY3402" fmla="*/ 1088708 h 1744979"/>
                  <a:gd name="connsiteX3403" fmla="*/ 1258253 w 1969770"/>
                  <a:gd name="connsiteY3403" fmla="*/ 1076325 h 1744979"/>
                  <a:gd name="connsiteX3404" fmla="*/ 1258253 w 1969770"/>
                  <a:gd name="connsiteY3404" fmla="*/ 1076325 h 1744979"/>
                  <a:gd name="connsiteX3405" fmla="*/ 1212533 w 1969770"/>
                  <a:gd name="connsiteY3405" fmla="*/ 1063943 h 1744979"/>
                  <a:gd name="connsiteX3406" fmla="*/ 1206818 w 1969770"/>
                  <a:gd name="connsiteY3406" fmla="*/ 1064895 h 1744979"/>
                  <a:gd name="connsiteX3407" fmla="*/ 1207770 w 1969770"/>
                  <a:gd name="connsiteY3407" fmla="*/ 1065848 h 1744979"/>
                  <a:gd name="connsiteX3408" fmla="*/ 1204913 w 1969770"/>
                  <a:gd name="connsiteY3408" fmla="*/ 1068705 h 1744979"/>
                  <a:gd name="connsiteX3409" fmla="*/ 1179195 w 1969770"/>
                  <a:gd name="connsiteY3409" fmla="*/ 1062990 h 1744979"/>
                  <a:gd name="connsiteX3410" fmla="*/ 1173480 w 1969770"/>
                  <a:gd name="connsiteY3410" fmla="*/ 1065848 h 1744979"/>
                  <a:gd name="connsiteX3411" fmla="*/ 1159193 w 1969770"/>
                  <a:gd name="connsiteY3411" fmla="*/ 1054418 h 1744979"/>
                  <a:gd name="connsiteX3412" fmla="*/ 1147763 w 1969770"/>
                  <a:gd name="connsiteY3412" fmla="*/ 1051560 h 1744979"/>
                  <a:gd name="connsiteX3413" fmla="*/ 1163955 w 1969770"/>
                  <a:gd name="connsiteY3413" fmla="*/ 1038225 h 1744979"/>
                  <a:gd name="connsiteX3414" fmla="*/ 1163955 w 1969770"/>
                  <a:gd name="connsiteY3414" fmla="*/ 1036320 h 1744979"/>
                  <a:gd name="connsiteX3415" fmla="*/ 1177290 w 1969770"/>
                  <a:gd name="connsiteY3415" fmla="*/ 1029653 h 1744979"/>
                  <a:gd name="connsiteX3416" fmla="*/ 1212533 w 1969770"/>
                  <a:gd name="connsiteY3416" fmla="*/ 1063943 h 1744979"/>
                  <a:gd name="connsiteX3417" fmla="*/ 1212533 w 1969770"/>
                  <a:gd name="connsiteY3417" fmla="*/ 1063943 h 1744979"/>
                  <a:gd name="connsiteX3418" fmla="*/ 1275398 w 1969770"/>
                  <a:gd name="connsiteY3418" fmla="*/ 811530 h 1744979"/>
                  <a:gd name="connsiteX3419" fmla="*/ 1275398 w 1969770"/>
                  <a:gd name="connsiteY3419" fmla="*/ 805815 h 1744979"/>
                  <a:gd name="connsiteX3420" fmla="*/ 1286828 w 1969770"/>
                  <a:gd name="connsiteY3420" fmla="*/ 797243 h 1744979"/>
                  <a:gd name="connsiteX3421" fmla="*/ 1286828 w 1969770"/>
                  <a:gd name="connsiteY3421" fmla="*/ 791528 h 1744979"/>
                  <a:gd name="connsiteX3422" fmla="*/ 1292543 w 1969770"/>
                  <a:gd name="connsiteY3422" fmla="*/ 788670 h 1744979"/>
                  <a:gd name="connsiteX3423" fmla="*/ 1306830 w 1969770"/>
                  <a:gd name="connsiteY3423" fmla="*/ 785813 h 1744979"/>
                  <a:gd name="connsiteX3424" fmla="*/ 1306830 w 1969770"/>
                  <a:gd name="connsiteY3424" fmla="*/ 781050 h 1744979"/>
                  <a:gd name="connsiteX3425" fmla="*/ 1295400 w 1969770"/>
                  <a:gd name="connsiteY3425" fmla="*/ 775335 h 1744979"/>
                  <a:gd name="connsiteX3426" fmla="*/ 1315403 w 1969770"/>
                  <a:gd name="connsiteY3426" fmla="*/ 763905 h 1744979"/>
                  <a:gd name="connsiteX3427" fmla="*/ 1335405 w 1969770"/>
                  <a:gd name="connsiteY3427" fmla="*/ 761048 h 1744979"/>
                  <a:gd name="connsiteX3428" fmla="*/ 1341120 w 1969770"/>
                  <a:gd name="connsiteY3428" fmla="*/ 749618 h 1744979"/>
                  <a:gd name="connsiteX3429" fmla="*/ 1352550 w 1969770"/>
                  <a:gd name="connsiteY3429" fmla="*/ 743903 h 1744979"/>
                  <a:gd name="connsiteX3430" fmla="*/ 1358265 w 1969770"/>
                  <a:gd name="connsiteY3430" fmla="*/ 732473 h 1744979"/>
                  <a:gd name="connsiteX3431" fmla="*/ 1361123 w 1969770"/>
                  <a:gd name="connsiteY3431" fmla="*/ 718185 h 1744979"/>
                  <a:gd name="connsiteX3432" fmla="*/ 1361123 w 1969770"/>
                  <a:gd name="connsiteY3432" fmla="*/ 719138 h 1744979"/>
                  <a:gd name="connsiteX3433" fmla="*/ 1361123 w 1969770"/>
                  <a:gd name="connsiteY3433" fmla="*/ 718185 h 1744979"/>
                  <a:gd name="connsiteX3434" fmla="*/ 1362075 w 1969770"/>
                  <a:gd name="connsiteY3434" fmla="*/ 717233 h 1744979"/>
                  <a:gd name="connsiteX3435" fmla="*/ 1363028 w 1969770"/>
                  <a:gd name="connsiteY3435" fmla="*/ 721043 h 1744979"/>
                  <a:gd name="connsiteX3436" fmla="*/ 1363980 w 1969770"/>
                  <a:gd name="connsiteY3436" fmla="*/ 724853 h 1744979"/>
                  <a:gd name="connsiteX3437" fmla="*/ 1364933 w 1969770"/>
                  <a:gd name="connsiteY3437" fmla="*/ 728663 h 1744979"/>
                  <a:gd name="connsiteX3438" fmla="*/ 1365885 w 1969770"/>
                  <a:gd name="connsiteY3438" fmla="*/ 732473 h 1744979"/>
                  <a:gd name="connsiteX3439" fmla="*/ 1363028 w 1969770"/>
                  <a:gd name="connsiteY3439" fmla="*/ 736283 h 1744979"/>
                  <a:gd name="connsiteX3440" fmla="*/ 1363028 w 1969770"/>
                  <a:gd name="connsiteY3440" fmla="*/ 736283 h 1744979"/>
                  <a:gd name="connsiteX3441" fmla="*/ 1354455 w 1969770"/>
                  <a:gd name="connsiteY3441" fmla="*/ 765810 h 1744979"/>
                  <a:gd name="connsiteX3442" fmla="*/ 1351598 w 1969770"/>
                  <a:gd name="connsiteY3442" fmla="*/ 777240 h 1744979"/>
                  <a:gd name="connsiteX3443" fmla="*/ 1364933 w 1969770"/>
                  <a:gd name="connsiteY3443" fmla="*/ 762953 h 1744979"/>
                  <a:gd name="connsiteX3444" fmla="*/ 1370648 w 1969770"/>
                  <a:gd name="connsiteY3444" fmla="*/ 754380 h 1744979"/>
                  <a:gd name="connsiteX3445" fmla="*/ 1371600 w 1969770"/>
                  <a:gd name="connsiteY3445" fmla="*/ 761048 h 1744979"/>
                  <a:gd name="connsiteX3446" fmla="*/ 1372553 w 1969770"/>
                  <a:gd name="connsiteY3446" fmla="*/ 767715 h 1744979"/>
                  <a:gd name="connsiteX3447" fmla="*/ 1373505 w 1969770"/>
                  <a:gd name="connsiteY3447" fmla="*/ 775335 h 1744979"/>
                  <a:gd name="connsiteX3448" fmla="*/ 1374458 w 1969770"/>
                  <a:gd name="connsiteY3448" fmla="*/ 782003 h 1744979"/>
                  <a:gd name="connsiteX3449" fmla="*/ 1375410 w 1969770"/>
                  <a:gd name="connsiteY3449" fmla="*/ 788670 h 1744979"/>
                  <a:gd name="connsiteX3450" fmla="*/ 1375410 w 1969770"/>
                  <a:gd name="connsiteY3450" fmla="*/ 795338 h 1744979"/>
                  <a:gd name="connsiteX3451" fmla="*/ 1375410 w 1969770"/>
                  <a:gd name="connsiteY3451" fmla="*/ 802958 h 1744979"/>
                  <a:gd name="connsiteX3452" fmla="*/ 1375410 w 1969770"/>
                  <a:gd name="connsiteY3452" fmla="*/ 810578 h 1744979"/>
                  <a:gd name="connsiteX3453" fmla="*/ 1275398 w 1969770"/>
                  <a:gd name="connsiteY3453" fmla="*/ 810578 h 1744979"/>
                  <a:gd name="connsiteX3454" fmla="*/ 1275398 w 1969770"/>
                  <a:gd name="connsiteY3454" fmla="*/ 811530 h 1744979"/>
                  <a:gd name="connsiteX3455" fmla="*/ 1143953 w 1969770"/>
                  <a:gd name="connsiteY3455" fmla="*/ 625793 h 1744979"/>
                  <a:gd name="connsiteX3456" fmla="*/ 1143000 w 1969770"/>
                  <a:gd name="connsiteY3456" fmla="*/ 626745 h 1744979"/>
                  <a:gd name="connsiteX3457" fmla="*/ 1134428 w 1969770"/>
                  <a:gd name="connsiteY3457" fmla="*/ 632460 h 1744979"/>
                  <a:gd name="connsiteX3458" fmla="*/ 1128713 w 1969770"/>
                  <a:gd name="connsiteY3458" fmla="*/ 641033 h 1744979"/>
                  <a:gd name="connsiteX3459" fmla="*/ 1122998 w 1969770"/>
                  <a:gd name="connsiteY3459" fmla="*/ 635318 h 1744979"/>
                  <a:gd name="connsiteX3460" fmla="*/ 1105853 w 1969770"/>
                  <a:gd name="connsiteY3460" fmla="*/ 641033 h 1744979"/>
                  <a:gd name="connsiteX3461" fmla="*/ 1111568 w 1969770"/>
                  <a:gd name="connsiteY3461" fmla="*/ 649605 h 1744979"/>
                  <a:gd name="connsiteX3462" fmla="*/ 1122998 w 1969770"/>
                  <a:gd name="connsiteY3462" fmla="*/ 643890 h 1744979"/>
                  <a:gd name="connsiteX3463" fmla="*/ 1131570 w 1969770"/>
                  <a:gd name="connsiteY3463" fmla="*/ 646748 h 1744979"/>
                  <a:gd name="connsiteX3464" fmla="*/ 1131570 w 1969770"/>
                  <a:gd name="connsiteY3464" fmla="*/ 641033 h 1744979"/>
                  <a:gd name="connsiteX3465" fmla="*/ 1137285 w 1969770"/>
                  <a:gd name="connsiteY3465" fmla="*/ 638175 h 1744979"/>
                  <a:gd name="connsiteX3466" fmla="*/ 1140143 w 1969770"/>
                  <a:gd name="connsiteY3466" fmla="*/ 635318 h 1744979"/>
                  <a:gd name="connsiteX3467" fmla="*/ 1148715 w 1969770"/>
                  <a:gd name="connsiteY3467" fmla="*/ 632460 h 1744979"/>
                  <a:gd name="connsiteX3468" fmla="*/ 1155383 w 1969770"/>
                  <a:gd name="connsiteY3468" fmla="*/ 632460 h 1744979"/>
                  <a:gd name="connsiteX3469" fmla="*/ 1143953 w 1969770"/>
                  <a:gd name="connsiteY3469" fmla="*/ 625793 h 1744979"/>
                  <a:gd name="connsiteX3470" fmla="*/ 1143953 w 1969770"/>
                  <a:gd name="connsiteY3470" fmla="*/ 625793 h 1744979"/>
                  <a:gd name="connsiteX3471" fmla="*/ 1351598 w 1969770"/>
                  <a:gd name="connsiteY3471" fmla="*/ 1168718 h 1744979"/>
                  <a:gd name="connsiteX3472" fmla="*/ 1356360 w 1969770"/>
                  <a:gd name="connsiteY3472" fmla="*/ 1162050 h 1744979"/>
                  <a:gd name="connsiteX3473" fmla="*/ 1347788 w 1969770"/>
                  <a:gd name="connsiteY3473" fmla="*/ 1119188 h 1744979"/>
                  <a:gd name="connsiteX3474" fmla="*/ 1342073 w 1969770"/>
                  <a:gd name="connsiteY3474" fmla="*/ 1116330 h 1744979"/>
                  <a:gd name="connsiteX3475" fmla="*/ 1344930 w 1969770"/>
                  <a:gd name="connsiteY3475" fmla="*/ 1110615 h 1744979"/>
                  <a:gd name="connsiteX3476" fmla="*/ 1327785 w 1969770"/>
                  <a:gd name="connsiteY3476" fmla="*/ 1104900 h 1744979"/>
                  <a:gd name="connsiteX3477" fmla="*/ 1322070 w 1969770"/>
                  <a:gd name="connsiteY3477" fmla="*/ 1119188 h 1744979"/>
                  <a:gd name="connsiteX3478" fmla="*/ 1322070 w 1969770"/>
                  <a:gd name="connsiteY3478" fmla="*/ 1139190 h 1744979"/>
                  <a:gd name="connsiteX3479" fmla="*/ 1288733 w 1969770"/>
                  <a:gd name="connsiteY3479" fmla="*/ 1105853 h 1744979"/>
                  <a:gd name="connsiteX3480" fmla="*/ 1294448 w 1969770"/>
                  <a:gd name="connsiteY3480" fmla="*/ 1099185 h 1744979"/>
                  <a:gd name="connsiteX3481" fmla="*/ 1301115 w 1969770"/>
                  <a:gd name="connsiteY3481" fmla="*/ 1092518 h 1744979"/>
                  <a:gd name="connsiteX3482" fmla="*/ 1306830 w 1969770"/>
                  <a:gd name="connsiteY3482" fmla="*/ 1085850 h 1744979"/>
                  <a:gd name="connsiteX3483" fmla="*/ 1312545 w 1969770"/>
                  <a:gd name="connsiteY3483" fmla="*/ 1078230 h 1744979"/>
                  <a:gd name="connsiteX3484" fmla="*/ 1318260 w 1969770"/>
                  <a:gd name="connsiteY3484" fmla="*/ 1071563 h 1744979"/>
                  <a:gd name="connsiteX3485" fmla="*/ 1323975 w 1969770"/>
                  <a:gd name="connsiteY3485" fmla="*/ 1063943 h 1744979"/>
                  <a:gd name="connsiteX3486" fmla="*/ 1329690 w 1969770"/>
                  <a:gd name="connsiteY3486" fmla="*/ 1056323 h 1744979"/>
                  <a:gd name="connsiteX3487" fmla="*/ 1335405 w 1969770"/>
                  <a:gd name="connsiteY3487" fmla="*/ 1048703 h 1744979"/>
                  <a:gd name="connsiteX3488" fmla="*/ 1340168 w 1969770"/>
                  <a:gd name="connsiteY3488" fmla="*/ 1041083 h 1744979"/>
                  <a:gd name="connsiteX3489" fmla="*/ 1344930 w 1969770"/>
                  <a:gd name="connsiteY3489" fmla="*/ 1033463 h 1744979"/>
                  <a:gd name="connsiteX3490" fmla="*/ 1349693 w 1969770"/>
                  <a:gd name="connsiteY3490" fmla="*/ 1025843 h 1744979"/>
                  <a:gd name="connsiteX3491" fmla="*/ 1354455 w 1969770"/>
                  <a:gd name="connsiteY3491" fmla="*/ 1018223 h 1744979"/>
                  <a:gd name="connsiteX3492" fmla="*/ 1358265 w 1969770"/>
                  <a:gd name="connsiteY3492" fmla="*/ 1009650 h 1744979"/>
                  <a:gd name="connsiteX3493" fmla="*/ 1362075 w 1969770"/>
                  <a:gd name="connsiteY3493" fmla="*/ 1001078 h 1744979"/>
                  <a:gd name="connsiteX3494" fmla="*/ 1365885 w 1969770"/>
                  <a:gd name="connsiteY3494" fmla="*/ 992505 h 1744979"/>
                  <a:gd name="connsiteX3495" fmla="*/ 1369695 w 1969770"/>
                  <a:gd name="connsiteY3495" fmla="*/ 983933 h 1744979"/>
                  <a:gd name="connsiteX3496" fmla="*/ 1373505 w 1969770"/>
                  <a:gd name="connsiteY3496" fmla="*/ 975360 h 1744979"/>
                  <a:gd name="connsiteX3497" fmla="*/ 1377315 w 1969770"/>
                  <a:gd name="connsiteY3497" fmla="*/ 966788 h 1744979"/>
                  <a:gd name="connsiteX3498" fmla="*/ 1380173 w 1969770"/>
                  <a:gd name="connsiteY3498" fmla="*/ 958215 h 1744979"/>
                  <a:gd name="connsiteX3499" fmla="*/ 1383030 w 1969770"/>
                  <a:gd name="connsiteY3499" fmla="*/ 949643 h 1744979"/>
                  <a:gd name="connsiteX3500" fmla="*/ 1385888 w 1969770"/>
                  <a:gd name="connsiteY3500" fmla="*/ 940118 h 1744979"/>
                  <a:gd name="connsiteX3501" fmla="*/ 1388745 w 1969770"/>
                  <a:gd name="connsiteY3501" fmla="*/ 930593 h 1744979"/>
                  <a:gd name="connsiteX3502" fmla="*/ 1391603 w 1969770"/>
                  <a:gd name="connsiteY3502" fmla="*/ 921068 h 1744979"/>
                  <a:gd name="connsiteX3503" fmla="*/ 1393508 w 1969770"/>
                  <a:gd name="connsiteY3503" fmla="*/ 911543 h 1744979"/>
                  <a:gd name="connsiteX3504" fmla="*/ 1395413 w 1969770"/>
                  <a:gd name="connsiteY3504" fmla="*/ 902018 h 1744979"/>
                  <a:gd name="connsiteX3505" fmla="*/ 1397318 w 1969770"/>
                  <a:gd name="connsiteY3505" fmla="*/ 892493 h 1744979"/>
                  <a:gd name="connsiteX3506" fmla="*/ 1398270 w 1969770"/>
                  <a:gd name="connsiteY3506" fmla="*/ 882968 h 1744979"/>
                  <a:gd name="connsiteX3507" fmla="*/ 1399223 w 1969770"/>
                  <a:gd name="connsiteY3507" fmla="*/ 873443 h 1744979"/>
                  <a:gd name="connsiteX3508" fmla="*/ 1400175 w 1969770"/>
                  <a:gd name="connsiteY3508" fmla="*/ 863918 h 1744979"/>
                  <a:gd name="connsiteX3509" fmla="*/ 1401128 w 1969770"/>
                  <a:gd name="connsiteY3509" fmla="*/ 854393 h 1744979"/>
                  <a:gd name="connsiteX3510" fmla="*/ 1401128 w 1969770"/>
                  <a:gd name="connsiteY3510" fmla="*/ 844868 h 1744979"/>
                  <a:gd name="connsiteX3511" fmla="*/ 1402080 w 1969770"/>
                  <a:gd name="connsiteY3511" fmla="*/ 835343 h 1744979"/>
                  <a:gd name="connsiteX3512" fmla="*/ 1512570 w 1969770"/>
                  <a:gd name="connsiteY3512" fmla="*/ 835343 h 1744979"/>
                  <a:gd name="connsiteX3513" fmla="*/ 1511618 w 1969770"/>
                  <a:gd name="connsiteY3513" fmla="*/ 847725 h 1744979"/>
                  <a:gd name="connsiteX3514" fmla="*/ 1510665 w 1969770"/>
                  <a:gd name="connsiteY3514" fmla="*/ 860108 h 1744979"/>
                  <a:gd name="connsiteX3515" fmla="*/ 1509713 w 1969770"/>
                  <a:gd name="connsiteY3515" fmla="*/ 872490 h 1744979"/>
                  <a:gd name="connsiteX3516" fmla="*/ 1508760 w 1969770"/>
                  <a:gd name="connsiteY3516" fmla="*/ 884873 h 1744979"/>
                  <a:gd name="connsiteX3517" fmla="*/ 1506855 w 1969770"/>
                  <a:gd name="connsiteY3517" fmla="*/ 897255 h 1744979"/>
                  <a:gd name="connsiteX3518" fmla="*/ 1504950 w 1969770"/>
                  <a:gd name="connsiteY3518" fmla="*/ 909638 h 1744979"/>
                  <a:gd name="connsiteX3519" fmla="*/ 1503045 w 1969770"/>
                  <a:gd name="connsiteY3519" fmla="*/ 922020 h 1744979"/>
                  <a:gd name="connsiteX3520" fmla="*/ 1500188 w 1969770"/>
                  <a:gd name="connsiteY3520" fmla="*/ 934403 h 1744979"/>
                  <a:gd name="connsiteX3521" fmla="*/ 1497330 w 1969770"/>
                  <a:gd name="connsiteY3521" fmla="*/ 946785 h 1744979"/>
                  <a:gd name="connsiteX3522" fmla="*/ 1494473 w 1969770"/>
                  <a:gd name="connsiteY3522" fmla="*/ 959168 h 1744979"/>
                  <a:gd name="connsiteX3523" fmla="*/ 1491615 w 1969770"/>
                  <a:gd name="connsiteY3523" fmla="*/ 970598 h 1744979"/>
                  <a:gd name="connsiteX3524" fmla="*/ 1487805 w 1969770"/>
                  <a:gd name="connsiteY3524" fmla="*/ 982028 h 1744979"/>
                  <a:gd name="connsiteX3525" fmla="*/ 1483995 w 1969770"/>
                  <a:gd name="connsiteY3525" fmla="*/ 993458 h 1744979"/>
                  <a:gd name="connsiteX3526" fmla="*/ 1480185 w 1969770"/>
                  <a:gd name="connsiteY3526" fmla="*/ 1004888 h 1744979"/>
                  <a:gd name="connsiteX3527" fmla="*/ 1476375 w 1969770"/>
                  <a:gd name="connsiteY3527" fmla="*/ 1016318 h 1744979"/>
                  <a:gd name="connsiteX3528" fmla="*/ 1471613 w 1969770"/>
                  <a:gd name="connsiteY3528" fmla="*/ 1027748 h 1744979"/>
                  <a:gd name="connsiteX3529" fmla="*/ 1466850 w 1969770"/>
                  <a:gd name="connsiteY3529" fmla="*/ 1038225 h 1744979"/>
                  <a:gd name="connsiteX3530" fmla="*/ 1461135 w 1969770"/>
                  <a:gd name="connsiteY3530" fmla="*/ 1048703 h 1744979"/>
                  <a:gd name="connsiteX3531" fmla="*/ 1455420 w 1969770"/>
                  <a:gd name="connsiteY3531" fmla="*/ 1059180 h 1744979"/>
                  <a:gd name="connsiteX3532" fmla="*/ 1449705 w 1969770"/>
                  <a:gd name="connsiteY3532" fmla="*/ 1069658 h 1744979"/>
                  <a:gd name="connsiteX3533" fmla="*/ 1443990 w 1969770"/>
                  <a:gd name="connsiteY3533" fmla="*/ 1080135 h 1744979"/>
                  <a:gd name="connsiteX3534" fmla="*/ 1438275 w 1969770"/>
                  <a:gd name="connsiteY3534" fmla="*/ 1090613 h 1744979"/>
                  <a:gd name="connsiteX3535" fmla="*/ 1431608 w 1969770"/>
                  <a:gd name="connsiteY3535" fmla="*/ 1101090 h 1744979"/>
                  <a:gd name="connsiteX3536" fmla="*/ 1424940 w 1969770"/>
                  <a:gd name="connsiteY3536" fmla="*/ 1110615 h 1744979"/>
                  <a:gd name="connsiteX3537" fmla="*/ 1418273 w 1969770"/>
                  <a:gd name="connsiteY3537" fmla="*/ 1120140 h 1744979"/>
                  <a:gd name="connsiteX3538" fmla="*/ 1411605 w 1969770"/>
                  <a:gd name="connsiteY3538" fmla="*/ 1129665 h 1744979"/>
                  <a:gd name="connsiteX3539" fmla="*/ 1403985 w 1969770"/>
                  <a:gd name="connsiteY3539" fmla="*/ 1139190 h 1744979"/>
                  <a:gd name="connsiteX3540" fmla="*/ 1397318 w 1969770"/>
                  <a:gd name="connsiteY3540" fmla="*/ 1148715 h 1744979"/>
                  <a:gd name="connsiteX3541" fmla="*/ 1389698 w 1969770"/>
                  <a:gd name="connsiteY3541" fmla="*/ 1158240 h 1744979"/>
                  <a:gd name="connsiteX3542" fmla="*/ 1382078 w 1969770"/>
                  <a:gd name="connsiteY3542" fmla="*/ 1166813 h 1744979"/>
                  <a:gd name="connsiteX3543" fmla="*/ 1374458 w 1969770"/>
                  <a:gd name="connsiteY3543" fmla="*/ 1176338 h 1744979"/>
                  <a:gd name="connsiteX3544" fmla="*/ 1366838 w 1969770"/>
                  <a:gd name="connsiteY3544" fmla="*/ 1184910 h 1744979"/>
                  <a:gd name="connsiteX3545" fmla="*/ 1351598 w 1969770"/>
                  <a:gd name="connsiteY3545" fmla="*/ 1168718 h 1744979"/>
                  <a:gd name="connsiteX3546" fmla="*/ 1351598 w 1969770"/>
                  <a:gd name="connsiteY3546" fmla="*/ 1168718 h 1744979"/>
                  <a:gd name="connsiteX3547" fmla="*/ 626745 w 1969770"/>
                  <a:gd name="connsiteY3547" fmla="*/ 837248 h 1744979"/>
                  <a:gd name="connsiteX3548" fmla="*/ 626745 w 1969770"/>
                  <a:gd name="connsiteY3548" fmla="*/ 837248 h 1744979"/>
                  <a:gd name="connsiteX3549" fmla="*/ 618173 w 1969770"/>
                  <a:gd name="connsiteY3549" fmla="*/ 865823 h 1744979"/>
                  <a:gd name="connsiteX3550" fmla="*/ 629603 w 1969770"/>
                  <a:gd name="connsiteY3550" fmla="*/ 874395 h 1744979"/>
                  <a:gd name="connsiteX3551" fmla="*/ 618173 w 1969770"/>
                  <a:gd name="connsiteY3551" fmla="*/ 891540 h 1744979"/>
                  <a:gd name="connsiteX3552" fmla="*/ 601028 w 1969770"/>
                  <a:gd name="connsiteY3552" fmla="*/ 891540 h 1744979"/>
                  <a:gd name="connsiteX3553" fmla="*/ 600075 w 1969770"/>
                  <a:gd name="connsiteY3553" fmla="*/ 884873 h 1744979"/>
                  <a:gd name="connsiteX3554" fmla="*/ 599123 w 1969770"/>
                  <a:gd name="connsiteY3554" fmla="*/ 878205 h 1744979"/>
                  <a:gd name="connsiteX3555" fmla="*/ 598170 w 1969770"/>
                  <a:gd name="connsiteY3555" fmla="*/ 871538 h 1744979"/>
                  <a:gd name="connsiteX3556" fmla="*/ 597218 w 1969770"/>
                  <a:gd name="connsiteY3556" fmla="*/ 864870 h 1744979"/>
                  <a:gd name="connsiteX3557" fmla="*/ 596265 w 1969770"/>
                  <a:gd name="connsiteY3557" fmla="*/ 857250 h 1744979"/>
                  <a:gd name="connsiteX3558" fmla="*/ 596265 w 1969770"/>
                  <a:gd name="connsiteY3558" fmla="*/ 850583 h 1744979"/>
                  <a:gd name="connsiteX3559" fmla="*/ 595313 w 1969770"/>
                  <a:gd name="connsiteY3559" fmla="*/ 843915 h 1744979"/>
                  <a:gd name="connsiteX3560" fmla="*/ 595313 w 1969770"/>
                  <a:gd name="connsiteY3560" fmla="*/ 836295 h 1744979"/>
                  <a:gd name="connsiteX3561" fmla="*/ 628650 w 1969770"/>
                  <a:gd name="connsiteY3561" fmla="*/ 836295 h 1744979"/>
                  <a:gd name="connsiteX3562" fmla="*/ 626745 w 1969770"/>
                  <a:gd name="connsiteY3562" fmla="*/ 837248 h 1744979"/>
                  <a:gd name="connsiteX3563" fmla="*/ 626745 w 1969770"/>
                  <a:gd name="connsiteY3563" fmla="*/ 837248 h 1744979"/>
                  <a:gd name="connsiteX3564" fmla="*/ 574358 w 1969770"/>
                  <a:gd name="connsiteY3564" fmla="*/ 870585 h 1744979"/>
                  <a:gd name="connsiteX3565" fmla="*/ 573405 w 1969770"/>
                  <a:gd name="connsiteY3565" fmla="*/ 870585 h 1744979"/>
                  <a:gd name="connsiteX3566" fmla="*/ 573405 w 1969770"/>
                  <a:gd name="connsiteY3566" fmla="*/ 871538 h 1744979"/>
                  <a:gd name="connsiteX3567" fmla="*/ 559118 w 1969770"/>
                  <a:gd name="connsiteY3567" fmla="*/ 874395 h 1744979"/>
                  <a:gd name="connsiteX3568" fmla="*/ 556260 w 1969770"/>
                  <a:gd name="connsiteY3568" fmla="*/ 888683 h 1744979"/>
                  <a:gd name="connsiteX3569" fmla="*/ 527685 w 1969770"/>
                  <a:gd name="connsiteY3569" fmla="*/ 922973 h 1744979"/>
                  <a:gd name="connsiteX3570" fmla="*/ 530543 w 1969770"/>
                  <a:gd name="connsiteY3570" fmla="*/ 974408 h 1744979"/>
                  <a:gd name="connsiteX3571" fmla="*/ 499110 w 1969770"/>
                  <a:gd name="connsiteY3571" fmla="*/ 982980 h 1744979"/>
                  <a:gd name="connsiteX3572" fmla="*/ 486728 w 1969770"/>
                  <a:gd name="connsiteY3572" fmla="*/ 982980 h 1744979"/>
                  <a:gd name="connsiteX3573" fmla="*/ 481013 w 1969770"/>
                  <a:gd name="connsiteY3573" fmla="*/ 964883 h 1744979"/>
                  <a:gd name="connsiteX3574" fmla="*/ 476250 w 1969770"/>
                  <a:gd name="connsiteY3574" fmla="*/ 946785 h 1744979"/>
                  <a:gd name="connsiteX3575" fmla="*/ 472440 w 1969770"/>
                  <a:gd name="connsiteY3575" fmla="*/ 928688 h 1744979"/>
                  <a:gd name="connsiteX3576" fmla="*/ 469583 w 1969770"/>
                  <a:gd name="connsiteY3576" fmla="*/ 909638 h 1744979"/>
                  <a:gd name="connsiteX3577" fmla="*/ 466725 w 1969770"/>
                  <a:gd name="connsiteY3577" fmla="*/ 890588 h 1744979"/>
                  <a:gd name="connsiteX3578" fmla="*/ 464820 w 1969770"/>
                  <a:gd name="connsiteY3578" fmla="*/ 871538 h 1744979"/>
                  <a:gd name="connsiteX3579" fmla="*/ 463868 w 1969770"/>
                  <a:gd name="connsiteY3579" fmla="*/ 862013 h 1744979"/>
                  <a:gd name="connsiteX3580" fmla="*/ 462915 w 1969770"/>
                  <a:gd name="connsiteY3580" fmla="*/ 852488 h 1744979"/>
                  <a:gd name="connsiteX3581" fmla="*/ 462915 w 1969770"/>
                  <a:gd name="connsiteY3581" fmla="*/ 842963 h 1744979"/>
                  <a:gd name="connsiteX3582" fmla="*/ 462915 w 1969770"/>
                  <a:gd name="connsiteY3582" fmla="*/ 833438 h 1744979"/>
                  <a:gd name="connsiteX3583" fmla="*/ 573405 w 1969770"/>
                  <a:gd name="connsiteY3583" fmla="*/ 833438 h 1744979"/>
                  <a:gd name="connsiteX3584" fmla="*/ 573405 w 1969770"/>
                  <a:gd name="connsiteY3584" fmla="*/ 842963 h 1744979"/>
                  <a:gd name="connsiteX3585" fmla="*/ 574358 w 1969770"/>
                  <a:gd name="connsiteY3585" fmla="*/ 851535 h 1744979"/>
                  <a:gd name="connsiteX3586" fmla="*/ 575310 w 1969770"/>
                  <a:gd name="connsiteY3586" fmla="*/ 861060 h 1744979"/>
                  <a:gd name="connsiteX3587" fmla="*/ 574358 w 1969770"/>
                  <a:gd name="connsiteY3587" fmla="*/ 870585 h 1744979"/>
                  <a:gd name="connsiteX3588" fmla="*/ 574358 w 1969770"/>
                  <a:gd name="connsiteY3588" fmla="*/ 870585 h 1744979"/>
                  <a:gd name="connsiteX3589" fmla="*/ 461963 w 1969770"/>
                  <a:gd name="connsiteY3589" fmla="*/ 982980 h 1744979"/>
                  <a:gd name="connsiteX3590" fmla="*/ 458153 w 1969770"/>
                  <a:gd name="connsiteY3590" fmla="*/ 982980 h 1744979"/>
                  <a:gd name="connsiteX3591" fmla="*/ 458153 w 1969770"/>
                  <a:gd name="connsiteY3591" fmla="*/ 982980 h 1744979"/>
                  <a:gd name="connsiteX3592" fmla="*/ 458153 w 1969770"/>
                  <a:gd name="connsiteY3592" fmla="*/ 983933 h 1744979"/>
                  <a:gd name="connsiteX3593" fmla="*/ 451485 w 1969770"/>
                  <a:gd name="connsiteY3593" fmla="*/ 983933 h 1744979"/>
                  <a:gd name="connsiteX3594" fmla="*/ 445770 w 1969770"/>
                  <a:gd name="connsiteY3594" fmla="*/ 975360 h 1744979"/>
                  <a:gd name="connsiteX3595" fmla="*/ 415290 w 1969770"/>
                  <a:gd name="connsiteY3595" fmla="*/ 972503 h 1744979"/>
                  <a:gd name="connsiteX3596" fmla="*/ 423863 w 1969770"/>
                  <a:gd name="connsiteY3596" fmla="*/ 986790 h 1744979"/>
                  <a:gd name="connsiteX3597" fmla="*/ 396240 w 1969770"/>
                  <a:gd name="connsiteY3597" fmla="*/ 981075 h 1744979"/>
                  <a:gd name="connsiteX3598" fmla="*/ 404813 w 1969770"/>
                  <a:gd name="connsiteY3598" fmla="*/ 972503 h 1744979"/>
                  <a:gd name="connsiteX3599" fmla="*/ 396240 w 1969770"/>
                  <a:gd name="connsiteY3599" fmla="*/ 966788 h 1744979"/>
                  <a:gd name="connsiteX3600" fmla="*/ 377190 w 1969770"/>
                  <a:gd name="connsiteY3600" fmla="*/ 975360 h 1744979"/>
                  <a:gd name="connsiteX3601" fmla="*/ 368618 w 1969770"/>
                  <a:gd name="connsiteY3601" fmla="*/ 989648 h 1744979"/>
                  <a:gd name="connsiteX3602" fmla="*/ 371475 w 1969770"/>
                  <a:gd name="connsiteY3602" fmla="*/ 1020128 h 1744979"/>
                  <a:gd name="connsiteX3603" fmla="*/ 396240 w 1969770"/>
                  <a:gd name="connsiteY3603" fmla="*/ 1078230 h 1744979"/>
                  <a:gd name="connsiteX3604" fmla="*/ 407670 w 1969770"/>
                  <a:gd name="connsiteY3604" fmla="*/ 1095375 h 1744979"/>
                  <a:gd name="connsiteX3605" fmla="*/ 413385 w 1969770"/>
                  <a:gd name="connsiteY3605" fmla="*/ 1098233 h 1744979"/>
                  <a:gd name="connsiteX3606" fmla="*/ 396240 w 1969770"/>
                  <a:gd name="connsiteY3606" fmla="*/ 1064895 h 1744979"/>
                  <a:gd name="connsiteX3607" fmla="*/ 390525 w 1969770"/>
                  <a:gd name="connsiteY3607" fmla="*/ 1047750 h 1744979"/>
                  <a:gd name="connsiteX3608" fmla="*/ 396240 w 1969770"/>
                  <a:gd name="connsiteY3608" fmla="*/ 1042035 h 1744979"/>
                  <a:gd name="connsiteX3609" fmla="*/ 393383 w 1969770"/>
                  <a:gd name="connsiteY3609" fmla="*/ 1033463 h 1744979"/>
                  <a:gd name="connsiteX3610" fmla="*/ 405765 w 1969770"/>
                  <a:gd name="connsiteY3610" fmla="*/ 1033463 h 1744979"/>
                  <a:gd name="connsiteX3611" fmla="*/ 421958 w 1969770"/>
                  <a:gd name="connsiteY3611" fmla="*/ 1058228 h 1744979"/>
                  <a:gd name="connsiteX3612" fmla="*/ 424815 w 1969770"/>
                  <a:gd name="connsiteY3612" fmla="*/ 1061085 h 1744979"/>
                  <a:gd name="connsiteX3613" fmla="*/ 424815 w 1969770"/>
                  <a:gd name="connsiteY3613" fmla="*/ 1042035 h 1744979"/>
                  <a:gd name="connsiteX3614" fmla="*/ 430530 w 1969770"/>
                  <a:gd name="connsiteY3614" fmla="*/ 1047750 h 1744979"/>
                  <a:gd name="connsiteX3615" fmla="*/ 433388 w 1969770"/>
                  <a:gd name="connsiteY3615" fmla="*/ 1056323 h 1744979"/>
                  <a:gd name="connsiteX3616" fmla="*/ 449580 w 1969770"/>
                  <a:gd name="connsiteY3616" fmla="*/ 1062038 h 1744979"/>
                  <a:gd name="connsiteX3617" fmla="*/ 458153 w 1969770"/>
                  <a:gd name="connsiteY3617" fmla="*/ 1056323 h 1744979"/>
                  <a:gd name="connsiteX3618" fmla="*/ 461963 w 1969770"/>
                  <a:gd name="connsiteY3618" fmla="*/ 1056323 h 1744979"/>
                  <a:gd name="connsiteX3619" fmla="*/ 461963 w 1969770"/>
                  <a:gd name="connsiteY3619" fmla="*/ 1071563 h 1744979"/>
                  <a:gd name="connsiteX3620" fmla="*/ 467678 w 1969770"/>
                  <a:gd name="connsiteY3620" fmla="*/ 1082993 h 1744979"/>
                  <a:gd name="connsiteX3621" fmla="*/ 479108 w 1969770"/>
                  <a:gd name="connsiteY3621" fmla="*/ 1082993 h 1744979"/>
                  <a:gd name="connsiteX3622" fmla="*/ 499110 w 1969770"/>
                  <a:gd name="connsiteY3622" fmla="*/ 1122045 h 1744979"/>
                  <a:gd name="connsiteX3623" fmla="*/ 510540 w 1969770"/>
                  <a:gd name="connsiteY3623" fmla="*/ 1124903 h 1744979"/>
                  <a:gd name="connsiteX3624" fmla="*/ 516255 w 1969770"/>
                  <a:gd name="connsiteY3624" fmla="*/ 1107758 h 1744979"/>
                  <a:gd name="connsiteX3625" fmla="*/ 516255 w 1969770"/>
                  <a:gd name="connsiteY3625" fmla="*/ 1105853 h 1744979"/>
                  <a:gd name="connsiteX3626" fmla="*/ 516255 w 1969770"/>
                  <a:gd name="connsiteY3626" fmla="*/ 1105853 h 1744979"/>
                  <a:gd name="connsiteX3627" fmla="*/ 516255 w 1969770"/>
                  <a:gd name="connsiteY3627" fmla="*/ 1104900 h 1744979"/>
                  <a:gd name="connsiteX3628" fmla="*/ 523875 w 1969770"/>
                  <a:gd name="connsiteY3628" fmla="*/ 1118235 h 1744979"/>
                  <a:gd name="connsiteX3629" fmla="*/ 532448 w 1969770"/>
                  <a:gd name="connsiteY3629" fmla="*/ 1131570 h 1744979"/>
                  <a:gd name="connsiteX3630" fmla="*/ 541020 w 1969770"/>
                  <a:gd name="connsiteY3630" fmla="*/ 1143953 h 1744979"/>
                  <a:gd name="connsiteX3631" fmla="*/ 550545 w 1969770"/>
                  <a:gd name="connsiteY3631" fmla="*/ 1156335 h 1744979"/>
                  <a:gd name="connsiteX3632" fmla="*/ 560070 w 1969770"/>
                  <a:gd name="connsiteY3632" fmla="*/ 1168718 h 1744979"/>
                  <a:gd name="connsiteX3633" fmla="*/ 569595 w 1969770"/>
                  <a:gd name="connsiteY3633" fmla="*/ 1180148 h 1744979"/>
                  <a:gd name="connsiteX3634" fmla="*/ 580073 w 1969770"/>
                  <a:gd name="connsiteY3634" fmla="*/ 1191578 h 1744979"/>
                  <a:gd name="connsiteX3635" fmla="*/ 590550 w 1969770"/>
                  <a:gd name="connsiteY3635" fmla="*/ 1203008 h 1744979"/>
                  <a:gd name="connsiteX3636" fmla="*/ 512445 w 1969770"/>
                  <a:gd name="connsiteY3636" fmla="*/ 1281113 h 1744979"/>
                  <a:gd name="connsiteX3637" fmla="*/ 501968 w 1969770"/>
                  <a:gd name="connsiteY3637" fmla="*/ 1270635 h 1744979"/>
                  <a:gd name="connsiteX3638" fmla="*/ 491490 w 1969770"/>
                  <a:gd name="connsiteY3638" fmla="*/ 1259205 h 1744979"/>
                  <a:gd name="connsiteX3639" fmla="*/ 481965 w 1969770"/>
                  <a:gd name="connsiteY3639" fmla="*/ 1247775 h 1744979"/>
                  <a:gd name="connsiteX3640" fmla="*/ 472440 w 1969770"/>
                  <a:gd name="connsiteY3640" fmla="*/ 1236345 h 1744979"/>
                  <a:gd name="connsiteX3641" fmla="*/ 462915 w 1969770"/>
                  <a:gd name="connsiteY3641" fmla="*/ 1223963 h 1744979"/>
                  <a:gd name="connsiteX3642" fmla="*/ 453390 w 1969770"/>
                  <a:gd name="connsiteY3642" fmla="*/ 1211580 h 1744979"/>
                  <a:gd name="connsiteX3643" fmla="*/ 444818 w 1969770"/>
                  <a:gd name="connsiteY3643" fmla="*/ 1199198 h 1744979"/>
                  <a:gd name="connsiteX3644" fmla="*/ 436245 w 1969770"/>
                  <a:gd name="connsiteY3644" fmla="*/ 1186815 h 1744979"/>
                  <a:gd name="connsiteX3645" fmla="*/ 427673 w 1969770"/>
                  <a:gd name="connsiteY3645" fmla="*/ 1174433 h 1744979"/>
                  <a:gd name="connsiteX3646" fmla="*/ 420053 w 1969770"/>
                  <a:gd name="connsiteY3646" fmla="*/ 1161098 h 1744979"/>
                  <a:gd name="connsiteX3647" fmla="*/ 412433 w 1969770"/>
                  <a:gd name="connsiteY3647" fmla="*/ 1147763 h 1744979"/>
                  <a:gd name="connsiteX3648" fmla="*/ 404813 w 1969770"/>
                  <a:gd name="connsiteY3648" fmla="*/ 1134428 h 1744979"/>
                  <a:gd name="connsiteX3649" fmla="*/ 398145 w 1969770"/>
                  <a:gd name="connsiteY3649" fmla="*/ 1121093 h 1744979"/>
                  <a:gd name="connsiteX3650" fmla="*/ 391478 w 1969770"/>
                  <a:gd name="connsiteY3650" fmla="*/ 1107758 h 1744979"/>
                  <a:gd name="connsiteX3651" fmla="*/ 384810 w 1969770"/>
                  <a:gd name="connsiteY3651" fmla="*/ 1094423 h 1744979"/>
                  <a:gd name="connsiteX3652" fmla="*/ 379095 w 1969770"/>
                  <a:gd name="connsiteY3652" fmla="*/ 1080135 h 1744979"/>
                  <a:gd name="connsiteX3653" fmla="*/ 373380 w 1969770"/>
                  <a:gd name="connsiteY3653" fmla="*/ 1065848 h 1744979"/>
                  <a:gd name="connsiteX3654" fmla="*/ 367665 w 1969770"/>
                  <a:gd name="connsiteY3654" fmla="*/ 1051560 h 1744979"/>
                  <a:gd name="connsiteX3655" fmla="*/ 362903 w 1969770"/>
                  <a:gd name="connsiteY3655" fmla="*/ 1037273 h 1744979"/>
                  <a:gd name="connsiteX3656" fmla="*/ 358140 w 1969770"/>
                  <a:gd name="connsiteY3656" fmla="*/ 1022985 h 1744979"/>
                  <a:gd name="connsiteX3657" fmla="*/ 353378 w 1969770"/>
                  <a:gd name="connsiteY3657" fmla="*/ 1007745 h 1744979"/>
                  <a:gd name="connsiteX3658" fmla="*/ 349568 w 1969770"/>
                  <a:gd name="connsiteY3658" fmla="*/ 993458 h 1744979"/>
                  <a:gd name="connsiteX3659" fmla="*/ 345758 w 1969770"/>
                  <a:gd name="connsiteY3659" fmla="*/ 978218 h 1744979"/>
                  <a:gd name="connsiteX3660" fmla="*/ 341948 w 1969770"/>
                  <a:gd name="connsiteY3660" fmla="*/ 962978 h 1744979"/>
                  <a:gd name="connsiteX3661" fmla="*/ 339090 w 1969770"/>
                  <a:gd name="connsiteY3661" fmla="*/ 947738 h 1744979"/>
                  <a:gd name="connsiteX3662" fmla="*/ 336233 w 1969770"/>
                  <a:gd name="connsiteY3662" fmla="*/ 932498 h 1744979"/>
                  <a:gd name="connsiteX3663" fmla="*/ 333375 w 1969770"/>
                  <a:gd name="connsiteY3663" fmla="*/ 916305 h 1744979"/>
                  <a:gd name="connsiteX3664" fmla="*/ 333375 w 1969770"/>
                  <a:gd name="connsiteY3664" fmla="*/ 900113 h 1744979"/>
                  <a:gd name="connsiteX3665" fmla="*/ 331470 w 1969770"/>
                  <a:gd name="connsiteY3665" fmla="*/ 883920 h 1744979"/>
                  <a:gd name="connsiteX3666" fmla="*/ 330518 w 1969770"/>
                  <a:gd name="connsiteY3666" fmla="*/ 867728 h 1744979"/>
                  <a:gd name="connsiteX3667" fmla="*/ 329565 w 1969770"/>
                  <a:gd name="connsiteY3667" fmla="*/ 851535 h 1744979"/>
                  <a:gd name="connsiteX3668" fmla="*/ 328613 w 1969770"/>
                  <a:gd name="connsiteY3668" fmla="*/ 835343 h 1744979"/>
                  <a:gd name="connsiteX3669" fmla="*/ 439103 w 1969770"/>
                  <a:gd name="connsiteY3669" fmla="*/ 835343 h 1744979"/>
                  <a:gd name="connsiteX3670" fmla="*/ 440055 w 1969770"/>
                  <a:gd name="connsiteY3670" fmla="*/ 854393 h 1744979"/>
                  <a:gd name="connsiteX3671" fmla="*/ 441960 w 1969770"/>
                  <a:gd name="connsiteY3671" fmla="*/ 873443 h 1744979"/>
                  <a:gd name="connsiteX3672" fmla="*/ 443865 w 1969770"/>
                  <a:gd name="connsiteY3672" fmla="*/ 892493 h 1744979"/>
                  <a:gd name="connsiteX3673" fmla="*/ 446723 w 1969770"/>
                  <a:gd name="connsiteY3673" fmla="*/ 910590 h 1744979"/>
                  <a:gd name="connsiteX3674" fmla="*/ 450533 w 1969770"/>
                  <a:gd name="connsiteY3674" fmla="*/ 928688 h 1744979"/>
                  <a:gd name="connsiteX3675" fmla="*/ 454343 w 1969770"/>
                  <a:gd name="connsiteY3675" fmla="*/ 946785 h 1744979"/>
                  <a:gd name="connsiteX3676" fmla="*/ 458153 w 1969770"/>
                  <a:gd name="connsiteY3676" fmla="*/ 964883 h 1744979"/>
                  <a:gd name="connsiteX3677" fmla="*/ 461963 w 1969770"/>
                  <a:gd name="connsiteY3677" fmla="*/ 982980 h 1744979"/>
                  <a:gd name="connsiteX3678" fmla="*/ 461963 w 1969770"/>
                  <a:gd name="connsiteY3678" fmla="*/ 982980 h 1744979"/>
                  <a:gd name="connsiteX3679" fmla="*/ 585788 w 1969770"/>
                  <a:gd name="connsiteY3679" fmla="*/ 1162050 h 1744979"/>
                  <a:gd name="connsiteX3680" fmla="*/ 596265 w 1969770"/>
                  <a:gd name="connsiteY3680" fmla="*/ 1154430 h 1744979"/>
                  <a:gd name="connsiteX3681" fmla="*/ 621983 w 1969770"/>
                  <a:gd name="connsiteY3681" fmla="*/ 1168718 h 1744979"/>
                  <a:gd name="connsiteX3682" fmla="*/ 625793 w 1969770"/>
                  <a:gd name="connsiteY3682" fmla="*/ 1170623 h 1744979"/>
                  <a:gd name="connsiteX3683" fmla="*/ 608648 w 1969770"/>
                  <a:gd name="connsiteY3683" fmla="*/ 1187768 h 1744979"/>
                  <a:gd name="connsiteX3684" fmla="*/ 602933 w 1969770"/>
                  <a:gd name="connsiteY3684" fmla="*/ 1181100 h 1744979"/>
                  <a:gd name="connsiteX3685" fmla="*/ 597218 w 1969770"/>
                  <a:gd name="connsiteY3685" fmla="*/ 1174433 h 1744979"/>
                  <a:gd name="connsiteX3686" fmla="*/ 591503 w 1969770"/>
                  <a:gd name="connsiteY3686" fmla="*/ 1167765 h 1744979"/>
                  <a:gd name="connsiteX3687" fmla="*/ 585788 w 1969770"/>
                  <a:gd name="connsiteY3687" fmla="*/ 1162050 h 1744979"/>
                  <a:gd name="connsiteX3688" fmla="*/ 585788 w 1969770"/>
                  <a:gd name="connsiteY3688" fmla="*/ 1162050 h 1744979"/>
                  <a:gd name="connsiteX3689" fmla="*/ 681038 w 1969770"/>
                  <a:gd name="connsiteY3689" fmla="*/ 1067753 h 1744979"/>
                  <a:gd name="connsiteX3690" fmla="*/ 683895 w 1969770"/>
                  <a:gd name="connsiteY3690" fmla="*/ 1041083 h 1744979"/>
                  <a:gd name="connsiteX3691" fmla="*/ 672465 w 1969770"/>
                  <a:gd name="connsiteY3691" fmla="*/ 1015365 h 1744979"/>
                  <a:gd name="connsiteX3692" fmla="*/ 669608 w 1969770"/>
                  <a:gd name="connsiteY3692" fmla="*/ 972503 h 1744979"/>
                  <a:gd name="connsiteX3693" fmla="*/ 655320 w 1969770"/>
                  <a:gd name="connsiteY3693" fmla="*/ 946785 h 1744979"/>
                  <a:gd name="connsiteX3694" fmla="*/ 658178 w 1969770"/>
                  <a:gd name="connsiteY3694" fmla="*/ 929640 h 1744979"/>
                  <a:gd name="connsiteX3695" fmla="*/ 641033 w 1969770"/>
                  <a:gd name="connsiteY3695" fmla="*/ 898208 h 1744979"/>
                  <a:gd name="connsiteX3696" fmla="*/ 626745 w 1969770"/>
                  <a:gd name="connsiteY3696" fmla="*/ 892493 h 1744979"/>
                  <a:gd name="connsiteX3697" fmla="*/ 632460 w 1969770"/>
                  <a:gd name="connsiteY3697" fmla="*/ 875348 h 1744979"/>
                  <a:gd name="connsiteX3698" fmla="*/ 626745 w 1969770"/>
                  <a:gd name="connsiteY3698" fmla="*/ 861060 h 1744979"/>
                  <a:gd name="connsiteX3699" fmla="*/ 632460 w 1969770"/>
                  <a:gd name="connsiteY3699" fmla="*/ 846773 h 1744979"/>
                  <a:gd name="connsiteX3700" fmla="*/ 649605 w 1969770"/>
                  <a:gd name="connsiteY3700" fmla="*/ 846773 h 1744979"/>
                  <a:gd name="connsiteX3701" fmla="*/ 655320 w 1969770"/>
                  <a:gd name="connsiteY3701" fmla="*/ 839153 h 1744979"/>
                  <a:gd name="connsiteX3702" fmla="*/ 655320 w 1969770"/>
                  <a:gd name="connsiteY3702" fmla="*/ 838200 h 1744979"/>
                  <a:gd name="connsiteX3703" fmla="*/ 656273 w 1969770"/>
                  <a:gd name="connsiteY3703" fmla="*/ 834390 h 1744979"/>
                  <a:gd name="connsiteX3704" fmla="*/ 679133 w 1969770"/>
                  <a:gd name="connsiteY3704" fmla="*/ 834390 h 1744979"/>
                  <a:gd name="connsiteX3705" fmla="*/ 681990 w 1969770"/>
                  <a:gd name="connsiteY3705" fmla="*/ 837248 h 1744979"/>
                  <a:gd name="connsiteX3706" fmla="*/ 681990 w 1969770"/>
                  <a:gd name="connsiteY3706" fmla="*/ 837248 h 1744979"/>
                  <a:gd name="connsiteX3707" fmla="*/ 681990 w 1969770"/>
                  <a:gd name="connsiteY3707" fmla="*/ 837248 h 1744979"/>
                  <a:gd name="connsiteX3708" fmla="*/ 681990 w 1969770"/>
                  <a:gd name="connsiteY3708" fmla="*/ 837248 h 1744979"/>
                  <a:gd name="connsiteX3709" fmla="*/ 681990 w 1969770"/>
                  <a:gd name="connsiteY3709" fmla="*/ 837248 h 1744979"/>
                  <a:gd name="connsiteX3710" fmla="*/ 684848 w 1969770"/>
                  <a:gd name="connsiteY3710" fmla="*/ 845820 h 1744979"/>
                  <a:gd name="connsiteX3711" fmla="*/ 681990 w 1969770"/>
                  <a:gd name="connsiteY3711" fmla="*/ 871538 h 1744979"/>
                  <a:gd name="connsiteX3712" fmla="*/ 676275 w 1969770"/>
                  <a:gd name="connsiteY3712" fmla="*/ 878205 h 1744979"/>
                  <a:gd name="connsiteX3713" fmla="*/ 686753 w 1969770"/>
                  <a:gd name="connsiteY3713" fmla="*/ 898208 h 1744979"/>
                  <a:gd name="connsiteX3714" fmla="*/ 681990 w 1969770"/>
                  <a:gd name="connsiteY3714" fmla="*/ 903923 h 1744979"/>
                  <a:gd name="connsiteX3715" fmla="*/ 676275 w 1969770"/>
                  <a:gd name="connsiteY3715" fmla="*/ 898208 h 1744979"/>
                  <a:gd name="connsiteX3716" fmla="*/ 673418 w 1969770"/>
                  <a:gd name="connsiteY3716" fmla="*/ 898208 h 1744979"/>
                  <a:gd name="connsiteX3717" fmla="*/ 679133 w 1969770"/>
                  <a:gd name="connsiteY3717" fmla="*/ 912495 h 1744979"/>
                  <a:gd name="connsiteX3718" fmla="*/ 686753 w 1969770"/>
                  <a:gd name="connsiteY3718" fmla="*/ 926783 h 1744979"/>
                  <a:gd name="connsiteX3719" fmla="*/ 689610 w 1969770"/>
                  <a:gd name="connsiteY3719" fmla="*/ 926783 h 1744979"/>
                  <a:gd name="connsiteX3720" fmla="*/ 692468 w 1969770"/>
                  <a:gd name="connsiteY3720" fmla="*/ 912495 h 1744979"/>
                  <a:gd name="connsiteX3721" fmla="*/ 687705 w 1969770"/>
                  <a:gd name="connsiteY3721" fmla="*/ 909638 h 1744979"/>
                  <a:gd name="connsiteX3722" fmla="*/ 687705 w 1969770"/>
                  <a:gd name="connsiteY3722" fmla="*/ 900113 h 1744979"/>
                  <a:gd name="connsiteX3723" fmla="*/ 687705 w 1969770"/>
                  <a:gd name="connsiteY3723" fmla="*/ 882015 h 1744979"/>
                  <a:gd name="connsiteX3724" fmla="*/ 693420 w 1969770"/>
                  <a:gd name="connsiteY3724" fmla="*/ 847725 h 1744979"/>
                  <a:gd name="connsiteX3725" fmla="*/ 691515 w 1969770"/>
                  <a:gd name="connsiteY3725" fmla="*/ 843915 h 1744979"/>
                  <a:gd name="connsiteX3726" fmla="*/ 686753 w 1969770"/>
                  <a:gd name="connsiteY3726" fmla="*/ 837248 h 1744979"/>
                  <a:gd name="connsiteX3727" fmla="*/ 688658 w 1969770"/>
                  <a:gd name="connsiteY3727" fmla="*/ 837248 h 1744979"/>
                  <a:gd name="connsiteX3728" fmla="*/ 687705 w 1969770"/>
                  <a:gd name="connsiteY3728" fmla="*/ 834390 h 1744979"/>
                  <a:gd name="connsiteX3729" fmla="*/ 709613 w 1969770"/>
                  <a:gd name="connsiteY3729" fmla="*/ 834390 h 1744979"/>
                  <a:gd name="connsiteX3730" fmla="*/ 710565 w 1969770"/>
                  <a:gd name="connsiteY3730" fmla="*/ 847725 h 1744979"/>
                  <a:gd name="connsiteX3731" fmla="*/ 711518 w 1969770"/>
                  <a:gd name="connsiteY3731" fmla="*/ 860108 h 1744979"/>
                  <a:gd name="connsiteX3732" fmla="*/ 713423 w 1969770"/>
                  <a:gd name="connsiteY3732" fmla="*/ 872490 h 1744979"/>
                  <a:gd name="connsiteX3733" fmla="*/ 716280 w 1969770"/>
                  <a:gd name="connsiteY3733" fmla="*/ 884873 h 1744979"/>
                  <a:gd name="connsiteX3734" fmla="*/ 719138 w 1969770"/>
                  <a:gd name="connsiteY3734" fmla="*/ 897255 h 1744979"/>
                  <a:gd name="connsiteX3735" fmla="*/ 722948 w 1969770"/>
                  <a:gd name="connsiteY3735" fmla="*/ 909638 h 1744979"/>
                  <a:gd name="connsiteX3736" fmla="*/ 726758 w 1969770"/>
                  <a:gd name="connsiteY3736" fmla="*/ 921068 h 1744979"/>
                  <a:gd name="connsiteX3737" fmla="*/ 731520 w 1969770"/>
                  <a:gd name="connsiteY3737" fmla="*/ 932498 h 1744979"/>
                  <a:gd name="connsiteX3738" fmla="*/ 736283 w 1969770"/>
                  <a:gd name="connsiteY3738" fmla="*/ 943928 h 1744979"/>
                  <a:gd name="connsiteX3739" fmla="*/ 741998 w 1969770"/>
                  <a:gd name="connsiteY3739" fmla="*/ 954405 h 1744979"/>
                  <a:gd name="connsiteX3740" fmla="*/ 747713 w 1969770"/>
                  <a:gd name="connsiteY3740" fmla="*/ 964883 h 1744979"/>
                  <a:gd name="connsiteX3741" fmla="*/ 754380 w 1969770"/>
                  <a:gd name="connsiteY3741" fmla="*/ 975360 h 1744979"/>
                  <a:gd name="connsiteX3742" fmla="*/ 761048 w 1969770"/>
                  <a:gd name="connsiteY3742" fmla="*/ 984885 h 1744979"/>
                  <a:gd name="connsiteX3743" fmla="*/ 768668 w 1969770"/>
                  <a:gd name="connsiteY3743" fmla="*/ 994410 h 1744979"/>
                  <a:gd name="connsiteX3744" fmla="*/ 776288 w 1969770"/>
                  <a:gd name="connsiteY3744" fmla="*/ 1003935 h 1744979"/>
                  <a:gd name="connsiteX3745" fmla="*/ 783908 w 1969770"/>
                  <a:gd name="connsiteY3745" fmla="*/ 1012508 h 1744979"/>
                  <a:gd name="connsiteX3746" fmla="*/ 703898 w 1969770"/>
                  <a:gd name="connsiteY3746" fmla="*/ 1092518 h 1744979"/>
                  <a:gd name="connsiteX3747" fmla="*/ 698183 w 1969770"/>
                  <a:gd name="connsiteY3747" fmla="*/ 1085850 h 1744979"/>
                  <a:gd name="connsiteX3748" fmla="*/ 692468 w 1969770"/>
                  <a:gd name="connsiteY3748" fmla="*/ 1079183 h 1744979"/>
                  <a:gd name="connsiteX3749" fmla="*/ 686753 w 1969770"/>
                  <a:gd name="connsiteY3749" fmla="*/ 1072515 h 1744979"/>
                  <a:gd name="connsiteX3750" fmla="*/ 681038 w 1969770"/>
                  <a:gd name="connsiteY3750" fmla="*/ 1067753 h 1744979"/>
                  <a:gd name="connsiteX3751" fmla="*/ 681038 w 1969770"/>
                  <a:gd name="connsiteY3751" fmla="*/ 1067753 h 1744979"/>
                  <a:gd name="connsiteX3752" fmla="*/ 676275 w 1969770"/>
                  <a:gd name="connsiteY3752" fmla="*/ 811530 h 1744979"/>
                  <a:gd name="connsiteX3753" fmla="*/ 666750 w 1969770"/>
                  <a:gd name="connsiteY3753" fmla="*/ 798195 h 1744979"/>
                  <a:gd name="connsiteX3754" fmla="*/ 666750 w 1969770"/>
                  <a:gd name="connsiteY3754" fmla="*/ 778193 h 1744979"/>
                  <a:gd name="connsiteX3755" fmla="*/ 681038 w 1969770"/>
                  <a:gd name="connsiteY3755" fmla="*/ 769620 h 1744979"/>
                  <a:gd name="connsiteX3756" fmla="*/ 703898 w 1969770"/>
                  <a:gd name="connsiteY3756" fmla="*/ 772478 h 1744979"/>
                  <a:gd name="connsiteX3757" fmla="*/ 709613 w 1969770"/>
                  <a:gd name="connsiteY3757" fmla="*/ 778193 h 1744979"/>
                  <a:gd name="connsiteX3758" fmla="*/ 709613 w 1969770"/>
                  <a:gd name="connsiteY3758" fmla="*/ 780098 h 1744979"/>
                  <a:gd name="connsiteX3759" fmla="*/ 711518 w 1969770"/>
                  <a:gd name="connsiteY3759" fmla="*/ 785813 h 1744979"/>
                  <a:gd name="connsiteX3760" fmla="*/ 710565 w 1969770"/>
                  <a:gd name="connsiteY3760" fmla="*/ 792480 h 1744979"/>
                  <a:gd name="connsiteX3761" fmla="*/ 710565 w 1969770"/>
                  <a:gd name="connsiteY3761" fmla="*/ 799148 h 1744979"/>
                  <a:gd name="connsiteX3762" fmla="*/ 709613 w 1969770"/>
                  <a:gd name="connsiteY3762" fmla="*/ 805815 h 1744979"/>
                  <a:gd name="connsiteX3763" fmla="*/ 709613 w 1969770"/>
                  <a:gd name="connsiteY3763" fmla="*/ 812483 h 1744979"/>
                  <a:gd name="connsiteX3764" fmla="*/ 676275 w 1969770"/>
                  <a:gd name="connsiteY3764" fmla="*/ 812483 h 1744979"/>
                  <a:gd name="connsiteX3765" fmla="*/ 676275 w 1969770"/>
                  <a:gd name="connsiteY3765" fmla="*/ 811530 h 1744979"/>
                  <a:gd name="connsiteX3766" fmla="*/ 731520 w 1969770"/>
                  <a:gd name="connsiteY3766" fmla="*/ 854393 h 1744979"/>
                  <a:gd name="connsiteX3767" fmla="*/ 733425 w 1969770"/>
                  <a:gd name="connsiteY3767" fmla="*/ 857250 h 1744979"/>
                  <a:gd name="connsiteX3768" fmla="*/ 743903 w 1969770"/>
                  <a:gd name="connsiteY3768" fmla="*/ 869633 h 1744979"/>
                  <a:gd name="connsiteX3769" fmla="*/ 761048 w 1969770"/>
                  <a:gd name="connsiteY3769" fmla="*/ 869633 h 1744979"/>
                  <a:gd name="connsiteX3770" fmla="*/ 781050 w 1969770"/>
                  <a:gd name="connsiteY3770" fmla="*/ 883920 h 1744979"/>
                  <a:gd name="connsiteX3771" fmla="*/ 786765 w 1969770"/>
                  <a:gd name="connsiteY3771" fmla="*/ 881063 h 1744979"/>
                  <a:gd name="connsiteX3772" fmla="*/ 801053 w 1969770"/>
                  <a:gd name="connsiteY3772" fmla="*/ 892493 h 1744979"/>
                  <a:gd name="connsiteX3773" fmla="*/ 792480 w 1969770"/>
                  <a:gd name="connsiteY3773" fmla="*/ 898208 h 1744979"/>
                  <a:gd name="connsiteX3774" fmla="*/ 809625 w 1969770"/>
                  <a:gd name="connsiteY3774" fmla="*/ 906780 h 1744979"/>
                  <a:gd name="connsiteX3775" fmla="*/ 809625 w 1969770"/>
                  <a:gd name="connsiteY3775" fmla="*/ 895350 h 1744979"/>
                  <a:gd name="connsiteX3776" fmla="*/ 818198 w 1969770"/>
                  <a:gd name="connsiteY3776" fmla="*/ 881063 h 1744979"/>
                  <a:gd name="connsiteX3777" fmla="*/ 826770 w 1969770"/>
                  <a:gd name="connsiteY3777" fmla="*/ 892493 h 1744979"/>
                  <a:gd name="connsiteX3778" fmla="*/ 838200 w 1969770"/>
                  <a:gd name="connsiteY3778" fmla="*/ 903923 h 1744979"/>
                  <a:gd name="connsiteX3779" fmla="*/ 821055 w 1969770"/>
                  <a:gd name="connsiteY3779" fmla="*/ 909638 h 1744979"/>
                  <a:gd name="connsiteX3780" fmla="*/ 826770 w 1969770"/>
                  <a:gd name="connsiteY3780" fmla="*/ 923925 h 1744979"/>
                  <a:gd name="connsiteX3781" fmla="*/ 838200 w 1969770"/>
                  <a:gd name="connsiteY3781" fmla="*/ 918210 h 1744979"/>
                  <a:gd name="connsiteX3782" fmla="*/ 838200 w 1969770"/>
                  <a:gd name="connsiteY3782" fmla="*/ 912495 h 1744979"/>
                  <a:gd name="connsiteX3783" fmla="*/ 846773 w 1969770"/>
                  <a:gd name="connsiteY3783" fmla="*/ 906780 h 1744979"/>
                  <a:gd name="connsiteX3784" fmla="*/ 852488 w 1969770"/>
                  <a:gd name="connsiteY3784" fmla="*/ 881063 h 1744979"/>
                  <a:gd name="connsiteX3785" fmla="*/ 853440 w 1969770"/>
                  <a:gd name="connsiteY3785" fmla="*/ 882968 h 1744979"/>
                  <a:gd name="connsiteX3786" fmla="*/ 853440 w 1969770"/>
                  <a:gd name="connsiteY3786" fmla="*/ 880110 h 1744979"/>
                  <a:gd name="connsiteX3787" fmla="*/ 855345 w 1969770"/>
                  <a:gd name="connsiteY3787" fmla="*/ 878205 h 1744979"/>
                  <a:gd name="connsiteX3788" fmla="*/ 858203 w 1969770"/>
                  <a:gd name="connsiteY3788" fmla="*/ 883920 h 1744979"/>
                  <a:gd name="connsiteX3789" fmla="*/ 861060 w 1969770"/>
                  <a:gd name="connsiteY3789" fmla="*/ 889635 h 1744979"/>
                  <a:gd name="connsiteX3790" fmla="*/ 863918 w 1969770"/>
                  <a:gd name="connsiteY3790" fmla="*/ 894398 h 1744979"/>
                  <a:gd name="connsiteX3791" fmla="*/ 866775 w 1969770"/>
                  <a:gd name="connsiteY3791" fmla="*/ 899160 h 1744979"/>
                  <a:gd name="connsiteX3792" fmla="*/ 869633 w 1969770"/>
                  <a:gd name="connsiteY3792" fmla="*/ 903923 h 1744979"/>
                  <a:gd name="connsiteX3793" fmla="*/ 873443 w 1969770"/>
                  <a:gd name="connsiteY3793" fmla="*/ 908685 h 1744979"/>
                  <a:gd name="connsiteX3794" fmla="*/ 877253 w 1969770"/>
                  <a:gd name="connsiteY3794" fmla="*/ 912495 h 1744979"/>
                  <a:gd name="connsiteX3795" fmla="*/ 881063 w 1969770"/>
                  <a:gd name="connsiteY3795" fmla="*/ 917258 h 1744979"/>
                  <a:gd name="connsiteX3796" fmla="*/ 801053 w 1969770"/>
                  <a:gd name="connsiteY3796" fmla="*/ 997268 h 1744979"/>
                  <a:gd name="connsiteX3797" fmla="*/ 794385 w 1969770"/>
                  <a:gd name="connsiteY3797" fmla="*/ 989648 h 1744979"/>
                  <a:gd name="connsiteX3798" fmla="*/ 787718 w 1969770"/>
                  <a:gd name="connsiteY3798" fmla="*/ 982028 h 1744979"/>
                  <a:gd name="connsiteX3799" fmla="*/ 782003 w 1969770"/>
                  <a:gd name="connsiteY3799" fmla="*/ 974408 h 1744979"/>
                  <a:gd name="connsiteX3800" fmla="*/ 776288 w 1969770"/>
                  <a:gd name="connsiteY3800" fmla="*/ 965835 h 1744979"/>
                  <a:gd name="connsiteX3801" fmla="*/ 771525 w 1969770"/>
                  <a:gd name="connsiteY3801" fmla="*/ 957263 h 1744979"/>
                  <a:gd name="connsiteX3802" fmla="*/ 765810 w 1969770"/>
                  <a:gd name="connsiteY3802" fmla="*/ 948690 h 1744979"/>
                  <a:gd name="connsiteX3803" fmla="*/ 761048 w 1969770"/>
                  <a:gd name="connsiteY3803" fmla="*/ 940118 h 1744979"/>
                  <a:gd name="connsiteX3804" fmla="*/ 756285 w 1969770"/>
                  <a:gd name="connsiteY3804" fmla="*/ 931545 h 1744979"/>
                  <a:gd name="connsiteX3805" fmla="*/ 752475 w 1969770"/>
                  <a:gd name="connsiteY3805" fmla="*/ 922020 h 1744979"/>
                  <a:gd name="connsiteX3806" fmla="*/ 748665 w 1969770"/>
                  <a:gd name="connsiteY3806" fmla="*/ 912495 h 1744979"/>
                  <a:gd name="connsiteX3807" fmla="*/ 744855 w 1969770"/>
                  <a:gd name="connsiteY3807" fmla="*/ 902970 h 1744979"/>
                  <a:gd name="connsiteX3808" fmla="*/ 741998 w 1969770"/>
                  <a:gd name="connsiteY3808" fmla="*/ 893445 h 1744979"/>
                  <a:gd name="connsiteX3809" fmla="*/ 739140 w 1969770"/>
                  <a:gd name="connsiteY3809" fmla="*/ 883920 h 1744979"/>
                  <a:gd name="connsiteX3810" fmla="*/ 737235 w 1969770"/>
                  <a:gd name="connsiteY3810" fmla="*/ 874395 h 1744979"/>
                  <a:gd name="connsiteX3811" fmla="*/ 733425 w 1969770"/>
                  <a:gd name="connsiteY3811" fmla="*/ 864870 h 1744979"/>
                  <a:gd name="connsiteX3812" fmla="*/ 731520 w 1969770"/>
                  <a:gd name="connsiteY3812" fmla="*/ 854393 h 1744979"/>
                  <a:gd name="connsiteX3813" fmla="*/ 731520 w 1969770"/>
                  <a:gd name="connsiteY3813" fmla="*/ 854393 h 1744979"/>
                  <a:gd name="connsiteX3814" fmla="*/ 781050 w 1969770"/>
                  <a:gd name="connsiteY3814" fmla="*/ 633413 h 1744979"/>
                  <a:gd name="connsiteX3815" fmla="*/ 777240 w 1969770"/>
                  <a:gd name="connsiteY3815" fmla="*/ 636270 h 1744979"/>
                  <a:gd name="connsiteX3816" fmla="*/ 777240 w 1969770"/>
                  <a:gd name="connsiteY3816" fmla="*/ 636270 h 1744979"/>
                  <a:gd name="connsiteX3817" fmla="*/ 754380 w 1969770"/>
                  <a:gd name="connsiteY3817" fmla="*/ 664845 h 1744979"/>
                  <a:gd name="connsiteX3818" fmla="*/ 735330 w 1969770"/>
                  <a:gd name="connsiteY3818" fmla="*/ 695325 h 1744979"/>
                  <a:gd name="connsiteX3819" fmla="*/ 728663 w 1969770"/>
                  <a:gd name="connsiteY3819" fmla="*/ 695325 h 1744979"/>
                  <a:gd name="connsiteX3820" fmla="*/ 718185 w 1969770"/>
                  <a:gd name="connsiteY3820" fmla="*/ 698183 h 1744979"/>
                  <a:gd name="connsiteX3821" fmla="*/ 713423 w 1969770"/>
                  <a:gd name="connsiteY3821" fmla="*/ 698183 h 1744979"/>
                  <a:gd name="connsiteX3822" fmla="*/ 702945 w 1969770"/>
                  <a:gd name="connsiteY3822" fmla="*/ 709613 h 1744979"/>
                  <a:gd name="connsiteX3823" fmla="*/ 716280 w 1969770"/>
                  <a:gd name="connsiteY3823" fmla="*/ 706755 h 1744979"/>
                  <a:gd name="connsiteX3824" fmla="*/ 730568 w 1969770"/>
                  <a:gd name="connsiteY3824" fmla="*/ 703898 h 1744979"/>
                  <a:gd name="connsiteX3825" fmla="*/ 727710 w 1969770"/>
                  <a:gd name="connsiteY3825" fmla="*/ 709613 h 1744979"/>
                  <a:gd name="connsiteX3826" fmla="*/ 717233 w 1969770"/>
                  <a:gd name="connsiteY3826" fmla="*/ 715328 h 1744979"/>
                  <a:gd name="connsiteX3827" fmla="*/ 711518 w 1969770"/>
                  <a:gd name="connsiteY3827" fmla="*/ 715328 h 1744979"/>
                  <a:gd name="connsiteX3828" fmla="*/ 694373 w 1969770"/>
                  <a:gd name="connsiteY3828" fmla="*/ 728663 h 1744979"/>
                  <a:gd name="connsiteX3829" fmla="*/ 678180 w 1969770"/>
                  <a:gd name="connsiteY3829" fmla="*/ 725805 h 1744979"/>
                  <a:gd name="connsiteX3830" fmla="*/ 653415 w 1969770"/>
                  <a:gd name="connsiteY3830" fmla="*/ 770573 h 1744979"/>
                  <a:gd name="connsiteX3831" fmla="*/ 659130 w 1969770"/>
                  <a:gd name="connsiteY3831" fmla="*/ 781050 h 1744979"/>
                  <a:gd name="connsiteX3832" fmla="*/ 644843 w 1969770"/>
                  <a:gd name="connsiteY3832" fmla="*/ 795338 h 1744979"/>
                  <a:gd name="connsiteX3833" fmla="*/ 644843 w 1969770"/>
                  <a:gd name="connsiteY3833" fmla="*/ 811530 h 1744979"/>
                  <a:gd name="connsiteX3834" fmla="*/ 596265 w 1969770"/>
                  <a:gd name="connsiteY3834" fmla="*/ 811530 h 1744979"/>
                  <a:gd name="connsiteX3835" fmla="*/ 596265 w 1969770"/>
                  <a:gd name="connsiteY3835" fmla="*/ 802005 h 1744979"/>
                  <a:gd name="connsiteX3836" fmla="*/ 597218 w 1969770"/>
                  <a:gd name="connsiteY3836" fmla="*/ 792480 h 1744979"/>
                  <a:gd name="connsiteX3837" fmla="*/ 598170 w 1969770"/>
                  <a:gd name="connsiteY3837" fmla="*/ 782955 h 1744979"/>
                  <a:gd name="connsiteX3838" fmla="*/ 599123 w 1969770"/>
                  <a:gd name="connsiteY3838" fmla="*/ 773430 h 1744979"/>
                  <a:gd name="connsiteX3839" fmla="*/ 600075 w 1969770"/>
                  <a:gd name="connsiteY3839" fmla="*/ 764858 h 1744979"/>
                  <a:gd name="connsiteX3840" fmla="*/ 601028 w 1969770"/>
                  <a:gd name="connsiteY3840" fmla="*/ 755333 h 1744979"/>
                  <a:gd name="connsiteX3841" fmla="*/ 601980 w 1969770"/>
                  <a:gd name="connsiteY3841" fmla="*/ 746760 h 1744979"/>
                  <a:gd name="connsiteX3842" fmla="*/ 603885 w 1969770"/>
                  <a:gd name="connsiteY3842" fmla="*/ 737235 h 1744979"/>
                  <a:gd name="connsiteX3843" fmla="*/ 605790 w 1969770"/>
                  <a:gd name="connsiteY3843" fmla="*/ 728663 h 1744979"/>
                  <a:gd name="connsiteX3844" fmla="*/ 608648 w 1969770"/>
                  <a:gd name="connsiteY3844" fmla="*/ 720090 h 1744979"/>
                  <a:gd name="connsiteX3845" fmla="*/ 611505 w 1969770"/>
                  <a:gd name="connsiteY3845" fmla="*/ 711518 h 1744979"/>
                  <a:gd name="connsiteX3846" fmla="*/ 614363 w 1969770"/>
                  <a:gd name="connsiteY3846" fmla="*/ 702945 h 1744979"/>
                  <a:gd name="connsiteX3847" fmla="*/ 617220 w 1969770"/>
                  <a:gd name="connsiteY3847" fmla="*/ 694373 h 1744979"/>
                  <a:gd name="connsiteX3848" fmla="*/ 620078 w 1969770"/>
                  <a:gd name="connsiteY3848" fmla="*/ 686753 h 1744979"/>
                  <a:gd name="connsiteX3849" fmla="*/ 622935 w 1969770"/>
                  <a:gd name="connsiteY3849" fmla="*/ 678180 h 1744979"/>
                  <a:gd name="connsiteX3850" fmla="*/ 625793 w 1969770"/>
                  <a:gd name="connsiteY3850" fmla="*/ 670560 h 1744979"/>
                  <a:gd name="connsiteX3851" fmla="*/ 629603 w 1969770"/>
                  <a:gd name="connsiteY3851" fmla="*/ 662940 h 1744979"/>
                  <a:gd name="connsiteX3852" fmla="*/ 633413 w 1969770"/>
                  <a:gd name="connsiteY3852" fmla="*/ 655320 h 1744979"/>
                  <a:gd name="connsiteX3853" fmla="*/ 637223 w 1969770"/>
                  <a:gd name="connsiteY3853" fmla="*/ 647700 h 1744979"/>
                  <a:gd name="connsiteX3854" fmla="*/ 641033 w 1969770"/>
                  <a:gd name="connsiteY3854" fmla="*/ 640080 h 1744979"/>
                  <a:gd name="connsiteX3855" fmla="*/ 644843 w 1969770"/>
                  <a:gd name="connsiteY3855" fmla="*/ 632460 h 1744979"/>
                  <a:gd name="connsiteX3856" fmla="*/ 648653 w 1969770"/>
                  <a:gd name="connsiteY3856" fmla="*/ 624840 h 1744979"/>
                  <a:gd name="connsiteX3857" fmla="*/ 653415 w 1969770"/>
                  <a:gd name="connsiteY3857" fmla="*/ 617220 h 1744979"/>
                  <a:gd name="connsiteX3858" fmla="*/ 658178 w 1969770"/>
                  <a:gd name="connsiteY3858" fmla="*/ 609600 h 1744979"/>
                  <a:gd name="connsiteX3859" fmla="*/ 662940 w 1969770"/>
                  <a:gd name="connsiteY3859" fmla="*/ 601980 h 1744979"/>
                  <a:gd name="connsiteX3860" fmla="*/ 667703 w 1969770"/>
                  <a:gd name="connsiteY3860" fmla="*/ 595313 h 1744979"/>
                  <a:gd name="connsiteX3861" fmla="*/ 673418 w 1969770"/>
                  <a:gd name="connsiteY3861" fmla="*/ 588645 h 1744979"/>
                  <a:gd name="connsiteX3862" fmla="*/ 678180 w 1969770"/>
                  <a:gd name="connsiteY3862" fmla="*/ 581978 h 1744979"/>
                  <a:gd name="connsiteX3863" fmla="*/ 683895 w 1969770"/>
                  <a:gd name="connsiteY3863" fmla="*/ 575310 h 1744979"/>
                  <a:gd name="connsiteX3864" fmla="*/ 689610 w 1969770"/>
                  <a:gd name="connsiteY3864" fmla="*/ 568643 h 1744979"/>
                  <a:gd name="connsiteX3865" fmla="*/ 695325 w 1969770"/>
                  <a:gd name="connsiteY3865" fmla="*/ 561975 h 1744979"/>
                  <a:gd name="connsiteX3866" fmla="*/ 701040 w 1969770"/>
                  <a:gd name="connsiteY3866" fmla="*/ 555308 h 1744979"/>
                  <a:gd name="connsiteX3867" fmla="*/ 781050 w 1969770"/>
                  <a:gd name="connsiteY3867" fmla="*/ 633413 h 1744979"/>
                  <a:gd name="connsiteX3868" fmla="*/ 781050 w 1969770"/>
                  <a:gd name="connsiteY3868" fmla="*/ 633413 h 1744979"/>
                  <a:gd name="connsiteX3869" fmla="*/ 1319213 w 1969770"/>
                  <a:gd name="connsiteY3869" fmla="*/ 325755 h 1744979"/>
                  <a:gd name="connsiteX3870" fmla="*/ 1313498 w 1969770"/>
                  <a:gd name="connsiteY3870" fmla="*/ 314325 h 1744979"/>
                  <a:gd name="connsiteX3871" fmla="*/ 1299210 w 1969770"/>
                  <a:gd name="connsiteY3871" fmla="*/ 305753 h 1744979"/>
                  <a:gd name="connsiteX3872" fmla="*/ 1287780 w 1969770"/>
                  <a:gd name="connsiteY3872" fmla="*/ 317183 h 1744979"/>
                  <a:gd name="connsiteX3873" fmla="*/ 1302068 w 1969770"/>
                  <a:gd name="connsiteY3873" fmla="*/ 322898 h 1744979"/>
                  <a:gd name="connsiteX3874" fmla="*/ 1319213 w 1969770"/>
                  <a:gd name="connsiteY3874" fmla="*/ 334328 h 1744979"/>
                  <a:gd name="connsiteX3875" fmla="*/ 1319213 w 1969770"/>
                  <a:gd name="connsiteY3875" fmla="*/ 325755 h 1744979"/>
                  <a:gd name="connsiteX3876" fmla="*/ 1319213 w 1969770"/>
                  <a:gd name="connsiteY3876" fmla="*/ 325755 h 1744979"/>
                  <a:gd name="connsiteX3877" fmla="*/ 1253490 w 1969770"/>
                  <a:gd name="connsiteY3877" fmla="*/ 641985 h 1744979"/>
                  <a:gd name="connsiteX3878" fmla="*/ 1253490 w 1969770"/>
                  <a:gd name="connsiteY3878" fmla="*/ 650558 h 1744979"/>
                  <a:gd name="connsiteX3879" fmla="*/ 1273493 w 1969770"/>
                  <a:gd name="connsiteY3879" fmla="*/ 644843 h 1744979"/>
                  <a:gd name="connsiteX3880" fmla="*/ 1279208 w 1969770"/>
                  <a:gd name="connsiteY3880" fmla="*/ 633413 h 1744979"/>
                  <a:gd name="connsiteX3881" fmla="*/ 1264920 w 1969770"/>
                  <a:gd name="connsiteY3881" fmla="*/ 616268 h 1744979"/>
                  <a:gd name="connsiteX3882" fmla="*/ 1270635 w 1969770"/>
                  <a:gd name="connsiteY3882" fmla="*/ 604838 h 1744979"/>
                  <a:gd name="connsiteX3883" fmla="*/ 1290638 w 1969770"/>
                  <a:gd name="connsiteY3883" fmla="*/ 616268 h 1744979"/>
                  <a:gd name="connsiteX3884" fmla="*/ 1293495 w 1969770"/>
                  <a:gd name="connsiteY3884" fmla="*/ 613410 h 1744979"/>
                  <a:gd name="connsiteX3885" fmla="*/ 1290638 w 1969770"/>
                  <a:gd name="connsiteY3885" fmla="*/ 613410 h 1744979"/>
                  <a:gd name="connsiteX3886" fmla="*/ 1284923 w 1969770"/>
                  <a:gd name="connsiteY3886" fmla="*/ 604838 h 1744979"/>
                  <a:gd name="connsiteX3887" fmla="*/ 1293495 w 1969770"/>
                  <a:gd name="connsiteY3887" fmla="*/ 599123 h 1744979"/>
                  <a:gd name="connsiteX3888" fmla="*/ 1284923 w 1969770"/>
                  <a:gd name="connsiteY3888" fmla="*/ 590550 h 1744979"/>
                  <a:gd name="connsiteX3889" fmla="*/ 1267778 w 1969770"/>
                  <a:gd name="connsiteY3889" fmla="*/ 599123 h 1744979"/>
                  <a:gd name="connsiteX3890" fmla="*/ 1262063 w 1969770"/>
                  <a:gd name="connsiteY3890" fmla="*/ 610553 h 1744979"/>
                  <a:gd name="connsiteX3891" fmla="*/ 1259205 w 1969770"/>
                  <a:gd name="connsiteY3891" fmla="*/ 619125 h 1744979"/>
                  <a:gd name="connsiteX3892" fmla="*/ 1267778 w 1969770"/>
                  <a:gd name="connsiteY3892" fmla="*/ 630555 h 1744979"/>
                  <a:gd name="connsiteX3893" fmla="*/ 1264920 w 1969770"/>
                  <a:gd name="connsiteY3893" fmla="*/ 636270 h 1744979"/>
                  <a:gd name="connsiteX3894" fmla="*/ 1253490 w 1969770"/>
                  <a:gd name="connsiteY3894" fmla="*/ 641985 h 1744979"/>
                  <a:gd name="connsiteX3895" fmla="*/ 1253490 w 1969770"/>
                  <a:gd name="connsiteY3895" fmla="*/ 641985 h 1744979"/>
                  <a:gd name="connsiteX3896" fmla="*/ 441960 w 1969770"/>
                  <a:gd name="connsiteY3896" fmla="*/ 1145858 h 1744979"/>
                  <a:gd name="connsiteX3897" fmla="*/ 441960 w 1969770"/>
                  <a:gd name="connsiteY3897" fmla="*/ 1140143 h 1744979"/>
                  <a:gd name="connsiteX3898" fmla="*/ 433388 w 1969770"/>
                  <a:gd name="connsiteY3898" fmla="*/ 1117283 h 1744979"/>
                  <a:gd name="connsiteX3899" fmla="*/ 421958 w 1969770"/>
                  <a:gd name="connsiteY3899" fmla="*/ 1114425 h 1744979"/>
                  <a:gd name="connsiteX3900" fmla="*/ 441960 w 1969770"/>
                  <a:gd name="connsiteY3900" fmla="*/ 1145858 h 1744979"/>
                  <a:gd name="connsiteX3901" fmla="*/ 441960 w 1969770"/>
                  <a:gd name="connsiteY3901" fmla="*/ 1145858 h 1744979"/>
                  <a:gd name="connsiteX3902" fmla="*/ 900113 w 1969770"/>
                  <a:gd name="connsiteY3902" fmla="*/ 723900 h 1744979"/>
                  <a:gd name="connsiteX3903" fmla="*/ 902970 w 1969770"/>
                  <a:gd name="connsiteY3903" fmla="*/ 735330 h 1744979"/>
                  <a:gd name="connsiteX3904" fmla="*/ 908685 w 1969770"/>
                  <a:gd name="connsiteY3904" fmla="*/ 746760 h 1744979"/>
                  <a:gd name="connsiteX3905" fmla="*/ 917258 w 1969770"/>
                  <a:gd name="connsiteY3905" fmla="*/ 758190 h 1744979"/>
                  <a:gd name="connsiteX3906" fmla="*/ 931545 w 1969770"/>
                  <a:gd name="connsiteY3906" fmla="*/ 766763 h 1744979"/>
                  <a:gd name="connsiteX3907" fmla="*/ 931545 w 1969770"/>
                  <a:gd name="connsiteY3907" fmla="*/ 758190 h 1744979"/>
                  <a:gd name="connsiteX3908" fmla="*/ 920115 w 1969770"/>
                  <a:gd name="connsiteY3908" fmla="*/ 743903 h 1744979"/>
                  <a:gd name="connsiteX3909" fmla="*/ 925830 w 1969770"/>
                  <a:gd name="connsiteY3909" fmla="*/ 732473 h 1744979"/>
                  <a:gd name="connsiteX3910" fmla="*/ 931545 w 1969770"/>
                  <a:gd name="connsiteY3910" fmla="*/ 729615 h 1744979"/>
                  <a:gd name="connsiteX3911" fmla="*/ 931545 w 1969770"/>
                  <a:gd name="connsiteY3911" fmla="*/ 681038 h 1744979"/>
                  <a:gd name="connsiteX3912" fmla="*/ 928688 w 1969770"/>
                  <a:gd name="connsiteY3912" fmla="*/ 681038 h 1744979"/>
                  <a:gd name="connsiteX3913" fmla="*/ 917258 w 1969770"/>
                  <a:gd name="connsiteY3913" fmla="*/ 689610 h 1744979"/>
                  <a:gd name="connsiteX3914" fmla="*/ 908685 w 1969770"/>
                  <a:gd name="connsiteY3914" fmla="*/ 698183 h 1744979"/>
                  <a:gd name="connsiteX3915" fmla="*/ 902970 w 1969770"/>
                  <a:gd name="connsiteY3915" fmla="*/ 709613 h 1744979"/>
                  <a:gd name="connsiteX3916" fmla="*/ 900113 w 1969770"/>
                  <a:gd name="connsiteY3916" fmla="*/ 723900 h 1744979"/>
                  <a:gd name="connsiteX3917" fmla="*/ 900113 w 1969770"/>
                  <a:gd name="connsiteY3917" fmla="*/ 723900 h 1744979"/>
                  <a:gd name="connsiteX3918" fmla="*/ 663893 w 1969770"/>
                  <a:gd name="connsiteY3918" fmla="*/ 515303 h 1744979"/>
                  <a:gd name="connsiteX3919" fmla="*/ 656273 w 1969770"/>
                  <a:gd name="connsiteY3919" fmla="*/ 506730 h 1744979"/>
                  <a:gd name="connsiteX3920" fmla="*/ 672465 w 1969770"/>
                  <a:gd name="connsiteY3920" fmla="*/ 503873 h 1744979"/>
                  <a:gd name="connsiteX3921" fmla="*/ 663893 w 1969770"/>
                  <a:gd name="connsiteY3921" fmla="*/ 515303 h 1744979"/>
                  <a:gd name="connsiteX3922" fmla="*/ 663893 w 1969770"/>
                  <a:gd name="connsiteY3922" fmla="*/ 515303 h 1744979"/>
                  <a:gd name="connsiteX3923" fmla="*/ 1644968 w 1969770"/>
                  <a:gd name="connsiteY3923" fmla="*/ 835343 h 1744979"/>
                  <a:gd name="connsiteX3924" fmla="*/ 1534478 w 1969770"/>
                  <a:gd name="connsiteY3924" fmla="*/ 835343 h 1744979"/>
                  <a:gd name="connsiteX3925" fmla="*/ 1533525 w 1969770"/>
                  <a:gd name="connsiteY3925" fmla="*/ 848678 h 1744979"/>
                  <a:gd name="connsiteX3926" fmla="*/ 1532573 w 1969770"/>
                  <a:gd name="connsiteY3926" fmla="*/ 862013 h 1744979"/>
                  <a:gd name="connsiteX3927" fmla="*/ 1531620 w 1969770"/>
                  <a:gd name="connsiteY3927" fmla="*/ 875348 h 1744979"/>
                  <a:gd name="connsiteX3928" fmla="*/ 1529715 w 1969770"/>
                  <a:gd name="connsiteY3928" fmla="*/ 888683 h 1744979"/>
                  <a:gd name="connsiteX3929" fmla="*/ 1527810 w 1969770"/>
                  <a:gd name="connsiteY3929" fmla="*/ 901065 h 1744979"/>
                  <a:gd name="connsiteX3930" fmla="*/ 1525905 w 1969770"/>
                  <a:gd name="connsiteY3930" fmla="*/ 914400 h 1744979"/>
                  <a:gd name="connsiteX3931" fmla="*/ 1523048 w 1969770"/>
                  <a:gd name="connsiteY3931" fmla="*/ 926783 h 1744979"/>
                  <a:gd name="connsiteX3932" fmla="*/ 1520190 w 1969770"/>
                  <a:gd name="connsiteY3932" fmla="*/ 939165 h 1744979"/>
                  <a:gd name="connsiteX3933" fmla="*/ 1517333 w 1969770"/>
                  <a:gd name="connsiteY3933" fmla="*/ 951548 h 1744979"/>
                  <a:gd name="connsiteX3934" fmla="*/ 1514475 w 1969770"/>
                  <a:gd name="connsiteY3934" fmla="*/ 963930 h 1744979"/>
                  <a:gd name="connsiteX3935" fmla="*/ 1510665 w 1969770"/>
                  <a:gd name="connsiteY3935" fmla="*/ 976313 h 1744979"/>
                  <a:gd name="connsiteX3936" fmla="*/ 1506855 w 1969770"/>
                  <a:gd name="connsiteY3936" fmla="*/ 988695 h 1744979"/>
                  <a:gd name="connsiteX3937" fmla="*/ 1503045 w 1969770"/>
                  <a:gd name="connsiteY3937" fmla="*/ 1001078 h 1744979"/>
                  <a:gd name="connsiteX3938" fmla="*/ 1499235 w 1969770"/>
                  <a:gd name="connsiteY3938" fmla="*/ 1012508 h 1744979"/>
                  <a:gd name="connsiteX3939" fmla="*/ 1494473 w 1969770"/>
                  <a:gd name="connsiteY3939" fmla="*/ 1024890 h 1744979"/>
                  <a:gd name="connsiteX3940" fmla="*/ 1489710 w 1969770"/>
                  <a:gd name="connsiteY3940" fmla="*/ 1036320 h 1744979"/>
                  <a:gd name="connsiteX3941" fmla="*/ 1484948 w 1969770"/>
                  <a:gd name="connsiteY3941" fmla="*/ 1047750 h 1744979"/>
                  <a:gd name="connsiteX3942" fmla="*/ 1479233 w 1969770"/>
                  <a:gd name="connsiteY3942" fmla="*/ 1059180 h 1744979"/>
                  <a:gd name="connsiteX3943" fmla="*/ 1473518 w 1969770"/>
                  <a:gd name="connsiteY3943" fmla="*/ 1070610 h 1744979"/>
                  <a:gd name="connsiteX3944" fmla="*/ 1467803 w 1969770"/>
                  <a:gd name="connsiteY3944" fmla="*/ 1082040 h 1744979"/>
                  <a:gd name="connsiteX3945" fmla="*/ 1462088 w 1969770"/>
                  <a:gd name="connsiteY3945" fmla="*/ 1092518 h 1744979"/>
                  <a:gd name="connsiteX3946" fmla="*/ 1455420 w 1969770"/>
                  <a:gd name="connsiteY3946" fmla="*/ 1102995 h 1744979"/>
                  <a:gd name="connsiteX3947" fmla="*/ 1448753 w 1969770"/>
                  <a:gd name="connsiteY3947" fmla="*/ 1113473 h 1744979"/>
                  <a:gd name="connsiteX3948" fmla="*/ 1442085 w 1969770"/>
                  <a:gd name="connsiteY3948" fmla="*/ 1123950 h 1744979"/>
                  <a:gd name="connsiteX3949" fmla="*/ 1438275 w 1969770"/>
                  <a:gd name="connsiteY3949" fmla="*/ 1133475 h 1744979"/>
                  <a:gd name="connsiteX3950" fmla="*/ 1430655 w 1969770"/>
                  <a:gd name="connsiteY3950" fmla="*/ 1143953 h 1744979"/>
                  <a:gd name="connsiteX3951" fmla="*/ 1423035 w 1969770"/>
                  <a:gd name="connsiteY3951" fmla="*/ 1153478 h 1744979"/>
                  <a:gd name="connsiteX3952" fmla="*/ 1415415 w 1969770"/>
                  <a:gd name="connsiteY3952" fmla="*/ 1163003 h 1744979"/>
                  <a:gd name="connsiteX3953" fmla="*/ 1407795 w 1969770"/>
                  <a:gd name="connsiteY3953" fmla="*/ 1172528 h 1744979"/>
                  <a:gd name="connsiteX3954" fmla="*/ 1400175 w 1969770"/>
                  <a:gd name="connsiteY3954" fmla="*/ 1182053 h 1744979"/>
                  <a:gd name="connsiteX3955" fmla="*/ 1391603 w 1969770"/>
                  <a:gd name="connsiteY3955" fmla="*/ 1191578 h 1744979"/>
                  <a:gd name="connsiteX3956" fmla="*/ 1385888 w 1969770"/>
                  <a:gd name="connsiteY3956" fmla="*/ 1201103 h 1744979"/>
                  <a:gd name="connsiteX3957" fmla="*/ 1461135 w 1969770"/>
                  <a:gd name="connsiteY3957" fmla="*/ 1278255 h 1744979"/>
                  <a:gd name="connsiteX3958" fmla="*/ 1471613 w 1969770"/>
                  <a:gd name="connsiteY3958" fmla="*/ 1267778 h 1744979"/>
                  <a:gd name="connsiteX3959" fmla="*/ 1481138 w 1969770"/>
                  <a:gd name="connsiteY3959" fmla="*/ 1256348 h 1744979"/>
                  <a:gd name="connsiteX3960" fmla="*/ 1490663 w 1969770"/>
                  <a:gd name="connsiteY3960" fmla="*/ 1244918 h 1744979"/>
                  <a:gd name="connsiteX3961" fmla="*/ 1500188 w 1969770"/>
                  <a:gd name="connsiteY3961" fmla="*/ 1233488 h 1744979"/>
                  <a:gd name="connsiteX3962" fmla="*/ 1509713 w 1969770"/>
                  <a:gd name="connsiteY3962" fmla="*/ 1222058 h 1744979"/>
                  <a:gd name="connsiteX3963" fmla="*/ 1518285 w 1969770"/>
                  <a:gd name="connsiteY3963" fmla="*/ 1209675 h 1744979"/>
                  <a:gd name="connsiteX3964" fmla="*/ 1526858 w 1969770"/>
                  <a:gd name="connsiteY3964" fmla="*/ 1197293 h 1744979"/>
                  <a:gd name="connsiteX3965" fmla="*/ 1535430 w 1969770"/>
                  <a:gd name="connsiteY3965" fmla="*/ 1184910 h 1744979"/>
                  <a:gd name="connsiteX3966" fmla="*/ 1543050 w 1969770"/>
                  <a:gd name="connsiteY3966" fmla="*/ 1171575 h 1744979"/>
                  <a:gd name="connsiteX3967" fmla="*/ 1550670 w 1969770"/>
                  <a:gd name="connsiteY3967" fmla="*/ 1159193 h 1744979"/>
                  <a:gd name="connsiteX3968" fmla="*/ 1558290 w 1969770"/>
                  <a:gd name="connsiteY3968" fmla="*/ 1145858 h 1744979"/>
                  <a:gd name="connsiteX3969" fmla="*/ 1564958 w 1969770"/>
                  <a:gd name="connsiteY3969" fmla="*/ 1132523 h 1744979"/>
                  <a:gd name="connsiteX3970" fmla="*/ 1571625 w 1969770"/>
                  <a:gd name="connsiteY3970" fmla="*/ 1119188 h 1744979"/>
                  <a:gd name="connsiteX3971" fmla="*/ 1578293 w 1969770"/>
                  <a:gd name="connsiteY3971" fmla="*/ 1105853 h 1744979"/>
                  <a:gd name="connsiteX3972" fmla="*/ 1584960 w 1969770"/>
                  <a:gd name="connsiteY3972" fmla="*/ 1091565 h 1744979"/>
                  <a:gd name="connsiteX3973" fmla="*/ 1590675 w 1969770"/>
                  <a:gd name="connsiteY3973" fmla="*/ 1077278 h 1744979"/>
                  <a:gd name="connsiteX3974" fmla="*/ 1596390 w 1969770"/>
                  <a:gd name="connsiteY3974" fmla="*/ 1062990 h 1744979"/>
                  <a:gd name="connsiteX3975" fmla="*/ 1602105 w 1969770"/>
                  <a:gd name="connsiteY3975" fmla="*/ 1048703 h 1744979"/>
                  <a:gd name="connsiteX3976" fmla="*/ 1606868 w 1969770"/>
                  <a:gd name="connsiteY3976" fmla="*/ 1034415 h 1744979"/>
                  <a:gd name="connsiteX3977" fmla="*/ 1611630 w 1969770"/>
                  <a:gd name="connsiteY3977" fmla="*/ 1020128 h 1744979"/>
                  <a:gd name="connsiteX3978" fmla="*/ 1616393 w 1969770"/>
                  <a:gd name="connsiteY3978" fmla="*/ 1004888 h 1744979"/>
                  <a:gd name="connsiteX3979" fmla="*/ 1620203 w 1969770"/>
                  <a:gd name="connsiteY3979" fmla="*/ 989648 h 1744979"/>
                  <a:gd name="connsiteX3980" fmla="*/ 1624013 w 1969770"/>
                  <a:gd name="connsiteY3980" fmla="*/ 974408 h 1744979"/>
                  <a:gd name="connsiteX3981" fmla="*/ 1627823 w 1969770"/>
                  <a:gd name="connsiteY3981" fmla="*/ 959168 h 1744979"/>
                  <a:gd name="connsiteX3982" fmla="*/ 1630680 w 1969770"/>
                  <a:gd name="connsiteY3982" fmla="*/ 943928 h 1744979"/>
                  <a:gd name="connsiteX3983" fmla="*/ 1633538 w 1969770"/>
                  <a:gd name="connsiteY3983" fmla="*/ 928688 h 1744979"/>
                  <a:gd name="connsiteX3984" fmla="*/ 1635443 w 1969770"/>
                  <a:gd name="connsiteY3984" fmla="*/ 912495 h 1744979"/>
                  <a:gd name="connsiteX3985" fmla="*/ 1637348 w 1969770"/>
                  <a:gd name="connsiteY3985" fmla="*/ 897255 h 1744979"/>
                  <a:gd name="connsiteX3986" fmla="*/ 1639253 w 1969770"/>
                  <a:gd name="connsiteY3986" fmla="*/ 881063 h 1744979"/>
                  <a:gd name="connsiteX3987" fmla="*/ 1640205 w 1969770"/>
                  <a:gd name="connsiteY3987" fmla="*/ 864870 h 1744979"/>
                  <a:gd name="connsiteX3988" fmla="*/ 1641158 w 1969770"/>
                  <a:gd name="connsiteY3988" fmla="*/ 848678 h 1744979"/>
                  <a:gd name="connsiteX3989" fmla="*/ 1644968 w 1969770"/>
                  <a:gd name="connsiteY3989" fmla="*/ 835343 h 1744979"/>
                  <a:gd name="connsiteX3990" fmla="*/ 1644968 w 1969770"/>
                  <a:gd name="connsiteY3990" fmla="*/ 835343 h 17449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  <a:cxn ang="0">
                    <a:pos x="connsiteX3006" y="connsiteY3006"/>
                  </a:cxn>
                  <a:cxn ang="0">
                    <a:pos x="connsiteX3007" y="connsiteY3007"/>
                  </a:cxn>
                  <a:cxn ang="0">
                    <a:pos x="connsiteX3008" y="connsiteY3008"/>
                  </a:cxn>
                  <a:cxn ang="0">
                    <a:pos x="connsiteX3009" y="connsiteY3009"/>
                  </a:cxn>
                  <a:cxn ang="0">
                    <a:pos x="connsiteX3010" y="connsiteY3010"/>
                  </a:cxn>
                  <a:cxn ang="0">
                    <a:pos x="connsiteX3011" y="connsiteY3011"/>
                  </a:cxn>
                  <a:cxn ang="0">
                    <a:pos x="connsiteX3012" y="connsiteY3012"/>
                  </a:cxn>
                  <a:cxn ang="0">
                    <a:pos x="connsiteX3013" y="connsiteY3013"/>
                  </a:cxn>
                  <a:cxn ang="0">
                    <a:pos x="connsiteX3014" y="connsiteY3014"/>
                  </a:cxn>
                  <a:cxn ang="0">
                    <a:pos x="connsiteX3015" y="connsiteY3015"/>
                  </a:cxn>
                  <a:cxn ang="0">
                    <a:pos x="connsiteX3016" y="connsiteY3016"/>
                  </a:cxn>
                  <a:cxn ang="0">
                    <a:pos x="connsiteX3017" y="connsiteY3017"/>
                  </a:cxn>
                  <a:cxn ang="0">
                    <a:pos x="connsiteX3018" y="connsiteY3018"/>
                  </a:cxn>
                  <a:cxn ang="0">
                    <a:pos x="connsiteX3019" y="connsiteY3019"/>
                  </a:cxn>
                  <a:cxn ang="0">
                    <a:pos x="connsiteX3020" y="connsiteY3020"/>
                  </a:cxn>
                  <a:cxn ang="0">
                    <a:pos x="connsiteX3021" y="connsiteY3021"/>
                  </a:cxn>
                  <a:cxn ang="0">
                    <a:pos x="connsiteX3022" y="connsiteY3022"/>
                  </a:cxn>
                  <a:cxn ang="0">
                    <a:pos x="connsiteX3023" y="connsiteY3023"/>
                  </a:cxn>
                  <a:cxn ang="0">
                    <a:pos x="connsiteX3024" y="connsiteY3024"/>
                  </a:cxn>
                  <a:cxn ang="0">
                    <a:pos x="connsiteX3025" y="connsiteY3025"/>
                  </a:cxn>
                  <a:cxn ang="0">
                    <a:pos x="connsiteX3026" y="connsiteY3026"/>
                  </a:cxn>
                  <a:cxn ang="0">
                    <a:pos x="connsiteX3027" y="connsiteY3027"/>
                  </a:cxn>
                  <a:cxn ang="0">
                    <a:pos x="connsiteX3028" y="connsiteY3028"/>
                  </a:cxn>
                  <a:cxn ang="0">
                    <a:pos x="connsiteX3029" y="connsiteY3029"/>
                  </a:cxn>
                  <a:cxn ang="0">
                    <a:pos x="connsiteX3030" y="connsiteY3030"/>
                  </a:cxn>
                  <a:cxn ang="0">
                    <a:pos x="connsiteX3031" y="connsiteY3031"/>
                  </a:cxn>
                  <a:cxn ang="0">
                    <a:pos x="connsiteX3032" y="connsiteY3032"/>
                  </a:cxn>
                  <a:cxn ang="0">
                    <a:pos x="connsiteX3033" y="connsiteY3033"/>
                  </a:cxn>
                  <a:cxn ang="0">
                    <a:pos x="connsiteX3034" y="connsiteY3034"/>
                  </a:cxn>
                  <a:cxn ang="0">
                    <a:pos x="connsiteX3035" y="connsiteY3035"/>
                  </a:cxn>
                  <a:cxn ang="0">
                    <a:pos x="connsiteX3036" y="connsiteY3036"/>
                  </a:cxn>
                  <a:cxn ang="0">
                    <a:pos x="connsiteX3037" y="connsiteY3037"/>
                  </a:cxn>
                  <a:cxn ang="0">
                    <a:pos x="connsiteX3038" y="connsiteY3038"/>
                  </a:cxn>
                  <a:cxn ang="0">
                    <a:pos x="connsiteX3039" y="connsiteY3039"/>
                  </a:cxn>
                  <a:cxn ang="0">
                    <a:pos x="connsiteX3040" y="connsiteY3040"/>
                  </a:cxn>
                  <a:cxn ang="0">
                    <a:pos x="connsiteX3041" y="connsiteY3041"/>
                  </a:cxn>
                  <a:cxn ang="0">
                    <a:pos x="connsiteX3042" y="connsiteY3042"/>
                  </a:cxn>
                  <a:cxn ang="0">
                    <a:pos x="connsiteX3043" y="connsiteY3043"/>
                  </a:cxn>
                  <a:cxn ang="0">
                    <a:pos x="connsiteX3044" y="connsiteY3044"/>
                  </a:cxn>
                  <a:cxn ang="0">
                    <a:pos x="connsiteX3045" y="connsiteY3045"/>
                  </a:cxn>
                  <a:cxn ang="0">
                    <a:pos x="connsiteX3046" y="connsiteY3046"/>
                  </a:cxn>
                  <a:cxn ang="0">
                    <a:pos x="connsiteX3047" y="connsiteY3047"/>
                  </a:cxn>
                  <a:cxn ang="0">
                    <a:pos x="connsiteX3048" y="connsiteY3048"/>
                  </a:cxn>
                  <a:cxn ang="0">
                    <a:pos x="connsiteX3049" y="connsiteY3049"/>
                  </a:cxn>
                  <a:cxn ang="0">
                    <a:pos x="connsiteX3050" y="connsiteY3050"/>
                  </a:cxn>
                  <a:cxn ang="0">
                    <a:pos x="connsiteX3051" y="connsiteY3051"/>
                  </a:cxn>
                  <a:cxn ang="0">
                    <a:pos x="connsiteX3052" y="connsiteY3052"/>
                  </a:cxn>
                  <a:cxn ang="0">
                    <a:pos x="connsiteX3053" y="connsiteY3053"/>
                  </a:cxn>
                  <a:cxn ang="0">
                    <a:pos x="connsiteX3054" y="connsiteY3054"/>
                  </a:cxn>
                  <a:cxn ang="0">
                    <a:pos x="connsiteX3055" y="connsiteY3055"/>
                  </a:cxn>
                  <a:cxn ang="0">
                    <a:pos x="connsiteX3056" y="connsiteY3056"/>
                  </a:cxn>
                  <a:cxn ang="0">
                    <a:pos x="connsiteX3057" y="connsiteY3057"/>
                  </a:cxn>
                  <a:cxn ang="0">
                    <a:pos x="connsiteX3058" y="connsiteY3058"/>
                  </a:cxn>
                  <a:cxn ang="0">
                    <a:pos x="connsiteX3059" y="connsiteY3059"/>
                  </a:cxn>
                  <a:cxn ang="0">
                    <a:pos x="connsiteX3060" y="connsiteY3060"/>
                  </a:cxn>
                  <a:cxn ang="0">
                    <a:pos x="connsiteX3061" y="connsiteY3061"/>
                  </a:cxn>
                  <a:cxn ang="0">
                    <a:pos x="connsiteX3062" y="connsiteY3062"/>
                  </a:cxn>
                  <a:cxn ang="0">
                    <a:pos x="connsiteX3063" y="connsiteY3063"/>
                  </a:cxn>
                  <a:cxn ang="0">
                    <a:pos x="connsiteX3064" y="connsiteY3064"/>
                  </a:cxn>
                  <a:cxn ang="0">
                    <a:pos x="connsiteX3065" y="connsiteY3065"/>
                  </a:cxn>
                  <a:cxn ang="0">
                    <a:pos x="connsiteX3066" y="connsiteY3066"/>
                  </a:cxn>
                  <a:cxn ang="0">
                    <a:pos x="connsiteX3067" y="connsiteY3067"/>
                  </a:cxn>
                  <a:cxn ang="0">
                    <a:pos x="connsiteX3068" y="connsiteY3068"/>
                  </a:cxn>
                  <a:cxn ang="0">
                    <a:pos x="connsiteX3069" y="connsiteY3069"/>
                  </a:cxn>
                  <a:cxn ang="0">
                    <a:pos x="connsiteX3070" y="connsiteY3070"/>
                  </a:cxn>
                  <a:cxn ang="0">
                    <a:pos x="connsiteX3071" y="connsiteY3071"/>
                  </a:cxn>
                  <a:cxn ang="0">
                    <a:pos x="connsiteX3072" y="connsiteY3072"/>
                  </a:cxn>
                  <a:cxn ang="0">
                    <a:pos x="connsiteX3073" y="connsiteY3073"/>
                  </a:cxn>
                  <a:cxn ang="0">
                    <a:pos x="connsiteX3074" y="connsiteY3074"/>
                  </a:cxn>
                  <a:cxn ang="0">
                    <a:pos x="connsiteX3075" y="connsiteY3075"/>
                  </a:cxn>
                  <a:cxn ang="0">
                    <a:pos x="connsiteX3076" y="connsiteY3076"/>
                  </a:cxn>
                  <a:cxn ang="0">
                    <a:pos x="connsiteX3077" y="connsiteY3077"/>
                  </a:cxn>
                  <a:cxn ang="0">
                    <a:pos x="connsiteX3078" y="connsiteY3078"/>
                  </a:cxn>
                  <a:cxn ang="0">
                    <a:pos x="connsiteX3079" y="connsiteY3079"/>
                  </a:cxn>
                  <a:cxn ang="0">
                    <a:pos x="connsiteX3080" y="connsiteY3080"/>
                  </a:cxn>
                  <a:cxn ang="0">
                    <a:pos x="connsiteX3081" y="connsiteY3081"/>
                  </a:cxn>
                  <a:cxn ang="0">
                    <a:pos x="connsiteX3082" y="connsiteY3082"/>
                  </a:cxn>
                  <a:cxn ang="0">
                    <a:pos x="connsiteX3083" y="connsiteY3083"/>
                  </a:cxn>
                  <a:cxn ang="0">
                    <a:pos x="connsiteX3084" y="connsiteY3084"/>
                  </a:cxn>
                  <a:cxn ang="0">
                    <a:pos x="connsiteX3085" y="connsiteY3085"/>
                  </a:cxn>
                  <a:cxn ang="0">
                    <a:pos x="connsiteX3086" y="connsiteY3086"/>
                  </a:cxn>
                  <a:cxn ang="0">
                    <a:pos x="connsiteX3087" y="connsiteY3087"/>
                  </a:cxn>
                  <a:cxn ang="0">
                    <a:pos x="connsiteX3088" y="connsiteY3088"/>
                  </a:cxn>
                  <a:cxn ang="0">
                    <a:pos x="connsiteX3089" y="connsiteY3089"/>
                  </a:cxn>
                  <a:cxn ang="0">
                    <a:pos x="connsiteX3090" y="connsiteY3090"/>
                  </a:cxn>
                  <a:cxn ang="0">
                    <a:pos x="connsiteX3091" y="connsiteY3091"/>
                  </a:cxn>
                  <a:cxn ang="0">
                    <a:pos x="connsiteX3092" y="connsiteY3092"/>
                  </a:cxn>
                  <a:cxn ang="0">
                    <a:pos x="connsiteX3093" y="connsiteY3093"/>
                  </a:cxn>
                  <a:cxn ang="0">
                    <a:pos x="connsiteX3094" y="connsiteY3094"/>
                  </a:cxn>
                  <a:cxn ang="0">
                    <a:pos x="connsiteX3095" y="connsiteY3095"/>
                  </a:cxn>
                  <a:cxn ang="0">
                    <a:pos x="connsiteX3096" y="connsiteY3096"/>
                  </a:cxn>
                  <a:cxn ang="0">
                    <a:pos x="connsiteX3097" y="connsiteY3097"/>
                  </a:cxn>
                  <a:cxn ang="0">
                    <a:pos x="connsiteX3098" y="connsiteY3098"/>
                  </a:cxn>
                  <a:cxn ang="0">
                    <a:pos x="connsiteX3099" y="connsiteY3099"/>
                  </a:cxn>
                  <a:cxn ang="0">
                    <a:pos x="connsiteX3100" y="connsiteY3100"/>
                  </a:cxn>
                  <a:cxn ang="0">
                    <a:pos x="connsiteX3101" y="connsiteY3101"/>
                  </a:cxn>
                  <a:cxn ang="0">
                    <a:pos x="connsiteX3102" y="connsiteY3102"/>
                  </a:cxn>
                  <a:cxn ang="0">
                    <a:pos x="connsiteX3103" y="connsiteY3103"/>
                  </a:cxn>
                  <a:cxn ang="0">
                    <a:pos x="connsiteX3104" y="connsiteY3104"/>
                  </a:cxn>
                  <a:cxn ang="0">
                    <a:pos x="connsiteX3105" y="connsiteY3105"/>
                  </a:cxn>
                  <a:cxn ang="0">
                    <a:pos x="connsiteX3106" y="connsiteY3106"/>
                  </a:cxn>
                  <a:cxn ang="0">
                    <a:pos x="connsiteX3107" y="connsiteY3107"/>
                  </a:cxn>
                  <a:cxn ang="0">
                    <a:pos x="connsiteX3108" y="connsiteY3108"/>
                  </a:cxn>
                  <a:cxn ang="0">
                    <a:pos x="connsiteX3109" y="connsiteY3109"/>
                  </a:cxn>
                  <a:cxn ang="0">
                    <a:pos x="connsiteX3110" y="connsiteY3110"/>
                  </a:cxn>
                  <a:cxn ang="0">
                    <a:pos x="connsiteX3111" y="connsiteY3111"/>
                  </a:cxn>
                  <a:cxn ang="0">
                    <a:pos x="connsiteX3112" y="connsiteY3112"/>
                  </a:cxn>
                  <a:cxn ang="0">
                    <a:pos x="connsiteX3113" y="connsiteY3113"/>
                  </a:cxn>
                  <a:cxn ang="0">
                    <a:pos x="connsiteX3114" y="connsiteY3114"/>
                  </a:cxn>
                  <a:cxn ang="0">
                    <a:pos x="connsiteX3115" y="connsiteY3115"/>
                  </a:cxn>
                  <a:cxn ang="0">
                    <a:pos x="connsiteX3116" y="connsiteY3116"/>
                  </a:cxn>
                  <a:cxn ang="0">
                    <a:pos x="connsiteX3117" y="connsiteY3117"/>
                  </a:cxn>
                  <a:cxn ang="0">
                    <a:pos x="connsiteX3118" y="connsiteY3118"/>
                  </a:cxn>
                  <a:cxn ang="0">
                    <a:pos x="connsiteX3119" y="connsiteY3119"/>
                  </a:cxn>
                  <a:cxn ang="0">
                    <a:pos x="connsiteX3120" y="connsiteY3120"/>
                  </a:cxn>
                  <a:cxn ang="0">
                    <a:pos x="connsiteX3121" y="connsiteY3121"/>
                  </a:cxn>
                  <a:cxn ang="0">
                    <a:pos x="connsiteX3122" y="connsiteY3122"/>
                  </a:cxn>
                  <a:cxn ang="0">
                    <a:pos x="connsiteX3123" y="connsiteY3123"/>
                  </a:cxn>
                  <a:cxn ang="0">
                    <a:pos x="connsiteX3124" y="connsiteY3124"/>
                  </a:cxn>
                  <a:cxn ang="0">
                    <a:pos x="connsiteX3125" y="connsiteY3125"/>
                  </a:cxn>
                  <a:cxn ang="0">
                    <a:pos x="connsiteX3126" y="connsiteY3126"/>
                  </a:cxn>
                  <a:cxn ang="0">
                    <a:pos x="connsiteX3127" y="connsiteY3127"/>
                  </a:cxn>
                  <a:cxn ang="0">
                    <a:pos x="connsiteX3128" y="connsiteY3128"/>
                  </a:cxn>
                  <a:cxn ang="0">
                    <a:pos x="connsiteX3129" y="connsiteY3129"/>
                  </a:cxn>
                  <a:cxn ang="0">
                    <a:pos x="connsiteX3130" y="connsiteY3130"/>
                  </a:cxn>
                  <a:cxn ang="0">
                    <a:pos x="connsiteX3131" y="connsiteY3131"/>
                  </a:cxn>
                  <a:cxn ang="0">
                    <a:pos x="connsiteX3132" y="connsiteY3132"/>
                  </a:cxn>
                  <a:cxn ang="0">
                    <a:pos x="connsiteX3133" y="connsiteY3133"/>
                  </a:cxn>
                  <a:cxn ang="0">
                    <a:pos x="connsiteX3134" y="connsiteY3134"/>
                  </a:cxn>
                  <a:cxn ang="0">
                    <a:pos x="connsiteX3135" y="connsiteY3135"/>
                  </a:cxn>
                  <a:cxn ang="0">
                    <a:pos x="connsiteX3136" y="connsiteY3136"/>
                  </a:cxn>
                  <a:cxn ang="0">
                    <a:pos x="connsiteX3137" y="connsiteY3137"/>
                  </a:cxn>
                  <a:cxn ang="0">
                    <a:pos x="connsiteX3138" y="connsiteY3138"/>
                  </a:cxn>
                  <a:cxn ang="0">
                    <a:pos x="connsiteX3139" y="connsiteY3139"/>
                  </a:cxn>
                  <a:cxn ang="0">
                    <a:pos x="connsiteX3140" y="connsiteY3140"/>
                  </a:cxn>
                  <a:cxn ang="0">
                    <a:pos x="connsiteX3141" y="connsiteY3141"/>
                  </a:cxn>
                  <a:cxn ang="0">
                    <a:pos x="connsiteX3142" y="connsiteY3142"/>
                  </a:cxn>
                  <a:cxn ang="0">
                    <a:pos x="connsiteX3143" y="connsiteY3143"/>
                  </a:cxn>
                  <a:cxn ang="0">
                    <a:pos x="connsiteX3144" y="connsiteY3144"/>
                  </a:cxn>
                  <a:cxn ang="0">
                    <a:pos x="connsiteX3145" y="connsiteY3145"/>
                  </a:cxn>
                  <a:cxn ang="0">
                    <a:pos x="connsiteX3146" y="connsiteY3146"/>
                  </a:cxn>
                  <a:cxn ang="0">
                    <a:pos x="connsiteX3147" y="connsiteY3147"/>
                  </a:cxn>
                  <a:cxn ang="0">
                    <a:pos x="connsiteX3148" y="connsiteY3148"/>
                  </a:cxn>
                  <a:cxn ang="0">
                    <a:pos x="connsiteX3149" y="connsiteY3149"/>
                  </a:cxn>
                  <a:cxn ang="0">
                    <a:pos x="connsiteX3150" y="connsiteY3150"/>
                  </a:cxn>
                  <a:cxn ang="0">
                    <a:pos x="connsiteX3151" y="connsiteY3151"/>
                  </a:cxn>
                  <a:cxn ang="0">
                    <a:pos x="connsiteX3152" y="connsiteY3152"/>
                  </a:cxn>
                  <a:cxn ang="0">
                    <a:pos x="connsiteX3153" y="connsiteY3153"/>
                  </a:cxn>
                  <a:cxn ang="0">
                    <a:pos x="connsiteX3154" y="connsiteY3154"/>
                  </a:cxn>
                  <a:cxn ang="0">
                    <a:pos x="connsiteX3155" y="connsiteY3155"/>
                  </a:cxn>
                  <a:cxn ang="0">
                    <a:pos x="connsiteX3156" y="connsiteY3156"/>
                  </a:cxn>
                  <a:cxn ang="0">
                    <a:pos x="connsiteX3157" y="connsiteY3157"/>
                  </a:cxn>
                  <a:cxn ang="0">
                    <a:pos x="connsiteX3158" y="connsiteY3158"/>
                  </a:cxn>
                  <a:cxn ang="0">
                    <a:pos x="connsiteX3159" y="connsiteY3159"/>
                  </a:cxn>
                  <a:cxn ang="0">
                    <a:pos x="connsiteX3160" y="connsiteY3160"/>
                  </a:cxn>
                  <a:cxn ang="0">
                    <a:pos x="connsiteX3161" y="connsiteY3161"/>
                  </a:cxn>
                  <a:cxn ang="0">
                    <a:pos x="connsiteX3162" y="connsiteY3162"/>
                  </a:cxn>
                  <a:cxn ang="0">
                    <a:pos x="connsiteX3163" y="connsiteY3163"/>
                  </a:cxn>
                  <a:cxn ang="0">
                    <a:pos x="connsiteX3164" y="connsiteY3164"/>
                  </a:cxn>
                  <a:cxn ang="0">
                    <a:pos x="connsiteX3165" y="connsiteY3165"/>
                  </a:cxn>
                  <a:cxn ang="0">
                    <a:pos x="connsiteX3166" y="connsiteY3166"/>
                  </a:cxn>
                  <a:cxn ang="0">
                    <a:pos x="connsiteX3167" y="connsiteY3167"/>
                  </a:cxn>
                  <a:cxn ang="0">
                    <a:pos x="connsiteX3168" y="connsiteY3168"/>
                  </a:cxn>
                  <a:cxn ang="0">
                    <a:pos x="connsiteX3169" y="connsiteY3169"/>
                  </a:cxn>
                  <a:cxn ang="0">
                    <a:pos x="connsiteX3170" y="connsiteY3170"/>
                  </a:cxn>
                  <a:cxn ang="0">
                    <a:pos x="connsiteX3171" y="connsiteY3171"/>
                  </a:cxn>
                  <a:cxn ang="0">
                    <a:pos x="connsiteX3172" y="connsiteY3172"/>
                  </a:cxn>
                  <a:cxn ang="0">
                    <a:pos x="connsiteX3173" y="connsiteY3173"/>
                  </a:cxn>
                  <a:cxn ang="0">
                    <a:pos x="connsiteX3174" y="connsiteY3174"/>
                  </a:cxn>
                  <a:cxn ang="0">
                    <a:pos x="connsiteX3175" y="connsiteY3175"/>
                  </a:cxn>
                  <a:cxn ang="0">
                    <a:pos x="connsiteX3176" y="connsiteY3176"/>
                  </a:cxn>
                  <a:cxn ang="0">
                    <a:pos x="connsiteX3177" y="connsiteY3177"/>
                  </a:cxn>
                  <a:cxn ang="0">
                    <a:pos x="connsiteX3178" y="connsiteY3178"/>
                  </a:cxn>
                  <a:cxn ang="0">
                    <a:pos x="connsiteX3179" y="connsiteY3179"/>
                  </a:cxn>
                  <a:cxn ang="0">
                    <a:pos x="connsiteX3180" y="connsiteY3180"/>
                  </a:cxn>
                  <a:cxn ang="0">
                    <a:pos x="connsiteX3181" y="connsiteY3181"/>
                  </a:cxn>
                  <a:cxn ang="0">
                    <a:pos x="connsiteX3182" y="connsiteY3182"/>
                  </a:cxn>
                  <a:cxn ang="0">
                    <a:pos x="connsiteX3183" y="connsiteY3183"/>
                  </a:cxn>
                  <a:cxn ang="0">
                    <a:pos x="connsiteX3184" y="connsiteY3184"/>
                  </a:cxn>
                  <a:cxn ang="0">
                    <a:pos x="connsiteX3185" y="connsiteY3185"/>
                  </a:cxn>
                  <a:cxn ang="0">
                    <a:pos x="connsiteX3186" y="connsiteY3186"/>
                  </a:cxn>
                  <a:cxn ang="0">
                    <a:pos x="connsiteX3187" y="connsiteY3187"/>
                  </a:cxn>
                  <a:cxn ang="0">
                    <a:pos x="connsiteX3188" y="connsiteY3188"/>
                  </a:cxn>
                  <a:cxn ang="0">
                    <a:pos x="connsiteX3189" y="connsiteY3189"/>
                  </a:cxn>
                  <a:cxn ang="0">
                    <a:pos x="connsiteX3190" y="connsiteY3190"/>
                  </a:cxn>
                  <a:cxn ang="0">
                    <a:pos x="connsiteX3191" y="connsiteY3191"/>
                  </a:cxn>
                  <a:cxn ang="0">
                    <a:pos x="connsiteX3192" y="connsiteY3192"/>
                  </a:cxn>
                  <a:cxn ang="0">
                    <a:pos x="connsiteX3193" y="connsiteY3193"/>
                  </a:cxn>
                  <a:cxn ang="0">
                    <a:pos x="connsiteX3194" y="connsiteY3194"/>
                  </a:cxn>
                  <a:cxn ang="0">
                    <a:pos x="connsiteX3195" y="connsiteY3195"/>
                  </a:cxn>
                  <a:cxn ang="0">
                    <a:pos x="connsiteX3196" y="connsiteY3196"/>
                  </a:cxn>
                  <a:cxn ang="0">
                    <a:pos x="connsiteX3197" y="connsiteY3197"/>
                  </a:cxn>
                  <a:cxn ang="0">
                    <a:pos x="connsiteX3198" y="connsiteY3198"/>
                  </a:cxn>
                  <a:cxn ang="0">
                    <a:pos x="connsiteX3199" y="connsiteY3199"/>
                  </a:cxn>
                  <a:cxn ang="0">
                    <a:pos x="connsiteX3200" y="connsiteY3200"/>
                  </a:cxn>
                  <a:cxn ang="0">
                    <a:pos x="connsiteX3201" y="connsiteY3201"/>
                  </a:cxn>
                  <a:cxn ang="0">
                    <a:pos x="connsiteX3202" y="connsiteY3202"/>
                  </a:cxn>
                  <a:cxn ang="0">
                    <a:pos x="connsiteX3203" y="connsiteY3203"/>
                  </a:cxn>
                  <a:cxn ang="0">
                    <a:pos x="connsiteX3204" y="connsiteY3204"/>
                  </a:cxn>
                  <a:cxn ang="0">
                    <a:pos x="connsiteX3205" y="connsiteY3205"/>
                  </a:cxn>
                  <a:cxn ang="0">
                    <a:pos x="connsiteX3206" y="connsiteY3206"/>
                  </a:cxn>
                  <a:cxn ang="0">
                    <a:pos x="connsiteX3207" y="connsiteY3207"/>
                  </a:cxn>
                  <a:cxn ang="0">
                    <a:pos x="connsiteX3208" y="connsiteY3208"/>
                  </a:cxn>
                  <a:cxn ang="0">
                    <a:pos x="connsiteX3209" y="connsiteY3209"/>
                  </a:cxn>
                  <a:cxn ang="0">
                    <a:pos x="connsiteX3210" y="connsiteY3210"/>
                  </a:cxn>
                  <a:cxn ang="0">
                    <a:pos x="connsiteX3211" y="connsiteY3211"/>
                  </a:cxn>
                  <a:cxn ang="0">
                    <a:pos x="connsiteX3212" y="connsiteY3212"/>
                  </a:cxn>
                  <a:cxn ang="0">
                    <a:pos x="connsiteX3213" y="connsiteY3213"/>
                  </a:cxn>
                  <a:cxn ang="0">
                    <a:pos x="connsiteX3214" y="connsiteY3214"/>
                  </a:cxn>
                  <a:cxn ang="0">
                    <a:pos x="connsiteX3215" y="connsiteY3215"/>
                  </a:cxn>
                  <a:cxn ang="0">
                    <a:pos x="connsiteX3216" y="connsiteY3216"/>
                  </a:cxn>
                  <a:cxn ang="0">
                    <a:pos x="connsiteX3217" y="connsiteY3217"/>
                  </a:cxn>
                  <a:cxn ang="0">
                    <a:pos x="connsiteX3218" y="connsiteY3218"/>
                  </a:cxn>
                  <a:cxn ang="0">
                    <a:pos x="connsiteX3219" y="connsiteY3219"/>
                  </a:cxn>
                  <a:cxn ang="0">
                    <a:pos x="connsiteX3220" y="connsiteY3220"/>
                  </a:cxn>
                  <a:cxn ang="0">
                    <a:pos x="connsiteX3221" y="connsiteY3221"/>
                  </a:cxn>
                  <a:cxn ang="0">
                    <a:pos x="connsiteX3222" y="connsiteY3222"/>
                  </a:cxn>
                  <a:cxn ang="0">
                    <a:pos x="connsiteX3223" y="connsiteY3223"/>
                  </a:cxn>
                  <a:cxn ang="0">
                    <a:pos x="connsiteX3224" y="connsiteY3224"/>
                  </a:cxn>
                  <a:cxn ang="0">
                    <a:pos x="connsiteX3225" y="connsiteY3225"/>
                  </a:cxn>
                  <a:cxn ang="0">
                    <a:pos x="connsiteX3226" y="connsiteY3226"/>
                  </a:cxn>
                  <a:cxn ang="0">
                    <a:pos x="connsiteX3227" y="connsiteY3227"/>
                  </a:cxn>
                  <a:cxn ang="0">
                    <a:pos x="connsiteX3228" y="connsiteY3228"/>
                  </a:cxn>
                  <a:cxn ang="0">
                    <a:pos x="connsiteX3229" y="connsiteY3229"/>
                  </a:cxn>
                  <a:cxn ang="0">
                    <a:pos x="connsiteX3230" y="connsiteY3230"/>
                  </a:cxn>
                  <a:cxn ang="0">
                    <a:pos x="connsiteX3231" y="connsiteY3231"/>
                  </a:cxn>
                  <a:cxn ang="0">
                    <a:pos x="connsiteX3232" y="connsiteY3232"/>
                  </a:cxn>
                  <a:cxn ang="0">
                    <a:pos x="connsiteX3233" y="connsiteY3233"/>
                  </a:cxn>
                  <a:cxn ang="0">
                    <a:pos x="connsiteX3234" y="connsiteY3234"/>
                  </a:cxn>
                  <a:cxn ang="0">
                    <a:pos x="connsiteX3235" y="connsiteY3235"/>
                  </a:cxn>
                  <a:cxn ang="0">
                    <a:pos x="connsiteX3236" y="connsiteY3236"/>
                  </a:cxn>
                  <a:cxn ang="0">
                    <a:pos x="connsiteX3237" y="connsiteY3237"/>
                  </a:cxn>
                  <a:cxn ang="0">
                    <a:pos x="connsiteX3238" y="connsiteY3238"/>
                  </a:cxn>
                  <a:cxn ang="0">
                    <a:pos x="connsiteX3239" y="connsiteY3239"/>
                  </a:cxn>
                  <a:cxn ang="0">
                    <a:pos x="connsiteX3240" y="connsiteY3240"/>
                  </a:cxn>
                  <a:cxn ang="0">
                    <a:pos x="connsiteX3241" y="connsiteY3241"/>
                  </a:cxn>
                  <a:cxn ang="0">
                    <a:pos x="connsiteX3242" y="connsiteY3242"/>
                  </a:cxn>
                  <a:cxn ang="0">
                    <a:pos x="connsiteX3243" y="connsiteY3243"/>
                  </a:cxn>
                  <a:cxn ang="0">
                    <a:pos x="connsiteX3244" y="connsiteY3244"/>
                  </a:cxn>
                  <a:cxn ang="0">
                    <a:pos x="connsiteX3245" y="connsiteY3245"/>
                  </a:cxn>
                  <a:cxn ang="0">
                    <a:pos x="connsiteX3246" y="connsiteY3246"/>
                  </a:cxn>
                  <a:cxn ang="0">
                    <a:pos x="connsiteX3247" y="connsiteY3247"/>
                  </a:cxn>
                  <a:cxn ang="0">
                    <a:pos x="connsiteX3248" y="connsiteY3248"/>
                  </a:cxn>
                  <a:cxn ang="0">
                    <a:pos x="connsiteX3249" y="connsiteY3249"/>
                  </a:cxn>
                  <a:cxn ang="0">
                    <a:pos x="connsiteX3250" y="connsiteY3250"/>
                  </a:cxn>
                  <a:cxn ang="0">
                    <a:pos x="connsiteX3251" y="connsiteY3251"/>
                  </a:cxn>
                  <a:cxn ang="0">
                    <a:pos x="connsiteX3252" y="connsiteY3252"/>
                  </a:cxn>
                  <a:cxn ang="0">
                    <a:pos x="connsiteX3253" y="connsiteY3253"/>
                  </a:cxn>
                  <a:cxn ang="0">
                    <a:pos x="connsiteX3254" y="connsiteY3254"/>
                  </a:cxn>
                  <a:cxn ang="0">
                    <a:pos x="connsiteX3255" y="connsiteY3255"/>
                  </a:cxn>
                  <a:cxn ang="0">
                    <a:pos x="connsiteX3256" y="connsiteY3256"/>
                  </a:cxn>
                  <a:cxn ang="0">
                    <a:pos x="connsiteX3257" y="connsiteY3257"/>
                  </a:cxn>
                  <a:cxn ang="0">
                    <a:pos x="connsiteX3258" y="connsiteY3258"/>
                  </a:cxn>
                  <a:cxn ang="0">
                    <a:pos x="connsiteX3259" y="connsiteY3259"/>
                  </a:cxn>
                  <a:cxn ang="0">
                    <a:pos x="connsiteX3260" y="connsiteY3260"/>
                  </a:cxn>
                  <a:cxn ang="0">
                    <a:pos x="connsiteX3261" y="connsiteY3261"/>
                  </a:cxn>
                  <a:cxn ang="0">
                    <a:pos x="connsiteX3262" y="connsiteY3262"/>
                  </a:cxn>
                  <a:cxn ang="0">
                    <a:pos x="connsiteX3263" y="connsiteY3263"/>
                  </a:cxn>
                  <a:cxn ang="0">
                    <a:pos x="connsiteX3264" y="connsiteY3264"/>
                  </a:cxn>
                  <a:cxn ang="0">
                    <a:pos x="connsiteX3265" y="connsiteY3265"/>
                  </a:cxn>
                  <a:cxn ang="0">
                    <a:pos x="connsiteX3266" y="connsiteY3266"/>
                  </a:cxn>
                  <a:cxn ang="0">
                    <a:pos x="connsiteX3267" y="connsiteY3267"/>
                  </a:cxn>
                  <a:cxn ang="0">
                    <a:pos x="connsiteX3268" y="connsiteY3268"/>
                  </a:cxn>
                  <a:cxn ang="0">
                    <a:pos x="connsiteX3269" y="connsiteY3269"/>
                  </a:cxn>
                  <a:cxn ang="0">
                    <a:pos x="connsiteX3270" y="connsiteY3270"/>
                  </a:cxn>
                  <a:cxn ang="0">
                    <a:pos x="connsiteX3271" y="connsiteY3271"/>
                  </a:cxn>
                  <a:cxn ang="0">
                    <a:pos x="connsiteX3272" y="connsiteY3272"/>
                  </a:cxn>
                  <a:cxn ang="0">
                    <a:pos x="connsiteX3273" y="connsiteY3273"/>
                  </a:cxn>
                  <a:cxn ang="0">
                    <a:pos x="connsiteX3274" y="connsiteY3274"/>
                  </a:cxn>
                  <a:cxn ang="0">
                    <a:pos x="connsiteX3275" y="connsiteY3275"/>
                  </a:cxn>
                  <a:cxn ang="0">
                    <a:pos x="connsiteX3276" y="connsiteY3276"/>
                  </a:cxn>
                  <a:cxn ang="0">
                    <a:pos x="connsiteX3277" y="connsiteY3277"/>
                  </a:cxn>
                  <a:cxn ang="0">
                    <a:pos x="connsiteX3278" y="connsiteY3278"/>
                  </a:cxn>
                  <a:cxn ang="0">
                    <a:pos x="connsiteX3279" y="connsiteY3279"/>
                  </a:cxn>
                  <a:cxn ang="0">
                    <a:pos x="connsiteX3280" y="connsiteY3280"/>
                  </a:cxn>
                  <a:cxn ang="0">
                    <a:pos x="connsiteX3281" y="connsiteY3281"/>
                  </a:cxn>
                  <a:cxn ang="0">
                    <a:pos x="connsiteX3282" y="connsiteY3282"/>
                  </a:cxn>
                  <a:cxn ang="0">
                    <a:pos x="connsiteX3283" y="connsiteY3283"/>
                  </a:cxn>
                  <a:cxn ang="0">
                    <a:pos x="connsiteX3284" y="connsiteY3284"/>
                  </a:cxn>
                  <a:cxn ang="0">
                    <a:pos x="connsiteX3285" y="connsiteY3285"/>
                  </a:cxn>
                  <a:cxn ang="0">
                    <a:pos x="connsiteX3286" y="connsiteY3286"/>
                  </a:cxn>
                  <a:cxn ang="0">
                    <a:pos x="connsiteX3287" y="connsiteY3287"/>
                  </a:cxn>
                  <a:cxn ang="0">
                    <a:pos x="connsiteX3288" y="connsiteY3288"/>
                  </a:cxn>
                  <a:cxn ang="0">
                    <a:pos x="connsiteX3289" y="connsiteY3289"/>
                  </a:cxn>
                  <a:cxn ang="0">
                    <a:pos x="connsiteX3290" y="connsiteY3290"/>
                  </a:cxn>
                  <a:cxn ang="0">
                    <a:pos x="connsiteX3291" y="connsiteY3291"/>
                  </a:cxn>
                  <a:cxn ang="0">
                    <a:pos x="connsiteX3292" y="connsiteY3292"/>
                  </a:cxn>
                  <a:cxn ang="0">
                    <a:pos x="connsiteX3293" y="connsiteY3293"/>
                  </a:cxn>
                  <a:cxn ang="0">
                    <a:pos x="connsiteX3294" y="connsiteY3294"/>
                  </a:cxn>
                  <a:cxn ang="0">
                    <a:pos x="connsiteX3295" y="connsiteY3295"/>
                  </a:cxn>
                  <a:cxn ang="0">
                    <a:pos x="connsiteX3296" y="connsiteY3296"/>
                  </a:cxn>
                  <a:cxn ang="0">
                    <a:pos x="connsiteX3297" y="connsiteY3297"/>
                  </a:cxn>
                  <a:cxn ang="0">
                    <a:pos x="connsiteX3298" y="connsiteY3298"/>
                  </a:cxn>
                  <a:cxn ang="0">
                    <a:pos x="connsiteX3299" y="connsiteY3299"/>
                  </a:cxn>
                  <a:cxn ang="0">
                    <a:pos x="connsiteX3300" y="connsiteY3300"/>
                  </a:cxn>
                  <a:cxn ang="0">
                    <a:pos x="connsiteX3301" y="connsiteY3301"/>
                  </a:cxn>
                  <a:cxn ang="0">
                    <a:pos x="connsiteX3302" y="connsiteY3302"/>
                  </a:cxn>
                  <a:cxn ang="0">
                    <a:pos x="connsiteX3303" y="connsiteY3303"/>
                  </a:cxn>
                  <a:cxn ang="0">
                    <a:pos x="connsiteX3304" y="connsiteY3304"/>
                  </a:cxn>
                  <a:cxn ang="0">
                    <a:pos x="connsiteX3305" y="connsiteY3305"/>
                  </a:cxn>
                  <a:cxn ang="0">
                    <a:pos x="connsiteX3306" y="connsiteY3306"/>
                  </a:cxn>
                  <a:cxn ang="0">
                    <a:pos x="connsiteX3307" y="connsiteY3307"/>
                  </a:cxn>
                  <a:cxn ang="0">
                    <a:pos x="connsiteX3308" y="connsiteY3308"/>
                  </a:cxn>
                  <a:cxn ang="0">
                    <a:pos x="connsiteX3309" y="connsiteY3309"/>
                  </a:cxn>
                  <a:cxn ang="0">
                    <a:pos x="connsiteX3310" y="connsiteY3310"/>
                  </a:cxn>
                  <a:cxn ang="0">
                    <a:pos x="connsiteX3311" y="connsiteY3311"/>
                  </a:cxn>
                  <a:cxn ang="0">
                    <a:pos x="connsiteX3312" y="connsiteY3312"/>
                  </a:cxn>
                  <a:cxn ang="0">
                    <a:pos x="connsiteX3313" y="connsiteY3313"/>
                  </a:cxn>
                  <a:cxn ang="0">
                    <a:pos x="connsiteX3314" y="connsiteY3314"/>
                  </a:cxn>
                  <a:cxn ang="0">
                    <a:pos x="connsiteX3315" y="connsiteY3315"/>
                  </a:cxn>
                  <a:cxn ang="0">
                    <a:pos x="connsiteX3316" y="connsiteY3316"/>
                  </a:cxn>
                  <a:cxn ang="0">
                    <a:pos x="connsiteX3317" y="connsiteY3317"/>
                  </a:cxn>
                  <a:cxn ang="0">
                    <a:pos x="connsiteX3318" y="connsiteY3318"/>
                  </a:cxn>
                  <a:cxn ang="0">
                    <a:pos x="connsiteX3319" y="connsiteY3319"/>
                  </a:cxn>
                  <a:cxn ang="0">
                    <a:pos x="connsiteX3320" y="connsiteY3320"/>
                  </a:cxn>
                  <a:cxn ang="0">
                    <a:pos x="connsiteX3321" y="connsiteY3321"/>
                  </a:cxn>
                  <a:cxn ang="0">
                    <a:pos x="connsiteX3322" y="connsiteY3322"/>
                  </a:cxn>
                  <a:cxn ang="0">
                    <a:pos x="connsiteX3323" y="connsiteY3323"/>
                  </a:cxn>
                  <a:cxn ang="0">
                    <a:pos x="connsiteX3324" y="connsiteY3324"/>
                  </a:cxn>
                  <a:cxn ang="0">
                    <a:pos x="connsiteX3325" y="connsiteY3325"/>
                  </a:cxn>
                  <a:cxn ang="0">
                    <a:pos x="connsiteX3326" y="connsiteY3326"/>
                  </a:cxn>
                  <a:cxn ang="0">
                    <a:pos x="connsiteX3327" y="connsiteY3327"/>
                  </a:cxn>
                  <a:cxn ang="0">
                    <a:pos x="connsiteX3328" y="connsiteY3328"/>
                  </a:cxn>
                  <a:cxn ang="0">
                    <a:pos x="connsiteX3329" y="connsiteY3329"/>
                  </a:cxn>
                  <a:cxn ang="0">
                    <a:pos x="connsiteX3330" y="connsiteY3330"/>
                  </a:cxn>
                  <a:cxn ang="0">
                    <a:pos x="connsiteX3331" y="connsiteY3331"/>
                  </a:cxn>
                  <a:cxn ang="0">
                    <a:pos x="connsiteX3332" y="connsiteY3332"/>
                  </a:cxn>
                  <a:cxn ang="0">
                    <a:pos x="connsiteX3333" y="connsiteY3333"/>
                  </a:cxn>
                  <a:cxn ang="0">
                    <a:pos x="connsiteX3334" y="connsiteY3334"/>
                  </a:cxn>
                  <a:cxn ang="0">
                    <a:pos x="connsiteX3335" y="connsiteY3335"/>
                  </a:cxn>
                  <a:cxn ang="0">
                    <a:pos x="connsiteX3336" y="connsiteY3336"/>
                  </a:cxn>
                  <a:cxn ang="0">
                    <a:pos x="connsiteX3337" y="connsiteY3337"/>
                  </a:cxn>
                  <a:cxn ang="0">
                    <a:pos x="connsiteX3338" y="connsiteY3338"/>
                  </a:cxn>
                  <a:cxn ang="0">
                    <a:pos x="connsiteX3339" y="connsiteY3339"/>
                  </a:cxn>
                  <a:cxn ang="0">
                    <a:pos x="connsiteX3340" y="connsiteY3340"/>
                  </a:cxn>
                  <a:cxn ang="0">
                    <a:pos x="connsiteX3341" y="connsiteY3341"/>
                  </a:cxn>
                  <a:cxn ang="0">
                    <a:pos x="connsiteX3342" y="connsiteY3342"/>
                  </a:cxn>
                  <a:cxn ang="0">
                    <a:pos x="connsiteX3343" y="connsiteY3343"/>
                  </a:cxn>
                  <a:cxn ang="0">
                    <a:pos x="connsiteX3344" y="connsiteY3344"/>
                  </a:cxn>
                  <a:cxn ang="0">
                    <a:pos x="connsiteX3345" y="connsiteY3345"/>
                  </a:cxn>
                  <a:cxn ang="0">
                    <a:pos x="connsiteX3346" y="connsiteY3346"/>
                  </a:cxn>
                  <a:cxn ang="0">
                    <a:pos x="connsiteX3347" y="connsiteY3347"/>
                  </a:cxn>
                  <a:cxn ang="0">
                    <a:pos x="connsiteX3348" y="connsiteY3348"/>
                  </a:cxn>
                  <a:cxn ang="0">
                    <a:pos x="connsiteX3349" y="connsiteY3349"/>
                  </a:cxn>
                  <a:cxn ang="0">
                    <a:pos x="connsiteX3350" y="connsiteY3350"/>
                  </a:cxn>
                  <a:cxn ang="0">
                    <a:pos x="connsiteX3351" y="connsiteY3351"/>
                  </a:cxn>
                  <a:cxn ang="0">
                    <a:pos x="connsiteX3352" y="connsiteY3352"/>
                  </a:cxn>
                  <a:cxn ang="0">
                    <a:pos x="connsiteX3353" y="connsiteY3353"/>
                  </a:cxn>
                  <a:cxn ang="0">
                    <a:pos x="connsiteX3354" y="connsiteY3354"/>
                  </a:cxn>
                  <a:cxn ang="0">
                    <a:pos x="connsiteX3355" y="connsiteY3355"/>
                  </a:cxn>
                  <a:cxn ang="0">
                    <a:pos x="connsiteX3356" y="connsiteY3356"/>
                  </a:cxn>
                  <a:cxn ang="0">
                    <a:pos x="connsiteX3357" y="connsiteY3357"/>
                  </a:cxn>
                  <a:cxn ang="0">
                    <a:pos x="connsiteX3358" y="connsiteY3358"/>
                  </a:cxn>
                  <a:cxn ang="0">
                    <a:pos x="connsiteX3359" y="connsiteY3359"/>
                  </a:cxn>
                  <a:cxn ang="0">
                    <a:pos x="connsiteX3360" y="connsiteY3360"/>
                  </a:cxn>
                  <a:cxn ang="0">
                    <a:pos x="connsiteX3361" y="connsiteY3361"/>
                  </a:cxn>
                  <a:cxn ang="0">
                    <a:pos x="connsiteX3362" y="connsiteY3362"/>
                  </a:cxn>
                  <a:cxn ang="0">
                    <a:pos x="connsiteX3363" y="connsiteY3363"/>
                  </a:cxn>
                  <a:cxn ang="0">
                    <a:pos x="connsiteX3364" y="connsiteY3364"/>
                  </a:cxn>
                  <a:cxn ang="0">
                    <a:pos x="connsiteX3365" y="connsiteY3365"/>
                  </a:cxn>
                  <a:cxn ang="0">
                    <a:pos x="connsiteX3366" y="connsiteY3366"/>
                  </a:cxn>
                  <a:cxn ang="0">
                    <a:pos x="connsiteX3367" y="connsiteY3367"/>
                  </a:cxn>
                  <a:cxn ang="0">
                    <a:pos x="connsiteX3368" y="connsiteY3368"/>
                  </a:cxn>
                  <a:cxn ang="0">
                    <a:pos x="connsiteX3369" y="connsiteY3369"/>
                  </a:cxn>
                  <a:cxn ang="0">
                    <a:pos x="connsiteX3370" y="connsiteY3370"/>
                  </a:cxn>
                  <a:cxn ang="0">
                    <a:pos x="connsiteX3371" y="connsiteY3371"/>
                  </a:cxn>
                  <a:cxn ang="0">
                    <a:pos x="connsiteX3372" y="connsiteY3372"/>
                  </a:cxn>
                  <a:cxn ang="0">
                    <a:pos x="connsiteX3373" y="connsiteY3373"/>
                  </a:cxn>
                  <a:cxn ang="0">
                    <a:pos x="connsiteX3374" y="connsiteY3374"/>
                  </a:cxn>
                  <a:cxn ang="0">
                    <a:pos x="connsiteX3375" y="connsiteY3375"/>
                  </a:cxn>
                  <a:cxn ang="0">
                    <a:pos x="connsiteX3376" y="connsiteY3376"/>
                  </a:cxn>
                  <a:cxn ang="0">
                    <a:pos x="connsiteX3377" y="connsiteY3377"/>
                  </a:cxn>
                  <a:cxn ang="0">
                    <a:pos x="connsiteX3378" y="connsiteY3378"/>
                  </a:cxn>
                  <a:cxn ang="0">
                    <a:pos x="connsiteX3379" y="connsiteY3379"/>
                  </a:cxn>
                  <a:cxn ang="0">
                    <a:pos x="connsiteX3380" y="connsiteY3380"/>
                  </a:cxn>
                  <a:cxn ang="0">
                    <a:pos x="connsiteX3381" y="connsiteY3381"/>
                  </a:cxn>
                  <a:cxn ang="0">
                    <a:pos x="connsiteX3382" y="connsiteY3382"/>
                  </a:cxn>
                  <a:cxn ang="0">
                    <a:pos x="connsiteX3383" y="connsiteY3383"/>
                  </a:cxn>
                  <a:cxn ang="0">
                    <a:pos x="connsiteX3384" y="connsiteY3384"/>
                  </a:cxn>
                  <a:cxn ang="0">
                    <a:pos x="connsiteX3385" y="connsiteY3385"/>
                  </a:cxn>
                  <a:cxn ang="0">
                    <a:pos x="connsiteX3386" y="connsiteY3386"/>
                  </a:cxn>
                  <a:cxn ang="0">
                    <a:pos x="connsiteX3387" y="connsiteY3387"/>
                  </a:cxn>
                  <a:cxn ang="0">
                    <a:pos x="connsiteX3388" y="connsiteY3388"/>
                  </a:cxn>
                  <a:cxn ang="0">
                    <a:pos x="connsiteX3389" y="connsiteY3389"/>
                  </a:cxn>
                  <a:cxn ang="0">
                    <a:pos x="connsiteX3390" y="connsiteY3390"/>
                  </a:cxn>
                  <a:cxn ang="0">
                    <a:pos x="connsiteX3391" y="connsiteY3391"/>
                  </a:cxn>
                  <a:cxn ang="0">
                    <a:pos x="connsiteX3392" y="connsiteY3392"/>
                  </a:cxn>
                  <a:cxn ang="0">
                    <a:pos x="connsiteX3393" y="connsiteY3393"/>
                  </a:cxn>
                  <a:cxn ang="0">
                    <a:pos x="connsiteX3394" y="connsiteY3394"/>
                  </a:cxn>
                  <a:cxn ang="0">
                    <a:pos x="connsiteX3395" y="connsiteY3395"/>
                  </a:cxn>
                  <a:cxn ang="0">
                    <a:pos x="connsiteX3396" y="connsiteY3396"/>
                  </a:cxn>
                  <a:cxn ang="0">
                    <a:pos x="connsiteX3397" y="connsiteY3397"/>
                  </a:cxn>
                  <a:cxn ang="0">
                    <a:pos x="connsiteX3398" y="connsiteY3398"/>
                  </a:cxn>
                  <a:cxn ang="0">
                    <a:pos x="connsiteX3399" y="connsiteY3399"/>
                  </a:cxn>
                  <a:cxn ang="0">
                    <a:pos x="connsiteX3400" y="connsiteY3400"/>
                  </a:cxn>
                  <a:cxn ang="0">
                    <a:pos x="connsiteX3401" y="connsiteY3401"/>
                  </a:cxn>
                  <a:cxn ang="0">
                    <a:pos x="connsiteX3402" y="connsiteY3402"/>
                  </a:cxn>
                  <a:cxn ang="0">
                    <a:pos x="connsiteX3403" y="connsiteY3403"/>
                  </a:cxn>
                  <a:cxn ang="0">
                    <a:pos x="connsiteX3404" y="connsiteY3404"/>
                  </a:cxn>
                  <a:cxn ang="0">
                    <a:pos x="connsiteX3405" y="connsiteY3405"/>
                  </a:cxn>
                  <a:cxn ang="0">
                    <a:pos x="connsiteX3406" y="connsiteY3406"/>
                  </a:cxn>
                  <a:cxn ang="0">
                    <a:pos x="connsiteX3407" y="connsiteY3407"/>
                  </a:cxn>
                  <a:cxn ang="0">
                    <a:pos x="connsiteX3408" y="connsiteY3408"/>
                  </a:cxn>
                  <a:cxn ang="0">
                    <a:pos x="connsiteX3409" y="connsiteY3409"/>
                  </a:cxn>
                  <a:cxn ang="0">
                    <a:pos x="connsiteX3410" y="connsiteY3410"/>
                  </a:cxn>
                  <a:cxn ang="0">
                    <a:pos x="connsiteX3411" y="connsiteY3411"/>
                  </a:cxn>
                  <a:cxn ang="0">
                    <a:pos x="connsiteX3412" y="connsiteY3412"/>
                  </a:cxn>
                  <a:cxn ang="0">
                    <a:pos x="connsiteX3413" y="connsiteY3413"/>
                  </a:cxn>
                  <a:cxn ang="0">
                    <a:pos x="connsiteX3414" y="connsiteY3414"/>
                  </a:cxn>
                  <a:cxn ang="0">
                    <a:pos x="connsiteX3415" y="connsiteY3415"/>
                  </a:cxn>
                  <a:cxn ang="0">
                    <a:pos x="connsiteX3416" y="connsiteY3416"/>
                  </a:cxn>
                  <a:cxn ang="0">
                    <a:pos x="connsiteX3417" y="connsiteY3417"/>
                  </a:cxn>
                  <a:cxn ang="0">
                    <a:pos x="connsiteX3418" y="connsiteY3418"/>
                  </a:cxn>
                  <a:cxn ang="0">
                    <a:pos x="connsiteX3419" y="connsiteY3419"/>
                  </a:cxn>
                  <a:cxn ang="0">
                    <a:pos x="connsiteX3420" y="connsiteY3420"/>
                  </a:cxn>
                  <a:cxn ang="0">
                    <a:pos x="connsiteX3421" y="connsiteY3421"/>
                  </a:cxn>
                  <a:cxn ang="0">
                    <a:pos x="connsiteX3422" y="connsiteY3422"/>
                  </a:cxn>
                  <a:cxn ang="0">
                    <a:pos x="connsiteX3423" y="connsiteY3423"/>
                  </a:cxn>
                  <a:cxn ang="0">
                    <a:pos x="connsiteX3424" y="connsiteY3424"/>
                  </a:cxn>
                  <a:cxn ang="0">
                    <a:pos x="connsiteX3425" y="connsiteY3425"/>
                  </a:cxn>
                  <a:cxn ang="0">
                    <a:pos x="connsiteX3426" y="connsiteY3426"/>
                  </a:cxn>
                  <a:cxn ang="0">
                    <a:pos x="connsiteX3427" y="connsiteY3427"/>
                  </a:cxn>
                  <a:cxn ang="0">
                    <a:pos x="connsiteX3428" y="connsiteY3428"/>
                  </a:cxn>
                  <a:cxn ang="0">
                    <a:pos x="connsiteX3429" y="connsiteY3429"/>
                  </a:cxn>
                  <a:cxn ang="0">
                    <a:pos x="connsiteX3430" y="connsiteY3430"/>
                  </a:cxn>
                  <a:cxn ang="0">
                    <a:pos x="connsiteX3431" y="connsiteY3431"/>
                  </a:cxn>
                  <a:cxn ang="0">
                    <a:pos x="connsiteX3432" y="connsiteY3432"/>
                  </a:cxn>
                  <a:cxn ang="0">
                    <a:pos x="connsiteX3433" y="connsiteY3433"/>
                  </a:cxn>
                  <a:cxn ang="0">
                    <a:pos x="connsiteX3434" y="connsiteY3434"/>
                  </a:cxn>
                  <a:cxn ang="0">
                    <a:pos x="connsiteX3435" y="connsiteY3435"/>
                  </a:cxn>
                  <a:cxn ang="0">
                    <a:pos x="connsiteX3436" y="connsiteY3436"/>
                  </a:cxn>
                  <a:cxn ang="0">
                    <a:pos x="connsiteX3437" y="connsiteY3437"/>
                  </a:cxn>
                  <a:cxn ang="0">
                    <a:pos x="connsiteX3438" y="connsiteY3438"/>
                  </a:cxn>
                  <a:cxn ang="0">
                    <a:pos x="connsiteX3439" y="connsiteY3439"/>
                  </a:cxn>
                  <a:cxn ang="0">
                    <a:pos x="connsiteX3440" y="connsiteY3440"/>
                  </a:cxn>
                  <a:cxn ang="0">
                    <a:pos x="connsiteX3441" y="connsiteY3441"/>
                  </a:cxn>
                  <a:cxn ang="0">
                    <a:pos x="connsiteX3442" y="connsiteY3442"/>
                  </a:cxn>
                  <a:cxn ang="0">
                    <a:pos x="connsiteX3443" y="connsiteY3443"/>
                  </a:cxn>
                  <a:cxn ang="0">
                    <a:pos x="connsiteX3444" y="connsiteY3444"/>
                  </a:cxn>
                  <a:cxn ang="0">
                    <a:pos x="connsiteX3445" y="connsiteY3445"/>
                  </a:cxn>
                  <a:cxn ang="0">
                    <a:pos x="connsiteX3446" y="connsiteY3446"/>
                  </a:cxn>
                  <a:cxn ang="0">
                    <a:pos x="connsiteX3447" y="connsiteY3447"/>
                  </a:cxn>
                  <a:cxn ang="0">
                    <a:pos x="connsiteX3448" y="connsiteY3448"/>
                  </a:cxn>
                  <a:cxn ang="0">
                    <a:pos x="connsiteX3449" y="connsiteY3449"/>
                  </a:cxn>
                  <a:cxn ang="0">
                    <a:pos x="connsiteX3450" y="connsiteY3450"/>
                  </a:cxn>
                  <a:cxn ang="0">
                    <a:pos x="connsiteX3451" y="connsiteY3451"/>
                  </a:cxn>
                  <a:cxn ang="0">
                    <a:pos x="connsiteX3452" y="connsiteY3452"/>
                  </a:cxn>
                  <a:cxn ang="0">
                    <a:pos x="connsiteX3453" y="connsiteY3453"/>
                  </a:cxn>
                  <a:cxn ang="0">
                    <a:pos x="connsiteX3454" y="connsiteY3454"/>
                  </a:cxn>
                  <a:cxn ang="0">
                    <a:pos x="connsiteX3455" y="connsiteY3455"/>
                  </a:cxn>
                  <a:cxn ang="0">
                    <a:pos x="connsiteX3456" y="connsiteY3456"/>
                  </a:cxn>
                  <a:cxn ang="0">
                    <a:pos x="connsiteX3457" y="connsiteY3457"/>
                  </a:cxn>
                  <a:cxn ang="0">
                    <a:pos x="connsiteX3458" y="connsiteY3458"/>
                  </a:cxn>
                  <a:cxn ang="0">
                    <a:pos x="connsiteX3459" y="connsiteY3459"/>
                  </a:cxn>
                  <a:cxn ang="0">
                    <a:pos x="connsiteX3460" y="connsiteY3460"/>
                  </a:cxn>
                  <a:cxn ang="0">
                    <a:pos x="connsiteX3461" y="connsiteY3461"/>
                  </a:cxn>
                  <a:cxn ang="0">
                    <a:pos x="connsiteX3462" y="connsiteY3462"/>
                  </a:cxn>
                  <a:cxn ang="0">
                    <a:pos x="connsiteX3463" y="connsiteY3463"/>
                  </a:cxn>
                  <a:cxn ang="0">
                    <a:pos x="connsiteX3464" y="connsiteY3464"/>
                  </a:cxn>
                  <a:cxn ang="0">
                    <a:pos x="connsiteX3465" y="connsiteY3465"/>
                  </a:cxn>
                  <a:cxn ang="0">
                    <a:pos x="connsiteX3466" y="connsiteY3466"/>
                  </a:cxn>
                  <a:cxn ang="0">
                    <a:pos x="connsiteX3467" y="connsiteY3467"/>
                  </a:cxn>
                  <a:cxn ang="0">
                    <a:pos x="connsiteX3468" y="connsiteY3468"/>
                  </a:cxn>
                  <a:cxn ang="0">
                    <a:pos x="connsiteX3469" y="connsiteY3469"/>
                  </a:cxn>
                  <a:cxn ang="0">
                    <a:pos x="connsiteX3470" y="connsiteY3470"/>
                  </a:cxn>
                  <a:cxn ang="0">
                    <a:pos x="connsiteX3471" y="connsiteY3471"/>
                  </a:cxn>
                  <a:cxn ang="0">
                    <a:pos x="connsiteX3472" y="connsiteY3472"/>
                  </a:cxn>
                  <a:cxn ang="0">
                    <a:pos x="connsiteX3473" y="connsiteY3473"/>
                  </a:cxn>
                  <a:cxn ang="0">
                    <a:pos x="connsiteX3474" y="connsiteY3474"/>
                  </a:cxn>
                  <a:cxn ang="0">
                    <a:pos x="connsiteX3475" y="connsiteY3475"/>
                  </a:cxn>
                  <a:cxn ang="0">
                    <a:pos x="connsiteX3476" y="connsiteY3476"/>
                  </a:cxn>
                  <a:cxn ang="0">
                    <a:pos x="connsiteX3477" y="connsiteY3477"/>
                  </a:cxn>
                  <a:cxn ang="0">
                    <a:pos x="connsiteX3478" y="connsiteY3478"/>
                  </a:cxn>
                  <a:cxn ang="0">
                    <a:pos x="connsiteX3479" y="connsiteY3479"/>
                  </a:cxn>
                  <a:cxn ang="0">
                    <a:pos x="connsiteX3480" y="connsiteY3480"/>
                  </a:cxn>
                  <a:cxn ang="0">
                    <a:pos x="connsiteX3481" y="connsiteY3481"/>
                  </a:cxn>
                  <a:cxn ang="0">
                    <a:pos x="connsiteX3482" y="connsiteY3482"/>
                  </a:cxn>
                  <a:cxn ang="0">
                    <a:pos x="connsiteX3483" y="connsiteY3483"/>
                  </a:cxn>
                  <a:cxn ang="0">
                    <a:pos x="connsiteX3484" y="connsiteY3484"/>
                  </a:cxn>
                  <a:cxn ang="0">
                    <a:pos x="connsiteX3485" y="connsiteY3485"/>
                  </a:cxn>
                  <a:cxn ang="0">
                    <a:pos x="connsiteX3486" y="connsiteY3486"/>
                  </a:cxn>
                  <a:cxn ang="0">
                    <a:pos x="connsiteX3487" y="connsiteY3487"/>
                  </a:cxn>
                  <a:cxn ang="0">
                    <a:pos x="connsiteX3488" y="connsiteY3488"/>
                  </a:cxn>
                  <a:cxn ang="0">
                    <a:pos x="connsiteX3489" y="connsiteY3489"/>
                  </a:cxn>
                  <a:cxn ang="0">
                    <a:pos x="connsiteX3490" y="connsiteY3490"/>
                  </a:cxn>
                  <a:cxn ang="0">
                    <a:pos x="connsiteX3491" y="connsiteY3491"/>
                  </a:cxn>
                  <a:cxn ang="0">
                    <a:pos x="connsiteX3492" y="connsiteY3492"/>
                  </a:cxn>
                  <a:cxn ang="0">
                    <a:pos x="connsiteX3493" y="connsiteY3493"/>
                  </a:cxn>
                  <a:cxn ang="0">
                    <a:pos x="connsiteX3494" y="connsiteY3494"/>
                  </a:cxn>
                  <a:cxn ang="0">
                    <a:pos x="connsiteX3495" y="connsiteY3495"/>
                  </a:cxn>
                  <a:cxn ang="0">
                    <a:pos x="connsiteX3496" y="connsiteY3496"/>
                  </a:cxn>
                  <a:cxn ang="0">
                    <a:pos x="connsiteX3497" y="connsiteY3497"/>
                  </a:cxn>
                  <a:cxn ang="0">
                    <a:pos x="connsiteX3498" y="connsiteY3498"/>
                  </a:cxn>
                  <a:cxn ang="0">
                    <a:pos x="connsiteX3499" y="connsiteY3499"/>
                  </a:cxn>
                  <a:cxn ang="0">
                    <a:pos x="connsiteX3500" y="connsiteY3500"/>
                  </a:cxn>
                  <a:cxn ang="0">
                    <a:pos x="connsiteX3501" y="connsiteY3501"/>
                  </a:cxn>
                  <a:cxn ang="0">
                    <a:pos x="connsiteX3502" y="connsiteY3502"/>
                  </a:cxn>
                  <a:cxn ang="0">
                    <a:pos x="connsiteX3503" y="connsiteY3503"/>
                  </a:cxn>
                  <a:cxn ang="0">
                    <a:pos x="connsiteX3504" y="connsiteY3504"/>
                  </a:cxn>
                  <a:cxn ang="0">
                    <a:pos x="connsiteX3505" y="connsiteY3505"/>
                  </a:cxn>
                  <a:cxn ang="0">
                    <a:pos x="connsiteX3506" y="connsiteY3506"/>
                  </a:cxn>
                  <a:cxn ang="0">
                    <a:pos x="connsiteX3507" y="connsiteY3507"/>
                  </a:cxn>
                  <a:cxn ang="0">
                    <a:pos x="connsiteX3508" y="connsiteY3508"/>
                  </a:cxn>
                  <a:cxn ang="0">
                    <a:pos x="connsiteX3509" y="connsiteY3509"/>
                  </a:cxn>
                  <a:cxn ang="0">
                    <a:pos x="connsiteX3510" y="connsiteY3510"/>
                  </a:cxn>
                  <a:cxn ang="0">
                    <a:pos x="connsiteX3511" y="connsiteY3511"/>
                  </a:cxn>
                  <a:cxn ang="0">
                    <a:pos x="connsiteX3512" y="connsiteY3512"/>
                  </a:cxn>
                  <a:cxn ang="0">
                    <a:pos x="connsiteX3513" y="connsiteY3513"/>
                  </a:cxn>
                  <a:cxn ang="0">
                    <a:pos x="connsiteX3514" y="connsiteY3514"/>
                  </a:cxn>
                  <a:cxn ang="0">
                    <a:pos x="connsiteX3515" y="connsiteY3515"/>
                  </a:cxn>
                  <a:cxn ang="0">
                    <a:pos x="connsiteX3516" y="connsiteY3516"/>
                  </a:cxn>
                  <a:cxn ang="0">
                    <a:pos x="connsiteX3517" y="connsiteY3517"/>
                  </a:cxn>
                  <a:cxn ang="0">
                    <a:pos x="connsiteX3518" y="connsiteY3518"/>
                  </a:cxn>
                  <a:cxn ang="0">
                    <a:pos x="connsiteX3519" y="connsiteY3519"/>
                  </a:cxn>
                  <a:cxn ang="0">
                    <a:pos x="connsiteX3520" y="connsiteY3520"/>
                  </a:cxn>
                  <a:cxn ang="0">
                    <a:pos x="connsiteX3521" y="connsiteY3521"/>
                  </a:cxn>
                  <a:cxn ang="0">
                    <a:pos x="connsiteX3522" y="connsiteY3522"/>
                  </a:cxn>
                  <a:cxn ang="0">
                    <a:pos x="connsiteX3523" y="connsiteY3523"/>
                  </a:cxn>
                  <a:cxn ang="0">
                    <a:pos x="connsiteX3524" y="connsiteY3524"/>
                  </a:cxn>
                  <a:cxn ang="0">
                    <a:pos x="connsiteX3525" y="connsiteY3525"/>
                  </a:cxn>
                  <a:cxn ang="0">
                    <a:pos x="connsiteX3526" y="connsiteY3526"/>
                  </a:cxn>
                  <a:cxn ang="0">
                    <a:pos x="connsiteX3527" y="connsiteY3527"/>
                  </a:cxn>
                  <a:cxn ang="0">
                    <a:pos x="connsiteX3528" y="connsiteY3528"/>
                  </a:cxn>
                  <a:cxn ang="0">
                    <a:pos x="connsiteX3529" y="connsiteY3529"/>
                  </a:cxn>
                  <a:cxn ang="0">
                    <a:pos x="connsiteX3530" y="connsiteY3530"/>
                  </a:cxn>
                  <a:cxn ang="0">
                    <a:pos x="connsiteX3531" y="connsiteY3531"/>
                  </a:cxn>
                  <a:cxn ang="0">
                    <a:pos x="connsiteX3532" y="connsiteY3532"/>
                  </a:cxn>
                  <a:cxn ang="0">
                    <a:pos x="connsiteX3533" y="connsiteY3533"/>
                  </a:cxn>
                  <a:cxn ang="0">
                    <a:pos x="connsiteX3534" y="connsiteY3534"/>
                  </a:cxn>
                  <a:cxn ang="0">
                    <a:pos x="connsiteX3535" y="connsiteY3535"/>
                  </a:cxn>
                  <a:cxn ang="0">
                    <a:pos x="connsiteX3536" y="connsiteY3536"/>
                  </a:cxn>
                  <a:cxn ang="0">
                    <a:pos x="connsiteX3537" y="connsiteY3537"/>
                  </a:cxn>
                  <a:cxn ang="0">
                    <a:pos x="connsiteX3538" y="connsiteY3538"/>
                  </a:cxn>
                  <a:cxn ang="0">
                    <a:pos x="connsiteX3539" y="connsiteY3539"/>
                  </a:cxn>
                  <a:cxn ang="0">
                    <a:pos x="connsiteX3540" y="connsiteY3540"/>
                  </a:cxn>
                  <a:cxn ang="0">
                    <a:pos x="connsiteX3541" y="connsiteY3541"/>
                  </a:cxn>
                  <a:cxn ang="0">
                    <a:pos x="connsiteX3542" y="connsiteY3542"/>
                  </a:cxn>
                  <a:cxn ang="0">
                    <a:pos x="connsiteX3543" y="connsiteY3543"/>
                  </a:cxn>
                  <a:cxn ang="0">
                    <a:pos x="connsiteX3544" y="connsiteY3544"/>
                  </a:cxn>
                  <a:cxn ang="0">
                    <a:pos x="connsiteX3545" y="connsiteY3545"/>
                  </a:cxn>
                  <a:cxn ang="0">
                    <a:pos x="connsiteX3546" y="connsiteY3546"/>
                  </a:cxn>
                  <a:cxn ang="0">
                    <a:pos x="connsiteX3547" y="connsiteY3547"/>
                  </a:cxn>
                  <a:cxn ang="0">
                    <a:pos x="connsiteX3548" y="connsiteY3548"/>
                  </a:cxn>
                  <a:cxn ang="0">
                    <a:pos x="connsiteX3549" y="connsiteY3549"/>
                  </a:cxn>
                  <a:cxn ang="0">
                    <a:pos x="connsiteX3550" y="connsiteY3550"/>
                  </a:cxn>
                  <a:cxn ang="0">
                    <a:pos x="connsiteX3551" y="connsiteY3551"/>
                  </a:cxn>
                  <a:cxn ang="0">
                    <a:pos x="connsiteX3552" y="connsiteY3552"/>
                  </a:cxn>
                  <a:cxn ang="0">
                    <a:pos x="connsiteX3553" y="connsiteY3553"/>
                  </a:cxn>
                  <a:cxn ang="0">
                    <a:pos x="connsiteX3554" y="connsiteY3554"/>
                  </a:cxn>
                  <a:cxn ang="0">
                    <a:pos x="connsiteX3555" y="connsiteY3555"/>
                  </a:cxn>
                  <a:cxn ang="0">
                    <a:pos x="connsiteX3556" y="connsiteY3556"/>
                  </a:cxn>
                  <a:cxn ang="0">
                    <a:pos x="connsiteX3557" y="connsiteY3557"/>
                  </a:cxn>
                  <a:cxn ang="0">
                    <a:pos x="connsiteX3558" y="connsiteY3558"/>
                  </a:cxn>
                  <a:cxn ang="0">
                    <a:pos x="connsiteX3559" y="connsiteY3559"/>
                  </a:cxn>
                  <a:cxn ang="0">
                    <a:pos x="connsiteX3560" y="connsiteY3560"/>
                  </a:cxn>
                  <a:cxn ang="0">
                    <a:pos x="connsiteX3561" y="connsiteY3561"/>
                  </a:cxn>
                  <a:cxn ang="0">
                    <a:pos x="connsiteX3562" y="connsiteY3562"/>
                  </a:cxn>
                  <a:cxn ang="0">
                    <a:pos x="connsiteX3563" y="connsiteY3563"/>
                  </a:cxn>
                  <a:cxn ang="0">
                    <a:pos x="connsiteX3564" y="connsiteY3564"/>
                  </a:cxn>
                  <a:cxn ang="0">
                    <a:pos x="connsiteX3565" y="connsiteY3565"/>
                  </a:cxn>
                  <a:cxn ang="0">
                    <a:pos x="connsiteX3566" y="connsiteY3566"/>
                  </a:cxn>
                  <a:cxn ang="0">
                    <a:pos x="connsiteX3567" y="connsiteY3567"/>
                  </a:cxn>
                  <a:cxn ang="0">
                    <a:pos x="connsiteX3568" y="connsiteY3568"/>
                  </a:cxn>
                  <a:cxn ang="0">
                    <a:pos x="connsiteX3569" y="connsiteY3569"/>
                  </a:cxn>
                  <a:cxn ang="0">
                    <a:pos x="connsiteX3570" y="connsiteY3570"/>
                  </a:cxn>
                  <a:cxn ang="0">
                    <a:pos x="connsiteX3571" y="connsiteY3571"/>
                  </a:cxn>
                  <a:cxn ang="0">
                    <a:pos x="connsiteX3572" y="connsiteY3572"/>
                  </a:cxn>
                  <a:cxn ang="0">
                    <a:pos x="connsiteX3573" y="connsiteY3573"/>
                  </a:cxn>
                  <a:cxn ang="0">
                    <a:pos x="connsiteX3574" y="connsiteY3574"/>
                  </a:cxn>
                  <a:cxn ang="0">
                    <a:pos x="connsiteX3575" y="connsiteY3575"/>
                  </a:cxn>
                  <a:cxn ang="0">
                    <a:pos x="connsiteX3576" y="connsiteY3576"/>
                  </a:cxn>
                  <a:cxn ang="0">
                    <a:pos x="connsiteX3577" y="connsiteY3577"/>
                  </a:cxn>
                  <a:cxn ang="0">
                    <a:pos x="connsiteX3578" y="connsiteY3578"/>
                  </a:cxn>
                  <a:cxn ang="0">
                    <a:pos x="connsiteX3579" y="connsiteY3579"/>
                  </a:cxn>
                  <a:cxn ang="0">
                    <a:pos x="connsiteX3580" y="connsiteY3580"/>
                  </a:cxn>
                  <a:cxn ang="0">
                    <a:pos x="connsiteX3581" y="connsiteY3581"/>
                  </a:cxn>
                  <a:cxn ang="0">
                    <a:pos x="connsiteX3582" y="connsiteY3582"/>
                  </a:cxn>
                  <a:cxn ang="0">
                    <a:pos x="connsiteX3583" y="connsiteY3583"/>
                  </a:cxn>
                  <a:cxn ang="0">
                    <a:pos x="connsiteX3584" y="connsiteY3584"/>
                  </a:cxn>
                  <a:cxn ang="0">
                    <a:pos x="connsiteX3585" y="connsiteY3585"/>
                  </a:cxn>
                  <a:cxn ang="0">
                    <a:pos x="connsiteX3586" y="connsiteY3586"/>
                  </a:cxn>
                  <a:cxn ang="0">
                    <a:pos x="connsiteX3587" y="connsiteY3587"/>
                  </a:cxn>
                  <a:cxn ang="0">
                    <a:pos x="connsiteX3588" y="connsiteY3588"/>
                  </a:cxn>
                  <a:cxn ang="0">
                    <a:pos x="connsiteX3589" y="connsiteY3589"/>
                  </a:cxn>
                  <a:cxn ang="0">
                    <a:pos x="connsiteX3590" y="connsiteY3590"/>
                  </a:cxn>
                  <a:cxn ang="0">
                    <a:pos x="connsiteX3591" y="connsiteY3591"/>
                  </a:cxn>
                  <a:cxn ang="0">
                    <a:pos x="connsiteX3592" y="connsiteY3592"/>
                  </a:cxn>
                  <a:cxn ang="0">
                    <a:pos x="connsiteX3593" y="connsiteY3593"/>
                  </a:cxn>
                  <a:cxn ang="0">
                    <a:pos x="connsiteX3594" y="connsiteY3594"/>
                  </a:cxn>
                  <a:cxn ang="0">
                    <a:pos x="connsiteX3595" y="connsiteY3595"/>
                  </a:cxn>
                  <a:cxn ang="0">
                    <a:pos x="connsiteX3596" y="connsiteY3596"/>
                  </a:cxn>
                  <a:cxn ang="0">
                    <a:pos x="connsiteX3597" y="connsiteY3597"/>
                  </a:cxn>
                  <a:cxn ang="0">
                    <a:pos x="connsiteX3598" y="connsiteY3598"/>
                  </a:cxn>
                  <a:cxn ang="0">
                    <a:pos x="connsiteX3599" y="connsiteY3599"/>
                  </a:cxn>
                  <a:cxn ang="0">
                    <a:pos x="connsiteX3600" y="connsiteY3600"/>
                  </a:cxn>
                  <a:cxn ang="0">
                    <a:pos x="connsiteX3601" y="connsiteY3601"/>
                  </a:cxn>
                  <a:cxn ang="0">
                    <a:pos x="connsiteX3602" y="connsiteY3602"/>
                  </a:cxn>
                  <a:cxn ang="0">
                    <a:pos x="connsiteX3603" y="connsiteY3603"/>
                  </a:cxn>
                  <a:cxn ang="0">
                    <a:pos x="connsiteX3604" y="connsiteY3604"/>
                  </a:cxn>
                  <a:cxn ang="0">
                    <a:pos x="connsiteX3605" y="connsiteY3605"/>
                  </a:cxn>
                  <a:cxn ang="0">
                    <a:pos x="connsiteX3606" y="connsiteY3606"/>
                  </a:cxn>
                  <a:cxn ang="0">
                    <a:pos x="connsiteX3607" y="connsiteY3607"/>
                  </a:cxn>
                  <a:cxn ang="0">
                    <a:pos x="connsiteX3608" y="connsiteY3608"/>
                  </a:cxn>
                  <a:cxn ang="0">
                    <a:pos x="connsiteX3609" y="connsiteY3609"/>
                  </a:cxn>
                  <a:cxn ang="0">
                    <a:pos x="connsiteX3610" y="connsiteY3610"/>
                  </a:cxn>
                  <a:cxn ang="0">
                    <a:pos x="connsiteX3611" y="connsiteY3611"/>
                  </a:cxn>
                  <a:cxn ang="0">
                    <a:pos x="connsiteX3612" y="connsiteY3612"/>
                  </a:cxn>
                  <a:cxn ang="0">
                    <a:pos x="connsiteX3613" y="connsiteY3613"/>
                  </a:cxn>
                  <a:cxn ang="0">
                    <a:pos x="connsiteX3614" y="connsiteY3614"/>
                  </a:cxn>
                  <a:cxn ang="0">
                    <a:pos x="connsiteX3615" y="connsiteY3615"/>
                  </a:cxn>
                  <a:cxn ang="0">
                    <a:pos x="connsiteX3616" y="connsiteY3616"/>
                  </a:cxn>
                  <a:cxn ang="0">
                    <a:pos x="connsiteX3617" y="connsiteY3617"/>
                  </a:cxn>
                  <a:cxn ang="0">
                    <a:pos x="connsiteX3618" y="connsiteY3618"/>
                  </a:cxn>
                  <a:cxn ang="0">
                    <a:pos x="connsiteX3619" y="connsiteY3619"/>
                  </a:cxn>
                  <a:cxn ang="0">
                    <a:pos x="connsiteX3620" y="connsiteY3620"/>
                  </a:cxn>
                  <a:cxn ang="0">
                    <a:pos x="connsiteX3621" y="connsiteY3621"/>
                  </a:cxn>
                  <a:cxn ang="0">
                    <a:pos x="connsiteX3622" y="connsiteY3622"/>
                  </a:cxn>
                  <a:cxn ang="0">
                    <a:pos x="connsiteX3623" y="connsiteY3623"/>
                  </a:cxn>
                  <a:cxn ang="0">
                    <a:pos x="connsiteX3624" y="connsiteY3624"/>
                  </a:cxn>
                  <a:cxn ang="0">
                    <a:pos x="connsiteX3625" y="connsiteY3625"/>
                  </a:cxn>
                  <a:cxn ang="0">
                    <a:pos x="connsiteX3626" y="connsiteY3626"/>
                  </a:cxn>
                  <a:cxn ang="0">
                    <a:pos x="connsiteX3627" y="connsiteY3627"/>
                  </a:cxn>
                  <a:cxn ang="0">
                    <a:pos x="connsiteX3628" y="connsiteY3628"/>
                  </a:cxn>
                  <a:cxn ang="0">
                    <a:pos x="connsiteX3629" y="connsiteY3629"/>
                  </a:cxn>
                  <a:cxn ang="0">
                    <a:pos x="connsiteX3630" y="connsiteY3630"/>
                  </a:cxn>
                  <a:cxn ang="0">
                    <a:pos x="connsiteX3631" y="connsiteY3631"/>
                  </a:cxn>
                  <a:cxn ang="0">
                    <a:pos x="connsiteX3632" y="connsiteY3632"/>
                  </a:cxn>
                  <a:cxn ang="0">
                    <a:pos x="connsiteX3633" y="connsiteY3633"/>
                  </a:cxn>
                  <a:cxn ang="0">
                    <a:pos x="connsiteX3634" y="connsiteY3634"/>
                  </a:cxn>
                  <a:cxn ang="0">
                    <a:pos x="connsiteX3635" y="connsiteY3635"/>
                  </a:cxn>
                  <a:cxn ang="0">
                    <a:pos x="connsiteX3636" y="connsiteY3636"/>
                  </a:cxn>
                  <a:cxn ang="0">
                    <a:pos x="connsiteX3637" y="connsiteY3637"/>
                  </a:cxn>
                  <a:cxn ang="0">
                    <a:pos x="connsiteX3638" y="connsiteY3638"/>
                  </a:cxn>
                  <a:cxn ang="0">
                    <a:pos x="connsiteX3639" y="connsiteY3639"/>
                  </a:cxn>
                  <a:cxn ang="0">
                    <a:pos x="connsiteX3640" y="connsiteY3640"/>
                  </a:cxn>
                  <a:cxn ang="0">
                    <a:pos x="connsiteX3641" y="connsiteY3641"/>
                  </a:cxn>
                  <a:cxn ang="0">
                    <a:pos x="connsiteX3642" y="connsiteY3642"/>
                  </a:cxn>
                  <a:cxn ang="0">
                    <a:pos x="connsiteX3643" y="connsiteY3643"/>
                  </a:cxn>
                  <a:cxn ang="0">
                    <a:pos x="connsiteX3644" y="connsiteY3644"/>
                  </a:cxn>
                  <a:cxn ang="0">
                    <a:pos x="connsiteX3645" y="connsiteY3645"/>
                  </a:cxn>
                  <a:cxn ang="0">
                    <a:pos x="connsiteX3646" y="connsiteY3646"/>
                  </a:cxn>
                  <a:cxn ang="0">
                    <a:pos x="connsiteX3647" y="connsiteY3647"/>
                  </a:cxn>
                  <a:cxn ang="0">
                    <a:pos x="connsiteX3648" y="connsiteY3648"/>
                  </a:cxn>
                  <a:cxn ang="0">
                    <a:pos x="connsiteX3649" y="connsiteY3649"/>
                  </a:cxn>
                  <a:cxn ang="0">
                    <a:pos x="connsiteX3650" y="connsiteY3650"/>
                  </a:cxn>
                  <a:cxn ang="0">
                    <a:pos x="connsiteX3651" y="connsiteY3651"/>
                  </a:cxn>
                  <a:cxn ang="0">
                    <a:pos x="connsiteX3652" y="connsiteY3652"/>
                  </a:cxn>
                  <a:cxn ang="0">
                    <a:pos x="connsiteX3653" y="connsiteY3653"/>
                  </a:cxn>
                  <a:cxn ang="0">
                    <a:pos x="connsiteX3654" y="connsiteY3654"/>
                  </a:cxn>
                  <a:cxn ang="0">
                    <a:pos x="connsiteX3655" y="connsiteY3655"/>
                  </a:cxn>
                  <a:cxn ang="0">
                    <a:pos x="connsiteX3656" y="connsiteY3656"/>
                  </a:cxn>
                  <a:cxn ang="0">
                    <a:pos x="connsiteX3657" y="connsiteY3657"/>
                  </a:cxn>
                  <a:cxn ang="0">
                    <a:pos x="connsiteX3658" y="connsiteY3658"/>
                  </a:cxn>
                  <a:cxn ang="0">
                    <a:pos x="connsiteX3659" y="connsiteY3659"/>
                  </a:cxn>
                  <a:cxn ang="0">
                    <a:pos x="connsiteX3660" y="connsiteY3660"/>
                  </a:cxn>
                  <a:cxn ang="0">
                    <a:pos x="connsiteX3661" y="connsiteY3661"/>
                  </a:cxn>
                  <a:cxn ang="0">
                    <a:pos x="connsiteX3662" y="connsiteY3662"/>
                  </a:cxn>
                  <a:cxn ang="0">
                    <a:pos x="connsiteX3663" y="connsiteY3663"/>
                  </a:cxn>
                  <a:cxn ang="0">
                    <a:pos x="connsiteX3664" y="connsiteY3664"/>
                  </a:cxn>
                  <a:cxn ang="0">
                    <a:pos x="connsiteX3665" y="connsiteY3665"/>
                  </a:cxn>
                  <a:cxn ang="0">
                    <a:pos x="connsiteX3666" y="connsiteY3666"/>
                  </a:cxn>
                  <a:cxn ang="0">
                    <a:pos x="connsiteX3667" y="connsiteY3667"/>
                  </a:cxn>
                  <a:cxn ang="0">
                    <a:pos x="connsiteX3668" y="connsiteY3668"/>
                  </a:cxn>
                  <a:cxn ang="0">
                    <a:pos x="connsiteX3669" y="connsiteY3669"/>
                  </a:cxn>
                  <a:cxn ang="0">
                    <a:pos x="connsiteX3670" y="connsiteY3670"/>
                  </a:cxn>
                  <a:cxn ang="0">
                    <a:pos x="connsiteX3671" y="connsiteY3671"/>
                  </a:cxn>
                  <a:cxn ang="0">
                    <a:pos x="connsiteX3672" y="connsiteY3672"/>
                  </a:cxn>
                  <a:cxn ang="0">
                    <a:pos x="connsiteX3673" y="connsiteY3673"/>
                  </a:cxn>
                  <a:cxn ang="0">
                    <a:pos x="connsiteX3674" y="connsiteY3674"/>
                  </a:cxn>
                  <a:cxn ang="0">
                    <a:pos x="connsiteX3675" y="connsiteY3675"/>
                  </a:cxn>
                  <a:cxn ang="0">
                    <a:pos x="connsiteX3676" y="connsiteY3676"/>
                  </a:cxn>
                  <a:cxn ang="0">
                    <a:pos x="connsiteX3677" y="connsiteY3677"/>
                  </a:cxn>
                  <a:cxn ang="0">
                    <a:pos x="connsiteX3678" y="connsiteY3678"/>
                  </a:cxn>
                  <a:cxn ang="0">
                    <a:pos x="connsiteX3679" y="connsiteY3679"/>
                  </a:cxn>
                  <a:cxn ang="0">
                    <a:pos x="connsiteX3680" y="connsiteY3680"/>
                  </a:cxn>
                  <a:cxn ang="0">
                    <a:pos x="connsiteX3681" y="connsiteY3681"/>
                  </a:cxn>
                  <a:cxn ang="0">
                    <a:pos x="connsiteX3682" y="connsiteY3682"/>
                  </a:cxn>
                  <a:cxn ang="0">
                    <a:pos x="connsiteX3683" y="connsiteY3683"/>
                  </a:cxn>
                  <a:cxn ang="0">
                    <a:pos x="connsiteX3684" y="connsiteY3684"/>
                  </a:cxn>
                  <a:cxn ang="0">
                    <a:pos x="connsiteX3685" y="connsiteY3685"/>
                  </a:cxn>
                  <a:cxn ang="0">
                    <a:pos x="connsiteX3686" y="connsiteY3686"/>
                  </a:cxn>
                  <a:cxn ang="0">
                    <a:pos x="connsiteX3687" y="connsiteY3687"/>
                  </a:cxn>
                  <a:cxn ang="0">
                    <a:pos x="connsiteX3688" y="connsiteY3688"/>
                  </a:cxn>
                  <a:cxn ang="0">
                    <a:pos x="connsiteX3689" y="connsiteY3689"/>
                  </a:cxn>
                  <a:cxn ang="0">
                    <a:pos x="connsiteX3690" y="connsiteY3690"/>
                  </a:cxn>
                  <a:cxn ang="0">
                    <a:pos x="connsiteX3691" y="connsiteY3691"/>
                  </a:cxn>
                  <a:cxn ang="0">
                    <a:pos x="connsiteX3692" y="connsiteY3692"/>
                  </a:cxn>
                  <a:cxn ang="0">
                    <a:pos x="connsiteX3693" y="connsiteY3693"/>
                  </a:cxn>
                  <a:cxn ang="0">
                    <a:pos x="connsiteX3694" y="connsiteY3694"/>
                  </a:cxn>
                  <a:cxn ang="0">
                    <a:pos x="connsiteX3695" y="connsiteY3695"/>
                  </a:cxn>
                  <a:cxn ang="0">
                    <a:pos x="connsiteX3696" y="connsiteY3696"/>
                  </a:cxn>
                  <a:cxn ang="0">
                    <a:pos x="connsiteX3697" y="connsiteY3697"/>
                  </a:cxn>
                  <a:cxn ang="0">
                    <a:pos x="connsiteX3698" y="connsiteY3698"/>
                  </a:cxn>
                  <a:cxn ang="0">
                    <a:pos x="connsiteX3699" y="connsiteY3699"/>
                  </a:cxn>
                  <a:cxn ang="0">
                    <a:pos x="connsiteX3700" y="connsiteY3700"/>
                  </a:cxn>
                  <a:cxn ang="0">
                    <a:pos x="connsiteX3701" y="connsiteY3701"/>
                  </a:cxn>
                  <a:cxn ang="0">
                    <a:pos x="connsiteX3702" y="connsiteY3702"/>
                  </a:cxn>
                  <a:cxn ang="0">
                    <a:pos x="connsiteX3703" y="connsiteY3703"/>
                  </a:cxn>
                  <a:cxn ang="0">
                    <a:pos x="connsiteX3704" y="connsiteY3704"/>
                  </a:cxn>
                  <a:cxn ang="0">
                    <a:pos x="connsiteX3705" y="connsiteY3705"/>
                  </a:cxn>
                  <a:cxn ang="0">
                    <a:pos x="connsiteX3706" y="connsiteY3706"/>
                  </a:cxn>
                  <a:cxn ang="0">
                    <a:pos x="connsiteX3707" y="connsiteY3707"/>
                  </a:cxn>
                  <a:cxn ang="0">
                    <a:pos x="connsiteX3708" y="connsiteY3708"/>
                  </a:cxn>
                  <a:cxn ang="0">
                    <a:pos x="connsiteX3709" y="connsiteY3709"/>
                  </a:cxn>
                  <a:cxn ang="0">
                    <a:pos x="connsiteX3710" y="connsiteY3710"/>
                  </a:cxn>
                  <a:cxn ang="0">
                    <a:pos x="connsiteX3711" y="connsiteY3711"/>
                  </a:cxn>
                  <a:cxn ang="0">
                    <a:pos x="connsiteX3712" y="connsiteY3712"/>
                  </a:cxn>
                  <a:cxn ang="0">
                    <a:pos x="connsiteX3713" y="connsiteY3713"/>
                  </a:cxn>
                  <a:cxn ang="0">
                    <a:pos x="connsiteX3714" y="connsiteY3714"/>
                  </a:cxn>
                  <a:cxn ang="0">
                    <a:pos x="connsiteX3715" y="connsiteY3715"/>
                  </a:cxn>
                  <a:cxn ang="0">
                    <a:pos x="connsiteX3716" y="connsiteY3716"/>
                  </a:cxn>
                  <a:cxn ang="0">
                    <a:pos x="connsiteX3717" y="connsiteY3717"/>
                  </a:cxn>
                  <a:cxn ang="0">
                    <a:pos x="connsiteX3718" y="connsiteY3718"/>
                  </a:cxn>
                  <a:cxn ang="0">
                    <a:pos x="connsiteX3719" y="connsiteY3719"/>
                  </a:cxn>
                  <a:cxn ang="0">
                    <a:pos x="connsiteX3720" y="connsiteY3720"/>
                  </a:cxn>
                  <a:cxn ang="0">
                    <a:pos x="connsiteX3721" y="connsiteY3721"/>
                  </a:cxn>
                  <a:cxn ang="0">
                    <a:pos x="connsiteX3722" y="connsiteY3722"/>
                  </a:cxn>
                  <a:cxn ang="0">
                    <a:pos x="connsiteX3723" y="connsiteY3723"/>
                  </a:cxn>
                  <a:cxn ang="0">
                    <a:pos x="connsiteX3724" y="connsiteY3724"/>
                  </a:cxn>
                  <a:cxn ang="0">
                    <a:pos x="connsiteX3725" y="connsiteY3725"/>
                  </a:cxn>
                  <a:cxn ang="0">
                    <a:pos x="connsiteX3726" y="connsiteY3726"/>
                  </a:cxn>
                  <a:cxn ang="0">
                    <a:pos x="connsiteX3727" y="connsiteY3727"/>
                  </a:cxn>
                  <a:cxn ang="0">
                    <a:pos x="connsiteX3728" y="connsiteY3728"/>
                  </a:cxn>
                  <a:cxn ang="0">
                    <a:pos x="connsiteX3729" y="connsiteY3729"/>
                  </a:cxn>
                  <a:cxn ang="0">
                    <a:pos x="connsiteX3730" y="connsiteY3730"/>
                  </a:cxn>
                  <a:cxn ang="0">
                    <a:pos x="connsiteX3731" y="connsiteY3731"/>
                  </a:cxn>
                  <a:cxn ang="0">
                    <a:pos x="connsiteX3732" y="connsiteY3732"/>
                  </a:cxn>
                  <a:cxn ang="0">
                    <a:pos x="connsiteX3733" y="connsiteY3733"/>
                  </a:cxn>
                  <a:cxn ang="0">
                    <a:pos x="connsiteX3734" y="connsiteY3734"/>
                  </a:cxn>
                  <a:cxn ang="0">
                    <a:pos x="connsiteX3735" y="connsiteY3735"/>
                  </a:cxn>
                  <a:cxn ang="0">
                    <a:pos x="connsiteX3736" y="connsiteY3736"/>
                  </a:cxn>
                  <a:cxn ang="0">
                    <a:pos x="connsiteX3737" y="connsiteY3737"/>
                  </a:cxn>
                  <a:cxn ang="0">
                    <a:pos x="connsiteX3738" y="connsiteY3738"/>
                  </a:cxn>
                  <a:cxn ang="0">
                    <a:pos x="connsiteX3739" y="connsiteY3739"/>
                  </a:cxn>
                  <a:cxn ang="0">
                    <a:pos x="connsiteX3740" y="connsiteY3740"/>
                  </a:cxn>
                  <a:cxn ang="0">
                    <a:pos x="connsiteX3741" y="connsiteY3741"/>
                  </a:cxn>
                  <a:cxn ang="0">
                    <a:pos x="connsiteX3742" y="connsiteY3742"/>
                  </a:cxn>
                  <a:cxn ang="0">
                    <a:pos x="connsiteX3743" y="connsiteY3743"/>
                  </a:cxn>
                  <a:cxn ang="0">
                    <a:pos x="connsiteX3744" y="connsiteY3744"/>
                  </a:cxn>
                  <a:cxn ang="0">
                    <a:pos x="connsiteX3745" y="connsiteY3745"/>
                  </a:cxn>
                  <a:cxn ang="0">
                    <a:pos x="connsiteX3746" y="connsiteY3746"/>
                  </a:cxn>
                  <a:cxn ang="0">
                    <a:pos x="connsiteX3747" y="connsiteY3747"/>
                  </a:cxn>
                  <a:cxn ang="0">
                    <a:pos x="connsiteX3748" y="connsiteY3748"/>
                  </a:cxn>
                  <a:cxn ang="0">
                    <a:pos x="connsiteX3749" y="connsiteY3749"/>
                  </a:cxn>
                  <a:cxn ang="0">
                    <a:pos x="connsiteX3750" y="connsiteY3750"/>
                  </a:cxn>
                  <a:cxn ang="0">
                    <a:pos x="connsiteX3751" y="connsiteY3751"/>
                  </a:cxn>
                  <a:cxn ang="0">
                    <a:pos x="connsiteX3752" y="connsiteY3752"/>
                  </a:cxn>
                  <a:cxn ang="0">
                    <a:pos x="connsiteX3753" y="connsiteY3753"/>
                  </a:cxn>
                  <a:cxn ang="0">
                    <a:pos x="connsiteX3754" y="connsiteY3754"/>
                  </a:cxn>
                  <a:cxn ang="0">
                    <a:pos x="connsiteX3755" y="connsiteY3755"/>
                  </a:cxn>
                  <a:cxn ang="0">
                    <a:pos x="connsiteX3756" y="connsiteY3756"/>
                  </a:cxn>
                  <a:cxn ang="0">
                    <a:pos x="connsiteX3757" y="connsiteY3757"/>
                  </a:cxn>
                  <a:cxn ang="0">
                    <a:pos x="connsiteX3758" y="connsiteY3758"/>
                  </a:cxn>
                  <a:cxn ang="0">
                    <a:pos x="connsiteX3759" y="connsiteY3759"/>
                  </a:cxn>
                  <a:cxn ang="0">
                    <a:pos x="connsiteX3760" y="connsiteY3760"/>
                  </a:cxn>
                  <a:cxn ang="0">
                    <a:pos x="connsiteX3761" y="connsiteY3761"/>
                  </a:cxn>
                  <a:cxn ang="0">
                    <a:pos x="connsiteX3762" y="connsiteY3762"/>
                  </a:cxn>
                  <a:cxn ang="0">
                    <a:pos x="connsiteX3763" y="connsiteY3763"/>
                  </a:cxn>
                  <a:cxn ang="0">
                    <a:pos x="connsiteX3764" y="connsiteY3764"/>
                  </a:cxn>
                  <a:cxn ang="0">
                    <a:pos x="connsiteX3765" y="connsiteY3765"/>
                  </a:cxn>
                  <a:cxn ang="0">
                    <a:pos x="connsiteX3766" y="connsiteY3766"/>
                  </a:cxn>
                  <a:cxn ang="0">
                    <a:pos x="connsiteX3767" y="connsiteY3767"/>
                  </a:cxn>
                  <a:cxn ang="0">
                    <a:pos x="connsiteX3768" y="connsiteY3768"/>
                  </a:cxn>
                  <a:cxn ang="0">
                    <a:pos x="connsiteX3769" y="connsiteY3769"/>
                  </a:cxn>
                  <a:cxn ang="0">
                    <a:pos x="connsiteX3770" y="connsiteY3770"/>
                  </a:cxn>
                  <a:cxn ang="0">
                    <a:pos x="connsiteX3771" y="connsiteY3771"/>
                  </a:cxn>
                  <a:cxn ang="0">
                    <a:pos x="connsiteX3772" y="connsiteY3772"/>
                  </a:cxn>
                  <a:cxn ang="0">
                    <a:pos x="connsiteX3773" y="connsiteY3773"/>
                  </a:cxn>
                  <a:cxn ang="0">
                    <a:pos x="connsiteX3774" y="connsiteY3774"/>
                  </a:cxn>
                  <a:cxn ang="0">
                    <a:pos x="connsiteX3775" y="connsiteY3775"/>
                  </a:cxn>
                  <a:cxn ang="0">
                    <a:pos x="connsiteX3776" y="connsiteY3776"/>
                  </a:cxn>
                  <a:cxn ang="0">
                    <a:pos x="connsiteX3777" y="connsiteY3777"/>
                  </a:cxn>
                  <a:cxn ang="0">
                    <a:pos x="connsiteX3778" y="connsiteY3778"/>
                  </a:cxn>
                  <a:cxn ang="0">
                    <a:pos x="connsiteX3779" y="connsiteY3779"/>
                  </a:cxn>
                  <a:cxn ang="0">
                    <a:pos x="connsiteX3780" y="connsiteY3780"/>
                  </a:cxn>
                  <a:cxn ang="0">
                    <a:pos x="connsiteX3781" y="connsiteY3781"/>
                  </a:cxn>
                  <a:cxn ang="0">
                    <a:pos x="connsiteX3782" y="connsiteY3782"/>
                  </a:cxn>
                  <a:cxn ang="0">
                    <a:pos x="connsiteX3783" y="connsiteY3783"/>
                  </a:cxn>
                  <a:cxn ang="0">
                    <a:pos x="connsiteX3784" y="connsiteY3784"/>
                  </a:cxn>
                  <a:cxn ang="0">
                    <a:pos x="connsiteX3785" y="connsiteY3785"/>
                  </a:cxn>
                  <a:cxn ang="0">
                    <a:pos x="connsiteX3786" y="connsiteY3786"/>
                  </a:cxn>
                  <a:cxn ang="0">
                    <a:pos x="connsiteX3787" y="connsiteY3787"/>
                  </a:cxn>
                  <a:cxn ang="0">
                    <a:pos x="connsiteX3788" y="connsiteY3788"/>
                  </a:cxn>
                  <a:cxn ang="0">
                    <a:pos x="connsiteX3789" y="connsiteY3789"/>
                  </a:cxn>
                  <a:cxn ang="0">
                    <a:pos x="connsiteX3790" y="connsiteY3790"/>
                  </a:cxn>
                  <a:cxn ang="0">
                    <a:pos x="connsiteX3791" y="connsiteY3791"/>
                  </a:cxn>
                  <a:cxn ang="0">
                    <a:pos x="connsiteX3792" y="connsiteY3792"/>
                  </a:cxn>
                  <a:cxn ang="0">
                    <a:pos x="connsiteX3793" y="connsiteY3793"/>
                  </a:cxn>
                  <a:cxn ang="0">
                    <a:pos x="connsiteX3794" y="connsiteY3794"/>
                  </a:cxn>
                  <a:cxn ang="0">
                    <a:pos x="connsiteX3795" y="connsiteY3795"/>
                  </a:cxn>
                  <a:cxn ang="0">
                    <a:pos x="connsiteX3796" y="connsiteY3796"/>
                  </a:cxn>
                  <a:cxn ang="0">
                    <a:pos x="connsiteX3797" y="connsiteY3797"/>
                  </a:cxn>
                  <a:cxn ang="0">
                    <a:pos x="connsiteX3798" y="connsiteY3798"/>
                  </a:cxn>
                  <a:cxn ang="0">
                    <a:pos x="connsiteX3799" y="connsiteY3799"/>
                  </a:cxn>
                  <a:cxn ang="0">
                    <a:pos x="connsiteX3800" y="connsiteY3800"/>
                  </a:cxn>
                  <a:cxn ang="0">
                    <a:pos x="connsiteX3801" y="connsiteY3801"/>
                  </a:cxn>
                  <a:cxn ang="0">
                    <a:pos x="connsiteX3802" y="connsiteY3802"/>
                  </a:cxn>
                  <a:cxn ang="0">
                    <a:pos x="connsiteX3803" y="connsiteY3803"/>
                  </a:cxn>
                  <a:cxn ang="0">
                    <a:pos x="connsiteX3804" y="connsiteY3804"/>
                  </a:cxn>
                  <a:cxn ang="0">
                    <a:pos x="connsiteX3805" y="connsiteY3805"/>
                  </a:cxn>
                  <a:cxn ang="0">
                    <a:pos x="connsiteX3806" y="connsiteY3806"/>
                  </a:cxn>
                  <a:cxn ang="0">
                    <a:pos x="connsiteX3807" y="connsiteY3807"/>
                  </a:cxn>
                  <a:cxn ang="0">
                    <a:pos x="connsiteX3808" y="connsiteY3808"/>
                  </a:cxn>
                  <a:cxn ang="0">
                    <a:pos x="connsiteX3809" y="connsiteY3809"/>
                  </a:cxn>
                  <a:cxn ang="0">
                    <a:pos x="connsiteX3810" y="connsiteY3810"/>
                  </a:cxn>
                  <a:cxn ang="0">
                    <a:pos x="connsiteX3811" y="connsiteY3811"/>
                  </a:cxn>
                  <a:cxn ang="0">
                    <a:pos x="connsiteX3812" y="connsiteY3812"/>
                  </a:cxn>
                  <a:cxn ang="0">
                    <a:pos x="connsiteX3813" y="connsiteY3813"/>
                  </a:cxn>
                  <a:cxn ang="0">
                    <a:pos x="connsiteX3814" y="connsiteY3814"/>
                  </a:cxn>
                  <a:cxn ang="0">
                    <a:pos x="connsiteX3815" y="connsiteY3815"/>
                  </a:cxn>
                  <a:cxn ang="0">
                    <a:pos x="connsiteX3816" y="connsiteY3816"/>
                  </a:cxn>
                  <a:cxn ang="0">
                    <a:pos x="connsiteX3817" y="connsiteY3817"/>
                  </a:cxn>
                  <a:cxn ang="0">
                    <a:pos x="connsiteX3818" y="connsiteY3818"/>
                  </a:cxn>
                  <a:cxn ang="0">
                    <a:pos x="connsiteX3819" y="connsiteY3819"/>
                  </a:cxn>
                  <a:cxn ang="0">
                    <a:pos x="connsiteX3820" y="connsiteY3820"/>
                  </a:cxn>
                  <a:cxn ang="0">
                    <a:pos x="connsiteX3821" y="connsiteY3821"/>
                  </a:cxn>
                  <a:cxn ang="0">
                    <a:pos x="connsiteX3822" y="connsiteY3822"/>
                  </a:cxn>
                  <a:cxn ang="0">
                    <a:pos x="connsiteX3823" y="connsiteY3823"/>
                  </a:cxn>
                  <a:cxn ang="0">
                    <a:pos x="connsiteX3824" y="connsiteY3824"/>
                  </a:cxn>
                  <a:cxn ang="0">
                    <a:pos x="connsiteX3825" y="connsiteY3825"/>
                  </a:cxn>
                  <a:cxn ang="0">
                    <a:pos x="connsiteX3826" y="connsiteY3826"/>
                  </a:cxn>
                  <a:cxn ang="0">
                    <a:pos x="connsiteX3827" y="connsiteY3827"/>
                  </a:cxn>
                  <a:cxn ang="0">
                    <a:pos x="connsiteX3828" y="connsiteY3828"/>
                  </a:cxn>
                  <a:cxn ang="0">
                    <a:pos x="connsiteX3829" y="connsiteY3829"/>
                  </a:cxn>
                  <a:cxn ang="0">
                    <a:pos x="connsiteX3830" y="connsiteY3830"/>
                  </a:cxn>
                  <a:cxn ang="0">
                    <a:pos x="connsiteX3831" y="connsiteY3831"/>
                  </a:cxn>
                  <a:cxn ang="0">
                    <a:pos x="connsiteX3832" y="connsiteY3832"/>
                  </a:cxn>
                  <a:cxn ang="0">
                    <a:pos x="connsiteX3833" y="connsiteY3833"/>
                  </a:cxn>
                  <a:cxn ang="0">
                    <a:pos x="connsiteX3834" y="connsiteY3834"/>
                  </a:cxn>
                  <a:cxn ang="0">
                    <a:pos x="connsiteX3835" y="connsiteY3835"/>
                  </a:cxn>
                  <a:cxn ang="0">
                    <a:pos x="connsiteX3836" y="connsiteY3836"/>
                  </a:cxn>
                  <a:cxn ang="0">
                    <a:pos x="connsiteX3837" y="connsiteY3837"/>
                  </a:cxn>
                  <a:cxn ang="0">
                    <a:pos x="connsiteX3838" y="connsiteY3838"/>
                  </a:cxn>
                  <a:cxn ang="0">
                    <a:pos x="connsiteX3839" y="connsiteY3839"/>
                  </a:cxn>
                  <a:cxn ang="0">
                    <a:pos x="connsiteX3840" y="connsiteY3840"/>
                  </a:cxn>
                  <a:cxn ang="0">
                    <a:pos x="connsiteX3841" y="connsiteY3841"/>
                  </a:cxn>
                  <a:cxn ang="0">
                    <a:pos x="connsiteX3842" y="connsiteY3842"/>
                  </a:cxn>
                  <a:cxn ang="0">
                    <a:pos x="connsiteX3843" y="connsiteY3843"/>
                  </a:cxn>
                  <a:cxn ang="0">
                    <a:pos x="connsiteX3844" y="connsiteY3844"/>
                  </a:cxn>
                  <a:cxn ang="0">
                    <a:pos x="connsiteX3845" y="connsiteY3845"/>
                  </a:cxn>
                  <a:cxn ang="0">
                    <a:pos x="connsiteX3846" y="connsiteY3846"/>
                  </a:cxn>
                  <a:cxn ang="0">
                    <a:pos x="connsiteX3847" y="connsiteY3847"/>
                  </a:cxn>
                  <a:cxn ang="0">
                    <a:pos x="connsiteX3848" y="connsiteY3848"/>
                  </a:cxn>
                  <a:cxn ang="0">
                    <a:pos x="connsiteX3849" y="connsiteY3849"/>
                  </a:cxn>
                  <a:cxn ang="0">
                    <a:pos x="connsiteX3850" y="connsiteY3850"/>
                  </a:cxn>
                  <a:cxn ang="0">
                    <a:pos x="connsiteX3851" y="connsiteY3851"/>
                  </a:cxn>
                  <a:cxn ang="0">
                    <a:pos x="connsiteX3852" y="connsiteY3852"/>
                  </a:cxn>
                  <a:cxn ang="0">
                    <a:pos x="connsiteX3853" y="connsiteY3853"/>
                  </a:cxn>
                  <a:cxn ang="0">
                    <a:pos x="connsiteX3854" y="connsiteY3854"/>
                  </a:cxn>
                  <a:cxn ang="0">
                    <a:pos x="connsiteX3855" y="connsiteY3855"/>
                  </a:cxn>
                  <a:cxn ang="0">
                    <a:pos x="connsiteX3856" y="connsiteY3856"/>
                  </a:cxn>
                  <a:cxn ang="0">
                    <a:pos x="connsiteX3857" y="connsiteY3857"/>
                  </a:cxn>
                  <a:cxn ang="0">
                    <a:pos x="connsiteX3858" y="connsiteY3858"/>
                  </a:cxn>
                  <a:cxn ang="0">
                    <a:pos x="connsiteX3859" y="connsiteY3859"/>
                  </a:cxn>
                  <a:cxn ang="0">
                    <a:pos x="connsiteX3860" y="connsiteY3860"/>
                  </a:cxn>
                  <a:cxn ang="0">
                    <a:pos x="connsiteX3861" y="connsiteY3861"/>
                  </a:cxn>
                  <a:cxn ang="0">
                    <a:pos x="connsiteX3862" y="connsiteY3862"/>
                  </a:cxn>
                  <a:cxn ang="0">
                    <a:pos x="connsiteX3863" y="connsiteY3863"/>
                  </a:cxn>
                  <a:cxn ang="0">
                    <a:pos x="connsiteX3864" y="connsiteY3864"/>
                  </a:cxn>
                  <a:cxn ang="0">
                    <a:pos x="connsiteX3865" y="connsiteY3865"/>
                  </a:cxn>
                  <a:cxn ang="0">
                    <a:pos x="connsiteX3866" y="connsiteY3866"/>
                  </a:cxn>
                  <a:cxn ang="0">
                    <a:pos x="connsiteX3867" y="connsiteY3867"/>
                  </a:cxn>
                  <a:cxn ang="0">
                    <a:pos x="connsiteX3868" y="connsiteY3868"/>
                  </a:cxn>
                  <a:cxn ang="0">
                    <a:pos x="connsiteX3869" y="connsiteY3869"/>
                  </a:cxn>
                  <a:cxn ang="0">
                    <a:pos x="connsiteX3870" y="connsiteY3870"/>
                  </a:cxn>
                  <a:cxn ang="0">
                    <a:pos x="connsiteX3871" y="connsiteY3871"/>
                  </a:cxn>
                  <a:cxn ang="0">
                    <a:pos x="connsiteX3872" y="connsiteY3872"/>
                  </a:cxn>
                  <a:cxn ang="0">
                    <a:pos x="connsiteX3873" y="connsiteY3873"/>
                  </a:cxn>
                  <a:cxn ang="0">
                    <a:pos x="connsiteX3874" y="connsiteY3874"/>
                  </a:cxn>
                  <a:cxn ang="0">
                    <a:pos x="connsiteX3875" y="connsiteY3875"/>
                  </a:cxn>
                  <a:cxn ang="0">
                    <a:pos x="connsiteX3876" y="connsiteY3876"/>
                  </a:cxn>
                  <a:cxn ang="0">
                    <a:pos x="connsiteX3877" y="connsiteY3877"/>
                  </a:cxn>
                  <a:cxn ang="0">
                    <a:pos x="connsiteX3878" y="connsiteY3878"/>
                  </a:cxn>
                  <a:cxn ang="0">
                    <a:pos x="connsiteX3879" y="connsiteY3879"/>
                  </a:cxn>
                  <a:cxn ang="0">
                    <a:pos x="connsiteX3880" y="connsiteY3880"/>
                  </a:cxn>
                  <a:cxn ang="0">
                    <a:pos x="connsiteX3881" y="connsiteY3881"/>
                  </a:cxn>
                  <a:cxn ang="0">
                    <a:pos x="connsiteX3882" y="connsiteY3882"/>
                  </a:cxn>
                  <a:cxn ang="0">
                    <a:pos x="connsiteX3883" y="connsiteY3883"/>
                  </a:cxn>
                  <a:cxn ang="0">
                    <a:pos x="connsiteX3884" y="connsiteY3884"/>
                  </a:cxn>
                  <a:cxn ang="0">
                    <a:pos x="connsiteX3885" y="connsiteY3885"/>
                  </a:cxn>
                  <a:cxn ang="0">
                    <a:pos x="connsiteX3886" y="connsiteY3886"/>
                  </a:cxn>
                  <a:cxn ang="0">
                    <a:pos x="connsiteX3887" y="connsiteY3887"/>
                  </a:cxn>
                  <a:cxn ang="0">
                    <a:pos x="connsiteX3888" y="connsiteY3888"/>
                  </a:cxn>
                  <a:cxn ang="0">
                    <a:pos x="connsiteX3889" y="connsiteY3889"/>
                  </a:cxn>
                  <a:cxn ang="0">
                    <a:pos x="connsiteX3890" y="connsiteY3890"/>
                  </a:cxn>
                  <a:cxn ang="0">
                    <a:pos x="connsiteX3891" y="connsiteY3891"/>
                  </a:cxn>
                  <a:cxn ang="0">
                    <a:pos x="connsiteX3892" y="connsiteY3892"/>
                  </a:cxn>
                  <a:cxn ang="0">
                    <a:pos x="connsiteX3893" y="connsiteY3893"/>
                  </a:cxn>
                  <a:cxn ang="0">
                    <a:pos x="connsiteX3894" y="connsiteY3894"/>
                  </a:cxn>
                  <a:cxn ang="0">
                    <a:pos x="connsiteX3895" y="connsiteY3895"/>
                  </a:cxn>
                  <a:cxn ang="0">
                    <a:pos x="connsiteX3896" y="connsiteY3896"/>
                  </a:cxn>
                  <a:cxn ang="0">
                    <a:pos x="connsiteX3897" y="connsiteY3897"/>
                  </a:cxn>
                  <a:cxn ang="0">
                    <a:pos x="connsiteX3898" y="connsiteY3898"/>
                  </a:cxn>
                  <a:cxn ang="0">
                    <a:pos x="connsiteX3899" y="connsiteY3899"/>
                  </a:cxn>
                  <a:cxn ang="0">
                    <a:pos x="connsiteX3900" y="connsiteY3900"/>
                  </a:cxn>
                  <a:cxn ang="0">
                    <a:pos x="connsiteX3901" y="connsiteY3901"/>
                  </a:cxn>
                  <a:cxn ang="0">
                    <a:pos x="connsiteX3902" y="connsiteY3902"/>
                  </a:cxn>
                  <a:cxn ang="0">
                    <a:pos x="connsiteX3903" y="connsiteY3903"/>
                  </a:cxn>
                  <a:cxn ang="0">
                    <a:pos x="connsiteX3904" y="connsiteY3904"/>
                  </a:cxn>
                  <a:cxn ang="0">
                    <a:pos x="connsiteX3905" y="connsiteY3905"/>
                  </a:cxn>
                  <a:cxn ang="0">
                    <a:pos x="connsiteX3906" y="connsiteY3906"/>
                  </a:cxn>
                  <a:cxn ang="0">
                    <a:pos x="connsiteX3907" y="connsiteY3907"/>
                  </a:cxn>
                  <a:cxn ang="0">
                    <a:pos x="connsiteX3908" y="connsiteY3908"/>
                  </a:cxn>
                  <a:cxn ang="0">
                    <a:pos x="connsiteX3909" y="connsiteY3909"/>
                  </a:cxn>
                  <a:cxn ang="0">
                    <a:pos x="connsiteX3910" y="connsiteY3910"/>
                  </a:cxn>
                  <a:cxn ang="0">
                    <a:pos x="connsiteX3911" y="connsiteY3911"/>
                  </a:cxn>
                  <a:cxn ang="0">
                    <a:pos x="connsiteX3912" y="connsiteY3912"/>
                  </a:cxn>
                  <a:cxn ang="0">
                    <a:pos x="connsiteX3913" y="connsiteY3913"/>
                  </a:cxn>
                  <a:cxn ang="0">
                    <a:pos x="connsiteX3914" y="connsiteY3914"/>
                  </a:cxn>
                  <a:cxn ang="0">
                    <a:pos x="connsiteX3915" y="connsiteY3915"/>
                  </a:cxn>
                  <a:cxn ang="0">
                    <a:pos x="connsiteX3916" y="connsiteY3916"/>
                  </a:cxn>
                  <a:cxn ang="0">
                    <a:pos x="connsiteX3917" y="connsiteY3917"/>
                  </a:cxn>
                  <a:cxn ang="0">
                    <a:pos x="connsiteX3918" y="connsiteY3918"/>
                  </a:cxn>
                  <a:cxn ang="0">
                    <a:pos x="connsiteX3919" y="connsiteY3919"/>
                  </a:cxn>
                  <a:cxn ang="0">
                    <a:pos x="connsiteX3920" y="connsiteY3920"/>
                  </a:cxn>
                  <a:cxn ang="0">
                    <a:pos x="connsiteX3921" y="connsiteY3921"/>
                  </a:cxn>
                  <a:cxn ang="0">
                    <a:pos x="connsiteX3922" y="connsiteY3922"/>
                  </a:cxn>
                  <a:cxn ang="0">
                    <a:pos x="connsiteX3923" y="connsiteY3923"/>
                  </a:cxn>
                  <a:cxn ang="0">
                    <a:pos x="connsiteX3924" y="connsiteY3924"/>
                  </a:cxn>
                  <a:cxn ang="0">
                    <a:pos x="connsiteX3925" y="connsiteY3925"/>
                  </a:cxn>
                  <a:cxn ang="0">
                    <a:pos x="connsiteX3926" y="connsiteY3926"/>
                  </a:cxn>
                  <a:cxn ang="0">
                    <a:pos x="connsiteX3927" y="connsiteY3927"/>
                  </a:cxn>
                  <a:cxn ang="0">
                    <a:pos x="connsiteX3928" y="connsiteY3928"/>
                  </a:cxn>
                  <a:cxn ang="0">
                    <a:pos x="connsiteX3929" y="connsiteY3929"/>
                  </a:cxn>
                  <a:cxn ang="0">
                    <a:pos x="connsiteX3930" y="connsiteY3930"/>
                  </a:cxn>
                  <a:cxn ang="0">
                    <a:pos x="connsiteX3931" y="connsiteY3931"/>
                  </a:cxn>
                  <a:cxn ang="0">
                    <a:pos x="connsiteX3932" y="connsiteY3932"/>
                  </a:cxn>
                  <a:cxn ang="0">
                    <a:pos x="connsiteX3933" y="connsiteY3933"/>
                  </a:cxn>
                  <a:cxn ang="0">
                    <a:pos x="connsiteX3934" y="connsiteY3934"/>
                  </a:cxn>
                  <a:cxn ang="0">
                    <a:pos x="connsiteX3935" y="connsiteY3935"/>
                  </a:cxn>
                  <a:cxn ang="0">
                    <a:pos x="connsiteX3936" y="connsiteY3936"/>
                  </a:cxn>
                  <a:cxn ang="0">
                    <a:pos x="connsiteX3937" y="connsiteY3937"/>
                  </a:cxn>
                  <a:cxn ang="0">
                    <a:pos x="connsiteX3938" y="connsiteY3938"/>
                  </a:cxn>
                  <a:cxn ang="0">
                    <a:pos x="connsiteX3939" y="connsiteY3939"/>
                  </a:cxn>
                  <a:cxn ang="0">
                    <a:pos x="connsiteX3940" y="connsiteY3940"/>
                  </a:cxn>
                  <a:cxn ang="0">
                    <a:pos x="connsiteX3941" y="connsiteY3941"/>
                  </a:cxn>
                  <a:cxn ang="0">
                    <a:pos x="connsiteX3942" y="connsiteY3942"/>
                  </a:cxn>
                  <a:cxn ang="0">
                    <a:pos x="connsiteX3943" y="connsiteY3943"/>
                  </a:cxn>
                  <a:cxn ang="0">
                    <a:pos x="connsiteX3944" y="connsiteY3944"/>
                  </a:cxn>
                  <a:cxn ang="0">
                    <a:pos x="connsiteX3945" y="connsiteY3945"/>
                  </a:cxn>
                  <a:cxn ang="0">
                    <a:pos x="connsiteX3946" y="connsiteY3946"/>
                  </a:cxn>
                  <a:cxn ang="0">
                    <a:pos x="connsiteX3947" y="connsiteY3947"/>
                  </a:cxn>
                  <a:cxn ang="0">
                    <a:pos x="connsiteX3948" y="connsiteY3948"/>
                  </a:cxn>
                  <a:cxn ang="0">
                    <a:pos x="connsiteX3949" y="connsiteY3949"/>
                  </a:cxn>
                  <a:cxn ang="0">
                    <a:pos x="connsiteX3950" y="connsiteY3950"/>
                  </a:cxn>
                  <a:cxn ang="0">
                    <a:pos x="connsiteX3951" y="connsiteY3951"/>
                  </a:cxn>
                  <a:cxn ang="0">
                    <a:pos x="connsiteX3952" y="connsiteY3952"/>
                  </a:cxn>
                  <a:cxn ang="0">
                    <a:pos x="connsiteX3953" y="connsiteY3953"/>
                  </a:cxn>
                  <a:cxn ang="0">
                    <a:pos x="connsiteX3954" y="connsiteY3954"/>
                  </a:cxn>
                  <a:cxn ang="0">
                    <a:pos x="connsiteX3955" y="connsiteY3955"/>
                  </a:cxn>
                  <a:cxn ang="0">
                    <a:pos x="connsiteX3956" y="connsiteY3956"/>
                  </a:cxn>
                  <a:cxn ang="0">
                    <a:pos x="connsiteX3957" y="connsiteY3957"/>
                  </a:cxn>
                  <a:cxn ang="0">
                    <a:pos x="connsiteX3958" y="connsiteY3958"/>
                  </a:cxn>
                  <a:cxn ang="0">
                    <a:pos x="connsiteX3959" y="connsiteY3959"/>
                  </a:cxn>
                  <a:cxn ang="0">
                    <a:pos x="connsiteX3960" y="connsiteY3960"/>
                  </a:cxn>
                  <a:cxn ang="0">
                    <a:pos x="connsiteX3961" y="connsiteY3961"/>
                  </a:cxn>
                  <a:cxn ang="0">
                    <a:pos x="connsiteX3962" y="connsiteY3962"/>
                  </a:cxn>
                  <a:cxn ang="0">
                    <a:pos x="connsiteX3963" y="connsiteY3963"/>
                  </a:cxn>
                  <a:cxn ang="0">
                    <a:pos x="connsiteX3964" y="connsiteY3964"/>
                  </a:cxn>
                  <a:cxn ang="0">
                    <a:pos x="connsiteX3965" y="connsiteY3965"/>
                  </a:cxn>
                  <a:cxn ang="0">
                    <a:pos x="connsiteX3966" y="connsiteY3966"/>
                  </a:cxn>
                  <a:cxn ang="0">
                    <a:pos x="connsiteX3967" y="connsiteY3967"/>
                  </a:cxn>
                  <a:cxn ang="0">
                    <a:pos x="connsiteX3968" y="connsiteY3968"/>
                  </a:cxn>
                  <a:cxn ang="0">
                    <a:pos x="connsiteX3969" y="connsiteY3969"/>
                  </a:cxn>
                  <a:cxn ang="0">
                    <a:pos x="connsiteX3970" y="connsiteY3970"/>
                  </a:cxn>
                  <a:cxn ang="0">
                    <a:pos x="connsiteX3971" y="connsiteY3971"/>
                  </a:cxn>
                  <a:cxn ang="0">
                    <a:pos x="connsiteX3972" y="connsiteY3972"/>
                  </a:cxn>
                  <a:cxn ang="0">
                    <a:pos x="connsiteX3973" y="connsiteY3973"/>
                  </a:cxn>
                  <a:cxn ang="0">
                    <a:pos x="connsiteX3974" y="connsiteY3974"/>
                  </a:cxn>
                  <a:cxn ang="0">
                    <a:pos x="connsiteX3975" y="connsiteY3975"/>
                  </a:cxn>
                  <a:cxn ang="0">
                    <a:pos x="connsiteX3976" y="connsiteY3976"/>
                  </a:cxn>
                  <a:cxn ang="0">
                    <a:pos x="connsiteX3977" y="connsiteY3977"/>
                  </a:cxn>
                  <a:cxn ang="0">
                    <a:pos x="connsiteX3978" y="connsiteY3978"/>
                  </a:cxn>
                  <a:cxn ang="0">
                    <a:pos x="connsiteX3979" y="connsiteY3979"/>
                  </a:cxn>
                  <a:cxn ang="0">
                    <a:pos x="connsiteX3980" y="connsiteY3980"/>
                  </a:cxn>
                  <a:cxn ang="0">
                    <a:pos x="connsiteX3981" y="connsiteY3981"/>
                  </a:cxn>
                  <a:cxn ang="0">
                    <a:pos x="connsiteX3982" y="connsiteY3982"/>
                  </a:cxn>
                  <a:cxn ang="0">
                    <a:pos x="connsiteX3983" y="connsiteY3983"/>
                  </a:cxn>
                  <a:cxn ang="0">
                    <a:pos x="connsiteX3984" y="connsiteY3984"/>
                  </a:cxn>
                  <a:cxn ang="0">
                    <a:pos x="connsiteX3985" y="connsiteY3985"/>
                  </a:cxn>
                  <a:cxn ang="0">
                    <a:pos x="connsiteX3986" y="connsiteY3986"/>
                  </a:cxn>
                  <a:cxn ang="0">
                    <a:pos x="connsiteX3987" y="connsiteY3987"/>
                  </a:cxn>
                  <a:cxn ang="0">
                    <a:pos x="connsiteX3988" y="connsiteY3988"/>
                  </a:cxn>
                  <a:cxn ang="0">
                    <a:pos x="connsiteX3989" y="connsiteY3989"/>
                  </a:cxn>
                  <a:cxn ang="0">
                    <a:pos x="connsiteX3990" y="connsiteY3990"/>
                  </a:cxn>
                </a:cxnLst>
                <a:rect l="l" t="t" r="r" b="b"/>
                <a:pathLst>
                  <a:path w="1969770" h="1744979">
                    <a:moveTo>
                      <a:pt x="327660" y="811530"/>
                    </a:moveTo>
                    <a:lnTo>
                      <a:pt x="433388" y="811530"/>
                    </a:lnTo>
                    <a:lnTo>
                      <a:pt x="438150" y="798195"/>
                    </a:lnTo>
                    <a:lnTo>
                      <a:pt x="439103" y="784860"/>
                    </a:lnTo>
                    <a:lnTo>
                      <a:pt x="440055" y="771525"/>
                    </a:lnTo>
                    <a:lnTo>
                      <a:pt x="441008" y="758190"/>
                    </a:lnTo>
                    <a:lnTo>
                      <a:pt x="442913" y="744855"/>
                    </a:lnTo>
                    <a:lnTo>
                      <a:pt x="444818" y="732473"/>
                    </a:lnTo>
                    <a:lnTo>
                      <a:pt x="447675" y="719138"/>
                    </a:lnTo>
                    <a:lnTo>
                      <a:pt x="450533" y="706755"/>
                    </a:lnTo>
                    <a:lnTo>
                      <a:pt x="453390" y="694373"/>
                    </a:lnTo>
                    <a:lnTo>
                      <a:pt x="456248" y="681990"/>
                    </a:lnTo>
                    <a:lnTo>
                      <a:pt x="459105" y="669608"/>
                    </a:lnTo>
                    <a:lnTo>
                      <a:pt x="466725" y="644843"/>
                    </a:lnTo>
                    <a:lnTo>
                      <a:pt x="471488" y="632460"/>
                    </a:lnTo>
                    <a:lnTo>
                      <a:pt x="476250" y="620078"/>
                    </a:lnTo>
                    <a:lnTo>
                      <a:pt x="481013" y="608648"/>
                    </a:lnTo>
                    <a:lnTo>
                      <a:pt x="486728" y="597218"/>
                    </a:lnTo>
                    <a:lnTo>
                      <a:pt x="492443" y="585788"/>
                    </a:lnTo>
                    <a:lnTo>
                      <a:pt x="498158" y="574358"/>
                    </a:lnTo>
                    <a:lnTo>
                      <a:pt x="503873" y="562928"/>
                    </a:lnTo>
                    <a:lnTo>
                      <a:pt x="510540" y="551498"/>
                    </a:lnTo>
                    <a:lnTo>
                      <a:pt x="517208" y="541020"/>
                    </a:lnTo>
                    <a:lnTo>
                      <a:pt x="523875" y="530543"/>
                    </a:lnTo>
                    <a:lnTo>
                      <a:pt x="530543" y="520065"/>
                    </a:lnTo>
                    <a:lnTo>
                      <a:pt x="537210" y="509588"/>
                    </a:lnTo>
                    <a:lnTo>
                      <a:pt x="544830" y="499110"/>
                    </a:lnTo>
                    <a:lnTo>
                      <a:pt x="552450" y="489585"/>
                    </a:lnTo>
                    <a:lnTo>
                      <a:pt x="560070" y="479108"/>
                    </a:lnTo>
                    <a:lnTo>
                      <a:pt x="567690" y="469583"/>
                    </a:lnTo>
                    <a:lnTo>
                      <a:pt x="575310" y="460058"/>
                    </a:lnTo>
                    <a:lnTo>
                      <a:pt x="583883" y="450533"/>
                    </a:lnTo>
                    <a:lnTo>
                      <a:pt x="592455" y="441008"/>
                    </a:lnTo>
                    <a:lnTo>
                      <a:pt x="514350" y="362903"/>
                    </a:lnTo>
                    <a:lnTo>
                      <a:pt x="503873" y="373380"/>
                    </a:lnTo>
                    <a:lnTo>
                      <a:pt x="493395" y="384810"/>
                    </a:lnTo>
                    <a:lnTo>
                      <a:pt x="483870" y="396240"/>
                    </a:lnTo>
                    <a:lnTo>
                      <a:pt x="474345" y="407670"/>
                    </a:lnTo>
                    <a:lnTo>
                      <a:pt x="464820" y="420053"/>
                    </a:lnTo>
                    <a:lnTo>
                      <a:pt x="455295" y="432435"/>
                    </a:lnTo>
                    <a:lnTo>
                      <a:pt x="446723" y="444818"/>
                    </a:lnTo>
                    <a:lnTo>
                      <a:pt x="438150" y="457200"/>
                    </a:lnTo>
                    <a:lnTo>
                      <a:pt x="428625" y="471488"/>
                    </a:lnTo>
                    <a:lnTo>
                      <a:pt x="421005" y="484823"/>
                    </a:lnTo>
                    <a:lnTo>
                      <a:pt x="413385" y="498158"/>
                    </a:lnTo>
                    <a:lnTo>
                      <a:pt x="405765" y="511493"/>
                    </a:lnTo>
                    <a:lnTo>
                      <a:pt x="399098" y="524828"/>
                    </a:lnTo>
                    <a:lnTo>
                      <a:pt x="392430" y="538163"/>
                    </a:lnTo>
                    <a:lnTo>
                      <a:pt x="384810" y="552450"/>
                    </a:lnTo>
                    <a:lnTo>
                      <a:pt x="379095" y="566738"/>
                    </a:lnTo>
                    <a:lnTo>
                      <a:pt x="373380" y="581025"/>
                    </a:lnTo>
                    <a:lnTo>
                      <a:pt x="367665" y="595313"/>
                    </a:lnTo>
                    <a:lnTo>
                      <a:pt x="361950" y="609600"/>
                    </a:lnTo>
                    <a:lnTo>
                      <a:pt x="357188" y="623888"/>
                    </a:lnTo>
                    <a:lnTo>
                      <a:pt x="352425" y="639128"/>
                    </a:lnTo>
                    <a:lnTo>
                      <a:pt x="348615" y="654368"/>
                    </a:lnTo>
                    <a:lnTo>
                      <a:pt x="344805" y="669608"/>
                    </a:lnTo>
                    <a:lnTo>
                      <a:pt x="340995" y="684848"/>
                    </a:lnTo>
                    <a:lnTo>
                      <a:pt x="338138" y="700088"/>
                    </a:lnTo>
                    <a:lnTo>
                      <a:pt x="335280" y="716280"/>
                    </a:lnTo>
                    <a:lnTo>
                      <a:pt x="333375" y="731520"/>
                    </a:lnTo>
                    <a:lnTo>
                      <a:pt x="331470" y="747713"/>
                    </a:lnTo>
                    <a:lnTo>
                      <a:pt x="330518" y="763905"/>
                    </a:lnTo>
                    <a:lnTo>
                      <a:pt x="329565" y="780098"/>
                    </a:lnTo>
                    <a:lnTo>
                      <a:pt x="328613" y="796290"/>
                    </a:lnTo>
                    <a:lnTo>
                      <a:pt x="327660" y="811530"/>
                    </a:lnTo>
                    <a:lnTo>
                      <a:pt x="327660" y="811530"/>
                    </a:lnTo>
                    <a:close/>
                    <a:moveTo>
                      <a:pt x="991553" y="1088708"/>
                    </a:moveTo>
                    <a:lnTo>
                      <a:pt x="974408" y="1094423"/>
                    </a:lnTo>
                    <a:lnTo>
                      <a:pt x="965835" y="1097280"/>
                    </a:lnTo>
                    <a:lnTo>
                      <a:pt x="962978" y="1100138"/>
                    </a:lnTo>
                    <a:lnTo>
                      <a:pt x="965835" y="1404938"/>
                    </a:lnTo>
                    <a:lnTo>
                      <a:pt x="968693" y="1424940"/>
                    </a:lnTo>
                    <a:lnTo>
                      <a:pt x="971550" y="1439228"/>
                    </a:lnTo>
                    <a:lnTo>
                      <a:pt x="977265" y="1447800"/>
                    </a:lnTo>
                    <a:lnTo>
                      <a:pt x="982980" y="1450658"/>
                    </a:lnTo>
                    <a:lnTo>
                      <a:pt x="988695" y="1447800"/>
                    </a:lnTo>
                    <a:lnTo>
                      <a:pt x="994410" y="1439228"/>
                    </a:lnTo>
                    <a:lnTo>
                      <a:pt x="997268" y="1424940"/>
                    </a:lnTo>
                    <a:lnTo>
                      <a:pt x="997268" y="1404938"/>
                    </a:lnTo>
                    <a:lnTo>
                      <a:pt x="1005840" y="1082993"/>
                    </a:lnTo>
                    <a:lnTo>
                      <a:pt x="991553" y="1088708"/>
                    </a:lnTo>
                    <a:lnTo>
                      <a:pt x="991553" y="1088708"/>
                    </a:lnTo>
                    <a:close/>
                    <a:moveTo>
                      <a:pt x="960120" y="988695"/>
                    </a:moveTo>
                    <a:lnTo>
                      <a:pt x="988695" y="980123"/>
                    </a:lnTo>
                    <a:lnTo>
                      <a:pt x="1005840" y="974408"/>
                    </a:lnTo>
                    <a:lnTo>
                      <a:pt x="1014413" y="649605"/>
                    </a:lnTo>
                    <a:lnTo>
                      <a:pt x="980123" y="658178"/>
                    </a:lnTo>
                    <a:lnTo>
                      <a:pt x="954405" y="666750"/>
                    </a:lnTo>
                    <a:lnTo>
                      <a:pt x="960120" y="988695"/>
                    </a:lnTo>
                    <a:lnTo>
                      <a:pt x="960120" y="988695"/>
                    </a:lnTo>
                    <a:close/>
                    <a:moveTo>
                      <a:pt x="381000" y="301943"/>
                    </a:moveTo>
                    <a:lnTo>
                      <a:pt x="392430" y="283845"/>
                    </a:lnTo>
                    <a:lnTo>
                      <a:pt x="404813" y="264795"/>
                    </a:lnTo>
                    <a:lnTo>
                      <a:pt x="418148" y="245745"/>
                    </a:lnTo>
                    <a:lnTo>
                      <a:pt x="431483" y="226695"/>
                    </a:lnTo>
                    <a:lnTo>
                      <a:pt x="444818" y="208598"/>
                    </a:lnTo>
                    <a:lnTo>
                      <a:pt x="457200" y="192405"/>
                    </a:lnTo>
                    <a:lnTo>
                      <a:pt x="462915" y="185738"/>
                    </a:lnTo>
                    <a:lnTo>
                      <a:pt x="468630" y="179070"/>
                    </a:lnTo>
                    <a:lnTo>
                      <a:pt x="474345" y="173355"/>
                    </a:lnTo>
                    <a:lnTo>
                      <a:pt x="479108" y="168593"/>
                    </a:lnTo>
                    <a:lnTo>
                      <a:pt x="466725" y="170498"/>
                    </a:lnTo>
                    <a:lnTo>
                      <a:pt x="454343" y="174308"/>
                    </a:lnTo>
                    <a:lnTo>
                      <a:pt x="442913" y="178118"/>
                    </a:lnTo>
                    <a:lnTo>
                      <a:pt x="431483" y="181928"/>
                    </a:lnTo>
                    <a:lnTo>
                      <a:pt x="420053" y="186690"/>
                    </a:lnTo>
                    <a:lnTo>
                      <a:pt x="409575" y="192405"/>
                    </a:lnTo>
                    <a:lnTo>
                      <a:pt x="399098" y="198120"/>
                    </a:lnTo>
                    <a:lnTo>
                      <a:pt x="388620" y="203835"/>
                    </a:lnTo>
                    <a:lnTo>
                      <a:pt x="378143" y="210503"/>
                    </a:lnTo>
                    <a:lnTo>
                      <a:pt x="368618" y="217170"/>
                    </a:lnTo>
                    <a:lnTo>
                      <a:pt x="359093" y="223838"/>
                    </a:lnTo>
                    <a:lnTo>
                      <a:pt x="349568" y="231458"/>
                    </a:lnTo>
                    <a:lnTo>
                      <a:pt x="340043" y="239078"/>
                    </a:lnTo>
                    <a:lnTo>
                      <a:pt x="330518" y="246698"/>
                    </a:lnTo>
                    <a:lnTo>
                      <a:pt x="321945" y="257175"/>
                    </a:lnTo>
                    <a:lnTo>
                      <a:pt x="313373" y="265748"/>
                    </a:lnTo>
                    <a:lnTo>
                      <a:pt x="305753" y="275273"/>
                    </a:lnTo>
                    <a:lnTo>
                      <a:pt x="298133" y="284798"/>
                    </a:lnTo>
                    <a:lnTo>
                      <a:pt x="290513" y="294323"/>
                    </a:lnTo>
                    <a:lnTo>
                      <a:pt x="283845" y="304800"/>
                    </a:lnTo>
                    <a:lnTo>
                      <a:pt x="277178" y="314325"/>
                    </a:lnTo>
                    <a:lnTo>
                      <a:pt x="269558" y="323850"/>
                    </a:lnTo>
                    <a:lnTo>
                      <a:pt x="263843" y="334328"/>
                    </a:lnTo>
                    <a:lnTo>
                      <a:pt x="258128" y="344805"/>
                    </a:lnTo>
                    <a:lnTo>
                      <a:pt x="252413" y="355283"/>
                    </a:lnTo>
                    <a:lnTo>
                      <a:pt x="247650" y="367665"/>
                    </a:lnTo>
                    <a:lnTo>
                      <a:pt x="242888" y="379095"/>
                    </a:lnTo>
                    <a:lnTo>
                      <a:pt x="239078" y="390525"/>
                    </a:lnTo>
                    <a:lnTo>
                      <a:pt x="235268" y="401955"/>
                    </a:lnTo>
                    <a:lnTo>
                      <a:pt x="231458" y="414338"/>
                    </a:lnTo>
                    <a:lnTo>
                      <a:pt x="228600" y="425768"/>
                    </a:lnTo>
                    <a:lnTo>
                      <a:pt x="225743" y="438150"/>
                    </a:lnTo>
                    <a:lnTo>
                      <a:pt x="236220" y="427673"/>
                    </a:lnTo>
                    <a:lnTo>
                      <a:pt x="246698" y="418148"/>
                    </a:lnTo>
                    <a:lnTo>
                      <a:pt x="257175" y="408623"/>
                    </a:lnTo>
                    <a:lnTo>
                      <a:pt x="268605" y="400050"/>
                    </a:lnTo>
                    <a:lnTo>
                      <a:pt x="290513" y="382905"/>
                    </a:lnTo>
                    <a:lnTo>
                      <a:pt x="312420" y="366713"/>
                    </a:lnTo>
                    <a:lnTo>
                      <a:pt x="322898" y="359093"/>
                    </a:lnTo>
                    <a:lnTo>
                      <a:pt x="333375" y="351473"/>
                    </a:lnTo>
                    <a:lnTo>
                      <a:pt x="342900" y="343853"/>
                    </a:lnTo>
                    <a:lnTo>
                      <a:pt x="352425" y="336233"/>
                    </a:lnTo>
                    <a:lnTo>
                      <a:pt x="360998" y="328613"/>
                    </a:lnTo>
                    <a:lnTo>
                      <a:pt x="368618" y="320993"/>
                    </a:lnTo>
                    <a:lnTo>
                      <a:pt x="371475" y="314325"/>
                    </a:lnTo>
                    <a:lnTo>
                      <a:pt x="375285" y="310515"/>
                    </a:lnTo>
                    <a:lnTo>
                      <a:pt x="378143" y="306705"/>
                    </a:lnTo>
                    <a:lnTo>
                      <a:pt x="381000" y="301943"/>
                    </a:lnTo>
                    <a:lnTo>
                      <a:pt x="381000" y="301943"/>
                    </a:lnTo>
                    <a:close/>
                    <a:moveTo>
                      <a:pt x="316230" y="510540"/>
                    </a:moveTo>
                    <a:lnTo>
                      <a:pt x="312420" y="517208"/>
                    </a:lnTo>
                    <a:lnTo>
                      <a:pt x="306705" y="523875"/>
                    </a:lnTo>
                    <a:lnTo>
                      <a:pt x="300990" y="530543"/>
                    </a:lnTo>
                    <a:lnTo>
                      <a:pt x="295275" y="536258"/>
                    </a:lnTo>
                    <a:lnTo>
                      <a:pt x="288608" y="542925"/>
                    </a:lnTo>
                    <a:lnTo>
                      <a:pt x="281940" y="549593"/>
                    </a:lnTo>
                    <a:lnTo>
                      <a:pt x="273368" y="556260"/>
                    </a:lnTo>
                    <a:lnTo>
                      <a:pt x="264795" y="562928"/>
                    </a:lnTo>
                    <a:lnTo>
                      <a:pt x="247650" y="578168"/>
                    </a:lnTo>
                    <a:lnTo>
                      <a:pt x="229553" y="594360"/>
                    </a:lnTo>
                    <a:lnTo>
                      <a:pt x="220980" y="602933"/>
                    </a:lnTo>
                    <a:lnTo>
                      <a:pt x="211455" y="611505"/>
                    </a:lnTo>
                    <a:lnTo>
                      <a:pt x="201930" y="621030"/>
                    </a:lnTo>
                    <a:lnTo>
                      <a:pt x="192405" y="630555"/>
                    </a:lnTo>
                    <a:lnTo>
                      <a:pt x="187643" y="636270"/>
                    </a:lnTo>
                    <a:lnTo>
                      <a:pt x="182880" y="642938"/>
                    </a:lnTo>
                    <a:lnTo>
                      <a:pt x="178118" y="650558"/>
                    </a:lnTo>
                    <a:lnTo>
                      <a:pt x="173355" y="658178"/>
                    </a:lnTo>
                    <a:lnTo>
                      <a:pt x="168593" y="666750"/>
                    </a:lnTo>
                    <a:lnTo>
                      <a:pt x="163830" y="675323"/>
                    </a:lnTo>
                    <a:lnTo>
                      <a:pt x="160020" y="684848"/>
                    </a:lnTo>
                    <a:lnTo>
                      <a:pt x="156210" y="694373"/>
                    </a:lnTo>
                    <a:lnTo>
                      <a:pt x="152400" y="703898"/>
                    </a:lnTo>
                    <a:lnTo>
                      <a:pt x="148590" y="713423"/>
                    </a:lnTo>
                    <a:lnTo>
                      <a:pt x="144780" y="722948"/>
                    </a:lnTo>
                    <a:lnTo>
                      <a:pt x="141923" y="732473"/>
                    </a:lnTo>
                    <a:lnTo>
                      <a:pt x="139065" y="741998"/>
                    </a:lnTo>
                    <a:lnTo>
                      <a:pt x="136208" y="751523"/>
                    </a:lnTo>
                    <a:lnTo>
                      <a:pt x="133350" y="761048"/>
                    </a:lnTo>
                    <a:lnTo>
                      <a:pt x="130493" y="770573"/>
                    </a:lnTo>
                    <a:lnTo>
                      <a:pt x="121920" y="693420"/>
                    </a:lnTo>
                    <a:lnTo>
                      <a:pt x="119063" y="678180"/>
                    </a:lnTo>
                    <a:lnTo>
                      <a:pt x="116205" y="662940"/>
                    </a:lnTo>
                    <a:lnTo>
                      <a:pt x="113348" y="647700"/>
                    </a:lnTo>
                    <a:lnTo>
                      <a:pt x="110490" y="631508"/>
                    </a:lnTo>
                    <a:lnTo>
                      <a:pt x="107633" y="615315"/>
                    </a:lnTo>
                    <a:lnTo>
                      <a:pt x="105728" y="599123"/>
                    </a:lnTo>
                    <a:lnTo>
                      <a:pt x="104775" y="582930"/>
                    </a:lnTo>
                    <a:lnTo>
                      <a:pt x="103823" y="566738"/>
                    </a:lnTo>
                    <a:lnTo>
                      <a:pt x="102870" y="550545"/>
                    </a:lnTo>
                    <a:lnTo>
                      <a:pt x="102870" y="534353"/>
                    </a:lnTo>
                    <a:lnTo>
                      <a:pt x="102870" y="518160"/>
                    </a:lnTo>
                    <a:lnTo>
                      <a:pt x="103823" y="501968"/>
                    </a:lnTo>
                    <a:lnTo>
                      <a:pt x="103823" y="494348"/>
                    </a:lnTo>
                    <a:lnTo>
                      <a:pt x="104775" y="485775"/>
                    </a:lnTo>
                    <a:lnTo>
                      <a:pt x="105728" y="478155"/>
                    </a:lnTo>
                    <a:lnTo>
                      <a:pt x="106680" y="470535"/>
                    </a:lnTo>
                    <a:lnTo>
                      <a:pt x="107633" y="462915"/>
                    </a:lnTo>
                    <a:lnTo>
                      <a:pt x="109538" y="455295"/>
                    </a:lnTo>
                    <a:lnTo>
                      <a:pt x="111443" y="447675"/>
                    </a:lnTo>
                    <a:lnTo>
                      <a:pt x="113348" y="440055"/>
                    </a:lnTo>
                    <a:lnTo>
                      <a:pt x="100965" y="461010"/>
                    </a:lnTo>
                    <a:lnTo>
                      <a:pt x="89535" y="481965"/>
                    </a:lnTo>
                    <a:lnTo>
                      <a:pt x="83820" y="492443"/>
                    </a:lnTo>
                    <a:lnTo>
                      <a:pt x="78105" y="502920"/>
                    </a:lnTo>
                    <a:lnTo>
                      <a:pt x="72390" y="513398"/>
                    </a:lnTo>
                    <a:lnTo>
                      <a:pt x="68580" y="523875"/>
                    </a:lnTo>
                    <a:lnTo>
                      <a:pt x="63818" y="535305"/>
                    </a:lnTo>
                    <a:lnTo>
                      <a:pt x="60008" y="546735"/>
                    </a:lnTo>
                    <a:lnTo>
                      <a:pt x="56198" y="558165"/>
                    </a:lnTo>
                    <a:lnTo>
                      <a:pt x="53340" y="569595"/>
                    </a:lnTo>
                    <a:lnTo>
                      <a:pt x="50483" y="581025"/>
                    </a:lnTo>
                    <a:lnTo>
                      <a:pt x="48578" y="593408"/>
                    </a:lnTo>
                    <a:lnTo>
                      <a:pt x="47625" y="599123"/>
                    </a:lnTo>
                    <a:lnTo>
                      <a:pt x="47625" y="605790"/>
                    </a:lnTo>
                    <a:lnTo>
                      <a:pt x="47625" y="611505"/>
                    </a:lnTo>
                    <a:lnTo>
                      <a:pt x="47625" y="618173"/>
                    </a:lnTo>
                    <a:lnTo>
                      <a:pt x="47625" y="626745"/>
                    </a:lnTo>
                    <a:lnTo>
                      <a:pt x="48578" y="635318"/>
                    </a:lnTo>
                    <a:lnTo>
                      <a:pt x="49530" y="643890"/>
                    </a:lnTo>
                    <a:lnTo>
                      <a:pt x="50483" y="652463"/>
                    </a:lnTo>
                    <a:lnTo>
                      <a:pt x="51435" y="661035"/>
                    </a:lnTo>
                    <a:lnTo>
                      <a:pt x="52388" y="669608"/>
                    </a:lnTo>
                    <a:lnTo>
                      <a:pt x="54293" y="677228"/>
                    </a:lnTo>
                    <a:lnTo>
                      <a:pt x="56198" y="684848"/>
                    </a:lnTo>
                    <a:lnTo>
                      <a:pt x="58103" y="692468"/>
                    </a:lnTo>
                    <a:lnTo>
                      <a:pt x="60008" y="700088"/>
                    </a:lnTo>
                    <a:lnTo>
                      <a:pt x="62865" y="707708"/>
                    </a:lnTo>
                    <a:lnTo>
                      <a:pt x="65723" y="715328"/>
                    </a:lnTo>
                    <a:lnTo>
                      <a:pt x="71438" y="729615"/>
                    </a:lnTo>
                    <a:lnTo>
                      <a:pt x="77153" y="743903"/>
                    </a:lnTo>
                    <a:lnTo>
                      <a:pt x="89535" y="772478"/>
                    </a:lnTo>
                    <a:lnTo>
                      <a:pt x="102870" y="801053"/>
                    </a:lnTo>
                    <a:lnTo>
                      <a:pt x="109538" y="815340"/>
                    </a:lnTo>
                    <a:lnTo>
                      <a:pt x="115253" y="829628"/>
                    </a:lnTo>
                    <a:lnTo>
                      <a:pt x="120968" y="844868"/>
                    </a:lnTo>
                    <a:lnTo>
                      <a:pt x="125730" y="860108"/>
                    </a:lnTo>
                    <a:lnTo>
                      <a:pt x="126683" y="855345"/>
                    </a:lnTo>
                    <a:lnTo>
                      <a:pt x="127635" y="849630"/>
                    </a:lnTo>
                    <a:lnTo>
                      <a:pt x="128588" y="843915"/>
                    </a:lnTo>
                    <a:lnTo>
                      <a:pt x="130493" y="838200"/>
                    </a:lnTo>
                    <a:lnTo>
                      <a:pt x="132398" y="832485"/>
                    </a:lnTo>
                    <a:lnTo>
                      <a:pt x="134303" y="826770"/>
                    </a:lnTo>
                    <a:lnTo>
                      <a:pt x="137160" y="820103"/>
                    </a:lnTo>
                    <a:lnTo>
                      <a:pt x="140018" y="814388"/>
                    </a:lnTo>
                    <a:lnTo>
                      <a:pt x="145733" y="802005"/>
                    </a:lnTo>
                    <a:lnTo>
                      <a:pt x="152400" y="788670"/>
                    </a:lnTo>
                    <a:lnTo>
                      <a:pt x="160020" y="775335"/>
                    </a:lnTo>
                    <a:lnTo>
                      <a:pt x="168593" y="762000"/>
                    </a:lnTo>
                    <a:lnTo>
                      <a:pt x="177165" y="749618"/>
                    </a:lnTo>
                    <a:lnTo>
                      <a:pt x="185738" y="737235"/>
                    </a:lnTo>
                    <a:lnTo>
                      <a:pt x="194310" y="724853"/>
                    </a:lnTo>
                    <a:lnTo>
                      <a:pt x="201930" y="713423"/>
                    </a:lnTo>
                    <a:lnTo>
                      <a:pt x="210503" y="702945"/>
                    </a:lnTo>
                    <a:lnTo>
                      <a:pt x="218123" y="693420"/>
                    </a:lnTo>
                    <a:lnTo>
                      <a:pt x="224790" y="684848"/>
                    </a:lnTo>
                    <a:lnTo>
                      <a:pt x="231458" y="678180"/>
                    </a:lnTo>
                    <a:lnTo>
                      <a:pt x="240983" y="665798"/>
                    </a:lnTo>
                    <a:lnTo>
                      <a:pt x="249555" y="654368"/>
                    </a:lnTo>
                    <a:lnTo>
                      <a:pt x="257175" y="643890"/>
                    </a:lnTo>
                    <a:lnTo>
                      <a:pt x="263843" y="634365"/>
                    </a:lnTo>
                    <a:lnTo>
                      <a:pt x="269558" y="625793"/>
                    </a:lnTo>
                    <a:lnTo>
                      <a:pt x="274320" y="617220"/>
                    </a:lnTo>
                    <a:lnTo>
                      <a:pt x="278130" y="608648"/>
                    </a:lnTo>
                    <a:lnTo>
                      <a:pt x="281940" y="600075"/>
                    </a:lnTo>
                    <a:lnTo>
                      <a:pt x="285750" y="591503"/>
                    </a:lnTo>
                    <a:lnTo>
                      <a:pt x="289560" y="582930"/>
                    </a:lnTo>
                    <a:lnTo>
                      <a:pt x="293370" y="573405"/>
                    </a:lnTo>
                    <a:lnTo>
                      <a:pt x="297180" y="562928"/>
                    </a:lnTo>
                    <a:lnTo>
                      <a:pt x="305753" y="539115"/>
                    </a:lnTo>
                    <a:lnTo>
                      <a:pt x="316230" y="510540"/>
                    </a:lnTo>
                    <a:lnTo>
                      <a:pt x="316230" y="510540"/>
                    </a:lnTo>
                    <a:close/>
                    <a:moveTo>
                      <a:pt x="251460" y="711518"/>
                    </a:moveTo>
                    <a:lnTo>
                      <a:pt x="239078" y="727710"/>
                    </a:lnTo>
                    <a:lnTo>
                      <a:pt x="227648" y="743903"/>
                    </a:lnTo>
                    <a:lnTo>
                      <a:pt x="216218" y="759143"/>
                    </a:lnTo>
                    <a:lnTo>
                      <a:pt x="205740" y="774383"/>
                    </a:lnTo>
                    <a:lnTo>
                      <a:pt x="196215" y="788670"/>
                    </a:lnTo>
                    <a:lnTo>
                      <a:pt x="186690" y="803910"/>
                    </a:lnTo>
                    <a:lnTo>
                      <a:pt x="182880" y="811530"/>
                    </a:lnTo>
                    <a:lnTo>
                      <a:pt x="179070" y="819150"/>
                    </a:lnTo>
                    <a:lnTo>
                      <a:pt x="175260" y="826770"/>
                    </a:lnTo>
                    <a:lnTo>
                      <a:pt x="171450" y="835343"/>
                    </a:lnTo>
                    <a:lnTo>
                      <a:pt x="167640" y="842963"/>
                    </a:lnTo>
                    <a:lnTo>
                      <a:pt x="164783" y="850583"/>
                    </a:lnTo>
                    <a:lnTo>
                      <a:pt x="161925" y="859155"/>
                    </a:lnTo>
                    <a:lnTo>
                      <a:pt x="159068" y="867728"/>
                    </a:lnTo>
                    <a:lnTo>
                      <a:pt x="157163" y="876300"/>
                    </a:lnTo>
                    <a:lnTo>
                      <a:pt x="155258" y="884873"/>
                    </a:lnTo>
                    <a:lnTo>
                      <a:pt x="153353" y="893445"/>
                    </a:lnTo>
                    <a:lnTo>
                      <a:pt x="151448" y="902970"/>
                    </a:lnTo>
                    <a:lnTo>
                      <a:pt x="150495" y="912495"/>
                    </a:lnTo>
                    <a:lnTo>
                      <a:pt x="149543" y="922020"/>
                    </a:lnTo>
                    <a:lnTo>
                      <a:pt x="148590" y="931545"/>
                    </a:lnTo>
                    <a:lnTo>
                      <a:pt x="147638" y="942023"/>
                    </a:lnTo>
                    <a:lnTo>
                      <a:pt x="147638" y="952500"/>
                    </a:lnTo>
                    <a:lnTo>
                      <a:pt x="147638" y="962978"/>
                    </a:lnTo>
                    <a:lnTo>
                      <a:pt x="147638" y="974408"/>
                    </a:lnTo>
                    <a:lnTo>
                      <a:pt x="148590" y="985838"/>
                    </a:lnTo>
                    <a:lnTo>
                      <a:pt x="146685" y="976313"/>
                    </a:lnTo>
                    <a:lnTo>
                      <a:pt x="143828" y="965835"/>
                    </a:lnTo>
                    <a:lnTo>
                      <a:pt x="140970" y="956310"/>
                    </a:lnTo>
                    <a:lnTo>
                      <a:pt x="137160" y="945833"/>
                    </a:lnTo>
                    <a:lnTo>
                      <a:pt x="133350" y="936308"/>
                    </a:lnTo>
                    <a:lnTo>
                      <a:pt x="129540" y="925830"/>
                    </a:lnTo>
                    <a:lnTo>
                      <a:pt x="124778" y="916305"/>
                    </a:lnTo>
                    <a:lnTo>
                      <a:pt x="120968" y="906780"/>
                    </a:lnTo>
                    <a:lnTo>
                      <a:pt x="111443" y="886778"/>
                    </a:lnTo>
                    <a:lnTo>
                      <a:pt x="100013" y="866775"/>
                    </a:lnTo>
                    <a:lnTo>
                      <a:pt x="89535" y="846773"/>
                    </a:lnTo>
                    <a:lnTo>
                      <a:pt x="79058" y="827723"/>
                    </a:lnTo>
                    <a:lnTo>
                      <a:pt x="68580" y="808673"/>
                    </a:lnTo>
                    <a:lnTo>
                      <a:pt x="58103" y="789623"/>
                    </a:lnTo>
                    <a:lnTo>
                      <a:pt x="53340" y="780098"/>
                    </a:lnTo>
                    <a:lnTo>
                      <a:pt x="48578" y="770573"/>
                    </a:lnTo>
                    <a:lnTo>
                      <a:pt x="44768" y="761048"/>
                    </a:lnTo>
                    <a:lnTo>
                      <a:pt x="40958" y="751523"/>
                    </a:lnTo>
                    <a:lnTo>
                      <a:pt x="38100" y="742950"/>
                    </a:lnTo>
                    <a:lnTo>
                      <a:pt x="35243" y="733425"/>
                    </a:lnTo>
                    <a:lnTo>
                      <a:pt x="32385" y="723900"/>
                    </a:lnTo>
                    <a:lnTo>
                      <a:pt x="29528" y="714375"/>
                    </a:lnTo>
                    <a:lnTo>
                      <a:pt x="27623" y="705803"/>
                    </a:lnTo>
                    <a:lnTo>
                      <a:pt x="26670" y="697230"/>
                    </a:lnTo>
                    <a:lnTo>
                      <a:pt x="25718" y="688658"/>
                    </a:lnTo>
                    <a:lnTo>
                      <a:pt x="25718" y="680085"/>
                    </a:lnTo>
                    <a:lnTo>
                      <a:pt x="21908" y="699135"/>
                    </a:lnTo>
                    <a:lnTo>
                      <a:pt x="19050" y="717233"/>
                    </a:lnTo>
                    <a:lnTo>
                      <a:pt x="17145" y="734378"/>
                    </a:lnTo>
                    <a:lnTo>
                      <a:pt x="14288" y="752475"/>
                    </a:lnTo>
                    <a:lnTo>
                      <a:pt x="13335" y="768668"/>
                    </a:lnTo>
                    <a:lnTo>
                      <a:pt x="13335" y="783908"/>
                    </a:lnTo>
                    <a:lnTo>
                      <a:pt x="13335" y="798195"/>
                    </a:lnTo>
                    <a:lnTo>
                      <a:pt x="14288" y="811530"/>
                    </a:lnTo>
                    <a:lnTo>
                      <a:pt x="15240" y="824865"/>
                    </a:lnTo>
                    <a:lnTo>
                      <a:pt x="17145" y="837248"/>
                    </a:lnTo>
                    <a:lnTo>
                      <a:pt x="20003" y="848678"/>
                    </a:lnTo>
                    <a:lnTo>
                      <a:pt x="22860" y="860108"/>
                    </a:lnTo>
                    <a:lnTo>
                      <a:pt x="26670" y="871538"/>
                    </a:lnTo>
                    <a:lnTo>
                      <a:pt x="30480" y="882015"/>
                    </a:lnTo>
                    <a:lnTo>
                      <a:pt x="35243" y="892493"/>
                    </a:lnTo>
                    <a:lnTo>
                      <a:pt x="40005" y="902970"/>
                    </a:lnTo>
                    <a:lnTo>
                      <a:pt x="45720" y="913448"/>
                    </a:lnTo>
                    <a:lnTo>
                      <a:pt x="51435" y="922973"/>
                    </a:lnTo>
                    <a:lnTo>
                      <a:pt x="58103" y="932498"/>
                    </a:lnTo>
                    <a:lnTo>
                      <a:pt x="64770" y="942023"/>
                    </a:lnTo>
                    <a:lnTo>
                      <a:pt x="71438" y="951548"/>
                    </a:lnTo>
                    <a:lnTo>
                      <a:pt x="79058" y="961073"/>
                    </a:lnTo>
                    <a:lnTo>
                      <a:pt x="86678" y="970598"/>
                    </a:lnTo>
                    <a:lnTo>
                      <a:pt x="94298" y="981075"/>
                    </a:lnTo>
                    <a:lnTo>
                      <a:pt x="111443" y="1001078"/>
                    </a:lnTo>
                    <a:lnTo>
                      <a:pt x="129540" y="1022985"/>
                    </a:lnTo>
                    <a:lnTo>
                      <a:pt x="139065" y="1034415"/>
                    </a:lnTo>
                    <a:lnTo>
                      <a:pt x="148590" y="1045845"/>
                    </a:lnTo>
                    <a:lnTo>
                      <a:pt x="158115" y="1058228"/>
                    </a:lnTo>
                    <a:lnTo>
                      <a:pt x="167640" y="1071563"/>
                    </a:lnTo>
                    <a:lnTo>
                      <a:pt x="166688" y="1062038"/>
                    </a:lnTo>
                    <a:lnTo>
                      <a:pt x="166688" y="1052513"/>
                    </a:lnTo>
                    <a:lnTo>
                      <a:pt x="166688" y="1042988"/>
                    </a:lnTo>
                    <a:lnTo>
                      <a:pt x="167640" y="1033463"/>
                    </a:lnTo>
                    <a:lnTo>
                      <a:pt x="169545" y="1023938"/>
                    </a:lnTo>
                    <a:lnTo>
                      <a:pt x="171450" y="1014413"/>
                    </a:lnTo>
                    <a:lnTo>
                      <a:pt x="174308" y="1004888"/>
                    </a:lnTo>
                    <a:lnTo>
                      <a:pt x="177165" y="994410"/>
                    </a:lnTo>
                    <a:lnTo>
                      <a:pt x="180023" y="983933"/>
                    </a:lnTo>
                    <a:lnTo>
                      <a:pt x="183833" y="973455"/>
                    </a:lnTo>
                    <a:lnTo>
                      <a:pt x="187643" y="962978"/>
                    </a:lnTo>
                    <a:lnTo>
                      <a:pt x="191453" y="952500"/>
                    </a:lnTo>
                    <a:lnTo>
                      <a:pt x="200025" y="931545"/>
                    </a:lnTo>
                    <a:lnTo>
                      <a:pt x="208598" y="908685"/>
                    </a:lnTo>
                    <a:lnTo>
                      <a:pt x="218123" y="885825"/>
                    </a:lnTo>
                    <a:lnTo>
                      <a:pt x="226695" y="862965"/>
                    </a:lnTo>
                    <a:lnTo>
                      <a:pt x="230505" y="851535"/>
                    </a:lnTo>
                    <a:lnTo>
                      <a:pt x="234315" y="840105"/>
                    </a:lnTo>
                    <a:lnTo>
                      <a:pt x="238125" y="827723"/>
                    </a:lnTo>
                    <a:lnTo>
                      <a:pt x="240983" y="815340"/>
                    </a:lnTo>
                    <a:lnTo>
                      <a:pt x="243840" y="802958"/>
                    </a:lnTo>
                    <a:lnTo>
                      <a:pt x="246698" y="790575"/>
                    </a:lnTo>
                    <a:lnTo>
                      <a:pt x="248603" y="777240"/>
                    </a:lnTo>
                    <a:lnTo>
                      <a:pt x="250508" y="764858"/>
                    </a:lnTo>
                    <a:lnTo>
                      <a:pt x="251460" y="751523"/>
                    </a:lnTo>
                    <a:lnTo>
                      <a:pt x="252413" y="738188"/>
                    </a:lnTo>
                    <a:lnTo>
                      <a:pt x="252413" y="724853"/>
                    </a:lnTo>
                    <a:lnTo>
                      <a:pt x="251460" y="711518"/>
                    </a:lnTo>
                    <a:lnTo>
                      <a:pt x="251460" y="711518"/>
                    </a:lnTo>
                    <a:close/>
                    <a:moveTo>
                      <a:pt x="267653" y="1283018"/>
                    </a:moveTo>
                    <a:lnTo>
                      <a:pt x="264795" y="1272540"/>
                    </a:lnTo>
                    <a:lnTo>
                      <a:pt x="261938" y="1262063"/>
                    </a:lnTo>
                    <a:lnTo>
                      <a:pt x="260033" y="1251585"/>
                    </a:lnTo>
                    <a:lnTo>
                      <a:pt x="259080" y="1241108"/>
                    </a:lnTo>
                    <a:lnTo>
                      <a:pt x="258128" y="1230630"/>
                    </a:lnTo>
                    <a:lnTo>
                      <a:pt x="257175" y="1219200"/>
                    </a:lnTo>
                    <a:lnTo>
                      <a:pt x="257175" y="1207770"/>
                    </a:lnTo>
                    <a:lnTo>
                      <a:pt x="257175" y="1194435"/>
                    </a:lnTo>
                    <a:lnTo>
                      <a:pt x="257175" y="1183005"/>
                    </a:lnTo>
                    <a:lnTo>
                      <a:pt x="258128" y="1171575"/>
                    </a:lnTo>
                    <a:lnTo>
                      <a:pt x="259080" y="1159193"/>
                    </a:lnTo>
                    <a:lnTo>
                      <a:pt x="260033" y="1146810"/>
                    </a:lnTo>
                    <a:lnTo>
                      <a:pt x="261938" y="1122045"/>
                    </a:lnTo>
                    <a:lnTo>
                      <a:pt x="263843" y="1097280"/>
                    </a:lnTo>
                    <a:lnTo>
                      <a:pt x="265748" y="1071563"/>
                    </a:lnTo>
                    <a:lnTo>
                      <a:pt x="267653" y="1045845"/>
                    </a:lnTo>
                    <a:lnTo>
                      <a:pt x="267653" y="1032510"/>
                    </a:lnTo>
                    <a:lnTo>
                      <a:pt x="267653" y="1020128"/>
                    </a:lnTo>
                    <a:lnTo>
                      <a:pt x="267653" y="1007745"/>
                    </a:lnTo>
                    <a:lnTo>
                      <a:pt x="267653" y="995363"/>
                    </a:lnTo>
                    <a:lnTo>
                      <a:pt x="266700" y="982980"/>
                    </a:lnTo>
                    <a:lnTo>
                      <a:pt x="265748" y="970598"/>
                    </a:lnTo>
                    <a:lnTo>
                      <a:pt x="263843" y="958215"/>
                    </a:lnTo>
                    <a:lnTo>
                      <a:pt x="260985" y="945833"/>
                    </a:lnTo>
                    <a:lnTo>
                      <a:pt x="257175" y="933450"/>
                    </a:lnTo>
                    <a:lnTo>
                      <a:pt x="253365" y="922020"/>
                    </a:lnTo>
                    <a:lnTo>
                      <a:pt x="249555" y="910590"/>
                    </a:lnTo>
                    <a:lnTo>
                      <a:pt x="244793" y="899160"/>
                    </a:lnTo>
                    <a:lnTo>
                      <a:pt x="239078" y="917258"/>
                    </a:lnTo>
                    <a:lnTo>
                      <a:pt x="234315" y="933450"/>
                    </a:lnTo>
                    <a:lnTo>
                      <a:pt x="228600" y="950595"/>
                    </a:lnTo>
                    <a:lnTo>
                      <a:pt x="223838" y="967740"/>
                    </a:lnTo>
                    <a:lnTo>
                      <a:pt x="219075" y="984885"/>
                    </a:lnTo>
                    <a:lnTo>
                      <a:pt x="214313" y="1002030"/>
                    </a:lnTo>
                    <a:lnTo>
                      <a:pt x="210503" y="1019175"/>
                    </a:lnTo>
                    <a:lnTo>
                      <a:pt x="207645" y="1036320"/>
                    </a:lnTo>
                    <a:lnTo>
                      <a:pt x="206693" y="1044893"/>
                    </a:lnTo>
                    <a:lnTo>
                      <a:pt x="205740" y="1053465"/>
                    </a:lnTo>
                    <a:lnTo>
                      <a:pt x="204788" y="1062038"/>
                    </a:lnTo>
                    <a:lnTo>
                      <a:pt x="203835" y="1071563"/>
                    </a:lnTo>
                    <a:lnTo>
                      <a:pt x="203835" y="1080135"/>
                    </a:lnTo>
                    <a:lnTo>
                      <a:pt x="203835" y="1090613"/>
                    </a:lnTo>
                    <a:lnTo>
                      <a:pt x="203835" y="1100138"/>
                    </a:lnTo>
                    <a:lnTo>
                      <a:pt x="203835" y="1109663"/>
                    </a:lnTo>
                    <a:lnTo>
                      <a:pt x="204788" y="1120140"/>
                    </a:lnTo>
                    <a:lnTo>
                      <a:pt x="205740" y="1130618"/>
                    </a:lnTo>
                    <a:lnTo>
                      <a:pt x="206693" y="1141095"/>
                    </a:lnTo>
                    <a:lnTo>
                      <a:pt x="208598" y="1151573"/>
                    </a:lnTo>
                    <a:lnTo>
                      <a:pt x="210503" y="1162050"/>
                    </a:lnTo>
                    <a:lnTo>
                      <a:pt x="213360" y="1173480"/>
                    </a:lnTo>
                    <a:lnTo>
                      <a:pt x="216218" y="1184910"/>
                    </a:lnTo>
                    <a:lnTo>
                      <a:pt x="219075" y="1196340"/>
                    </a:lnTo>
                    <a:lnTo>
                      <a:pt x="215265" y="1189673"/>
                    </a:lnTo>
                    <a:lnTo>
                      <a:pt x="209550" y="1180148"/>
                    </a:lnTo>
                    <a:lnTo>
                      <a:pt x="201930" y="1167765"/>
                    </a:lnTo>
                    <a:lnTo>
                      <a:pt x="192405" y="1153478"/>
                    </a:lnTo>
                    <a:lnTo>
                      <a:pt x="181928" y="1137285"/>
                    </a:lnTo>
                    <a:lnTo>
                      <a:pt x="169545" y="1119188"/>
                    </a:lnTo>
                    <a:lnTo>
                      <a:pt x="162878" y="1110615"/>
                    </a:lnTo>
                    <a:lnTo>
                      <a:pt x="155258" y="1101090"/>
                    </a:lnTo>
                    <a:lnTo>
                      <a:pt x="147638" y="1091565"/>
                    </a:lnTo>
                    <a:lnTo>
                      <a:pt x="139065" y="1082040"/>
                    </a:lnTo>
                    <a:lnTo>
                      <a:pt x="120015" y="1059180"/>
                    </a:lnTo>
                    <a:lnTo>
                      <a:pt x="100013" y="1036320"/>
                    </a:lnTo>
                    <a:lnTo>
                      <a:pt x="80010" y="1013460"/>
                    </a:lnTo>
                    <a:lnTo>
                      <a:pt x="60960" y="990600"/>
                    </a:lnTo>
                    <a:lnTo>
                      <a:pt x="51435" y="979170"/>
                    </a:lnTo>
                    <a:lnTo>
                      <a:pt x="41910" y="967740"/>
                    </a:lnTo>
                    <a:lnTo>
                      <a:pt x="33338" y="956310"/>
                    </a:lnTo>
                    <a:lnTo>
                      <a:pt x="24765" y="944880"/>
                    </a:lnTo>
                    <a:lnTo>
                      <a:pt x="19050" y="938213"/>
                    </a:lnTo>
                    <a:lnTo>
                      <a:pt x="12383" y="927735"/>
                    </a:lnTo>
                    <a:lnTo>
                      <a:pt x="5715" y="917258"/>
                    </a:lnTo>
                    <a:lnTo>
                      <a:pt x="0" y="907733"/>
                    </a:lnTo>
                    <a:lnTo>
                      <a:pt x="0" y="931545"/>
                    </a:lnTo>
                    <a:lnTo>
                      <a:pt x="1905" y="954405"/>
                    </a:lnTo>
                    <a:lnTo>
                      <a:pt x="4763" y="976313"/>
                    </a:lnTo>
                    <a:lnTo>
                      <a:pt x="8573" y="996315"/>
                    </a:lnTo>
                    <a:lnTo>
                      <a:pt x="14288" y="1015365"/>
                    </a:lnTo>
                    <a:lnTo>
                      <a:pt x="20955" y="1034415"/>
                    </a:lnTo>
                    <a:lnTo>
                      <a:pt x="28575" y="1051560"/>
                    </a:lnTo>
                    <a:lnTo>
                      <a:pt x="37148" y="1067753"/>
                    </a:lnTo>
                    <a:lnTo>
                      <a:pt x="45720" y="1083945"/>
                    </a:lnTo>
                    <a:lnTo>
                      <a:pt x="55245" y="1099185"/>
                    </a:lnTo>
                    <a:lnTo>
                      <a:pt x="65723" y="1113473"/>
                    </a:lnTo>
                    <a:lnTo>
                      <a:pt x="76200" y="1126808"/>
                    </a:lnTo>
                    <a:lnTo>
                      <a:pt x="87630" y="1140143"/>
                    </a:lnTo>
                    <a:lnTo>
                      <a:pt x="99060" y="1152525"/>
                    </a:lnTo>
                    <a:lnTo>
                      <a:pt x="111443" y="1163955"/>
                    </a:lnTo>
                    <a:lnTo>
                      <a:pt x="123825" y="1174433"/>
                    </a:lnTo>
                    <a:lnTo>
                      <a:pt x="136208" y="1184910"/>
                    </a:lnTo>
                    <a:lnTo>
                      <a:pt x="148590" y="1194435"/>
                    </a:lnTo>
                    <a:lnTo>
                      <a:pt x="160973" y="1203008"/>
                    </a:lnTo>
                    <a:lnTo>
                      <a:pt x="173355" y="1211580"/>
                    </a:lnTo>
                    <a:lnTo>
                      <a:pt x="196215" y="1226820"/>
                    </a:lnTo>
                    <a:lnTo>
                      <a:pt x="217170" y="1241108"/>
                    </a:lnTo>
                    <a:lnTo>
                      <a:pt x="226695" y="1247775"/>
                    </a:lnTo>
                    <a:lnTo>
                      <a:pt x="235268" y="1253490"/>
                    </a:lnTo>
                    <a:lnTo>
                      <a:pt x="242888" y="1259205"/>
                    </a:lnTo>
                    <a:lnTo>
                      <a:pt x="249555" y="1264920"/>
                    </a:lnTo>
                    <a:lnTo>
                      <a:pt x="256223" y="1270635"/>
                    </a:lnTo>
                    <a:lnTo>
                      <a:pt x="261938" y="1275398"/>
                    </a:lnTo>
                    <a:lnTo>
                      <a:pt x="265748" y="1280160"/>
                    </a:lnTo>
                    <a:lnTo>
                      <a:pt x="267653" y="1283018"/>
                    </a:lnTo>
                    <a:lnTo>
                      <a:pt x="267653" y="1283018"/>
                    </a:lnTo>
                    <a:close/>
                    <a:moveTo>
                      <a:pt x="143828" y="656273"/>
                    </a:moveTo>
                    <a:lnTo>
                      <a:pt x="148590" y="642938"/>
                    </a:lnTo>
                    <a:lnTo>
                      <a:pt x="154305" y="630555"/>
                    </a:lnTo>
                    <a:lnTo>
                      <a:pt x="160020" y="618173"/>
                    </a:lnTo>
                    <a:lnTo>
                      <a:pt x="166688" y="607695"/>
                    </a:lnTo>
                    <a:lnTo>
                      <a:pt x="174308" y="597218"/>
                    </a:lnTo>
                    <a:lnTo>
                      <a:pt x="181928" y="586740"/>
                    </a:lnTo>
                    <a:lnTo>
                      <a:pt x="189548" y="577215"/>
                    </a:lnTo>
                    <a:lnTo>
                      <a:pt x="198120" y="567690"/>
                    </a:lnTo>
                    <a:lnTo>
                      <a:pt x="206693" y="559118"/>
                    </a:lnTo>
                    <a:lnTo>
                      <a:pt x="216218" y="550545"/>
                    </a:lnTo>
                    <a:lnTo>
                      <a:pt x="225743" y="541973"/>
                    </a:lnTo>
                    <a:lnTo>
                      <a:pt x="235268" y="534353"/>
                    </a:lnTo>
                    <a:lnTo>
                      <a:pt x="255270" y="518160"/>
                    </a:lnTo>
                    <a:lnTo>
                      <a:pt x="275273" y="502920"/>
                    </a:lnTo>
                    <a:lnTo>
                      <a:pt x="285750" y="495300"/>
                    </a:lnTo>
                    <a:lnTo>
                      <a:pt x="296228" y="487680"/>
                    </a:lnTo>
                    <a:lnTo>
                      <a:pt x="305753" y="480060"/>
                    </a:lnTo>
                    <a:lnTo>
                      <a:pt x="315278" y="471488"/>
                    </a:lnTo>
                    <a:lnTo>
                      <a:pt x="324803" y="462915"/>
                    </a:lnTo>
                    <a:lnTo>
                      <a:pt x="334328" y="454343"/>
                    </a:lnTo>
                    <a:lnTo>
                      <a:pt x="343853" y="445770"/>
                    </a:lnTo>
                    <a:lnTo>
                      <a:pt x="352425" y="436245"/>
                    </a:lnTo>
                    <a:lnTo>
                      <a:pt x="360045" y="426720"/>
                    </a:lnTo>
                    <a:lnTo>
                      <a:pt x="367665" y="416243"/>
                    </a:lnTo>
                    <a:lnTo>
                      <a:pt x="375285" y="405765"/>
                    </a:lnTo>
                    <a:lnTo>
                      <a:pt x="381953" y="394335"/>
                    </a:lnTo>
                    <a:lnTo>
                      <a:pt x="388620" y="381953"/>
                    </a:lnTo>
                    <a:lnTo>
                      <a:pt x="394335" y="369570"/>
                    </a:lnTo>
                    <a:lnTo>
                      <a:pt x="399098" y="356235"/>
                    </a:lnTo>
                    <a:lnTo>
                      <a:pt x="403860" y="341948"/>
                    </a:lnTo>
                    <a:lnTo>
                      <a:pt x="394335" y="351473"/>
                    </a:lnTo>
                    <a:lnTo>
                      <a:pt x="384810" y="360045"/>
                    </a:lnTo>
                    <a:lnTo>
                      <a:pt x="374333" y="368618"/>
                    </a:lnTo>
                    <a:lnTo>
                      <a:pt x="363855" y="376238"/>
                    </a:lnTo>
                    <a:lnTo>
                      <a:pt x="353378" y="383858"/>
                    </a:lnTo>
                    <a:lnTo>
                      <a:pt x="341948" y="390525"/>
                    </a:lnTo>
                    <a:lnTo>
                      <a:pt x="331470" y="397193"/>
                    </a:lnTo>
                    <a:lnTo>
                      <a:pt x="320040" y="404813"/>
                    </a:lnTo>
                    <a:lnTo>
                      <a:pt x="297180" y="419100"/>
                    </a:lnTo>
                    <a:lnTo>
                      <a:pt x="274320" y="434340"/>
                    </a:lnTo>
                    <a:lnTo>
                      <a:pt x="262890" y="441960"/>
                    </a:lnTo>
                    <a:lnTo>
                      <a:pt x="252413" y="450533"/>
                    </a:lnTo>
                    <a:lnTo>
                      <a:pt x="241935" y="460058"/>
                    </a:lnTo>
                    <a:lnTo>
                      <a:pt x="231458" y="469583"/>
                    </a:lnTo>
                    <a:lnTo>
                      <a:pt x="221933" y="479108"/>
                    </a:lnTo>
                    <a:lnTo>
                      <a:pt x="213360" y="488633"/>
                    </a:lnTo>
                    <a:lnTo>
                      <a:pt x="205740" y="498158"/>
                    </a:lnTo>
                    <a:lnTo>
                      <a:pt x="199073" y="508635"/>
                    </a:lnTo>
                    <a:lnTo>
                      <a:pt x="192405" y="519113"/>
                    </a:lnTo>
                    <a:lnTo>
                      <a:pt x="186690" y="529590"/>
                    </a:lnTo>
                    <a:lnTo>
                      <a:pt x="180975" y="540068"/>
                    </a:lnTo>
                    <a:lnTo>
                      <a:pt x="175260" y="551498"/>
                    </a:lnTo>
                    <a:lnTo>
                      <a:pt x="180023" y="534353"/>
                    </a:lnTo>
                    <a:lnTo>
                      <a:pt x="184785" y="517208"/>
                    </a:lnTo>
                    <a:lnTo>
                      <a:pt x="188595" y="500063"/>
                    </a:lnTo>
                    <a:lnTo>
                      <a:pt x="192405" y="482918"/>
                    </a:lnTo>
                    <a:lnTo>
                      <a:pt x="195263" y="465773"/>
                    </a:lnTo>
                    <a:lnTo>
                      <a:pt x="198120" y="449580"/>
                    </a:lnTo>
                    <a:lnTo>
                      <a:pt x="199073" y="441960"/>
                    </a:lnTo>
                    <a:lnTo>
                      <a:pt x="200025" y="434340"/>
                    </a:lnTo>
                    <a:lnTo>
                      <a:pt x="200025" y="426720"/>
                    </a:lnTo>
                    <a:lnTo>
                      <a:pt x="200025" y="419100"/>
                    </a:lnTo>
                    <a:lnTo>
                      <a:pt x="202883" y="398145"/>
                    </a:lnTo>
                    <a:lnTo>
                      <a:pt x="204788" y="382905"/>
                    </a:lnTo>
                    <a:lnTo>
                      <a:pt x="206693" y="370523"/>
                    </a:lnTo>
                    <a:lnTo>
                      <a:pt x="208598" y="360045"/>
                    </a:lnTo>
                    <a:lnTo>
                      <a:pt x="209550" y="355283"/>
                    </a:lnTo>
                    <a:lnTo>
                      <a:pt x="211455" y="350520"/>
                    </a:lnTo>
                    <a:lnTo>
                      <a:pt x="213360" y="344805"/>
                    </a:lnTo>
                    <a:lnTo>
                      <a:pt x="215265" y="339090"/>
                    </a:lnTo>
                    <a:lnTo>
                      <a:pt x="220980" y="324803"/>
                    </a:lnTo>
                    <a:lnTo>
                      <a:pt x="228600" y="305753"/>
                    </a:lnTo>
                    <a:lnTo>
                      <a:pt x="231458" y="300038"/>
                    </a:lnTo>
                    <a:lnTo>
                      <a:pt x="237173" y="292418"/>
                    </a:lnTo>
                    <a:lnTo>
                      <a:pt x="241935" y="284798"/>
                    </a:lnTo>
                    <a:lnTo>
                      <a:pt x="244793" y="279083"/>
                    </a:lnTo>
                    <a:lnTo>
                      <a:pt x="238125" y="285750"/>
                    </a:lnTo>
                    <a:lnTo>
                      <a:pt x="232410" y="290513"/>
                    </a:lnTo>
                    <a:lnTo>
                      <a:pt x="226695" y="294323"/>
                    </a:lnTo>
                    <a:lnTo>
                      <a:pt x="220980" y="299085"/>
                    </a:lnTo>
                    <a:lnTo>
                      <a:pt x="215265" y="303848"/>
                    </a:lnTo>
                    <a:lnTo>
                      <a:pt x="210503" y="308610"/>
                    </a:lnTo>
                    <a:lnTo>
                      <a:pt x="205740" y="313373"/>
                    </a:lnTo>
                    <a:lnTo>
                      <a:pt x="200978" y="318135"/>
                    </a:lnTo>
                    <a:lnTo>
                      <a:pt x="196215" y="322898"/>
                    </a:lnTo>
                    <a:lnTo>
                      <a:pt x="192405" y="328613"/>
                    </a:lnTo>
                    <a:lnTo>
                      <a:pt x="189548" y="333375"/>
                    </a:lnTo>
                    <a:lnTo>
                      <a:pt x="185738" y="339090"/>
                    </a:lnTo>
                    <a:lnTo>
                      <a:pt x="180975" y="343853"/>
                    </a:lnTo>
                    <a:lnTo>
                      <a:pt x="177165" y="349568"/>
                    </a:lnTo>
                    <a:lnTo>
                      <a:pt x="173355" y="355283"/>
                    </a:lnTo>
                    <a:lnTo>
                      <a:pt x="171450" y="360045"/>
                    </a:lnTo>
                    <a:lnTo>
                      <a:pt x="168593" y="365760"/>
                    </a:lnTo>
                    <a:lnTo>
                      <a:pt x="164783" y="371475"/>
                    </a:lnTo>
                    <a:lnTo>
                      <a:pt x="161925" y="377190"/>
                    </a:lnTo>
                    <a:lnTo>
                      <a:pt x="159068" y="382905"/>
                    </a:lnTo>
                    <a:lnTo>
                      <a:pt x="154305" y="395288"/>
                    </a:lnTo>
                    <a:lnTo>
                      <a:pt x="149543" y="407670"/>
                    </a:lnTo>
                    <a:lnTo>
                      <a:pt x="145733" y="421005"/>
                    </a:lnTo>
                    <a:lnTo>
                      <a:pt x="142875" y="435293"/>
                    </a:lnTo>
                    <a:lnTo>
                      <a:pt x="140018" y="449580"/>
                    </a:lnTo>
                    <a:lnTo>
                      <a:pt x="138113" y="463868"/>
                    </a:lnTo>
                    <a:lnTo>
                      <a:pt x="136208" y="476250"/>
                    </a:lnTo>
                    <a:lnTo>
                      <a:pt x="135255" y="488633"/>
                    </a:lnTo>
                    <a:lnTo>
                      <a:pt x="135255" y="501015"/>
                    </a:lnTo>
                    <a:lnTo>
                      <a:pt x="134303" y="512445"/>
                    </a:lnTo>
                    <a:lnTo>
                      <a:pt x="134303" y="523875"/>
                    </a:lnTo>
                    <a:lnTo>
                      <a:pt x="134303" y="535305"/>
                    </a:lnTo>
                    <a:lnTo>
                      <a:pt x="134303" y="546735"/>
                    </a:lnTo>
                    <a:lnTo>
                      <a:pt x="135255" y="558165"/>
                    </a:lnTo>
                    <a:lnTo>
                      <a:pt x="136208" y="581025"/>
                    </a:lnTo>
                    <a:lnTo>
                      <a:pt x="138113" y="604838"/>
                    </a:lnTo>
                    <a:lnTo>
                      <a:pt x="140970" y="629603"/>
                    </a:lnTo>
                    <a:lnTo>
                      <a:pt x="143828" y="656273"/>
                    </a:lnTo>
                    <a:lnTo>
                      <a:pt x="143828" y="656273"/>
                    </a:lnTo>
                    <a:close/>
                    <a:moveTo>
                      <a:pt x="419100" y="1446848"/>
                    </a:moveTo>
                    <a:lnTo>
                      <a:pt x="413385" y="1438275"/>
                    </a:lnTo>
                    <a:lnTo>
                      <a:pt x="407670" y="1428750"/>
                    </a:lnTo>
                    <a:lnTo>
                      <a:pt x="402908" y="1419225"/>
                    </a:lnTo>
                    <a:lnTo>
                      <a:pt x="399098" y="1409700"/>
                    </a:lnTo>
                    <a:lnTo>
                      <a:pt x="395288" y="1399223"/>
                    </a:lnTo>
                    <a:lnTo>
                      <a:pt x="391478" y="1388745"/>
                    </a:lnTo>
                    <a:lnTo>
                      <a:pt x="388620" y="1378268"/>
                    </a:lnTo>
                    <a:lnTo>
                      <a:pt x="385763" y="1367790"/>
                    </a:lnTo>
                    <a:lnTo>
                      <a:pt x="382905" y="1356360"/>
                    </a:lnTo>
                    <a:lnTo>
                      <a:pt x="380048" y="1344930"/>
                    </a:lnTo>
                    <a:lnTo>
                      <a:pt x="378143" y="1333500"/>
                    </a:lnTo>
                    <a:lnTo>
                      <a:pt x="375285" y="1322070"/>
                    </a:lnTo>
                    <a:lnTo>
                      <a:pt x="371475" y="1299210"/>
                    </a:lnTo>
                    <a:lnTo>
                      <a:pt x="366713" y="1275398"/>
                    </a:lnTo>
                    <a:lnTo>
                      <a:pt x="361950" y="1251585"/>
                    </a:lnTo>
                    <a:lnTo>
                      <a:pt x="356235" y="1227773"/>
                    </a:lnTo>
                    <a:lnTo>
                      <a:pt x="353378" y="1215390"/>
                    </a:lnTo>
                    <a:lnTo>
                      <a:pt x="350520" y="1203960"/>
                    </a:lnTo>
                    <a:lnTo>
                      <a:pt x="346710" y="1192530"/>
                    </a:lnTo>
                    <a:lnTo>
                      <a:pt x="342900" y="1181100"/>
                    </a:lnTo>
                    <a:lnTo>
                      <a:pt x="339090" y="1169670"/>
                    </a:lnTo>
                    <a:lnTo>
                      <a:pt x="334328" y="1158240"/>
                    </a:lnTo>
                    <a:lnTo>
                      <a:pt x="328613" y="1147763"/>
                    </a:lnTo>
                    <a:lnTo>
                      <a:pt x="322898" y="1137285"/>
                    </a:lnTo>
                    <a:lnTo>
                      <a:pt x="316230" y="1126808"/>
                    </a:lnTo>
                    <a:lnTo>
                      <a:pt x="309563" y="1116330"/>
                    </a:lnTo>
                    <a:lnTo>
                      <a:pt x="301943" y="1106805"/>
                    </a:lnTo>
                    <a:lnTo>
                      <a:pt x="294323" y="1097280"/>
                    </a:lnTo>
                    <a:lnTo>
                      <a:pt x="295275" y="1118235"/>
                    </a:lnTo>
                    <a:lnTo>
                      <a:pt x="295275" y="1138238"/>
                    </a:lnTo>
                    <a:lnTo>
                      <a:pt x="295275" y="1158240"/>
                    </a:lnTo>
                    <a:lnTo>
                      <a:pt x="295275" y="1177290"/>
                    </a:lnTo>
                    <a:lnTo>
                      <a:pt x="295275" y="1195388"/>
                    </a:lnTo>
                    <a:lnTo>
                      <a:pt x="295275" y="1212533"/>
                    </a:lnTo>
                    <a:lnTo>
                      <a:pt x="295275" y="1229678"/>
                    </a:lnTo>
                    <a:lnTo>
                      <a:pt x="295275" y="1245870"/>
                    </a:lnTo>
                    <a:lnTo>
                      <a:pt x="295275" y="1254443"/>
                    </a:lnTo>
                    <a:lnTo>
                      <a:pt x="296228" y="1262063"/>
                    </a:lnTo>
                    <a:lnTo>
                      <a:pt x="297180" y="1269683"/>
                    </a:lnTo>
                    <a:lnTo>
                      <a:pt x="298133" y="1277303"/>
                    </a:lnTo>
                    <a:lnTo>
                      <a:pt x="299085" y="1284923"/>
                    </a:lnTo>
                    <a:lnTo>
                      <a:pt x="300038" y="1292543"/>
                    </a:lnTo>
                    <a:lnTo>
                      <a:pt x="301943" y="1300163"/>
                    </a:lnTo>
                    <a:lnTo>
                      <a:pt x="303848" y="1307783"/>
                    </a:lnTo>
                    <a:lnTo>
                      <a:pt x="306705" y="1315403"/>
                    </a:lnTo>
                    <a:lnTo>
                      <a:pt x="309563" y="1323023"/>
                    </a:lnTo>
                    <a:lnTo>
                      <a:pt x="312420" y="1330643"/>
                    </a:lnTo>
                    <a:lnTo>
                      <a:pt x="316230" y="1338263"/>
                    </a:lnTo>
                    <a:lnTo>
                      <a:pt x="320040" y="1344930"/>
                    </a:lnTo>
                    <a:lnTo>
                      <a:pt x="324803" y="1352550"/>
                    </a:lnTo>
                    <a:lnTo>
                      <a:pt x="329565" y="1360170"/>
                    </a:lnTo>
                    <a:lnTo>
                      <a:pt x="335280" y="1366838"/>
                    </a:lnTo>
                    <a:lnTo>
                      <a:pt x="325755" y="1358265"/>
                    </a:lnTo>
                    <a:lnTo>
                      <a:pt x="315278" y="1348740"/>
                    </a:lnTo>
                    <a:lnTo>
                      <a:pt x="302895" y="1338263"/>
                    </a:lnTo>
                    <a:lnTo>
                      <a:pt x="288608" y="1327785"/>
                    </a:lnTo>
                    <a:lnTo>
                      <a:pt x="280988" y="1322070"/>
                    </a:lnTo>
                    <a:lnTo>
                      <a:pt x="273368" y="1316355"/>
                    </a:lnTo>
                    <a:lnTo>
                      <a:pt x="264795" y="1310640"/>
                    </a:lnTo>
                    <a:lnTo>
                      <a:pt x="255270" y="1304925"/>
                    </a:lnTo>
                    <a:lnTo>
                      <a:pt x="245745" y="1299210"/>
                    </a:lnTo>
                    <a:lnTo>
                      <a:pt x="235268" y="1294448"/>
                    </a:lnTo>
                    <a:lnTo>
                      <a:pt x="224790" y="1289685"/>
                    </a:lnTo>
                    <a:lnTo>
                      <a:pt x="213360" y="1284923"/>
                    </a:lnTo>
                    <a:lnTo>
                      <a:pt x="206693" y="1282065"/>
                    </a:lnTo>
                    <a:lnTo>
                      <a:pt x="200025" y="1279208"/>
                    </a:lnTo>
                    <a:lnTo>
                      <a:pt x="193358" y="1276350"/>
                    </a:lnTo>
                    <a:lnTo>
                      <a:pt x="186690" y="1272540"/>
                    </a:lnTo>
                    <a:lnTo>
                      <a:pt x="180023" y="1268730"/>
                    </a:lnTo>
                    <a:lnTo>
                      <a:pt x="174308" y="1264920"/>
                    </a:lnTo>
                    <a:lnTo>
                      <a:pt x="168593" y="1261110"/>
                    </a:lnTo>
                    <a:lnTo>
                      <a:pt x="161925" y="1257300"/>
                    </a:lnTo>
                    <a:lnTo>
                      <a:pt x="150495" y="1248728"/>
                    </a:lnTo>
                    <a:lnTo>
                      <a:pt x="140018" y="1240155"/>
                    </a:lnTo>
                    <a:lnTo>
                      <a:pt x="129540" y="1230630"/>
                    </a:lnTo>
                    <a:lnTo>
                      <a:pt x="119063" y="1221105"/>
                    </a:lnTo>
                    <a:lnTo>
                      <a:pt x="109538" y="1211580"/>
                    </a:lnTo>
                    <a:lnTo>
                      <a:pt x="100013" y="1202055"/>
                    </a:lnTo>
                    <a:lnTo>
                      <a:pt x="90488" y="1192530"/>
                    </a:lnTo>
                    <a:lnTo>
                      <a:pt x="80963" y="1183005"/>
                    </a:lnTo>
                    <a:lnTo>
                      <a:pt x="63818" y="1163955"/>
                    </a:lnTo>
                    <a:lnTo>
                      <a:pt x="47625" y="1146810"/>
                    </a:lnTo>
                    <a:lnTo>
                      <a:pt x="53340" y="1160145"/>
                    </a:lnTo>
                    <a:lnTo>
                      <a:pt x="60960" y="1184910"/>
                    </a:lnTo>
                    <a:lnTo>
                      <a:pt x="69533" y="1207770"/>
                    </a:lnTo>
                    <a:lnTo>
                      <a:pt x="79058" y="1228725"/>
                    </a:lnTo>
                    <a:lnTo>
                      <a:pt x="89535" y="1248728"/>
                    </a:lnTo>
                    <a:lnTo>
                      <a:pt x="100013" y="1266825"/>
                    </a:lnTo>
                    <a:lnTo>
                      <a:pt x="111443" y="1283970"/>
                    </a:lnTo>
                    <a:lnTo>
                      <a:pt x="123825" y="1299210"/>
                    </a:lnTo>
                    <a:lnTo>
                      <a:pt x="136208" y="1313498"/>
                    </a:lnTo>
                    <a:lnTo>
                      <a:pt x="149543" y="1326833"/>
                    </a:lnTo>
                    <a:lnTo>
                      <a:pt x="162878" y="1338263"/>
                    </a:lnTo>
                    <a:lnTo>
                      <a:pt x="176213" y="1348740"/>
                    </a:lnTo>
                    <a:lnTo>
                      <a:pt x="190500" y="1358265"/>
                    </a:lnTo>
                    <a:lnTo>
                      <a:pt x="204788" y="1366838"/>
                    </a:lnTo>
                    <a:lnTo>
                      <a:pt x="219075" y="1374458"/>
                    </a:lnTo>
                    <a:lnTo>
                      <a:pt x="233363" y="1381125"/>
                    </a:lnTo>
                    <a:lnTo>
                      <a:pt x="247650" y="1387793"/>
                    </a:lnTo>
                    <a:lnTo>
                      <a:pt x="261938" y="1393508"/>
                    </a:lnTo>
                    <a:lnTo>
                      <a:pt x="276225" y="1398270"/>
                    </a:lnTo>
                    <a:lnTo>
                      <a:pt x="290513" y="1403033"/>
                    </a:lnTo>
                    <a:lnTo>
                      <a:pt x="303848" y="1406843"/>
                    </a:lnTo>
                    <a:lnTo>
                      <a:pt x="330518" y="1413510"/>
                    </a:lnTo>
                    <a:lnTo>
                      <a:pt x="354330" y="1419225"/>
                    </a:lnTo>
                    <a:lnTo>
                      <a:pt x="365760" y="1422083"/>
                    </a:lnTo>
                    <a:lnTo>
                      <a:pt x="376238" y="1424940"/>
                    </a:lnTo>
                    <a:lnTo>
                      <a:pt x="385763" y="1427798"/>
                    </a:lnTo>
                    <a:lnTo>
                      <a:pt x="394335" y="1430655"/>
                    </a:lnTo>
                    <a:lnTo>
                      <a:pt x="402908" y="1434465"/>
                    </a:lnTo>
                    <a:lnTo>
                      <a:pt x="409575" y="1438275"/>
                    </a:lnTo>
                    <a:lnTo>
                      <a:pt x="416243" y="1442085"/>
                    </a:lnTo>
                    <a:lnTo>
                      <a:pt x="419100" y="1446848"/>
                    </a:lnTo>
                    <a:lnTo>
                      <a:pt x="419100" y="1446848"/>
                    </a:lnTo>
                    <a:close/>
                    <a:moveTo>
                      <a:pt x="598170" y="1568768"/>
                    </a:moveTo>
                    <a:lnTo>
                      <a:pt x="594360" y="1563053"/>
                    </a:lnTo>
                    <a:lnTo>
                      <a:pt x="590550" y="1556385"/>
                    </a:lnTo>
                    <a:lnTo>
                      <a:pt x="586740" y="1549718"/>
                    </a:lnTo>
                    <a:lnTo>
                      <a:pt x="582930" y="1543050"/>
                    </a:lnTo>
                    <a:lnTo>
                      <a:pt x="576263" y="1526858"/>
                    </a:lnTo>
                    <a:lnTo>
                      <a:pt x="568643" y="1509713"/>
                    </a:lnTo>
                    <a:lnTo>
                      <a:pt x="561023" y="1490663"/>
                    </a:lnTo>
                    <a:lnTo>
                      <a:pt x="553403" y="1470660"/>
                    </a:lnTo>
                    <a:lnTo>
                      <a:pt x="543878" y="1449705"/>
                    </a:lnTo>
                    <a:lnTo>
                      <a:pt x="534353" y="1428750"/>
                    </a:lnTo>
                    <a:lnTo>
                      <a:pt x="528638" y="1418273"/>
                    </a:lnTo>
                    <a:lnTo>
                      <a:pt x="522923" y="1407795"/>
                    </a:lnTo>
                    <a:lnTo>
                      <a:pt x="517208" y="1397318"/>
                    </a:lnTo>
                    <a:lnTo>
                      <a:pt x="510540" y="1386840"/>
                    </a:lnTo>
                    <a:lnTo>
                      <a:pt x="503873" y="1376363"/>
                    </a:lnTo>
                    <a:lnTo>
                      <a:pt x="497205" y="1365885"/>
                    </a:lnTo>
                    <a:lnTo>
                      <a:pt x="489585" y="1355408"/>
                    </a:lnTo>
                    <a:lnTo>
                      <a:pt x="481965" y="1345883"/>
                    </a:lnTo>
                    <a:lnTo>
                      <a:pt x="473393" y="1336358"/>
                    </a:lnTo>
                    <a:lnTo>
                      <a:pt x="464820" y="1326833"/>
                    </a:lnTo>
                    <a:lnTo>
                      <a:pt x="455295" y="1317308"/>
                    </a:lnTo>
                    <a:lnTo>
                      <a:pt x="445770" y="1308735"/>
                    </a:lnTo>
                    <a:lnTo>
                      <a:pt x="435293" y="1300163"/>
                    </a:lnTo>
                    <a:lnTo>
                      <a:pt x="424815" y="1291590"/>
                    </a:lnTo>
                    <a:lnTo>
                      <a:pt x="414338" y="1283970"/>
                    </a:lnTo>
                    <a:lnTo>
                      <a:pt x="402908" y="1277303"/>
                    </a:lnTo>
                    <a:lnTo>
                      <a:pt x="414338" y="1316355"/>
                    </a:lnTo>
                    <a:lnTo>
                      <a:pt x="423863" y="1352550"/>
                    </a:lnTo>
                    <a:lnTo>
                      <a:pt x="428625" y="1369695"/>
                    </a:lnTo>
                    <a:lnTo>
                      <a:pt x="433388" y="1385888"/>
                    </a:lnTo>
                    <a:lnTo>
                      <a:pt x="439103" y="1402080"/>
                    </a:lnTo>
                    <a:lnTo>
                      <a:pt x="444818" y="1417320"/>
                    </a:lnTo>
                    <a:lnTo>
                      <a:pt x="447675" y="1424940"/>
                    </a:lnTo>
                    <a:lnTo>
                      <a:pt x="450533" y="1431608"/>
                    </a:lnTo>
                    <a:lnTo>
                      <a:pt x="454343" y="1438275"/>
                    </a:lnTo>
                    <a:lnTo>
                      <a:pt x="458153" y="1444943"/>
                    </a:lnTo>
                    <a:lnTo>
                      <a:pt x="461963" y="1451610"/>
                    </a:lnTo>
                    <a:lnTo>
                      <a:pt x="465773" y="1458278"/>
                    </a:lnTo>
                    <a:lnTo>
                      <a:pt x="469583" y="1464945"/>
                    </a:lnTo>
                    <a:lnTo>
                      <a:pt x="474345" y="1471613"/>
                    </a:lnTo>
                    <a:lnTo>
                      <a:pt x="479108" y="1478280"/>
                    </a:lnTo>
                    <a:lnTo>
                      <a:pt x="484823" y="1484948"/>
                    </a:lnTo>
                    <a:lnTo>
                      <a:pt x="490538" y="1491615"/>
                    </a:lnTo>
                    <a:lnTo>
                      <a:pt x="496253" y="1498283"/>
                    </a:lnTo>
                    <a:lnTo>
                      <a:pt x="501968" y="1504950"/>
                    </a:lnTo>
                    <a:lnTo>
                      <a:pt x="508635" y="1510665"/>
                    </a:lnTo>
                    <a:lnTo>
                      <a:pt x="515303" y="1516380"/>
                    </a:lnTo>
                    <a:lnTo>
                      <a:pt x="522923" y="1523048"/>
                    </a:lnTo>
                    <a:lnTo>
                      <a:pt x="510540" y="1517333"/>
                    </a:lnTo>
                    <a:lnTo>
                      <a:pt x="494348" y="1510665"/>
                    </a:lnTo>
                    <a:lnTo>
                      <a:pt x="475298" y="1503045"/>
                    </a:lnTo>
                    <a:lnTo>
                      <a:pt x="454343" y="1495425"/>
                    </a:lnTo>
                    <a:lnTo>
                      <a:pt x="442913" y="1491615"/>
                    </a:lnTo>
                    <a:lnTo>
                      <a:pt x="430530" y="1487805"/>
                    </a:lnTo>
                    <a:lnTo>
                      <a:pt x="418148" y="1483995"/>
                    </a:lnTo>
                    <a:lnTo>
                      <a:pt x="405765" y="1481138"/>
                    </a:lnTo>
                    <a:lnTo>
                      <a:pt x="393383" y="1478280"/>
                    </a:lnTo>
                    <a:lnTo>
                      <a:pt x="381000" y="1475423"/>
                    </a:lnTo>
                    <a:lnTo>
                      <a:pt x="368618" y="1473518"/>
                    </a:lnTo>
                    <a:lnTo>
                      <a:pt x="356235" y="1471613"/>
                    </a:lnTo>
                    <a:lnTo>
                      <a:pt x="345758" y="1470660"/>
                    </a:lnTo>
                    <a:lnTo>
                      <a:pt x="335280" y="1468755"/>
                    </a:lnTo>
                    <a:lnTo>
                      <a:pt x="325755" y="1466850"/>
                    </a:lnTo>
                    <a:lnTo>
                      <a:pt x="316230" y="1464945"/>
                    </a:lnTo>
                    <a:lnTo>
                      <a:pt x="307658" y="1463040"/>
                    </a:lnTo>
                    <a:lnTo>
                      <a:pt x="300038" y="1461135"/>
                    </a:lnTo>
                    <a:lnTo>
                      <a:pt x="292418" y="1459230"/>
                    </a:lnTo>
                    <a:lnTo>
                      <a:pt x="284798" y="1457325"/>
                    </a:lnTo>
                    <a:lnTo>
                      <a:pt x="277178" y="1454468"/>
                    </a:lnTo>
                    <a:lnTo>
                      <a:pt x="270510" y="1451610"/>
                    </a:lnTo>
                    <a:lnTo>
                      <a:pt x="263843" y="1448753"/>
                    </a:lnTo>
                    <a:lnTo>
                      <a:pt x="257175" y="1445895"/>
                    </a:lnTo>
                    <a:lnTo>
                      <a:pt x="245745" y="1440180"/>
                    </a:lnTo>
                    <a:lnTo>
                      <a:pt x="235268" y="1434465"/>
                    </a:lnTo>
                    <a:lnTo>
                      <a:pt x="225743" y="1428750"/>
                    </a:lnTo>
                    <a:lnTo>
                      <a:pt x="216218" y="1423035"/>
                    </a:lnTo>
                    <a:lnTo>
                      <a:pt x="207645" y="1417320"/>
                    </a:lnTo>
                    <a:lnTo>
                      <a:pt x="199073" y="1411605"/>
                    </a:lnTo>
                    <a:lnTo>
                      <a:pt x="190500" y="1405890"/>
                    </a:lnTo>
                    <a:lnTo>
                      <a:pt x="181928" y="1400175"/>
                    </a:lnTo>
                    <a:lnTo>
                      <a:pt x="173355" y="1394460"/>
                    </a:lnTo>
                    <a:lnTo>
                      <a:pt x="163830" y="1388745"/>
                    </a:lnTo>
                    <a:lnTo>
                      <a:pt x="177165" y="1411605"/>
                    </a:lnTo>
                    <a:lnTo>
                      <a:pt x="190500" y="1432560"/>
                    </a:lnTo>
                    <a:lnTo>
                      <a:pt x="203835" y="1451610"/>
                    </a:lnTo>
                    <a:lnTo>
                      <a:pt x="218123" y="1468755"/>
                    </a:lnTo>
                    <a:lnTo>
                      <a:pt x="232410" y="1483995"/>
                    </a:lnTo>
                    <a:lnTo>
                      <a:pt x="247650" y="1497330"/>
                    </a:lnTo>
                    <a:lnTo>
                      <a:pt x="262890" y="1509713"/>
                    </a:lnTo>
                    <a:lnTo>
                      <a:pt x="278130" y="1520190"/>
                    </a:lnTo>
                    <a:lnTo>
                      <a:pt x="293370" y="1529715"/>
                    </a:lnTo>
                    <a:lnTo>
                      <a:pt x="309563" y="1537335"/>
                    </a:lnTo>
                    <a:lnTo>
                      <a:pt x="325755" y="1544003"/>
                    </a:lnTo>
                    <a:lnTo>
                      <a:pt x="341948" y="1549718"/>
                    </a:lnTo>
                    <a:lnTo>
                      <a:pt x="358140" y="1554480"/>
                    </a:lnTo>
                    <a:lnTo>
                      <a:pt x="374333" y="1558290"/>
                    </a:lnTo>
                    <a:lnTo>
                      <a:pt x="390525" y="1561148"/>
                    </a:lnTo>
                    <a:lnTo>
                      <a:pt x="406718" y="1563053"/>
                    </a:lnTo>
                    <a:lnTo>
                      <a:pt x="421958" y="1564005"/>
                    </a:lnTo>
                    <a:lnTo>
                      <a:pt x="437198" y="1564958"/>
                    </a:lnTo>
                    <a:lnTo>
                      <a:pt x="451485" y="1564958"/>
                    </a:lnTo>
                    <a:lnTo>
                      <a:pt x="465773" y="1564958"/>
                    </a:lnTo>
                    <a:lnTo>
                      <a:pt x="493395" y="1564005"/>
                    </a:lnTo>
                    <a:lnTo>
                      <a:pt x="519113" y="1563053"/>
                    </a:lnTo>
                    <a:lnTo>
                      <a:pt x="531495" y="1563053"/>
                    </a:lnTo>
                    <a:lnTo>
                      <a:pt x="542925" y="1563053"/>
                    </a:lnTo>
                    <a:lnTo>
                      <a:pt x="553403" y="1563053"/>
                    </a:lnTo>
                    <a:lnTo>
                      <a:pt x="563880" y="1563053"/>
                    </a:lnTo>
                    <a:lnTo>
                      <a:pt x="573405" y="1564005"/>
                    </a:lnTo>
                    <a:lnTo>
                      <a:pt x="581978" y="1564958"/>
                    </a:lnTo>
                    <a:lnTo>
                      <a:pt x="589598" y="1566863"/>
                    </a:lnTo>
                    <a:lnTo>
                      <a:pt x="598170" y="1568768"/>
                    </a:lnTo>
                    <a:lnTo>
                      <a:pt x="598170" y="1568768"/>
                    </a:lnTo>
                    <a:close/>
                    <a:moveTo>
                      <a:pt x="1590675" y="301943"/>
                    </a:moveTo>
                    <a:lnTo>
                      <a:pt x="1579245" y="283845"/>
                    </a:lnTo>
                    <a:lnTo>
                      <a:pt x="1566863" y="264795"/>
                    </a:lnTo>
                    <a:lnTo>
                      <a:pt x="1553528" y="245745"/>
                    </a:lnTo>
                    <a:lnTo>
                      <a:pt x="1540193" y="226695"/>
                    </a:lnTo>
                    <a:lnTo>
                      <a:pt x="1526858" y="208598"/>
                    </a:lnTo>
                    <a:lnTo>
                      <a:pt x="1514475" y="192405"/>
                    </a:lnTo>
                    <a:lnTo>
                      <a:pt x="1508760" y="185738"/>
                    </a:lnTo>
                    <a:lnTo>
                      <a:pt x="1503045" y="179070"/>
                    </a:lnTo>
                    <a:lnTo>
                      <a:pt x="1497330" y="173355"/>
                    </a:lnTo>
                    <a:lnTo>
                      <a:pt x="1492568" y="168593"/>
                    </a:lnTo>
                    <a:lnTo>
                      <a:pt x="1504950" y="171450"/>
                    </a:lnTo>
                    <a:lnTo>
                      <a:pt x="1517333" y="175260"/>
                    </a:lnTo>
                    <a:lnTo>
                      <a:pt x="1528763" y="179070"/>
                    </a:lnTo>
                    <a:lnTo>
                      <a:pt x="1540193" y="182880"/>
                    </a:lnTo>
                    <a:lnTo>
                      <a:pt x="1551623" y="187643"/>
                    </a:lnTo>
                    <a:lnTo>
                      <a:pt x="1563053" y="193358"/>
                    </a:lnTo>
                    <a:lnTo>
                      <a:pt x="1573530" y="199073"/>
                    </a:lnTo>
                    <a:lnTo>
                      <a:pt x="1584008" y="204788"/>
                    </a:lnTo>
                    <a:lnTo>
                      <a:pt x="1594485" y="211455"/>
                    </a:lnTo>
                    <a:lnTo>
                      <a:pt x="1604010" y="218123"/>
                    </a:lnTo>
                    <a:lnTo>
                      <a:pt x="1613535" y="224790"/>
                    </a:lnTo>
                    <a:lnTo>
                      <a:pt x="1623060" y="232410"/>
                    </a:lnTo>
                    <a:lnTo>
                      <a:pt x="1632585" y="240030"/>
                    </a:lnTo>
                    <a:lnTo>
                      <a:pt x="1641158" y="247650"/>
                    </a:lnTo>
                    <a:lnTo>
                      <a:pt x="1649730" y="256223"/>
                    </a:lnTo>
                    <a:lnTo>
                      <a:pt x="1657350" y="264795"/>
                    </a:lnTo>
                    <a:lnTo>
                      <a:pt x="1664970" y="274320"/>
                    </a:lnTo>
                    <a:lnTo>
                      <a:pt x="1672590" y="283845"/>
                    </a:lnTo>
                    <a:lnTo>
                      <a:pt x="1680210" y="293370"/>
                    </a:lnTo>
                    <a:lnTo>
                      <a:pt x="1686878" y="303848"/>
                    </a:lnTo>
                    <a:lnTo>
                      <a:pt x="1693545" y="313373"/>
                    </a:lnTo>
                    <a:lnTo>
                      <a:pt x="1700213" y="323850"/>
                    </a:lnTo>
                    <a:lnTo>
                      <a:pt x="1706880" y="334328"/>
                    </a:lnTo>
                    <a:lnTo>
                      <a:pt x="1712595" y="344805"/>
                    </a:lnTo>
                    <a:lnTo>
                      <a:pt x="1718310" y="355283"/>
                    </a:lnTo>
                    <a:lnTo>
                      <a:pt x="1724025" y="366713"/>
                    </a:lnTo>
                    <a:lnTo>
                      <a:pt x="1728788" y="378143"/>
                    </a:lnTo>
                    <a:lnTo>
                      <a:pt x="1732598" y="389573"/>
                    </a:lnTo>
                    <a:lnTo>
                      <a:pt x="1736408" y="401003"/>
                    </a:lnTo>
                    <a:lnTo>
                      <a:pt x="1740218" y="413385"/>
                    </a:lnTo>
                    <a:lnTo>
                      <a:pt x="1743075" y="425768"/>
                    </a:lnTo>
                    <a:lnTo>
                      <a:pt x="1745933" y="438150"/>
                    </a:lnTo>
                    <a:lnTo>
                      <a:pt x="1735455" y="427673"/>
                    </a:lnTo>
                    <a:lnTo>
                      <a:pt x="1724978" y="418148"/>
                    </a:lnTo>
                    <a:lnTo>
                      <a:pt x="1713548" y="408623"/>
                    </a:lnTo>
                    <a:lnTo>
                      <a:pt x="1703070" y="400050"/>
                    </a:lnTo>
                    <a:lnTo>
                      <a:pt x="1680210" y="382905"/>
                    </a:lnTo>
                    <a:lnTo>
                      <a:pt x="1658303" y="366713"/>
                    </a:lnTo>
                    <a:lnTo>
                      <a:pt x="1647825" y="359093"/>
                    </a:lnTo>
                    <a:lnTo>
                      <a:pt x="1637348" y="351473"/>
                    </a:lnTo>
                    <a:lnTo>
                      <a:pt x="1627823" y="343853"/>
                    </a:lnTo>
                    <a:lnTo>
                      <a:pt x="1618298" y="336233"/>
                    </a:lnTo>
                    <a:lnTo>
                      <a:pt x="1609725" y="328613"/>
                    </a:lnTo>
                    <a:lnTo>
                      <a:pt x="1602105" y="320993"/>
                    </a:lnTo>
                    <a:lnTo>
                      <a:pt x="1600200" y="314325"/>
                    </a:lnTo>
                    <a:lnTo>
                      <a:pt x="1597343" y="310515"/>
                    </a:lnTo>
                    <a:lnTo>
                      <a:pt x="1594485" y="306705"/>
                    </a:lnTo>
                    <a:lnTo>
                      <a:pt x="1590675" y="301943"/>
                    </a:lnTo>
                    <a:lnTo>
                      <a:pt x="1590675" y="301943"/>
                    </a:lnTo>
                    <a:close/>
                    <a:moveTo>
                      <a:pt x="1660208" y="511493"/>
                    </a:moveTo>
                    <a:lnTo>
                      <a:pt x="1664018" y="518160"/>
                    </a:lnTo>
                    <a:lnTo>
                      <a:pt x="1668780" y="524828"/>
                    </a:lnTo>
                    <a:lnTo>
                      <a:pt x="1674495" y="531495"/>
                    </a:lnTo>
                    <a:lnTo>
                      <a:pt x="1681163" y="538163"/>
                    </a:lnTo>
                    <a:lnTo>
                      <a:pt x="1687830" y="544830"/>
                    </a:lnTo>
                    <a:lnTo>
                      <a:pt x="1695450" y="551498"/>
                    </a:lnTo>
                    <a:lnTo>
                      <a:pt x="1703070" y="558165"/>
                    </a:lnTo>
                    <a:lnTo>
                      <a:pt x="1710690" y="564833"/>
                    </a:lnTo>
                    <a:lnTo>
                      <a:pt x="1727835" y="579120"/>
                    </a:lnTo>
                    <a:lnTo>
                      <a:pt x="1745933" y="595313"/>
                    </a:lnTo>
                    <a:lnTo>
                      <a:pt x="1754505" y="603885"/>
                    </a:lnTo>
                    <a:lnTo>
                      <a:pt x="1763078" y="612458"/>
                    </a:lnTo>
                    <a:lnTo>
                      <a:pt x="1771650" y="621983"/>
                    </a:lnTo>
                    <a:lnTo>
                      <a:pt x="1780223" y="631508"/>
                    </a:lnTo>
                    <a:lnTo>
                      <a:pt x="1784985" y="637223"/>
                    </a:lnTo>
                    <a:lnTo>
                      <a:pt x="1789748" y="643890"/>
                    </a:lnTo>
                    <a:lnTo>
                      <a:pt x="1794510" y="651510"/>
                    </a:lnTo>
                    <a:lnTo>
                      <a:pt x="1799273" y="659130"/>
                    </a:lnTo>
                    <a:lnTo>
                      <a:pt x="1804035" y="666750"/>
                    </a:lnTo>
                    <a:lnTo>
                      <a:pt x="1808798" y="675323"/>
                    </a:lnTo>
                    <a:lnTo>
                      <a:pt x="1813560" y="684848"/>
                    </a:lnTo>
                    <a:lnTo>
                      <a:pt x="1817370" y="694373"/>
                    </a:lnTo>
                    <a:lnTo>
                      <a:pt x="1821180" y="703898"/>
                    </a:lnTo>
                    <a:lnTo>
                      <a:pt x="1824990" y="713423"/>
                    </a:lnTo>
                    <a:lnTo>
                      <a:pt x="1828800" y="722948"/>
                    </a:lnTo>
                    <a:lnTo>
                      <a:pt x="1832610" y="732473"/>
                    </a:lnTo>
                    <a:lnTo>
                      <a:pt x="1835468" y="741998"/>
                    </a:lnTo>
                    <a:lnTo>
                      <a:pt x="1838325" y="751523"/>
                    </a:lnTo>
                    <a:lnTo>
                      <a:pt x="1841183" y="761048"/>
                    </a:lnTo>
                    <a:lnTo>
                      <a:pt x="1843088" y="770573"/>
                    </a:lnTo>
                    <a:lnTo>
                      <a:pt x="1851660" y="693420"/>
                    </a:lnTo>
                    <a:lnTo>
                      <a:pt x="1854518" y="678180"/>
                    </a:lnTo>
                    <a:lnTo>
                      <a:pt x="1857375" y="662940"/>
                    </a:lnTo>
                    <a:lnTo>
                      <a:pt x="1860233" y="647700"/>
                    </a:lnTo>
                    <a:lnTo>
                      <a:pt x="1863090" y="631508"/>
                    </a:lnTo>
                    <a:lnTo>
                      <a:pt x="1864995" y="615315"/>
                    </a:lnTo>
                    <a:lnTo>
                      <a:pt x="1866900" y="599123"/>
                    </a:lnTo>
                    <a:lnTo>
                      <a:pt x="1868805" y="582930"/>
                    </a:lnTo>
                    <a:lnTo>
                      <a:pt x="1869758" y="566738"/>
                    </a:lnTo>
                    <a:lnTo>
                      <a:pt x="1870710" y="550545"/>
                    </a:lnTo>
                    <a:lnTo>
                      <a:pt x="1871663" y="534353"/>
                    </a:lnTo>
                    <a:lnTo>
                      <a:pt x="1871663" y="518160"/>
                    </a:lnTo>
                    <a:lnTo>
                      <a:pt x="1870710" y="501968"/>
                    </a:lnTo>
                    <a:lnTo>
                      <a:pt x="1869758" y="494348"/>
                    </a:lnTo>
                    <a:lnTo>
                      <a:pt x="1868805" y="486728"/>
                    </a:lnTo>
                    <a:lnTo>
                      <a:pt x="1867853" y="479108"/>
                    </a:lnTo>
                    <a:lnTo>
                      <a:pt x="1866900" y="471488"/>
                    </a:lnTo>
                    <a:lnTo>
                      <a:pt x="1865948" y="463868"/>
                    </a:lnTo>
                    <a:lnTo>
                      <a:pt x="1864995" y="456248"/>
                    </a:lnTo>
                    <a:lnTo>
                      <a:pt x="1863090" y="448628"/>
                    </a:lnTo>
                    <a:lnTo>
                      <a:pt x="1861185" y="441008"/>
                    </a:lnTo>
                    <a:lnTo>
                      <a:pt x="1872615" y="461963"/>
                    </a:lnTo>
                    <a:lnTo>
                      <a:pt x="1884045" y="482918"/>
                    </a:lnTo>
                    <a:lnTo>
                      <a:pt x="1889760" y="493395"/>
                    </a:lnTo>
                    <a:lnTo>
                      <a:pt x="1895475" y="503873"/>
                    </a:lnTo>
                    <a:lnTo>
                      <a:pt x="1900238" y="514350"/>
                    </a:lnTo>
                    <a:lnTo>
                      <a:pt x="1905000" y="524828"/>
                    </a:lnTo>
                    <a:lnTo>
                      <a:pt x="1908810" y="535305"/>
                    </a:lnTo>
                    <a:lnTo>
                      <a:pt x="1912620" y="545783"/>
                    </a:lnTo>
                    <a:lnTo>
                      <a:pt x="1916430" y="557213"/>
                    </a:lnTo>
                    <a:lnTo>
                      <a:pt x="1919288" y="568643"/>
                    </a:lnTo>
                    <a:lnTo>
                      <a:pt x="1921193" y="580073"/>
                    </a:lnTo>
                    <a:lnTo>
                      <a:pt x="1923098" y="592455"/>
                    </a:lnTo>
                    <a:lnTo>
                      <a:pt x="1924050" y="598170"/>
                    </a:lnTo>
                    <a:lnTo>
                      <a:pt x="1925003" y="604838"/>
                    </a:lnTo>
                    <a:lnTo>
                      <a:pt x="1925003" y="610553"/>
                    </a:lnTo>
                    <a:lnTo>
                      <a:pt x="1925003" y="617220"/>
                    </a:lnTo>
                    <a:lnTo>
                      <a:pt x="1925003" y="625793"/>
                    </a:lnTo>
                    <a:lnTo>
                      <a:pt x="1925003" y="634365"/>
                    </a:lnTo>
                    <a:lnTo>
                      <a:pt x="1924050" y="642938"/>
                    </a:lnTo>
                    <a:lnTo>
                      <a:pt x="1923098" y="651510"/>
                    </a:lnTo>
                    <a:lnTo>
                      <a:pt x="1922145" y="659130"/>
                    </a:lnTo>
                    <a:lnTo>
                      <a:pt x="1921193" y="666750"/>
                    </a:lnTo>
                    <a:lnTo>
                      <a:pt x="1919288" y="674370"/>
                    </a:lnTo>
                    <a:lnTo>
                      <a:pt x="1917383" y="681990"/>
                    </a:lnTo>
                    <a:lnTo>
                      <a:pt x="1915478" y="689610"/>
                    </a:lnTo>
                    <a:lnTo>
                      <a:pt x="1912620" y="697230"/>
                    </a:lnTo>
                    <a:lnTo>
                      <a:pt x="1909763" y="704850"/>
                    </a:lnTo>
                    <a:lnTo>
                      <a:pt x="1906905" y="712470"/>
                    </a:lnTo>
                    <a:lnTo>
                      <a:pt x="1901190" y="726758"/>
                    </a:lnTo>
                    <a:lnTo>
                      <a:pt x="1895475" y="741045"/>
                    </a:lnTo>
                    <a:lnTo>
                      <a:pt x="1882140" y="769620"/>
                    </a:lnTo>
                    <a:lnTo>
                      <a:pt x="1869758" y="798195"/>
                    </a:lnTo>
                    <a:lnTo>
                      <a:pt x="1863090" y="812483"/>
                    </a:lnTo>
                    <a:lnTo>
                      <a:pt x="1857375" y="826770"/>
                    </a:lnTo>
                    <a:lnTo>
                      <a:pt x="1851660" y="841058"/>
                    </a:lnTo>
                    <a:lnTo>
                      <a:pt x="1845945" y="856298"/>
                    </a:lnTo>
                    <a:lnTo>
                      <a:pt x="1844993" y="851535"/>
                    </a:lnTo>
                    <a:lnTo>
                      <a:pt x="1844040" y="845820"/>
                    </a:lnTo>
                    <a:lnTo>
                      <a:pt x="1843088" y="840105"/>
                    </a:lnTo>
                    <a:lnTo>
                      <a:pt x="1841183" y="834390"/>
                    </a:lnTo>
                    <a:lnTo>
                      <a:pt x="1839278" y="828675"/>
                    </a:lnTo>
                    <a:lnTo>
                      <a:pt x="1836420" y="822960"/>
                    </a:lnTo>
                    <a:lnTo>
                      <a:pt x="1833563" y="816293"/>
                    </a:lnTo>
                    <a:lnTo>
                      <a:pt x="1830705" y="810578"/>
                    </a:lnTo>
                    <a:lnTo>
                      <a:pt x="1824038" y="798195"/>
                    </a:lnTo>
                    <a:lnTo>
                      <a:pt x="1817370" y="784860"/>
                    </a:lnTo>
                    <a:lnTo>
                      <a:pt x="1809750" y="771525"/>
                    </a:lnTo>
                    <a:lnTo>
                      <a:pt x="1802130" y="758190"/>
                    </a:lnTo>
                    <a:lnTo>
                      <a:pt x="1794510" y="745808"/>
                    </a:lnTo>
                    <a:lnTo>
                      <a:pt x="1785938" y="733425"/>
                    </a:lnTo>
                    <a:lnTo>
                      <a:pt x="1777365" y="721043"/>
                    </a:lnTo>
                    <a:lnTo>
                      <a:pt x="1768793" y="710565"/>
                    </a:lnTo>
                    <a:lnTo>
                      <a:pt x="1761173" y="700088"/>
                    </a:lnTo>
                    <a:lnTo>
                      <a:pt x="1753553" y="690563"/>
                    </a:lnTo>
                    <a:lnTo>
                      <a:pt x="1745933" y="682943"/>
                    </a:lnTo>
                    <a:lnTo>
                      <a:pt x="1739265" y="676275"/>
                    </a:lnTo>
                    <a:lnTo>
                      <a:pt x="1729740" y="663893"/>
                    </a:lnTo>
                    <a:lnTo>
                      <a:pt x="1721168" y="653415"/>
                    </a:lnTo>
                    <a:lnTo>
                      <a:pt x="1714500" y="642938"/>
                    </a:lnTo>
                    <a:lnTo>
                      <a:pt x="1707833" y="633413"/>
                    </a:lnTo>
                    <a:lnTo>
                      <a:pt x="1702118" y="624840"/>
                    </a:lnTo>
                    <a:lnTo>
                      <a:pt x="1697355" y="616268"/>
                    </a:lnTo>
                    <a:lnTo>
                      <a:pt x="1693545" y="608648"/>
                    </a:lnTo>
                    <a:lnTo>
                      <a:pt x="1689735" y="601028"/>
                    </a:lnTo>
                    <a:lnTo>
                      <a:pt x="1685925" y="592455"/>
                    </a:lnTo>
                    <a:lnTo>
                      <a:pt x="1683068" y="583883"/>
                    </a:lnTo>
                    <a:lnTo>
                      <a:pt x="1679258" y="574358"/>
                    </a:lnTo>
                    <a:lnTo>
                      <a:pt x="1675448" y="563880"/>
                    </a:lnTo>
                    <a:lnTo>
                      <a:pt x="1667828" y="541020"/>
                    </a:lnTo>
                    <a:lnTo>
                      <a:pt x="1660208" y="511493"/>
                    </a:lnTo>
                    <a:lnTo>
                      <a:pt x="1660208" y="511493"/>
                    </a:lnTo>
                    <a:close/>
                    <a:moveTo>
                      <a:pt x="1721168" y="711518"/>
                    </a:moveTo>
                    <a:lnTo>
                      <a:pt x="1733550" y="727710"/>
                    </a:lnTo>
                    <a:lnTo>
                      <a:pt x="1744980" y="743903"/>
                    </a:lnTo>
                    <a:lnTo>
                      <a:pt x="1756410" y="759143"/>
                    </a:lnTo>
                    <a:lnTo>
                      <a:pt x="1766888" y="774383"/>
                    </a:lnTo>
                    <a:lnTo>
                      <a:pt x="1776413" y="788670"/>
                    </a:lnTo>
                    <a:lnTo>
                      <a:pt x="1784985" y="803910"/>
                    </a:lnTo>
                    <a:lnTo>
                      <a:pt x="1788795" y="811530"/>
                    </a:lnTo>
                    <a:lnTo>
                      <a:pt x="1792605" y="819150"/>
                    </a:lnTo>
                    <a:lnTo>
                      <a:pt x="1796415" y="826770"/>
                    </a:lnTo>
                    <a:lnTo>
                      <a:pt x="1800225" y="834390"/>
                    </a:lnTo>
                    <a:lnTo>
                      <a:pt x="1803083" y="842010"/>
                    </a:lnTo>
                    <a:lnTo>
                      <a:pt x="1805940" y="849630"/>
                    </a:lnTo>
                    <a:lnTo>
                      <a:pt x="1808798" y="857250"/>
                    </a:lnTo>
                    <a:lnTo>
                      <a:pt x="1811655" y="865823"/>
                    </a:lnTo>
                    <a:lnTo>
                      <a:pt x="1814513" y="874395"/>
                    </a:lnTo>
                    <a:lnTo>
                      <a:pt x="1816418" y="882968"/>
                    </a:lnTo>
                    <a:lnTo>
                      <a:pt x="1818323" y="891540"/>
                    </a:lnTo>
                    <a:lnTo>
                      <a:pt x="1820228" y="901065"/>
                    </a:lnTo>
                    <a:lnTo>
                      <a:pt x="1821180" y="910590"/>
                    </a:lnTo>
                    <a:lnTo>
                      <a:pt x="1822133" y="920115"/>
                    </a:lnTo>
                    <a:lnTo>
                      <a:pt x="1823085" y="929640"/>
                    </a:lnTo>
                    <a:lnTo>
                      <a:pt x="1824038" y="940118"/>
                    </a:lnTo>
                    <a:lnTo>
                      <a:pt x="1824038" y="950595"/>
                    </a:lnTo>
                    <a:lnTo>
                      <a:pt x="1824038" y="961073"/>
                    </a:lnTo>
                    <a:lnTo>
                      <a:pt x="1824038" y="972503"/>
                    </a:lnTo>
                    <a:lnTo>
                      <a:pt x="1824038" y="983933"/>
                    </a:lnTo>
                    <a:lnTo>
                      <a:pt x="1825943" y="974408"/>
                    </a:lnTo>
                    <a:lnTo>
                      <a:pt x="1828800" y="963930"/>
                    </a:lnTo>
                    <a:lnTo>
                      <a:pt x="1831658" y="954405"/>
                    </a:lnTo>
                    <a:lnTo>
                      <a:pt x="1834515" y="943928"/>
                    </a:lnTo>
                    <a:lnTo>
                      <a:pt x="1838325" y="934403"/>
                    </a:lnTo>
                    <a:lnTo>
                      <a:pt x="1842135" y="923925"/>
                    </a:lnTo>
                    <a:lnTo>
                      <a:pt x="1845945" y="914400"/>
                    </a:lnTo>
                    <a:lnTo>
                      <a:pt x="1850708" y="904875"/>
                    </a:lnTo>
                    <a:lnTo>
                      <a:pt x="1860233" y="884873"/>
                    </a:lnTo>
                    <a:lnTo>
                      <a:pt x="1870710" y="864870"/>
                    </a:lnTo>
                    <a:lnTo>
                      <a:pt x="1881188" y="844868"/>
                    </a:lnTo>
                    <a:lnTo>
                      <a:pt x="1891665" y="825818"/>
                    </a:lnTo>
                    <a:lnTo>
                      <a:pt x="1902143" y="806768"/>
                    </a:lnTo>
                    <a:lnTo>
                      <a:pt x="1911668" y="787718"/>
                    </a:lnTo>
                    <a:lnTo>
                      <a:pt x="1916430" y="778193"/>
                    </a:lnTo>
                    <a:lnTo>
                      <a:pt x="1921193" y="768668"/>
                    </a:lnTo>
                    <a:lnTo>
                      <a:pt x="1925003" y="759143"/>
                    </a:lnTo>
                    <a:lnTo>
                      <a:pt x="1928813" y="749618"/>
                    </a:lnTo>
                    <a:lnTo>
                      <a:pt x="1932623" y="740093"/>
                    </a:lnTo>
                    <a:lnTo>
                      <a:pt x="1935480" y="730568"/>
                    </a:lnTo>
                    <a:lnTo>
                      <a:pt x="1938338" y="721043"/>
                    </a:lnTo>
                    <a:lnTo>
                      <a:pt x="1941195" y="711518"/>
                    </a:lnTo>
                    <a:lnTo>
                      <a:pt x="1943100" y="702945"/>
                    </a:lnTo>
                    <a:lnTo>
                      <a:pt x="1945005" y="694373"/>
                    </a:lnTo>
                    <a:lnTo>
                      <a:pt x="1945958" y="685800"/>
                    </a:lnTo>
                    <a:lnTo>
                      <a:pt x="1946910" y="677228"/>
                    </a:lnTo>
                    <a:lnTo>
                      <a:pt x="1950720" y="696278"/>
                    </a:lnTo>
                    <a:lnTo>
                      <a:pt x="1953578" y="714375"/>
                    </a:lnTo>
                    <a:lnTo>
                      <a:pt x="1956435" y="731520"/>
                    </a:lnTo>
                    <a:lnTo>
                      <a:pt x="1958340" y="747713"/>
                    </a:lnTo>
                    <a:lnTo>
                      <a:pt x="1959293" y="763905"/>
                    </a:lnTo>
                    <a:lnTo>
                      <a:pt x="1959293" y="779145"/>
                    </a:lnTo>
                    <a:lnTo>
                      <a:pt x="1959293" y="793433"/>
                    </a:lnTo>
                    <a:lnTo>
                      <a:pt x="1958340" y="806768"/>
                    </a:lnTo>
                    <a:lnTo>
                      <a:pt x="1956435" y="820103"/>
                    </a:lnTo>
                    <a:lnTo>
                      <a:pt x="1954530" y="832485"/>
                    </a:lnTo>
                    <a:lnTo>
                      <a:pt x="1951673" y="843915"/>
                    </a:lnTo>
                    <a:lnTo>
                      <a:pt x="1947863" y="855345"/>
                    </a:lnTo>
                    <a:lnTo>
                      <a:pt x="1944053" y="866775"/>
                    </a:lnTo>
                    <a:lnTo>
                      <a:pt x="1940243" y="877253"/>
                    </a:lnTo>
                    <a:lnTo>
                      <a:pt x="1935480" y="887730"/>
                    </a:lnTo>
                    <a:lnTo>
                      <a:pt x="1930718" y="898208"/>
                    </a:lnTo>
                    <a:lnTo>
                      <a:pt x="1925003" y="908685"/>
                    </a:lnTo>
                    <a:lnTo>
                      <a:pt x="1919288" y="918210"/>
                    </a:lnTo>
                    <a:lnTo>
                      <a:pt x="1912620" y="927735"/>
                    </a:lnTo>
                    <a:lnTo>
                      <a:pt x="1905953" y="937260"/>
                    </a:lnTo>
                    <a:lnTo>
                      <a:pt x="1899285" y="946785"/>
                    </a:lnTo>
                    <a:lnTo>
                      <a:pt x="1891665" y="956310"/>
                    </a:lnTo>
                    <a:lnTo>
                      <a:pt x="1884045" y="965835"/>
                    </a:lnTo>
                    <a:lnTo>
                      <a:pt x="1876425" y="981075"/>
                    </a:lnTo>
                    <a:lnTo>
                      <a:pt x="1859280" y="1001078"/>
                    </a:lnTo>
                    <a:lnTo>
                      <a:pt x="1841183" y="1022985"/>
                    </a:lnTo>
                    <a:lnTo>
                      <a:pt x="1831658" y="1034415"/>
                    </a:lnTo>
                    <a:lnTo>
                      <a:pt x="1822133" y="1045845"/>
                    </a:lnTo>
                    <a:lnTo>
                      <a:pt x="1812608" y="1058228"/>
                    </a:lnTo>
                    <a:lnTo>
                      <a:pt x="1803083" y="1071563"/>
                    </a:lnTo>
                    <a:lnTo>
                      <a:pt x="1804035" y="1062038"/>
                    </a:lnTo>
                    <a:lnTo>
                      <a:pt x="1804035" y="1052513"/>
                    </a:lnTo>
                    <a:lnTo>
                      <a:pt x="1804035" y="1042988"/>
                    </a:lnTo>
                    <a:lnTo>
                      <a:pt x="1803083" y="1033463"/>
                    </a:lnTo>
                    <a:lnTo>
                      <a:pt x="1802130" y="1023938"/>
                    </a:lnTo>
                    <a:lnTo>
                      <a:pt x="1800225" y="1014413"/>
                    </a:lnTo>
                    <a:lnTo>
                      <a:pt x="1798320" y="1004888"/>
                    </a:lnTo>
                    <a:lnTo>
                      <a:pt x="1795463" y="994410"/>
                    </a:lnTo>
                    <a:lnTo>
                      <a:pt x="1792605" y="983933"/>
                    </a:lnTo>
                    <a:lnTo>
                      <a:pt x="1788795" y="973455"/>
                    </a:lnTo>
                    <a:lnTo>
                      <a:pt x="1784985" y="962978"/>
                    </a:lnTo>
                    <a:lnTo>
                      <a:pt x="1781175" y="952500"/>
                    </a:lnTo>
                    <a:lnTo>
                      <a:pt x="1772603" y="931545"/>
                    </a:lnTo>
                    <a:lnTo>
                      <a:pt x="1763078" y="908685"/>
                    </a:lnTo>
                    <a:lnTo>
                      <a:pt x="1754505" y="886778"/>
                    </a:lnTo>
                    <a:lnTo>
                      <a:pt x="1745933" y="863918"/>
                    </a:lnTo>
                    <a:lnTo>
                      <a:pt x="1742123" y="852488"/>
                    </a:lnTo>
                    <a:lnTo>
                      <a:pt x="1738313" y="841058"/>
                    </a:lnTo>
                    <a:lnTo>
                      <a:pt x="1734503" y="828675"/>
                    </a:lnTo>
                    <a:lnTo>
                      <a:pt x="1730693" y="816293"/>
                    </a:lnTo>
                    <a:lnTo>
                      <a:pt x="1727835" y="803910"/>
                    </a:lnTo>
                    <a:lnTo>
                      <a:pt x="1724978" y="791528"/>
                    </a:lnTo>
                    <a:lnTo>
                      <a:pt x="1722120" y="778193"/>
                    </a:lnTo>
                    <a:lnTo>
                      <a:pt x="1721168" y="765810"/>
                    </a:lnTo>
                    <a:lnTo>
                      <a:pt x="1720215" y="752475"/>
                    </a:lnTo>
                    <a:lnTo>
                      <a:pt x="1720215" y="739140"/>
                    </a:lnTo>
                    <a:lnTo>
                      <a:pt x="1720215" y="725805"/>
                    </a:lnTo>
                    <a:lnTo>
                      <a:pt x="1721168" y="711518"/>
                    </a:lnTo>
                    <a:lnTo>
                      <a:pt x="1721168" y="711518"/>
                    </a:lnTo>
                    <a:close/>
                    <a:moveTo>
                      <a:pt x="1704023" y="1283018"/>
                    </a:moveTo>
                    <a:lnTo>
                      <a:pt x="1706880" y="1272540"/>
                    </a:lnTo>
                    <a:lnTo>
                      <a:pt x="1709738" y="1262063"/>
                    </a:lnTo>
                    <a:lnTo>
                      <a:pt x="1711643" y="1251585"/>
                    </a:lnTo>
                    <a:lnTo>
                      <a:pt x="1713548" y="1241108"/>
                    </a:lnTo>
                    <a:lnTo>
                      <a:pt x="1714500" y="1230630"/>
                    </a:lnTo>
                    <a:lnTo>
                      <a:pt x="1715453" y="1219200"/>
                    </a:lnTo>
                    <a:lnTo>
                      <a:pt x="1715453" y="1207770"/>
                    </a:lnTo>
                    <a:lnTo>
                      <a:pt x="1715453" y="1196340"/>
                    </a:lnTo>
                    <a:lnTo>
                      <a:pt x="1715453" y="1183958"/>
                    </a:lnTo>
                    <a:lnTo>
                      <a:pt x="1714500" y="1171575"/>
                    </a:lnTo>
                    <a:lnTo>
                      <a:pt x="1713548" y="1159193"/>
                    </a:lnTo>
                    <a:lnTo>
                      <a:pt x="1712595" y="1146810"/>
                    </a:lnTo>
                    <a:lnTo>
                      <a:pt x="1710690" y="1121093"/>
                    </a:lnTo>
                    <a:lnTo>
                      <a:pt x="1708785" y="1095375"/>
                    </a:lnTo>
                    <a:lnTo>
                      <a:pt x="1706880" y="1069658"/>
                    </a:lnTo>
                    <a:lnTo>
                      <a:pt x="1705928" y="1043940"/>
                    </a:lnTo>
                    <a:lnTo>
                      <a:pt x="1704975" y="1030605"/>
                    </a:lnTo>
                    <a:lnTo>
                      <a:pt x="1704975" y="1019175"/>
                    </a:lnTo>
                    <a:lnTo>
                      <a:pt x="1704975" y="1006793"/>
                    </a:lnTo>
                    <a:lnTo>
                      <a:pt x="1704975" y="994410"/>
                    </a:lnTo>
                    <a:lnTo>
                      <a:pt x="1705928" y="982028"/>
                    </a:lnTo>
                    <a:lnTo>
                      <a:pt x="1706880" y="969645"/>
                    </a:lnTo>
                    <a:lnTo>
                      <a:pt x="1708785" y="957263"/>
                    </a:lnTo>
                    <a:lnTo>
                      <a:pt x="1711643" y="944880"/>
                    </a:lnTo>
                    <a:lnTo>
                      <a:pt x="1714500" y="932498"/>
                    </a:lnTo>
                    <a:lnTo>
                      <a:pt x="1718310" y="921068"/>
                    </a:lnTo>
                    <a:lnTo>
                      <a:pt x="1722120" y="909638"/>
                    </a:lnTo>
                    <a:lnTo>
                      <a:pt x="1726883" y="898208"/>
                    </a:lnTo>
                    <a:lnTo>
                      <a:pt x="1732598" y="916305"/>
                    </a:lnTo>
                    <a:lnTo>
                      <a:pt x="1737360" y="933450"/>
                    </a:lnTo>
                    <a:lnTo>
                      <a:pt x="1742123" y="950595"/>
                    </a:lnTo>
                    <a:lnTo>
                      <a:pt x="1746885" y="967740"/>
                    </a:lnTo>
                    <a:lnTo>
                      <a:pt x="1751648" y="984885"/>
                    </a:lnTo>
                    <a:lnTo>
                      <a:pt x="1755458" y="1002030"/>
                    </a:lnTo>
                    <a:lnTo>
                      <a:pt x="1759268" y="1019175"/>
                    </a:lnTo>
                    <a:lnTo>
                      <a:pt x="1762125" y="1036320"/>
                    </a:lnTo>
                    <a:lnTo>
                      <a:pt x="1763078" y="1044893"/>
                    </a:lnTo>
                    <a:lnTo>
                      <a:pt x="1764030" y="1053465"/>
                    </a:lnTo>
                    <a:lnTo>
                      <a:pt x="1764983" y="1062038"/>
                    </a:lnTo>
                    <a:lnTo>
                      <a:pt x="1764983" y="1071563"/>
                    </a:lnTo>
                    <a:lnTo>
                      <a:pt x="1765935" y="1080135"/>
                    </a:lnTo>
                    <a:lnTo>
                      <a:pt x="1765935" y="1091565"/>
                    </a:lnTo>
                    <a:lnTo>
                      <a:pt x="1765935" y="1101090"/>
                    </a:lnTo>
                    <a:lnTo>
                      <a:pt x="1765935" y="1110615"/>
                    </a:lnTo>
                    <a:lnTo>
                      <a:pt x="1764983" y="1121093"/>
                    </a:lnTo>
                    <a:lnTo>
                      <a:pt x="1764030" y="1131570"/>
                    </a:lnTo>
                    <a:lnTo>
                      <a:pt x="1763078" y="1142048"/>
                    </a:lnTo>
                    <a:lnTo>
                      <a:pt x="1761173" y="1152525"/>
                    </a:lnTo>
                    <a:lnTo>
                      <a:pt x="1759268" y="1163003"/>
                    </a:lnTo>
                    <a:lnTo>
                      <a:pt x="1756410" y="1174433"/>
                    </a:lnTo>
                    <a:lnTo>
                      <a:pt x="1753553" y="1185863"/>
                    </a:lnTo>
                    <a:lnTo>
                      <a:pt x="1750695" y="1197293"/>
                    </a:lnTo>
                    <a:lnTo>
                      <a:pt x="1754505" y="1190625"/>
                    </a:lnTo>
                    <a:lnTo>
                      <a:pt x="1760220" y="1181100"/>
                    </a:lnTo>
                    <a:lnTo>
                      <a:pt x="1767840" y="1168718"/>
                    </a:lnTo>
                    <a:lnTo>
                      <a:pt x="1777365" y="1154430"/>
                    </a:lnTo>
                    <a:lnTo>
                      <a:pt x="1787843" y="1138238"/>
                    </a:lnTo>
                    <a:lnTo>
                      <a:pt x="1800225" y="1120140"/>
                    </a:lnTo>
                    <a:lnTo>
                      <a:pt x="1806893" y="1111568"/>
                    </a:lnTo>
                    <a:lnTo>
                      <a:pt x="1813560" y="1102043"/>
                    </a:lnTo>
                    <a:lnTo>
                      <a:pt x="1821180" y="1092518"/>
                    </a:lnTo>
                    <a:lnTo>
                      <a:pt x="1828800" y="1082993"/>
                    </a:lnTo>
                    <a:lnTo>
                      <a:pt x="1847850" y="1060133"/>
                    </a:lnTo>
                    <a:lnTo>
                      <a:pt x="1867853" y="1037273"/>
                    </a:lnTo>
                    <a:lnTo>
                      <a:pt x="1887855" y="1014413"/>
                    </a:lnTo>
                    <a:lnTo>
                      <a:pt x="1906905" y="991553"/>
                    </a:lnTo>
                    <a:lnTo>
                      <a:pt x="1916430" y="980123"/>
                    </a:lnTo>
                    <a:lnTo>
                      <a:pt x="1925955" y="968693"/>
                    </a:lnTo>
                    <a:lnTo>
                      <a:pt x="1934528" y="957263"/>
                    </a:lnTo>
                    <a:lnTo>
                      <a:pt x="1943100" y="945833"/>
                    </a:lnTo>
                    <a:lnTo>
                      <a:pt x="1950720" y="935355"/>
                    </a:lnTo>
                    <a:lnTo>
                      <a:pt x="1957388" y="924878"/>
                    </a:lnTo>
                    <a:lnTo>
                      <a:pt x="1964055" y="914400"/>
                    </a:lnTo>
                    <a:lnTo>
                      <a:pt x="1969770" y="904875"/>
                    </a:lnTo>
                    <a:lnTo>
                      <a:pt x="1969770" y="928688"/>
                    </a:lnTo>
                    <a:lnTo>
                      <a:pt x="1967865" y="951548"/>
                    </a:lnTo>
                    <a:lnTo>
                      <a:pt x="1965008" y="973455"/>
                    </a:lnTo>
                    <a:lnTo>
                      <a:pt x="1960245" y="993458"/>
                    </a:lnTo>
                    <a:lnTo>
                      <a:pt x="1954530" y="1012508"/>
                    </a:lnTo>
                    <a:lnTo>
                      <a:pt x="1947863" y="1031558"/>
                    </a:lnTo>
                    <a:lnTo>
                      <a:pt x="1940243" y="1048703"/>
                    </a:lnTo>
                    <a:lnTo>
                      <a:pt x="1933575" y="1066800"/>
                    </a:lnTo>
                    <a:lnTo>
                      <a:pt x="1924050" y="1082993"/>
                    </a:lnTo>
                    <a:lnTo>
                      <a:pt x="1914525" y="1098233"/>
                    </a:lnTo>
                    <a:lnTo>
                      <a:pt x="1904048" y="1112520"/>
                    </a:lnTo>
                    <a:lnTo>
                      <a:pt x="1893570" y="1125855"/>
                    </a:lnTo>
                    <a:lnTo>
                      <a:pt x="1882140" y="1139190"/>
                    </a:lnTo>
                    <a:lnTo>
                      <a:pt x="1870710" y="1151573"/>
                    </a:lnTo>
                    <a:lnTo>
                      <a:pt x="1859280" y="1163003"/>
                    </a:lnTo>
                    <a:lnTo>
                      <a:pt x="1846898" y="1173480"/>
                    </a:lnTo>
                    <a:lnTo>
                      <a:pt x="1834515" y="1183958"/>
                    </a:lnTo>
                    <a:lnTo>
                      <a:pt x="1822133" y="1193483"/>
                    </a:lnTo>
                    <a:lnTo>
                      <a:pt x="1810703" y="1202055"/>
                    </a:lnTo>
                    <a:lnTo>
                      <a:pt x="1799273" y="1210628"/>
                    </a:lnTo>
                    <a:lnTo>
                      <a:pt x="1776413" y="1225868"/>
                    </a:lnTo>
                    <a:lnTo>
                      <a:pt x="1755458" y="1240155"/>
                    </a:lnTo>
                    <a:lnTo>
                      <a:pt x="1745933" y="1246823"/>
                    </a:lnTo>
                    <a:lnTo>
                      <a:pt x="1737360" y="1252538"/>
                    </a:lnTo>
                    <a:lnTo>
                      <a:pt x="1729740" y="1258253"/>
                    </a:lnTo>
                    <a:lnTo>
                      <a:pt x="1722120" y="1263968"/>
                    </a:lnTo>
                    <a:lnTo>
                      <a:pt x="1715453" y="1269683"/>
                    </a:lnTo>
                    <a:lnTo>
                      <a:pt x="1710690" y="1274445"/>
                    </a:lnTo>
                    <a:lnTo>
                      <a:pt x="1706880" y="1279208"/>
                    </a:lnTo>
                    <a:lnTo>
                      <a:pt x="1704023" y="1283018"/>
                    </a:lnTo>
                    <a:lnTo>
                      <a:pt x="1704023" y="1283018"/>
                    </a:lnTo>
                    <a:close/>
                    <a:moveTo>
                      <a:pt x="1552575" y="1446848"/>
                    </a:moveTo>
                    <a:lnTo>
                      <a:pt x="1558290" y="1438275"/>
                    </a:lnTo>
                    <a:lnTo>
                      <a:pt x="1564005" y="1428750"/>
                    </a:lnTo>
                    <a:lnTo>
                      <a:pt x="1568768" y="1419225"/>
                    </a:lnTo>
                    <a:lnTo>
                      <a:pt x="1572578" y="1409700"/>
                    </a:lnTo>
                    <a:lnTo>
                      <a:pt x="1576388" y="1399223"/>
                    </a:lnTo>
                    <a:lnTo>
                      <a:pt x="1580198" y="1388745"/>
                    </a:lnTo>
                    <a:lnTo>
                      <a:pt x="1583055" y="1378268"/>
                    </a:lnTo>
                    <a:lnTo>
                      <a:pt x="1585913" y="1367790"/>
                    </a:lnTo>
                    <a:lnTo>
                      <a:pt x="1588770" y="1356360"/>
                    </a:lnTo>
                    <a:lnTo>
                      <a:pt x="1591628" y="1344930"/>
                    </a:lnTo>
                    <a:lnTo>
                      <a:pt x="1594485" y="1333500"/>
                    </a:lnTo>
                    <a:lnTo>
                      <a:pt x="1597343" y="1322070"/>
                    </a:lnTo>
                    <a:lnTo>
                      <a:pt x="1601153" y="1299210"/>
                    </a:lnTo>
                    <a:lnTo>
                      <a:pt x="1605915" y="1275398"/>
                    </a:lnTo>
                    <a:lnTo>
                      <a:pt x="1610678" y="1251585"/>
                    </a:lnTo>
                    <a:lnTo>
                      <a:pt x="1616393" y="1227773"/>
                    </a:lnTo>
                    <a:lnTo>
                      <a:pt x="1619250" y="1215390"/>
                    </a:lnTo>
                    <a:lnTo>
                      <a:pt x="1622108" y="1203960"/>
                    </a:lnTo>
                    <a:lnTo>
                      <a:pt x="1625918" y="1192530"/>
                    </a:lnTo>
                    <a:lnTo>
                      <a:pt x="1629728" y="1181100"/>
                    </a:lnTo>
                    <a:lnTo>
                      <a:pt x="1633538" y="1169670"/>
                    </a:lnTo>
                    <a:lnTo>
                      <a:pt x="1638300" y="1158240"/>
                    </a:lnTo>
                    <a:lnTo>
                      <a:pt x="1644015" y="1147763"/>
                    </a:lnTo>
                    <a:lnTo>
                      <a:pt x="1649730" y="1137285"/>
                    </a:lnTo>
                    <a:lnTo>
                      <a:pt x="1656398" y="1126808"/>
                    </a:lnTo>
                    <a:lnTo>
                      <a:pt x="1663065" y="1116330"/>
                    </a:lnTo>
                    <a:lnTo>
                      <a:pt x="1670685" y="1106805"/>
                    </a:lnTo>
                    <a:lnTo>
                      <a:pt x="1679258" y="1097280"/>
                    </a:lnTo>
                    <a:lnTo>
                      <a:pt x="1678305" y="1118235"/>
                    </a:lnTo>
                    <a:lnTo>
                      <a:pt x="1678305" y="1138238"/>
                    </a:lnTo>
                    <a:lnTo>
                      <a:pt x="1679258" y="1158240"/>
                    </a:lnTo>
                    <a:lnTo>
                      <a:pt x="1679258" y="1177290"/>
                    </a:lnTo>
                    <a:lnTo>
                      <a:pt x="1679258" y="1195388"/>
                    </a:lnTo>
                    <a:lnTo>
                      <a:pt x="1680210" y="1212533"/>
                    </a:lnTo>
                    <a:lnTo>
                      <a:pt x="1680210" y="1229678"/>
                    </a:lnTo>
                    <a:lnTo>
                      <a:pt x="1679258" y="1245870"/>
                    </a:lnTo>
                    <a:lnTo>
                      <a:pt x="1678305" y="1254443"/>
                    </a:lnTo>
                    <a:lnTo>
                      <a:pt x="1677353" y="1262063"/>
                    </a:lnTo>
                    <a:lnTo>
                      <a:pt x="1676400" y="1269683"/>
                    </a:lnTo>
                    <a:lnTo>
                      <a:pt x="1675448" y="1277303"/>
                    </a:lnTo>
                    <a:lnTo>
                      <a:pt x="1673543" y="1284923"/>
                    </a:lnTo>
                    <a:lnTo>
                      <a:pt x="1671638" y="1292543"/>
                    </a:lnTo>
                    <a:lnTo>
                      <a:pt x="1669733" y="1300163"/>
                    </a:lnTo>
                    <a:lnTo>
                      <a:pt x="1666875" y="1307783"/>
                    </a:lnTo>
                    <a:lnTo>
                      <a:pt x="1664018" y="1315403"/>
                    </a:lnTo>
                    <a:lnTo>
                      <a:pt x="1661160" y="1323023"/>
                    </a:lnTo>
                    <a:lnTo>
                      <a:pt x="1657350" y="1330643"/>
                    </a:lnTo>
                    <a:lnTo>
                      <a:pt x="1653540" y="1338263"/>
                    </a:lnTo>
                    <a:lnTo>
                      <a:pt x="1649730" y="1344930"/>
                    </a:lnTo>
                    <a:lnTo>
                      <a:pt x="1644968" y="1352550"/>
                    </a:lnTo>
                    <a:lnTo>
                      <a:pt x="1640205" y="1360170"/>
                    </a:lnTo>
                    <a:lnTo>
                      <a:pt x="1634490" y="1366838"/>
                    </a:lnTo>
                    <a:lnTo>
                      <a:pt x="1644015" y="1358265"/>
                    </a:lnTo>
                    <a:lnTo>
                      <a:pt x="1655445" y="1348740"/>
                    </a:lnTo>
                    <a:lnTo>
                      <a:pt x="1667828" y="1338263"/>
                    </a:lnTo>
                    <a:lnTo>
                      <a:pt x="1682115" y="1327785"/>
                    </a:lnTo>
                    <a:lnTo>
                      <a:pt x="1689735" y="1322070"/>
                    </a:lnTo>
                    <a:lnTo>
                      <a:pt x="1698308" y="1316355"/>
                    </a:lnTo>
                    <a:lnTo>
                      <a:pt x="1706880" y="1310640"/>
                    </a:lnTo>
                    <a:lnTo>
                      <a:pt x="1716405" y="1304925"/>
                    </a:lnTo>
                    <a:lnTo>
                      <a:pt x="1725930" y="1299210"/>
                    </a:lnTo>
                    <a:lnTo>
                      <a:pt x="1736408" y="1294448"/>
                    </a:lnTo>
                    <a:lnTo>
                      <a:pt x="1746885" y="1289685"/>
                    </a:lnTo>
                    <a:lnTo>
                      <a:pt x="1758315" y="1284923"/>
                    </a:lnTo>
                    <a:lnTo>
                      <a:pt x="1764983" y="1282065"/>
                    </a:lnTo>
                    <a:lnTo>
                      <a:pt x="1771650" y="1279208"/>
                    </a:lnTo>
                    <a:lnTo>
                      <a:pt x="1778318" y="1276350"/>
                    </a:lnTo>
                    <a:lnTo>
                      <a:pt x="1784033" y="1272540"/>
                    </a:lnTo>
                    <a:lnTo>
                      <a:pt x="1790700" y="1268730"/>
                    </a:lnTo>
                    <a:lnTo>
                      <a:pt x="1796415" y="1264920"/>
                    </a:lnTo>
                    <a:lnTo>
                      <a:pt x="1802130" y="1261110"/>
                    </a:lnTo>
                    <a:lnTo>
                      <a:pt x="1807845" y="1257300"/>
                    </a:lnTo>
                    <a:lnTo>
                      <a:pt x="1819275" y="1248728"/>
                    </a:lnTo>
                    <a:lnTo>
                      <a:pt x="1829753" y="1240155"/>
                    </a:lnTo>
                    <a:lnTo>
                      <a:pt x="1840230" y="1230630"/>
                    </a:lnTo>
                    <a:lnTo>
                      <a:pt x="1850708" y="1221105"/>
                    </a:lnTo>
                    <a:lnTo>
                      <a:pt x="1861185" y="1211580"/>
                    </a:lnTo>
                    <a:lnTo>
                      <a:pt x="1870710" y="1202055"/>
                    </a:lnTo>
                    <a:lnTo>
                      <a:pt x="1880235" y="1192530"/>
                    </a:lnTo>
                    <a:lnTo>
                      <a:pt x="1888808" y="1183005"/>
                    </a:lnTo>
                    <a:lnTo>
                      <a:pt x="1905953" y="1163955"/>
                    </a:lnTo>
                    <a:lnTo>
                      <a:pt x="1922145" y="1146810"/>
                    </a:lnTo>
                    <a:lnTo>
                      <a:pt x="1916430" y="1160145"/>
                    </a:lnTo>
                    <a:lnTo>
                      <a:pt x="1908810" y="1184910"/>
                    </a:lnTo>
                    <a:lnTo>
                      <a:pt x="1900238" y="1207770"/>
                    </a:lnTo>
                    <a:lnTo>
                      <a:pt x="1890713" y="1228725"/>
                    </a:lnTo>
                    <a:lnTo>
                      <a:pt x="1881188" y="1248728"/>
                    </a:lnTo>
                    <a:lnTo>
                      <a:pt x="1870710" y="1266825"/>
                    </a:lnTo>
                    <a:lnTo>
                      <a:pt x="1859280" y="1283970"/>
                    </a:lnTo>
                    <a:lnTo>
                      <a:pt x="1846898" y="1299210"/>
                    </a:lnTo>
                    <a:lnTo>
                      <a:pt x="1834515" y="1313498"/>
                    </a:lnTo>
                    <a:lnTo>
                      <a:pt x="1821180" y="1326833"/>
                    </a:lnTo>
                    <a:lnTo>
                      <a:pt x="1807845" y="1338263"/>
                    </a:lnTo>
                    <a:lnTo>
                      <a:pt x="1794510" y="1348740"/>
                    </a:lnTo>
                    <a:lnTo>
                      <a:pt x="1780223" y="1358265"/>
                    </a:lnTo>
                    <a:lnTo>
                      <a:pt x="1765935" y="1366838"/>
                    </a:lnTo>
                    <a:lnTo>
                      <a:pt x="1751648" y="1374458"/>
                    </a:lnTo>
                    <a:lnTo>
                      <a:pt x="1737360" y="1381125"/>
                    </a:lnTo>
                    <a:lnTo>
                      <a:pt x="1723073" y="1387793"/>
                    </a:lnTo>
                    <a:lnTo>
                      <a:pt x="1708785" y="1393508"/>
                    </a:lnTo>
                    <a:lnTo>
                      <a:pt x="1694498" y="1398270"/>
                    </a:lnTo>
                    <a:lnTo>
                      <a:pt x="1680210" y="1403033"/>
                    </a:lnTo>
                    <a:lnTo>
                      <a:pt x="1666875" y="1406843"/>
                    </a:lnTo>
                    <a:lnTo>
                      <a:pt x="1641158" y="1413510"/>
                    </a:lnTo>
                    <a:lnTo>
                      <a:pt x="1617345" y="1419225"/>
                    </a:lnTo>
                    <a:lnTo>
                      <a:pt x="1605915" y="1422083"/>
                    </a:lnTo>
                    <a:lnTo>
                      <a:pt x="1595438" y="1424940"/>
                    </a:lnTo>
                    <a:lnTo>
                      <a:pt x="1585913" y="1427798"/>
                    </a:lnTo>
                    <a:lnTo>
                      <a:pt x="1576388" y="1430655"/>
                    </a:lnTo>
                    <a:lnTo>
                      <a:pt x="1568768" y="1434465"/>
                    </a:lnTo>
                    <a:lnTo>
                      <a:pt x="1561148" y="1438275"/>
                    </a:lnTo>
                    <a:lnTo>
                      <a:pt x="1554480" y="1442085"/>
                    </a:lnTo>
                    <a:lnTo>
                      <a:pt x="1552575" y="1446848"/>
                    </a:lnTo>
                    <a:lnTo>
                      <a:pt x="1552575" y="1446848"/>
                    </a:lnTo>
                    <a:close/>
                    <a:moveTo>
                      <a:pt x="1373505" y="1568768"/>
                    </a:moveTo>
                    <a:lnTo>
                      <a:pt x="1377315" y="1563053"/>
                    </a:lnTo>
                    <a:lnTo>
                      <a:pt x="1381125" y="1556385"/>
                    </a:lnTo>
                    <a:lnTo>
                      <a:pt x="1384935" y="1549718"/>
                    </a:lnTo>
                    <a:lnTo>
                      <a:pt x="1388745" y="1543050"/>
                    </a:lnTo>
                    <a:lnTo>
                      <a:pt x="1395413" y="1526858"/>
                    </a:lnTo>
                    <a:lnTo>
                      <a:pt x="1403033" y="1509713"/>
                    </a:lnTo>
                    <a:lnTo>
                      <a:pt x="1410653" y="1490663"/>
                    </a:lnTo>
                    <a:lnTo>
                      <a:pt x="1419225" y="1470660"/>
                    </a:lnTo>
                    <a:lnTo>
                      <a:pt x="1428750" y="1449705"/>
                    </a:lnTo>
                    <a:lnTo>
                      <a:pt x="1438275" y="1428750"/>
                    </a:lnTo>
                    <a:lnTo>
                      <a:pt x="1443990" y="1418273"/>
                    </a:lnTo>
                    <a:lnTo>
                      <a:pt x="1449705" y="1407795"/>
                    </a:lnTo>
                    <a:lnTo>
                      <a:pt x="1455420" y="1397318"/>
                    </a:lnTo>
                    <a:lnTo>
                      <a:pt x="1462088" y="1386840"/>
                    </a:lnTo>
                    <a:lnTo>
                      <a:pt x="1468755" y="1376363"/>
                    </a:lnTo>
                    <a:lnTo>
                      <a:pt x="1475423" y="1365885"/>
                    </a:lnTo>
                    <a:lnTo>
                      <a:pt x="1483043" y="1355408"/>
                    </a:lnTo>
                    <a:lnTo>
                      <a:pt x="1490663" y="1345883"/>
                    </a:lnTo>
                    <a:lnTo>
                      <a:pt x="1498283" y="1336358"/>
                    </a:lnTo>
                    <a:lnTo>
                      <a:pt x="1506855" y="1326833"/>
                    </a:lnTo>
                    <a:lnTo>
                      <a:pt x="1515428" y="1317308"/>
                    </a:lnTo>
                    <a:lnTo>
                      <a:pt x="1524953" y="1308735"/>
                    </a:lnTo>
                    <a:lnTo>
                      <a:pt x="1534478" y="1300163"/>
                    </a:lnTo>
                    <a:lnTo>
                      <a:pt x="1544955" y="1291590"/>
                    </a:lnTo>
                    <a:lnTo>
                      <a:pt x="1556385" y="1283970"/>
                    </a:lnTo>
                    <a:lnTo>
                      <a:pt x="1567815" y="1277303"/>
                    </a:lnTo>
                    <a:lnTo>
                      <a:pt x="1556385" y="1316355"/>
                    </a:lnTo>
                    <a:lnTo>
                      <a:pt x="1545908" y="1352550"/>
                    </a:lnTo>
                    <a:lnTo>
                      <a:pt x="1541145" y="1369695"/>
                    </a:lnTo>
                    <a:lnTo>
                      <a:pt x="1536383" y="1385888"/>
                    </a:lnTo>
                    <a:lnTo>
                      <a:pt x="1531620" y="1402080"/>
                    </a:lnTo>
                    <a:lnTo>
                      <a:pt x="1525905" y="1417320"/>
                    </a:lnTo>
                    <a:lnTo>
                      <a:pt x="1523048" y="1424940"/>
                    </a:lnTo>
                    <a:lnTo>
                      <a:pt x="1520190" y="1431608"/>
                    </a:lnTo>
                    <a:lnTo>
                      <a:pt x="1517333" y="1438275"/>
                    </a:lnTo>
                    <a:lnTo>
                      <a:pt x="1513523" y="1444943"/>
                    </a:lnTo>
                    <a:lnTo>
                      <a:pt x="1509713" y="1451610"/>
                    </a:lnTo>
                    <a:lnTo>
                      <a:pt x="1505903" y="1458278"/>
                    </a:lnTo>
                    <a:lnTo>
                      <a:pt x="1502093" y="1464945"/>
                    </a:lnTo>
                    <a:lnTo>
                      <a:pt x="1498283" y="1471613"/>
                    </a:lnTo>
                    <a:lnTo>
                      <a:pt x="1493520" y="1478280"/>
                    </a:lnTo>
                    <a:lnTo>
                      <a:pt x="1488758" y="1484948"/>
                    </a:lnTo>
                    <a:lnTo>
                      <a:pt x="1483043" y="1491615"/>
                    </a:lnTo>
                    <a:lnTo>
                      <a:pt x="1477328" y="1498283"/>
                    </a:lnTo>
                    <a:lnTo>
                      <a:pt x="1471613" y="1504950"/>
                    </a:lnTo>
                    <a:lnTo>
                      <a:pt x="1464945" y="1510665"/>
                    </a:lnTo>
                    <a:lnTo>
                      <a:pt x="1458278" y="1516380"/>
                    </a:lnTo>
                    <a:lnTo>
                      <a:pt x="1451610" y="1523048"/>
                    </a:lnTo>
                    <a:lnTo>
                      <a:pt x="1463993" y="1517333"/>
                    </a:lnTo>
                    <a:lnTo>
                      <a:pt x="1480185" y="1510665"/>
                    </a:lnTo>
                    <a:lnTo>
                      <a:pt x="1499235" y="1503045"/>
                    </a:lnTo>
                    <a:lnTo>
                      <a:pt x="1521143" y="1495425"/>
                    </a:lnTo>
                    <a:lnTo>
                      <a:pt x="1532573" y="1491615"/>
                    </a:lnTo>
                    <a:lnTo>
                      <a:pt x="1544003" y="1487805"/>
                    </a:lnTo>
                    <a:lnTo>
                      <a:pt x="1556385" y="1483995"/>
                    </a:lnTo>
                    <a:lnTo>
                      <a:pt x="1568768" y="1481138"/>
                    </a:lnTo>
                    <a:lnTo>
                      <a:pt x="1581150" y="1478280"/>
                    </a:lnTo>
                    <a:lnTo>
                      <a:pt x="1593533" y="1475423"/>
                    </a:lnTo>
                    <a:lnTo>
                      <a:pt x="1605915" y="1473518"/>
                    </a:lnTo>
                    <a:lnTo>
                      <a:pt x="1618298" y="1471613"/>
                    </a:lnTo>
                    <a:lnTo>
                      <a:pt x="1628775" y="1470660"/>
                    </a:lnTo>
                    <a:lnTo>
                      <a:pt x="1639253" y="1468755"/>
                    </a:lnTo>
                    <a:lnTo>
                      <a:pt x="1648778" y="1466850"/>
                    </a:lnTo>
                    <a:lnTo>
                      <a:pt x="1658303" y="1464945"/>
                    </a:lnTo>
                    <a:lnTo>
                      <a:pt x="1666875" y="1463040"/>
                    </a:lnTo>
                    <a:lnTo>
                      <a:pt x="1675448" y="1461135"/>
                    </a:lnTo>
                    <a:lnTo>
                      <a:pt x="1683068" y="1459230"/>
                    </a:lnTo>
                    <a:lnTo>
                      <a:pt x="1690688" y="1457325"/>
                    </a:lnTo>
                    <a:lnTo>
                      <a:pt x="1697355" y="1454468"/>
                    </a:lnTo>
                    <a:lnTo>
                      <a:pt x="1704023" y="1451610"/>
                    </a:lnTo>
                    <a:lnTo>
                      <a:pt x="1710690" y="1448753"/>
                    </a:lnTo>
                    <a:lnTo>
                      <a:pt x="1716405" y="1445895"/>
                    </a:lnTo>
                    <a:lnTo>
                      <a:pt x="1727835" y="1440180"/>
                    </a:lnTo>
                    <a:lnTo>
                      <a:pt x="1738313" y="1434465"/>
                    </a:lnTo>
                    <a:lnTo>
                      <a:pt x="1747838" y="1428750"/>
                    </a:lnTo>
                    <a:lnTo>
                      <a:pt x="1757363" y="1423035"/>
                    </a:lnTo>
                    <a:lnTo>
                      <a:pt x="1765935" y="1417320"/>
                    </a:lnTo>
                    <a:lnTo>
                      <a:pt x="1774508" y="1411605"/>
                    </a:lnTo>
                    <a:lnTo>
                      <a:pt x="1783080" y="1405890"/>
                    </a:lnTo>
                    <a:lnTo>
                      <a:pt x="1791653" y="1400175"/>
                    </a:lnTo>
                    <a:lnTo>
                      <a:pt x="1801178" y="1394460"/>
                    </a:lnTo>
                    <a:lnTo>
                      <a:pt x="1810703" y="1388745"/>
                    </a:lnTo>
                    <a:lnTo>
                      <a:pt x="1797368" y="1411605"/>
                    </a:lnTo>
                    <a:lnTo>
                      <a:pt x="1784033" y="1432560"/>
                    </a:lnTo>
                    <a:lnTo>
                      <a:pt x="1769745" y="1451610"/>
                    </a:lnTo>
                    <a:lnTo>
                      <a:pt x="1755458" y="1468755"/>
                    </a:lnTo>
                    <a:lnTo>
                      <a:pt x="1741170" y="1483995"/>
                    </a:lnTo>
                    <a:lnTo>
                      <a:pt x="1725930" y="1497330"/>
                    </a:lnTo>
                    <a:lnTo>
                      <a:pt x="1710690" y="1509713"/>
                    </a:lnTo>
                    <a:lnTo>
                      <a:pt x="1695450" y="1520190"/>
                    </a:lnTo>
                    <a:lnTo>
                      <a:pt x="1679258" y="1529715"/>
                    </a:lnTo>
                    <a:lnTo>
                      <a:pt x="1663065" y="1537335"/>
                    </a:lnTo>
                    <a:lnTo>
                      <a:pt x="1646873" y="1544003"/>
                    </a:lnTo>
                    <a:lnTo>
                      <a:pt x="1630680" y="1549718"/>
                    </a:lnTo>
                    <a:lnTo>
                      <a:pt x="1614488" y="1554480"/>
                    </a:lnTo>
                    <a:lnTo>
                      <a:pt x="1598295" y="1558290"/>
                    </a:lnTo>
                    <a:lnTo>
                      <a:pt x="1582103" y="1561148"/>
                    </a:lnTo>
                    <a:lnTo>
                      <a:pt x="1566863" y="1563053"/>
                    </a:lnTo>
                    <a:lnTo>
                      <a:pt x="1551623" y="1564005"/>
                    </a:lnTo>
                    <a:lnTo>
                      <a:pt x="1536383" y="1564958"/>
                    </a:lnTo>
                    <a:lnTo>
                      <a:pt x="1521143" y="1564958"/>
                    </a:lnTo>
                    <a:lnTo>
                      <a:pt x="1506855" y="1564958"/>
                    </a:lnTo>
                    <a:lnTo>
                      <a:pt x="1479233" y="1564005"/>
                    </a:lnTo>
                    <a:lnTo>
                      <a:pt x="1452563" y="1563053"/>
                    </a:lnTo>
                    <a:lnTo>
                      <a:pt x="1440180" y="1563053"/>
                    </a:lnTo>
                    <a:lnTo>
                      <a:pt x="1428750" y="1563053"/>
                    </a:lnTo>
                    <a:lnTo>
                      <a:pt x="1418273" y="1563053"/>
                    </a:lnTo>
                    <a:lnTo>
                      <a:pt x="1407795" y="1563053"/>
                    </a:lnTo>
                    <a:lnTo>
                      <a:pt x="1398270" y="1564005"/>
                    </a:lnTo>
                    <a:lnTo>
                      <a:pt x="1389698" y="1564958"/>
                    </a:lnTo>
                    <a:lnTo>
                      <a:pt x="1382078" y="1566863"/>
                    </a:lnTo>
                    <a:lnTo>
                      <a:pt x="1373505" y="1568768"/>
                    </a:lnTo>
                    <a:lnTo>
                      <a:pt x="1373505" y="1568768"/>
                    </a:lnTo>
                    <a:close/>
                    <a:moveTo>
                      <a:pt x="1829753" y="656273"/>
                    </a:moveTo>
                    <a:lnTo>
                      <a:pt x="1824990" y="642938"/>
                    </a:lnTo>
                    <a:lnTo>
                      <a:pt x="1819275" y="630555"/>
                    </a:lnTo>
                    <a:lnTo>
                      <a:pt x="1812608" y="618173"/>
                    </a:lnTo>
                    <a:lnTo>
                      <a:pt x="1805940" y="607695"/>
                    </a:lnTo>
                    <a:lnTo>
                      <a:pt x="1799273" y="597218"/>
                    </a:lnTo>
                    <a:lnTo>
                      <a:pt x="1790700" y="586740"/>
                    </a:lnTo>
                    <a:lnTo>
                      <a:pt x="1783080" y="577215"/>
                    </a:lnTo>
                    <a:lnTo>
                      <a:pt x="1774508" y="567690"/>
                    </a:lnTo>
                    <a:lnTo>
                      <a:pt x="1764983" y="559118"/>
                    </a:lnTo>
                    <a:lnTo>
                      <a:pt x="1755458" y="550545"/>
                    </a:lnTo>
                    <a:lnTo>
                      <a:pt x="1745933" y="541973"/>
                    </a:lnTo>
                    <a:lnTo>
                      <a:pt x="1736408" y="534353"/>
                    </a:lnTo>
                    <a:lnTo>
                      <a:pt x="1716405" y="518160"/>
                    </a:lnTo>
                    <a:lnTo>
                      <a:pt x="1696403" y="502920"/>
                    </a:lnTo>
                    <a:lnTo>
                      <a:pt x="1685925" y="495300"/>
                    </a:lnTo>
                    <a:lnTo>
                      <a:pt x="1676400" y="487680"/>
                    </a:lnTo>
                    <a:lnTo>
                      <a:pt x="1666875" y="480060"/>
                    </a:lnTo>
                    <a:lnTo>
                      <a:pt x="1657350" y="471488"/>
                    </a:lnTo>
                    <a:lnTo>
                      <a:pt x="1647825" y="462915"/>
                    </a:lnTo>
                    <a:lnTo>
                      <a:pt x="1638300" y="454343"/>
                    </a:lnTo>
                    <a:lnTo>
                      <a:pt x="1629728" y="445770"/>
                    </a:lnTo>
                    <a:lnTo>
                      <a:pt x="1621155" y="436245"/>
                    </a:lnTo>
                    <a:lnTo>
                      <a:pt x="1612583" y="426720"/>
                    </a:lnTo>
                    <a:lnTo>
                      <a:pt x="1604963" y="416243"/>
                    </a:lnTo>
                    <a:lnTo>
                      <a:pt x="1597343" y="405765"/>
                    </a:lnTo>
                    <a:lnTo>
                      <a:pt x="1590675" y="394335"/>
                    </a:lnTo>
                    <a:lnTo>
                      <a:pt x="1584008" y="381953"/>
                    </a:lnTo>
                    <a:lnTo>
                      <a:pt x="1578293" y="369570"/>
                    </a:lnTo>
                    <a:lnTo>
                      <a:pt x="1572578" y="356235"/>
                    </a:lnTo>
                    <a:lnTo>
                      <a:pt x="1568768" y="341948"/>
                    </a:lnTo>
                    <a:lnTo>
                      <a:pt x="1578293" y="351473"/>
                    </a:lnTo>
                    <a:lnTo>
                      <a:pt x="1588770" y="360045"/>
                    </a:lnTo>
                    <a:lnTo>
                      <a:pt x="1599248" y="368618"/>
                    </a:lnTo>
                    <a:lnTo>
                      <a:pt x="1609725" y="376238"/>
                    </a:lnTo>
                    <a:lnTo>
                      <a:pt x="1620203" y="383858"/>
                    </a:lnTo>
                    <a:lnTo>
                      <a:pt x="1630680" y="391478"/>
                    </a:lnTo>
                    <a:lnTo>
                      <a:pt x="1642110" y="398145"/>
                    </a:lnTo>
                    <a:lnTo>
                      <a:pt x="1653540" y="405765"/>
                    </a:lnTo>
                    <a:lnTo>
                      <a:pt x="1676400" y="420053"/>
                    </a:lnTo>
                    <a:lnTo>
                      <a:pt x="1699260" y="435293"/>
                    </a:lnTo>
                    <a:lnTo>
                      <a:pt x="1710690" y="442913"/>
                    </a:lnTo>
                    <a:lnTo>
                      <a:pt x="1721168" y="451485"/>
                    </a:lnTo>
                    <a:lnTo>
                      <a:pt x="1731645" y="461010"/>
                    </a:lnTo>
                    <a:lnTo>
                      <a:pt x="1742123" y="470535"/>
                    </a:lnTo>
                    <a:lnTo>
                      <a:pt x="1751648" y="480060"/>
                    </a:lnTo>
                    <a:lnTo>
                      <a:pt x="1760220" y="489585"/>
                    </a:lnTo>
                    <a:lnTo>
                      <a:pt x="1767840" y="499110"/>
                    </a:lnTo>
                    <a:lnTo>
                      <a:pt x="1774508" y="509588"/>
                    </a:lnTo>
                    <a:lnTo>
                      <a:pt x="1781175" y="520065"/>
                    </a:lnTo>
                    <a:lnTo>
                      <a:pt x="1787843" y="530543"/>
                    </a:lnTo>
                    <a:lnTo>
                      <a:pt x="1793558" y="541020"/>
                    </a:lnTo>
                    <a:lnTo>
                      <a:pt x="1799273" y="552450"/>
                    </a:lnTo>
                    <a:lnTo>
                      <a:pt x="1794510" y="535305"/>
                    </a:lnTo>
                    <a:lnTo>
                      <a:pt x="1790700" y="518160"/>
                    </a:lnTo>
                    <a:lnTo>
                      <a:pt x="1786890" y="501015"/>
                    </a:lnTo>
                    <a:lnTo>
                      <a:pt x="1783080" y="483870"/>
                    </a:lnTo>
                    <a:lnTo>
                      <a:pt x="1780223" y="466725"/>
                    </a:lnTo>
                    <a:lnTo>
                      <a:pt x="1777365" y="450533"/>
                    </a:lnTo>
                    <a:lnTo>
                      <a:pt x="1776413" y="442913"/>
                    </a:lnTo>
                    <a:lnTo>
                      <a:pt x="1775460" y="435293"/>
                    </a:lnTo>
                    <a:lnTo>
                      <a:pt x="1774508" y="427673"/>
                    </a:lnTo>
                    <a:lnTo>
                      <a:pt x="1774508" y="420053"/>
                    </a:lnTo>
                    <a:lnTo>
                      <a:pt x="1771650" y="400050"/>
                    </a:lnTo>
                    <a:lnTo>
                      <a:pt x="1769745" y="384810"/>
                    </a:lnTo>
                    <a:lnTo>
                      <a:pt x="1767840" y="372428"/>
                    </a:lnTo>
                    <a:lnTo>
                      <a:pt x="1765935" y="361950"/>
                    </a:lnTo>
                    <a:lnTo>
                      <a:pt x="1764983" y="357188"/>
                    </a:lnTo>
                    <a:lnTo>
                      <a:pt x="1763078" y="352425"/>
                    </a:lnTo>
                    <a:lnTo>
                      <a:pt x="1761173" y="346710"/>
                    </a:lnTo>
                    <a:lnTo>
                      <a:pt x="1758315" y="340995"/>
                    </a:lnTo>
                    <a:lnTo>
                      <a:pt x="1752600" y="326708"/>
                    </a:lnTo>
                    <a:lnTo>
                      <a:pt x="1744980" y="307658"/>
                    </a:lnTo>
                    <a:lnTo>
                      <a:pt x="1742123" y="301943"/>
                    </a:lnTo>
                    <a:lnTo>
                      <a:pt x="1737360" y="294323"/>
                    </a:lnTo>
                    <a:lnTo>
                      <a:pt x="1732598" y="286703"/>
                    </a:lnTo>
                    <a:lnTo>
                      <a:pt x="1729740" y="280988"/>
                    </a:lnTo>
                    <a:lnTo>
                      <a:pt x="1735455" y="284798"/>
                    </a:lnTo>
                    <a:lnTo>
                      <a:pt x="1741170" y="289560"/>
                    </a:lnTo>
                    <a:lnTo>
                      <a:pt x="1746885" y="293370"/>
                    </a:lnTo>
                    <a:lnTo>
                      <a:pt x="1752600" y="298133"/>
                    </a:lnTo>
                    <a:lnTo>
                      <a:pt x="1758315" y="302895"/>
                    </a:lnTo>
                    <a:lnTo>
                      <a:pt x="1763078" y="307658"/>
                    </a:lnTo>
                    <a:lnTo>
                      <a:pt x="1767840" y="312420"/>
                    </a:lnTo>
                    <a:lnTo>
                      <a:pt x="1772603" y="317183"/>
                    </a:lnTo>
                    <a:lnTo>
                      <a:pt x="1777365" y="321945"/>
                    </a:lnTo>
                    <a:lnTo>
                      <a:pt x="1781175" y="327660"/>
                    </a:lnTo>
                    <a:lnTo>
                      <a:pt x="1784985" y="332423"/>
                    </a:lnTo>
                    <a:lnTo>
                      <a:pt x="1788795" y="338138"/>
                    </a:lnTo>
                    <a:lnTo>
                      <a:pt x="1792605" y="343853"/>
                    </a:lnTo>
                    <a:lnTo>
                      <a:pt x="1796415" y="349568"/>
                    </a:lnTo>
                    <a:lnTo>
                      <a:pt x="1800225" y="355283"/>
                    </a:lnTo>
                    <a:lnTo>
                      <a:pt x="1803083" y="360998"/>
                    </a:lnTo>
                    <a:lnTo>
                      <a:pt x="1809750" y="371475"/>
                    </a:lnTo>
                    <a:lnTo>
                      <a:pt x="1815465" y="383858"/>
                    </a:lnTo>
                    <a:lnTo>
                      <a:pt x="1821180" y="396240"/>
                    </a:lnTo>
                    <a:lnTo>
                      <a:pt x="1824990" y="408623"/>
                    </a:lnTo>
                    <a:lnTo>
                      <a:pt x="1828800" y="421958"/>
                    </a:lnTo>
                    <a:lnTo>
                      <a:pt x="1832610" y="435293"/>
                    </a:lnTo>
                    <a:lnTo>
                      <a:pt x="1835468" y="449580"/>
                    </a:lnTo>
                    <a:lnTo>
                      <a:pt x="1838325" y="463868"/>
                    </a:lnTo>
                    <a:lnTo>
                      <a:pt x="1838325" y="476250"/>
                    </a:lnTo>
                    <a:lnTo>
                      <a:pt x="1839278" y="488633"/>
                    </a:lnTo>
                    <a:lnTo>
                      <a:pt x="1840230" y="501015"/>
                    </a:lnTo>
                    <a:lnTo>
                      <a:pt x="1840230" y="512445"/>
                    </a:lnTo>
                    <a:lnTo>
                      <a:pt x="1840230" y="524828"/>
                    </a:lnTo>
                    <a:lnTo>
                      <a:pt x="1840230" y="536258"/>
                    </a:lnTo>
                    <a:lnTo>
                      <a:pt x="1840230" y="547688"/>
                    </a:lnTo>
                    <a:lnTo>
                      <a:pt x="1839278" y="559118"/>
                    </a:lnTo>
                    <a:lnTo>
                      <a:pt x="1838325" y="581978"/>
                    </a:lnTo>
                    <a:lnTo>
                      <a:pt x="1836420" y="605790"/>
                    </a:lnTo>
                    <a:lnTo>
                      <a:pt x="1833563" y="630555"/>
                    </a:lnTo>
                    <a:lnTo>
                      <a:pt x="1829753" y="656273"/>
                    </a:lnTo>
                    <a:lnTo>
                      <a:pt x="1829753" y="656273"/>
                    </a:lnTo>
                    <a:close/>
                    <a:moveTo>
                      <a:pt x="340995" y="1589723"/>
                    </a:moveTo>
                    <a:lnTo>
                      <a:pt x="353378" y="1597343"/>
                    </a:lnTo>
                    <a:lnTo>
                      <a:pt x="366713" y="1603058"/>
                    </a:lnTo>
                    <a:lnTo>
                      <a:pt x="381000" y="1606868"/>
                    </a:lnTo>
                    <a:lnTo>
                      <a:pt x="395288" y="1609725"/>
                    </a:lnTo>
                    <a:lnTo>
                      <a:pt x="410528" y="1611630"/>
                    </a:lnTo>
                    <a:lnTo>
                      <a:pt x="426720" y="1611630"/>
                    </a:lnTo>
                    <a:lnTo>
                      <a:pt x="443865" y="1611630"/>
                    </a:lnTo>
                    <a:lnTo>
                      <a:pt x="461010" y="1609725"/>
                    </a:lnTo>
                    <a:lnTo>
                      <a:pt x="479108" y="1607820"/>
                    </a:lnTo>
                    <a:lnTo>
                      <a:pt x="498158" y="1604963"/>
                    </a:lnTo>
                    <a:lnTo>
                      <a:pt x="517208" y="1601153"/>
                    </a:lnTo>
                    <a:lnTo>
                      <a:pt x="537210" y="1597343"/>
                    </a:lnTo>
                    <a:lnTo>
                      <a:pt x="577215" y="1587818"/>
                    </a:lnTo>
                    <a:lnTo>
                      <a:pt x="619125" y="1578293"/>
                    </a:lnTo>
                    <a:lnTo>
                      <a:pt x="640080" y="1573530"/>
                    </a:lnTo>
                    <a:lnTo>
                      <a:pt x="661988" y="1568768"/>
                    </a:lnTo>
                    <a:lnTo>
                      <a:pt x="683895" y="1564958"/>
                    </a:lnTo>
                    <a:lnTo>
                      <a:pt x="705803" y="1561148"/>
                    </a:lnTo>
                    <a:lnTo>
                      <a:pt x="728663" y="1557338"/>
                    </a:lnTo>
                    <a:lnTo>
                      <a:pt x="751523" y="1554480"/>
                    </a:lnTo>
                    <a:lnTo>
                      <a:pt x="774383" y="1551623"/>
                    </a:lnTo>
                    <a:lnTo>
                      <a:pt x="797243" y="1550670"/>
                    </a:lnTo>
                    <a:lnTo>
                      <a:pt x="820103" y="1549718"/>
                    </a:lnTo>
                    <a:lnTo>
                      <a:pt x="842963" y="1550670"/>
                    </a:lnTo>
                    <a:lnTo>
                      <a:pt x="866775" y="1551623"/>
                    </a:lnTo>
                    <a:lnTo>
                      <a:pt x="889635" y="1554480"/>
                    </a:lnTo>
                    <a:lnTo>
                      <a:pt x="913448" y="1558290"/>
                    </a:lnTo>
                    <a:lnTo>
                      <a:pt x="936308" y="1564005"/>
                    </a:lnTo>
                    <a:lnTo>
                      <a:pt x="960120" y="1571625"/>
                    </a:lnTo>
                    <a:lnTo>
                      <a:pt x="982980" y="1580198"/>
                    </a:lnTo>
                    <a:lnTo>
                      <a:pt x="1012508" y="1572578"/>
                    </a:lnTo>
                    <a:lnTo>
                      <a:pt x="1041083" y="1565910"/>
                    </a:lnTo>
                    <a:lnTo>
                      <a:pt x="1067753" y="1560195"/>
                    </a:lnTo>
                    <a:lnTo>
                      <a:pt x="1094423" y="1556385"/>
                    </a:lnTo>
                    <a:lnTo>
                      <a:pt x="1120140" y="1553528"/>
                    </a:lnTo>
                    <a:lnTo>
                      <a:pt x="1143953" y="1552575"/>
                    </a:lnTo>
                    <a:lnTo>
                      <a:pt x="1166813" y="1552575"/>
                    </a:lnTo>
                    <a:lnTo>
                      <a:pt x="1189673" y="1553528"/>
                    </a:lnTo>
                    <a:lnTo>
                      <a:pt x="1211580" y="1554480"/>
                    </a:lnTo>
                    <a:lnTo>
                      <a:pt x="1232535" y="1556385"/>
                    </a:lnTo>
                    <a:lnTo>
                      <a:pt x="1252538" y="1559243"/>
                    </a:lnTo>
                    <a:lnTo>
                      <a:pt x="1272540" y="1563053"/>
                    </a:lnTo>
                    <a:lnTo>
                      <a:pt x="1291590" y="1566863"/>
                    </a:lnTo>
                    <a:lnTo>
                      <a:pt x="1310640" y="1570673"/>
                    </a:lnTo>
                    <a:lnTo>
                      <a:pt x="1328738" y="1575435"/>
                    </a:lnTo>
                    <a:lnTo>
                      <a:pt x="1346835" y="1580198"/>
                    </a:lnTo>
                    <a:lnTo>
                      <a:pt x="1382078" y="1589723"/>
                    </a:lnTo>
                    <a:lnTo>
                      <a:pt x="1416368" y="1598295"/>
                    </a:lnTo>
                    <a:lnTo>
                      <a:pt x="1433513" y="1602105"/>
                    </a:lnTo>
                    <a:lnTo>
                      <a:pt x="1450658" y="1605915"/>
                    </a:lnTo>
                    <a:lnTo>
                      <a:pt x="1467803" y="1608773"/>
                    </a:lnTo>
                    <a:lnTo>
                      <a:pt x="1484948" y="1610678"/>
                    </a:lnTo>
                    <a:lnTo>
                      <a:pt x="1502093" y="1611630"/>
                    </a:lnTo>
                    <a:lnTo>
                      <a:pt x="1519238" y="1611630"/>
                    </a:lnTo>
                    <a:lnTo>
                      <a:pt x="1537335" y="1611630"/>
                    </a:lnTo>
                    <a:lnTo>
                      <a:pt x="1555433" y="1609725"/>
                    </a:lnTo>
                    <a:lnTo>
                      <a:pt x="1573530" y="1606868"/>
                    </a:lnTo>
                    <a:lnTo>
                      <a:pt x="1592580" y="1603058"/>
                    </a:lnTo>
                    <a:lnTo>
                      <a:pt x="1611630" y="1598295"/>
                    </a:lnTo>
                    <a:lnTo>
                      <a:pt x="1631633" y="1591628"/>
                    </a:lnTo>
                    <a:lnTo>
                      <a:pt x="1613535" y="1607820"/>
                    </a:lnTo>
                    <a:lnTo>
                      <a:pt x="1595438" y="1622108"/>
                    </a:lnTo>
                    <a:lnTo>
                      <a:pt x="1576388" y="1634490"/>
                    </a:lnTo>
                    <a:lnTo>
                      <a:pt x="1557338" y="1644968"/>
                    </a:lnTo>
                    <a:lnTo>
                      <a:pt x="1538288" y="1653540"/>
                    </a:lnTo>
                    <a:lnTo>
                      <a:pt x="1518285" y="1660208"/>
                    </a:lnTo>
                    <a:lnTo>
                      <a:pt x="1498283" y="1665923"/>
                    </a:lnTo>
                    <a:lnTo>
                      <a:pt x="1478280" y="1669733"/>
                    </a:lnTo>
                    <a:lnTo>
                      <a:pt x="1457325" y="1672590"/>
                    </a:lnTo>
                    <a:lnTo>
                      <a:pt x="1436370" y="1674495"/>
                    </a:lnTo>
                    <a:lnTo>
                      <a:pt x="1415415" y="1675448"/>
                    </a:lnTo>
                    <a:lnTo>
                      <a:pt x="1394460" y="1675448"/>
                    </a:lnTo>
                    <a:lnTo>
                      <a:pt x="1373505" y="1674495"/>
                    </a:lnTo>
                    <a:lnTo>
                      <a:pt x="1352550" y="1672590"/>
                    </a:lnTo>
                    <a:lnTo>
                      <a:pt x="1331595" y="1669733"/>
                    </a:lnTo>
                    <a:lnTo>
                      <a:pt x="1310640" y="1665923"/>
                    </a:lnTo>
                    <a:lnTo>
                      <a:pt x="1289685" y="1662113"/>
                    </a:lnTo>
                    <a:lnTo>
                      <a:pt x="1269683" y="1658303"/>
                    </a:lnTo>
                    <a:lnTo>
                      <a:pt x="1249680" y="1653540"/>
                    </a:lnTo>
                    <a:lnTo>
                      <a:pt x="1229678" y="1648778"/>
                    </a:lnTo>
                    <a:lnTo>
                      <a:pt x="1191578" y="1638300"/>
                    </a:lnTo>
                    <a:lnTo>
                      <a:pt x="1155383" y="1628775"/>
                    </a:lnTo>
                    <a:lnTo>
                      <a:pt x="1138238" y="1624013"/>
                    </a:lnTo>
                    <a:lnTo>
                      <a:pt x="1121093" y="1619250"/>
                    </a:lnTo>
                    <a:lnTo>
                      <a:pt x="1104900" y="1615440"/>
                    </a:lnTo>
                    <a:lnTo>
                      <a:pt x="1089660" y="1611630"/>
                    </a:lnTo>
                    <a:lnTo>
                      <a:pt x="1075373" y="1608773"/>
                    </a:lnTo>
                    <a:lnTo>
                      <a:pt x="1061085" y="1606868"/>
                    </a:lnTo>
                    <a:lnTo>
                      <a:pt x="1047750" y="1605915"/>
                    </a:lnTo>
                    <a:lnTo>
                      <a:pt x="1035368" y="1605915"/>
                    </a:lnTo>
                    <a:lnTo>
                      <a:pt x="1049655" y="1613535"/>
                    </a:lnTo>
                    <a:lnTo>
                      <a:pt x="1062990" y="1621155"/>
                    </a:lnTo>
                    <a:lnTo>
                      <a:pt x="1075373" y="1628775"/>
                    </a:lnTo>
                    <a:lnTo>
                      <a:pt x="1087755" y="1636395"/>
                    </a:lnTo>
                    <a:lnTo>
                      <a:pt x="1100138" y="1644968"/>
                    </a:lnTo>
                    <a:lnTo>
                      <a:pt x="1111568" y="1652588"/>
                    </a:lnTo>
                    <a:lnTo>
                      <a:pt x="1122045" y="1660208"/>
                    </a:lnTo>
                    <a:lnTo>
                      <a:pt x="1132523" y="1668780"/>
                    </a:lnTo>
                    <a:lnTo>
                      <a:pt x="1142048" y="1677353"/>
                    </a:lnTo>
                    <a:lnTo>
                      <a:pt x="1151573" y="1685925"/>
                    </a:lnTo>
                    <a:lnTo>
                      <a:pt x="1161098" y="1694498"/>
                    </a:lnTo>
                    <a:lnTo>
                      <a:pt x="1169670" y="1703070"/>
                    </a:lnTo>
                    <a:lnTo>
                      <a:pt x="1178243" y="1711643"/>
                    </a:lnTo>
                    <a:lnTo>
                      <a:pt x="1186815" y="1720215"/>
                    </a:lnTo>
                    <a:lnTo>
                      <a:pt x="1194435" y="1728788"/>
                    </a:lnTo>
                    <a:lnTo>
                      <a:pt x="1202055" y="1737360"/>
                    </a:lnTo>
                    <a:lnTo>
                      <a:pt x="1189673" y="1739265"/>
                    </a:lnTo>
                    <a:lnTo>
                      <a:pt x="1178243" y="1740218"/>
                    </a:lnTo>
                    <a:lnTo>
                      <a:pt x="1166813" y="1741170"/>
                    </a:lnTo>
                    <a:lnTo>
                      <a:pt x="1154430" y="1743075"/>
                    </a:lnTo>
                    <a:lnTo>
                      <a:pt x="1148715" y="1733550"/>
                    </a:lnTo>
                    <a:lnTo>
                      <a:pt x="1142048" y="1724025"/>
                    </a:lnTo>
                    <a:lnTo>
                      <a:pt x="1134428" y="1715453"/>
                    </a:lnTo>
                    <a:lnTo>
                      <a:pt x="1126808" y="1706880"/>
                    </a:lnTo>
                    <a:lnTo>
                      <a:pt x="1118235" y="1698308"/>
                    </a:lnTo>
                    <a:lnTo>
                      <a:pt x="1108710" y="1689735"/>
                    </a:lnTo>
                    <a:lnTo>
                      <a:pt x="1099185" y="1681163"/>
                    </a:lnTo>
                    <a:lnTo>
                      <a:pt x="1088708" y="1673543"/>
                    </a:lnTo>
                    <a:lnTo>
                      <a:pt x="1078230" y="1665923"/>
                    </a:lnTo>
                    <a:lnTo>
                      <a:pt x="1066800" y="1658303"/>
                    </a:lnTo>
                    <a:lnTo>
                      <a:pt x="1054418" y="1650683"/>
                    </a:lnTo>
                    <a:lnTo>
                      <a:pt x="1042035" y="1643063"/>
                    </a:lnTo>
                    <a:lnTo>
                      <a:pt x="1028700" y="1635443"/>
                    </a:lnTo>
                    <a:lnTo>
                      <a:pt x="1014413" y="1627823"/>
                    </a:lnTo>
                    <a:lnTo>
                      <a:pt x="1000125" y="1620203"/>
                    </a:lnTo>
                    <a:lnTo>
                      <a:pt x="984885" y="1612583"/>
                    </a:lnTo>
                    <a:lnTo>
                      <a:pt x="971550" y="1616393"/>
                    </a:lnTo>
                    <a:lnTo>
                      <a:pt x="959168" y="1621155"/>
                    </a:lnTo>
                    <a:lnTo>
                      <a:pt x="946785" y="1626870"/>
                    </a:lnTo>
                    <a:lnTo>
                      <a:pt x="934403" y="1632585"/>
                    </a:lnTo>
                    <a:lnTo>
                      <a:pt x="922020" y="1639253"/>
                    </a:lnTo>
                    <a:lnTo>
                      <a:pt x="910590" y="1645920"/>
                    </a:lnTo>
                    <a:lnTo>
                      <a:pt x="899160" y="1652588"/>
                    </a:lnTo>
                    <a:lnTo>
                      <a:pt x="887730" y="1661160"/>
                    </a:lnTo>
                    <a:lnTo>
                      <a:pt x="877253" y="1668780"/>
                    </a:lnTo>
                    <a:lnTo>
                      <a:pt x="866775" y="1678305"/>
                    </a:lnTo>
                    <a:lnTo>
                      <a:pt x="856298" y="1687830"/>
                    </a:lnTo>
                    <a:lnTo>
                      <a:pt x="846773" y="1698308"/>
                    </a:lnTo>
                    <a:lnTo>
                      <a:pt x="837248" y="1708785"/>
                    </a:lnTo>
                    <a:lnTo>
                      <a:pt x="827723" y="1720215"/>
                    </a:lnTo>
                    <a:lnTo>
                      <a:pt x="818198" y="1732598"/>
                    </a:lnTo>
                    <a:lnTo>
                      <a:pt x="809625" y="1744980"/>
                    </a:lnTo>
                    <a:lnTo>
                      <a:pt x="798195" y="1743075"/>
                    </a:lnTo>
                    <a:lnTo>
                      <a:pt x="785813" y="1742123"/>
                    </a:lnTo>
                    <a:lnTo>
                      <a:pt x="774383" y="1741170"/>
                    </a:lnTo>
                    <a:lnTo>
                      <a:pt x="762953" y="1739265"/>
                    </a:lnTo>
                    <a:lnTo>
                      <a:pt x="770573" y="1730693"/>
                    </a:lnTo>
                    <a:lnTo>
                      <a:pt x="779145" y="1722120"/>
                    </a:lnTo>
                    <a:lnTo>
                      <a:pt x="787718" y="1713548"/>
                    </a:lnTo>
                    <a:lnTo>
                      <a:pt x="796290" y="1704975"/>
                    </a:lnTo>
                    <a:lnTo>
                      <a:pt x="805815" y="1696403"/>
                    </a:lnTo>
                    <a:lnTo>
                      <a:pt x="815340" y="1687830"/>
                    </a:lnTo>
                    <a:lnTo>
                      <a:pt x="824865" y="1679258"/>
                    </a:lnTo>
                    <a:lnTo>
                      <a:pt x="834390" y="1670685"/>
                    </a:lnTo>
                    <a:lnTo>
                      <a:pt x="847725" y="1657350"/>
                    </a:lnTo>
                    <a:lnTo>
                      <a:pt x="858203" y="1649730"/>
                    </a:lnTo>
                    <a:lnTo>
                      <a:pt x="869633" y="1642110"/>
                    </a:lnTo>
                    <a:lnTo>
                      <a:pt x="881063" y="1634490"/>
                    </a:lnTo>
                    <a:lnTo>
                      <a:pt x="893445" y="1626870"/>
                    </a:lnTo>
                    <a:lnTo>
                      <a:pt x="905828" y="1619250"/>
                    </a:lnTo>
                    <a:lnTo>
                      <a:pt x="919163" y="1612583"/>
                    </a:lnTo>
                    <a:lnTo>
                      <a:pt x="932498" y="1604963"/>
                    </a:lnTo>
                    <a:lnTo>
                      <a:pt x="922973" y="1604010"/>
                    </a:lnTo>
                    <a:lnTo>
                      <a:pt x="912495" y="1604010"/>
                    </a:lnTo>
                    <a:lnTo>
                      <a:pt x="901065" y="1604963"/>
                    </a:lnTo>
                    <a:lnTo>
                      <a:pt x="888683" y="1606868"/>
                    </a:lnTo>
                    <a:lnTo>
                      <a:pt x="874395" y="1609725"/>
                    </a:lnTo>
                    <a:lnTo>
                      <a:pt x="860108" y="1613535"/>
                    </a:lnTo>
                    <a:lnTo>
                      <a:pt x="844868" y="1617345"/>
                    </a:lnTo>
                    <a:lnTo>
                      <a:pt x="828675" y="1621155"/>
                    </a:lnTo>
                    <a:lnTo>
                      <a:pt x="793433" y="1630680"/>
                    </a:lnTo>
                    <a:lnTo>
                      <a:pt x="756285" y="1640205"/>
                    </a:lnTo>
                    <a:lnTo>
                      <a:pt x="736283" y="1644968"/>
                    </a:lnTo>
                    <a:lnTo>
                      <a:pt x="716280" y="1649730"/>
                    </a:lnTo>
                    <a:lnTo>
                      <a:pt x="696278" y="1654493"/>
                    </a:lnTo>
                    <a:lnTo>
                      <a:pt x="675323" y="1658303"/>
                    </a:lnTo>
                    <a:lnTo>
                      <a:pt x="654368" y="1662113"/>
                    </a:lnTo>
                    <a:lnTo>
                      <a:pt x="632460" y="1664970"/>
                    </a:lnTo>
                    <a:lnTo>
                      <a:pt x="609600" y="1666875"/>
                    </a:lnTo>
                    <a:lnTo>
                      <a:pt x="587693" y="1668780"/>
                    </a:lnTo>
                    <a:lnTo>
                      <a:pt x="566738" y="1669733"/>
                    </a:lnTo>
                    <a:lnTo>
                      <a:pt x="544830" y="1669733"/>
                    </a:lnTo>
                    <a:lnTo>
                      <a:pt x="522923" y="1668780"/>
                    </a:lnTo>
                    <a:lnTo>
                      <a:pt x="501015" y="1665923"/>
                    </a:lnTo>
                    <a:lnTo>
                      <a:pt x="480060" y="1662113"/>
                    </a:lnTo>
                    <a:lnTo>
                      <a:pt x="459105" y="1656398"/>
                    </a:lnTo>
                    <a:lnTo>
                      <a:pt x="438150" y="1649730"/>
                    </a:lnTo>
                    <a:lnTo>
                      <a:pt x="418148" y="1641158"/>
                    </a:lnTo>
                    <a:lnTo>
                      <a:pt x="398145" y="1631633"/>
                    </a:lnTo>
                    <a:lnTo>
                      <a:pt x="379095" y="1619250"/>
                    </a:lnTo>
                    <a:lnTo>
                      <a:pt x="360045" y="1605915"/>
                    </a:lnTo>
                    <a:lnTo>
                      <a:pt x="340995" y="1589723"/>
                    </a:lnTo>
                    <a:lnTo>
                      <a:pt x="340995" y="1589723"/>
                    </a:lnTo>
                    <a:close/>
                    <a:moveTo>
                      <a:pt x="1025843" y="1163003"/>
                    </a:moveTo>
                    <a:lnTo>
                      <a:pt x="1025843" y="1174433"/>
                    </a:lnTo>
                    <a:lnTo>
                      <a:pt x="1026795" y="1184910"/>
                    </a:lnTo>
                    <a:lnTo>
                      <a:pt x="1026795" y="1195388"/>
                    </a:lnTo>
                    <a:lnTo>
                      <a:pt x="1026795" y="1205865"/>
                    </a:lnTo>
                    <a:lnTo>
                      <a:pt x="1038225" y="1212533"/>
                    </a:lnTo>
                    <a:lnTo>
                      <a:pt x="1049655" y="1220153"/>
                    </a:lnTo>
                    <a:lnTo>
                      <a:pt x="1055370" y="1223963"/>
                    </a:lnTo>
                    <a:lnTo>
                      <a:pt x="1061085" y="1227773"/>
                    </a:lnTo>
                    <a:lnTo>
                      <a:pt x="1066800" y="1232535"/>
                    </a:lnTo>
                    <a:lnTo>
                      <a:pt x="1072515" y="1237298"/>
                    </a:lnTo>
                    <a:lnTo>
                      <a:pt x="1077278" y="1242060"/>
                    </a:lnTo>
                    <a:lnTo>
                      <a:pt x="1082040" y="1247775"/>
                    </a:lnTo>
                    <a:lnTo>
                      <a:pt x="1086803" y="1254443"/>
                    </a:lnTo>
                    <a:lnTo>
                      <a:pt x="1091565" y="1261110"/>
                    </a:lnTo>
                    <a:lnTo>
                      <a:pt x="1096328" y="1268730"/>
                    </a:lnTo>
                    <a:lnTo>
                      <a:pt x="1100138" y="1276350"/>
                    </a:lnTo>
                    <a:lnTo>
                      <a:pt x="1103948" y="1284923"/>
                    </a:lnTo>
                    <a:lnTo>
                      <a:pt x="1106805" y="1294448"/>
                    </a:lnTo>
                    <a:lnTo>
                      <a:pt x="1106805" y="1287780"/>
                    </a:lnTo>
                    <a:lnTo>
                      <a:pt x="1106805" y="1281113"/>
                    </a:lnTo>
                    <a:lnTo>
                      <a:pt x="1106805" y="1276350"/>
                    </a:lnTo>
                    <a:lnTo>
                      <a:pt x="1106805" y="1269683"/>
                    </a:lnTo>
                    <a:lnTo>
                      <a:pt x="1106805" y="1263968"/>
                    </a:lnTo>
                    <a:lnTo>
                      <a:pt x="1105853" y="1258253"/>
                    </a:lnTo>
                    <a:lnTo>
                      <a:pt x="1104900" y="1252538"/>
                    </a:lnTo>
                    <a:lnTo>
                      <a:pt x="1103948" y="1246823"/>
                    </a:lnTo>
                    <a:lnTo>
                      <a:pt x="1102995" y="1241108"/>
                    </a:lnTo>
                    <a:lnTo>
                      <a:pt x="1101090" y="1236345"/>
                    </a:lnTo>
                    <a:lnTo>
                      <a:pt x="1099185" y="1231583"/>
                    </a:lnTo>
                    <a:lnTo>
                      <a:pt x="1097280" y="1226820"/>
                    </a:lnTo>
                    <a:lnTo>
                      <a:pt x="1095375" y="1222058"/>
                    </a:lnTo>
                    <a:lnTo>
                      <a:pt x="1093470" y="1217295"/>
                    </a:lnTo>
                    <a:lnTo>
                      <a:pt x="1090613" y="1213485"/>
                    </a:lnTo>
                    <a:lnTo>
                      <a:pt x="1087755" y="1209675"/>
                    </a:lnTo>
                    <a:lnTo>
                      <a:pt x="1084898" y="1205865"/>
                    </a:lnTo>
                    <a:lnTo>
                      <a:pt x="1082040" y="1202055"/>
                    </a:lnTo>
                    <a:lnTo>
                      <a:pt x="1079183" y="1198245"/>
                    </a:lnTo>
                    <a:lnTo>
                      <a:pt x="1076325" y="1194435"/>
                    </a:lnTo>
                    <a:lnTo>
                      <a:pt x="1072515" y="1190625"/>
                    </a:lnTo>
                    <a:lnTo>
                      <a:pt x="1068705" y="1187768"/>
                    </a:lnTo>
                    <a:lnTo>
                      <a:pt x="1064895" y="1183958"/>
                    </a:lnTo>
                    <a:lnTo>
                      <a:pt x="1061085" y="1181100"/>
                    </a:lnTo>
                    <a:lnTo>
                      <a:pt x="1052513" y="1175385"/>
                    </a:lnTo>
                    <a:lnTo>
                      <a:pt x="1043940" y="1169670"/>
                    </a:lnTo>
                    <a:lnTo>
                      <a:pt x="1034415" y="1164908"/>
                    </a:lnTo>
                    <a:lnTo>
                      <a:pt x="1025843" y="1163003"/>
                    </a:lnTo>
                    <a:lnTo>
                      <a:pt x="1025843" y="1163003"/>
                    </a:lnTo>
                    <a:close/>
                    <a:moveTo>
                      <a:pt x="1035368" y="825818"/>
                    </a:moveTo>
                    <a:lnTo>
                      <a:pt x="1035368" y="835343"/>
                    </a:lnTo>
                    <a:lnTo>
                      <a:pt x="1035368" y="844868"/>
                    </a:lnTo>
                    <a:lnTo>
                      <a:pt x="1034415" y="854393"/>
                    </a:lnTo>
                    <a:lnTo>
                      <a:pt x="1034415" y="863918"/>
                    </a:lnTo>
                    <a:lnTo>
                      <a:pt x="1034415" y="873443"/>
                    </a:lnTo>
                    <a:lnTo>
                      <a:pt x="1034415" y="882015"/>
                    </a:lnTo>
                    <a:lnTo>
                      <a:pt x="1034415" y="891540"/>
                    </a:lnTo>
                    <a:lnTo>
                      <a:pt x="1034415" y="901065"/>
                    </a:lnTo>
                    <a:lnTo>
                      <a:pt x="1043940" y="903923"/>
                    </a:lnTo>
                    <a:lnTo>
                      <a:pt x="1052513" y="907733"/>
                    </a:lnTo>
                    <a:lnTo>
                      <a:pt x="1056323" y="909638"/>
                    </a:lnTo>
                    <a:lnTo>
                      <a:pt x="1060133" y="911543"/>
                    </a:lnTo>
                    <a:lnTo>
                      <a:pt x="1063943" y="914400"/>
                    </a:lnTo>
                    <a:lnTo>
                      <a:pt x="1066800" y="917258"/>
                    </a:lnTo>
                    <a:lnTo>
                      <a:pt x="1069658" y="920115"/>
                    </a:lnTo>
                    <a:lnTo>
                      <a:pt x="1072515" y="922973"/>
                    </a:lnTo>
                    <a:lnTo>
                      <a:pt x="1074420" y="926783"/>
                    </a:lnTo>
                    <a:lnTo>
                      <a:pt x="1075373" y="930593"/>
                    </a:lnTo>
                    <a:lnTo>
                      <a:pt x="1076325" y="934403"/>
                    </a:lnTo>
                    <a:lnTo>
                      <a:pt x="1077278" y="939165"/>
                    </a:lnTo>
                    <a:lnTo>
                      <a:pt x="1077278" y="944880"/>
                    </a:lnTo>
                    <a:lnTo>
                      <a:pt x="1077278" y="950595"/>
                    </a:lnTo>
                    <a:lnTo>
                      <a:pt x="1076325" y="956310"/>
                    </a:lnTo>
                    <a:lnTo>
                      <a:pt x="1074420" y="962025"/>
                    </a:lnTo>
                    <a:lnTo>
                      <a:pt x="1071563" y="966788"/>
                    </a:lnTo>
                    <a:lnTo>
                      <a:pt x="1067753" y="971550"/>
                    </a:lnTo>
                    <a:lnTo>
                      <a:pt x="1062990" y="975360"/>
                    </a:lnTo>
                    <a:lnTo>
                      <a:pt x="1057275" y="979170"/>
                    </a:lnTo>
                    <a:lnTo>
                      <a:pt x="1050608" y="982980"/>
                    </a:lnTo>
                    <a:lnTo>
                      <a:pt x="1043940" y="985838"/>
                    </a:lnTo>
                    <a:lnTo>
                      <a:pt x="1036320" y="988695"/>
                    </a:lnTo>
                    <a:lnTo>
                      <a:pt x="1028700" y="991553"/>
                    </a:lnTo>
                    <a:lnTo>
                      <a:pt x="1021080" y="994410"/>
                    </a:lnTo>
                    <a:lnTo>
                      <a:pt x="1012508" y="997268"/>
                    </a:lnTo>
                    <a:lnTo>
                      <a:pt x="995363" y="1002983"/>
                    </a:lnTo>
                    <a:lnTo>
                      <a:pt x="977265" y="1008698"/>
                    </a:lnTo>
                    <a:lnTo>
                      <a:pt x="968693" y="1011555"/>
                    </a:lnTo>
                    <a:lnTo>
                      <a:pt x="959168" y="1014413"/>
                    </a:lnTo>
                    <a:lnTo>
                      <a:pt x="950595" y="1017270"/>
                    </a:lnTo>
                    <a:lnTo>
                      <a:pt x="942023" y="1021080"/>
                    </a:lnTo>
                    <a:lnTo>
                      <a:pt x="933450" y="1024890"/>
                    </a:lnTo>
                    <a:lnTo>
                      <a:pt x="925830" y="1028700"/>
                    </a:lnTo>
                    <a:lnTo>
                      <a:pt x="918210" y="1033463"/>
                    </a:lnTo>
                    <a:lnTo>
                      <a:pt x="911543" y="1039178"/>
                    </a:lnTo>
                    <a:lnTo>
                      <a:pt x="904875" y="1044893"/>
                    </a:lnTo>
                    <a:lnTo>
                      <a:pt x="899160" y="1050608"/>
                    </a:lnTo>
                    <a:lnTo>
                      <a:pt x="894398" y="1057275"/>
                    </a:lnTo>
                    <a:lnTo>
                      <a:pt x="890588" y="1063943"/>
                    </a:lnTo>
                    <a:lnTo>
                      <a:pt x="887730" y="1071563"/>
                    </a:lnTo>
                    <a:lnTo>
                      <a:pt x="885825" y="1080135"/>
                    </a:lnTo>
                    <a:lnTo>
                      <a:pt x="884873" y="1089660"/>
                    </a:lnTo>
                    <a:lnTo>
                      <a:pt x="884873" y="1099185"/>
                    </a:lnTo>
                    <a:lnTo>
                      <a:pt x="884873" y="1102995"/>
                    </a:lnTo>
                    <a:lnTo>
                      <a:pt x="884873" y="1105853"/>
                    </a:lnTo>
                    <a:lnTo>
                      <a:pt x="885825" y="1108710"/>
                    </a:lnTo>
                    <a:lnTo>
                      <a:pt x="886778" y="1111568"/>
                    </a:lnTo>
                    <a:lnTo>
                      <a:pt x="887730" y="1114425"/>
                    </a:lnTo>
                    <a:lnTo>
                      <a:pt x="888683" y="1117283"/>
                    </a:lnTo>
                    <a:lnTo>
                      <a:pt x="889635" y="1120140"/>
                    </a:lnTo>
                    <a:lnTo>
                      <a:pt x="891540" y="1122998"/>
                    </a:lnTo>
                    <a:lnTo>
                      <a:pt x="894398" y="1127760"/>
                    </a:lnTo>
                    <a:lnTo>
                      <a:pt x="898208" y="1132523"/>
                    </a:lnTo>
                    <a:lnTo>
                      <a:pt x="902018" y="1136333"/>
                    </a:lnTo>
                    <a:lnTo>
                      <a:pt x="905828" y="1140143"/>
                    </a:lnTo>
                    <a:lnTo>
                      <a:pt x="915353" y="1147763"/>
                    </a:lnTo>
                    <a:lnTo>
                      <a:pt x="924878" y="1154430"/>
                    </a:lnTo>
                    <a:lnTo>
                      <a:pt x="934403" y="1161098"/>
                    </a:lnTo>
                    <a:lnTo>
                      <a:pt x="942975" y="1167765"/>
                    </a:lnTo>
                    <a:lnTo>
                      <a:pt x="942975" y="1159193"/>
                    </a:lnTo>
                    <a:lnTo>
                      <a:pt x="942975" y="1150620"/>
                    </a:lnTo>
                    <a:lnTo>
                      <a:pt x="942975" y="1142048"/>
                    </a:lnTo>
                    <a:lnTo>
                      <a:pt x="942975" y="1133475"/>
                    </a:lnTo>
                    <a:lnTo>
                      <a:pt x="942975" y="1124903"/>
                    </a:lnTo>
                    <a:lnTo>
                      <a:pt x="942975" y="1116330"/>
                    </a:lnTo>
                    <a:lnTo>
                      <a:pt x="942975" y="1107758"/>
                    </a:lnTo>
                    <a:lnTo>
                      <a:pt x="942975" y="1099185"/>
                    </a:lnTo>
                    <a:lnTo>
                      <a:pt x="942975" y="1097280"/>
                    </a:lnTo>
                    <a:lnTo>
                      <a:pt x="942975" y="1095375"/>
                    </a:lnTo>
                    <a:lnTo>
                      <a:pt x="943928" y="1093470"/>
                    </a:lnTo>
                    <a:lnTo>
                      <a:pt x="944880" y="1091565"/>
                    </a:lnTo>
                    <a:lnTo>
                      <a:pt x="946785" y="1089660"/>
                    </a:lnTo>
                    <a:lnTo>
                      <a:pt x="947738" y="1087755"/>
                    </a:lnTo>
                    <a:lnTo>
                      <a:pt x="949643" y="1085850"/>
                    </a:lnTo>
                    <a:lnTo>
                      <a:pt x="951548" y="1083945"/>
                    </a:lnTo>
                    <a:lnTo>
                      <a:pt x="956310" y="1080135"/>
                    </a:lnTo>
                    <a:lnTo>
                      <a:pt x="962025" y="1077278"/>
                    </a:lnTo>
                    <a:lnTo>
                      <a:pt x="967740" y="1074420"/>
                    </a:lnTo>
                    <a:lnTo>
                      <a:pt x="974408" y="1071563"/>
                    </a:lnTo>
                    <a:lnTo>
                      <a:pt x="981075" y="1068705"/>
                    </a:lnTo>
                    <a:lnTo>
                      <a:pt x="988695" y="1065848"/>
                    </a:lnTo>
                    <a:lnTo>
                      <a:pt x="996315" y="1062990"/>
                    </a:lnTo>
                    <a:lnTo>
                      <a:pt x="1004888" y="1060133"/>
                    </a:lnTo>
                    <a:lnTo>
                      <a:pt x="1022033" y="1054418"/>
                    </a:lnTo>
                    <a:lnTo>
                      <a:pt x="1039178" y="1048703"/>
                    </a:lnTo>
                    <a:lnTo>
                      <a:pt x="1051560" y="1044893"/>
                    </a:lnTo>
                    <a:lnTo>
                      <a:pt x="1063943" y="1041083"/>
                    </a:lnTo>
                    <a:lnTo>
                      <a:pt x="1076325" y="1037273"/>
                    </a:lnTo>
                    <a:lnTo>
                      <a:pt x="1087755" y="1032510"/>
                    </a:lnTo>
                    <a:lnTo>
                      <a:pt x="1093470" y="1029653"/>
                    </a:lnTo>
                    <a:lnTo>
                      <a:pt x="1099185" y="1026795"/>
                    </a:lnTo>
                    <a:lnTo>
                      <a:pt x="1104900" y="1023938"/>
                    </a:lnTo>
                    <a:lnTo>
                      <a:pt x="1109663" y="1021080"/>
                    </a:lnTo>
                    <a:lnTo>
                      <a:pt x="1114425" y="1018223"/>
                    </a:lnTo>
                    <a:lnTo>
                      <a:pt x="1119188" y="1015365"/>
                    </a:lnTo>
                    <a:lnTo>
                      <a:pt x="1123950" y="1012508"/>
                    </a:lnTo>
                    <a:lnTo>
                      <a:pt x="1127760" y="1008698"/>
                    </a:lnTo>
                    <a:lnTo>
                      <a:pt x="1131570" y="1004888"/>
                    </a:lnTo>
                    <a:lnTo>
                      <a:pt x="1135380" y="1001078"/>
                    </a:lnTo>
                    <a:lnTo>
                      <a:pt x="1139190" y="997268"/>
                    </a:lnTo>
                    <a:lnTo>
                      <a:pt x="1142048" y="993458"/>
                    </a:lnTo>
                    <a:lnTo>
                      <a:pt x="1144905" y="989648"/>
                    </a:lnTo>
                    <a:lnTo>
                      <a:pt x="1147763" y="984885"/>
                    </a:lnTo>
                    <a:lnTo>
                      <a:pt x="1150620" y="980123"/>
                    </a:lnTo>
                    <a:lnTo>
                      <a:pt x="1152525" y="975360"/>
                    </a:lnTo>
                    <a:lnTo>
                      <a:pt x="1154430" y="969645"/>
                    </a:lnTo>
                    <a:lnTo>
                      <a:pt x="1156335" y="963930"/>
                    </a:lnTo>
                    <a:lnTo>
                      <a:pt x="1157288" y="958215"/>
                    </a:lnTo>
                    <a:lnTo>
                      <a:pt x="1158240" y="952500"/>
                    </a:lnTo>
                    <a:lnTo>
                      <a:pt x="1158240" y="946785"/>
                    </a:lnTo>
                    <a:lnTo>
                      <a:pt x="1158240" y="940118"/>
                    </a:lnTo>
                    <a:lnTo>
                      <a:pt x="1158240" y="934403"/>
                    </a:lnTo>
                    <a:lnTo>
                      <a:pt x="1157288" y="927735"/>
                    </a:lnTo>
                    <a:lnTo>
                      <a:pt x="1157288" y="922973"/>
                    </a:lnTo>
                    <a:lnTo>
                      <a:pt x="1156335" y="918210"/>
                    </a:lnTo>
                    <a:lnTo>
                      <a:pt x="1155383" y="913448"/>
                    </a:lnTo>
                    <a:lnTo>
                      <a:pt x="1154430" y="909638"/>
                    </a:lnTo>
                    <a:lnTo>
                      <a:pt x="1152525" y="905828"/>
                    </a:lnTo>
                    <a:lnTo>
                      <a:pt x="1150620" y="902018"/>
                    </a:lnTo>
                    <a:lnTo>
                      <a:pt x="1148715" y="898208"/>
                    </a:lnTo>
                    <a:lnTo>
                      <a:pt x="1146810" y="894398"/>
                    </a:lnTo>
                    <a:lnTo>
                      <a:pt x="1143953" y="890588"/>
                    </a:lnTo>
                    <a:lnTo>
                      <a:pt x="1141095" y="886778"/>
                    </a:lnTo>
                    <a:lnTo>
                      <a:pt x="1138238" y="882968"/>
                    </a:lnTo>
                    <a:lnTo>
                      <a:pt x="1135380" y="879158"/>
                    </a:lnTo>
                    <a:lnTo>
                      <a:pt x="1132523" y="875348"/>
                    </a:lnTo>
                    <a:lnTo>
                      <a:pt x="1128713" y="871538"/>
                    </a:lnTo>
                    <a:lnTo>
                      <a:pt x="1124903" y="868680"/>
                    </a:lnTo>
                    <a:lnTo>
                      <a:pt x="1121093" y="865823"/>
                    </a:lnTo>
                    <a:lnTo>
                      <a:pt x="1112520" y="860108"/>
                    </a:lnTo>
                    <a:lnTo>
                      <a:pt x="1103948" y="854393"/>
                    </a:lnTo>
                    <a:lnTo>
                      <a:pt x="1094423" y="848678"/>
                    </a:lnTo>
                    <a:lnTo>
                      <a:pt x="1084898" y="842963"/>
                    </a:lnTo>
                    <a:lnTo>
                      <a:pt x="1074420" y="838200"/>
                    </a:lnTo>
                    <a:lnTo>
                      <a:pt x="1063943" y="833438"/>
                    </a:lnTo>
                    <a:lnTo>
                      <a:pt x="1052513" y="828675"/>
                    </a:lnTo>
                    <a:lnTo>
                      <a:pt x="1035368" y="825818"/>
                    </a:lnTo>
                    <a:lnTo>
                      <a:pt x="1035368" y="825818"/>
                    </a:lnTo>
                    <a:close/>
                    <a:moveTo>
                      <a:pt x="1046798" y="241935"/>
                    </a:moveTo>
                    <a:lnTo>
                      <a:pt x="1044893" y="278130"/>
                    </a:lnTo>
                    <a:lnTo>
                      <a:pt x="1044893" y="278130"/>
                    </a:lnTo>
                    <a:lnTo>
                      <a:pt x="1044893" y="285750"/>
                    </a:lnTo>
                    <a:lnTo>
                      <a:pt x="1042988" y="320040"/>
                    </a:lnTo>
                    <a:lnTo>
                      <a:pt x="1058228" y="322898"/>
                    </a:lnTo>
                    <a:lnTo>
                      <a:pt x="1072515" y="326708"/>
                    </a:lnTo>
                    <a:lnTo>
                      <a:pt x="1079183" y="328613"/>
                    </a:lnTo>
                    <a:lnTo>
                      <a:pt x="1085850" y="330518"/>
                    </a:lnTo>
                    <a:lnTo>
                      <a:pt x="1092518" y="332423"/>
                    </a:lnTo>
                    <a:lnTo>
                      <a:pt x="1098233" y="335280"/>
                    </a:lnTo>
                    <a:lnTo>
                      <a:pt x="1103948" y="338138"/>
                    </a:lnTo>
                    <a:lnTo>
                      <a:pt x="1109663" y="340995"/>
                    </a:lnTo>
                    <a:lnTo>
                      <a:pt x="1115378" y="343853"/>
                    </a:lnTo>
                    <a:lnTo>
                      <a:pt x="1121093" y="346710"/>
                    </a:lnTo>
                    <a:lnTo>
                      <a:pt x="1125855" y="349568"/>
                    </a:lnTo>
                    <a:lnTo>
                      <a:pt x="1130618" y="352425"/>
                    </a:lnTo>
                    <a:lnTo>
                      <a:pt x="1134428" y="355283"/>
                    </a:lnTo>
                    <a:lnTo>
                      <a:pt x="1138238" y="358140"/>
                    </a:lnTo>
                    <a:lnTo>
                      <a:pt x="1142048" y="361950"/>
                    </a:lnTo>
                    <a:lnTo>
                      <a:pt x="1145858" y="364808"/>
                    </a:lnTo>
                    <a:lnTo>
                      <a:pt x="1148715" y="368618"/>
                    </a:lnTo>
                    <a:lnTo>
                      <a:pt x="1151573" y="372428"/>
                    </a:lnTo>
                    <a:lnTo>
                      <a:pt x="1154430" y="376238"/>
                    </a:lnTo>
                    <a:lnTo>
                      <a:pt x="1157288" y="380048"/>
                    </a:lnTo>
                    <a:lnTo>
                      <a:pt x="1159193" y="383858"/>
                    </a:lnTo>
                    <a:lnTo>
                      <a:pt x="1161098" y="387668"/>
                    </a:lnTo>
                    <a:lnTo>
                      <a:pt x="1163003" y="391478"/>
                    </a:lnTo>
                    <a:lnTo>
                      <a:pt x="1163955" y="396240"/>
                    </a:lnTo>
                    <a:lnTo>
                      <a:pt x="1164908" y="401003"/>
                    </a:lnTo>
                    <a:lnTo>
                      <a:pt x="1165860" y="405765"/>
                    </a:lnTo>
                    <a:lnTo>
                      <a:pt x="1166813" y="410528"/>
                    </a:lnTo>
                    <a:lnTo>
                      <a:pt x="1166813" y="415290"/>
                    </a:lnTo>
                    <a:lnTo>
                      <a:pt x="1166813" y="420053"/>
                    </a:lnTo>
                    <a:lnTo>
                      <a:pt x="1166813" y="425768"/>
                    </a:lnTo>
                    <a:lnTo>
                      <a:pt x="1166813" y="432435"/>
                    </a:lnTo>
                    <a:lnTo>
                      <a:pt x="1165860" y="438150"/>
                    </a:lnTo>
                    <a:lnTo>
                      <a:pt x="1164908" y="443865"/>
                    </a:lnTo>
                    <a:lnTo>
                      <a:pt x="1163955" y="449580"/>
                    </a:lnTo>
                    <a:lnTo>
                      <a:pt x="1149668" y="442913"/>
                    </a:lnTo>
                    <a:lnTo>
                      <a:pt x="1135380" y="437198"/>
                    </a:lnTo>
                    <a:lnTo>
                      <a:pt x="1120140" y="431483"/>
                    </a:lnTo>
                    <a:lnTo>
                      <a:pt x="1105853" y="426720"/>
                    </a:lnTo>
                    <a:lnTo>
                      <a:pt x="1090613" y="422910"/>
                    </a:lnTo>
                    <a:lnTo>
                      <a:pt x="1075373" y="419100"/>
                    </a:lnTo>
                    <a:lnTo>
                      <a:pt x="1060133" y="416243"/>
                    </a:lnTo>
                    <a:lnTo>
                      <a:pt x="1044893" y="413385"/>
                    </a:lnTo>
                    <a:lnTo>
                      <a:pt x="1044893" y="436245"/>
                    </a:lnTo>
                    <a:lnTo>
                      <a:pt x="1060133" y="439103"/>
                    </a:lnTo>
                    <a:lnTo>
                      <a:pt x="1074420" y="441960"/>
                    </a:lnTo>
                    <a:lnTo>
                      <a:pt x="1088708" y="445770"/>
                    </a:lnTo>
                    <a:lnTo>
                      <a:pt x="1102995" y="449580"/>
                    </a:lnTo>
                    <a:lnTo>
                      <a:pt x="1116330" y="454343"/>
                    </a:lnTo>
                    <a:lnTo>
                      <a:pt x="1129665" y="459105"/>
                    </a:lnTo>
                    <a:lnTo>
                      <a:pt x="1143000" y="464820"/>
                    </a:lnTo>
                    <a:lnTo>
                      <a:pt x="1156335" y="470535"/>
                    </a:lnTo>
                    <a:lnTo>
                      <a:pt x="1153478" y="474345"/>
                    </a:lnTo>
                    <a:lnTo>
                      <a:pt x="1150620" y="478155"/>
                    </a:lnTo>
                    <a:lnTo>
                      <a:pt x="1147763" y="481965"/>
                    </a:lnTo>
                    <a:lnTo>
                      <a:pt x="1144905" y="485775"/>
                    </a:lnTo>
                    <a:lnTo>
                      <a:pt x="1142048" y="488633"/>
                    </a:lnTo>
                    <a:lnTo>
                      <a:pt x="1138238" y="491490"/>
                    </a:lnTo>
                    <a:lnTo>
                      <a:pt x="1134428" y="494348"/>
                    </a:lnTo>
                    <a:lnTo>
                      <a:pt x="1130618" y="497205"/>
                    </a:lnTo>
                    <a:lnTo>
                      <a:pt x="1126808" y="500063"/>
                    </a:lnTo>
                    <a:lnTo>
                      <a:pt x="1122045" y="502920"/>
                    </a:lnTo>
                    <a:lnTo>
                      <a:pt x="1118235" y="505778"/>
                    </a:lnTo>
                    <a:lnTo>
                      <a:pt x="1113473" y="508635"/>
                    </a:lnTo>
                    <a:lnTo>
                      <a:pt x="1103948" y="514350"/>
                    </a:lnTo>
                    <a:lnTo>
                      <a:pt x="1093470" y="519113"/>
                    </a:lnTo>
                    <a:lnTo>
                      <a:pt x="1082993" y="523875"/>
                    </a:lnTo>
                    <a:lnTo>
                      <a:pt x="1070610" y="527685"/>
                    </a:lnTo>
                    <a:lnTo>
                      <a:pt x="1058228" y="531495"/>
                    </a:lnTo>
                    <a:lnTo>
                      <a:pt x="1044893" y="535305"/>
                    </a:lnTo>
                    <a:lnTo>
                      <a:pt x="1031558" y="539115"/>
                    </a:lnTo>
                    <a:lnTo>
                      <a:pt x="1017270" y="542925"/>
                    </a:lnTo>
                    <a:lnTo>
                      <a:pt x="1002030" y="545783"/>
                    </a:lnTo>
                    <a:lnTo>
                      <a:pt x="986790" y="549593"/>
                    </a:lnTo>
                    <a:lnTo>
                      <a:pt x="969645" y="553403"/>
                    </a:lnTo>
                    <a:lnTo>
                      <a:pt x="952500" y="557213"/>
                    </a:lnTo>
                    <a:lnTo>
                      <a:pt x="942975" y="557213"/>
                    </a:lnTo>
                    <a:lnTo>
                      <a:pt x="933450" y="560070"/>
                    </a:lnTo>
                    <a:lnTo>
                      <a:pt x="923925" y="562928"/>
                    </a:lnTo>
                    <a:lnTo>
                      <a:pt x="915353" y="565785"/>
                    </a:lnTo>
                    <a:lnTo>
                      <a:pt x="906780" y="568643"/>
                    </a:lnTo>
                    <a:lnTo>
                      <a:pt x="898208" y="571500"/>
                    </a:lnTo>
                    <a:lnTo>
                      <a:pt x="889635" y="575310"/>
                    </a:lnTo>
                    <a:lnTo>
                      <a:pt x="881063" y="579120"/>
                    </a:lnTo>
                    <a:lnTo>
                      <a:pt x="872490" y="582930"/>
                    </a:lnTo>
                    <a:lnTo>
                      <a:pt x="863918" y="587693"/>
                    </a:lnTo>
                    <a:lnTo>
                      <a:pt x="855345" y="592455"/>
                    </a:lnTo>
                    <a:lnTo>
                      <a:pt x="847725" y="597218"/>
                    </a:lnTo>
                    <a:lnTo>
                      <a:pt x="840105" y="602933"/>
                    </a:lnTo>
                    <a:lnTo>
                      <a:pt x="833438" y="608648"/>
                    </a:lnTo>
                    <a:lnTo>
                      <a:pt x="826770" y="614363"/>
                    </a:lnTo>
                    <a:lnTo>
                      <a:pt x="820103" y="620078"/>
                    </a:lnTo>
                    <a:lnTo>
                      <a:pt x="814388" y="626745"/>
                    </a:lnTo>
                    <a:lnTo>
                      <a:pt x="809625" y="633413"/>
                    </a:lnTo>
                    <a:lnTo>
                      <a:pt x="803910" y="641033"/>
                    </a:lnTo>
                    <a:lnTo>
                      <a:pt x="799148" y="648653"/>
                    </a:lnTo>
                    <a:lnTo>
                      <a:pt x="795338" y="657225"/>
                    </a:lnTo>
                    <a:lnTo>
                      <a:pt x="791528" y="665798"/>
                    </a:lnTo>
                    <a:lnTo>
                      <a:pt x="788670" y="674370"/>
                    </a:lnTo>
                    <a:lnTo>
                      <a:pt x="785813" y="683895"/>
                    </a:lnTo>
                    <a:lnTo>
                      <a:pt x="783908" y="693420"/>
                    </a:lnTo>
                    <a:lnTo>
                      <a:pt x="782955" y="702945"/>
                    </a:lnTo>
                    <a:lnTo>
                      <a:pt x="782955" y="713423"/>
                    </a:lnTo>
                    <a:lnTo>
                      <a:pt x="782955" y="723900"/>
                    </a:lnTo>
                    <a:lnTo>
                      <a:pt x="783908" y="733425"/>
                    </a:lnTo>
                    <a:lnTo>
                      <a:pt x="784860" y="741998"/>
                    </a:lnTo>
                    <a:lnTo>
                      <a:pt x="786765" y="750570"/>
                    </a:lnTo>
                    <a:lnTo>
                      <a:pt x="788670" y="759143"/>
                    </a:lnTo>
                    <a:lnTo>
                      <a:pt x="791528" y="766763"/>
                    </a:lnTo>
                    <a:lnTo>
                      <a:pt x="794385" y="774383"/>
                    </a:lnTo>
                    <a:lnTo>
                      <a:pt x="798195" y="781050"/>
                    </a:lnTo>
                    <a:lnTo>
                      <a:pt x="802005" y="787718"/>
                    </a:lnTo>
                    <a:lnTo>
                      <a:pt x="805815" y="794385"/>
                    </a:lnTo>
                    <a:lnTo>
                      <a:pt x="810578" y="800100"/>
                    </a:lnTo>
                    <a:lnTo>
                      <a:pt x="815340" y="805815"/>
                    </a:lnTo>
                    <a:lnTo>
                      <a:pt x="820103" y="811530"/>
                    </a:lnTo>
                    <a:lnTo>
                      <a:pt x="824865" y="817245"/>
                    </a:lnTo>
                    <a:lnTo>
                      <a:pt x="830580" y="822008"/>
                    </a:lnTo>
                    <a:lnTo>
                      <a:pt x="836295" y="826770"/>
                    </a:lnTo>
                    <a:lnTo>
                      <a:pt x="842010" y="831533"/>
                    </a:lnTo>
                    <a:lnTo>
                      <a:pt x="847725" y="835343"/>
                    </a:lnTo>
                    <a:lnTo>
                      <a:pt x="853440" y="839153"/>
                    </a:lnTo>
                    <a:lnTo>
                      <a:pt x="859155" y="842963"/>
                    </a:lnTo>
                    <a:lnTo>
                      <a:pt x="864870" y="846773"/>
                    </a:lnTo>
                    <a:lnTo>
                      <a:pt x="871538" y="849630"/>
                    </a:lnTo>
                    <a:lnTo>
                      <a:pt x="877253" y="852488"/>
                    </a:lnTo>
                    <a:lnTo>
                      <a:pt x="882968" y="855345"/>
                    </a:lnTo>
                    <a:lnTo>
                      <a:pt x="889635" y="858203"/>
                    </a:lnTo>
                    <a:lnTo>
                      <a:pt x="902018" y="862965"/>
                    </a:lnTo>
                    <a:lnTo>
                      <a:pt x="913448" y="866775"/>
                    </a:lnTo>
                    <a:lnTo>
                      <a:pt x="923925" y="869633"/>
                    </a:lnTo>
                    <a:lnTo>
                      <a:pt x="933450" y="872490"/>
                    </a:lnTo>
                    <a:lnTo>
                      <a:pt x="933450" y="862013"/>
                    </a:lnTo>
                    <a:lnTo>
                      <a:pt x="933450" y="851535"/>
                    </a:lnTo>
                    <a:lnTo>
                      <a:pt x="933450" y="841058"/>
                    </a:lnTo>
                    <a:lnTo>
                      <a:pt x="933450" y="830580"/>
                    </a:lnTo>
                    <a:lnTo>
                      <a:pt x="933450" y="820103"/>
                    </a:lnTo>
                    <a:lnTo>
                      <a:pt x="933450" y="808673"/>
                    </a:lnTo>
                    <a:lnTo>
                      <a:pt x="933450" y="798195"/>
                    </a:lnTo>
                    <a:lnTo>
                      <a:pt x="933450" y="787718"/>
                    </a:lnTo>
                    <a:lnTo>
                      <a:pt x="927735" y="784860"/>
                    </a:lnTo>
                    <a:lnTo>
                      <a:pt x="922020" y="782003"/>
                    </a:lnTo>
                    <a:lnTo>
                      <a:pt x="915353" y="781050"/>
                    </a:lnTo>
                    <a:lnTo>
                      <a:pt x="909638" y="778193"/>
                    </a:lnTo>
                    <a:lnTo>
                      <a:pt x="904875" y="774383"/>
                    </a:lnTo>
                    <a:lnTo>
                      <a:pt x="900113" y="770573"/>
                    </a:lnTo>
                    <a:lnTo>
                      <a:pt x="895350" y="766763"/>
                    </a:lnTo>
                    <a:lnTo>
                      <a:pt x="892493" y="762000"/>
                    </a:lnTo>
                    <a:lnTo>
                      <a:pt x="888683" y="757238"/>
                    </a:lnTo>
                    <a:lnTo>
                      <a:pt x="885825" y="752475"/>
                    </a:lnTo>
                    <a:lnTo>
                      <a:pt x="882968" y="746760"/>
                    </a:lnTo>
                    <a:lnTo>
                      <a:pt x="881063" y="740093"/>
                    </a:lnTo>
                    <a:lnTo>
                      <a:pt x="880110" y="737235"/>
                    </a:lnTo>
                    <a:lnTo>
                      <a:pt x="879158" y="734378"/>
                    </a:lnTo>
                    <a:lnTo>
                      <a:pt x="878205" y="730568"/>
                    </a:lnTo>
                    <a:lnTo>
                      <a:pt x="878205" y="726758"/>
                    </a:lnTo>
                    <a:lnTo>
                      <a:pt x="878205" y="722948"/>
                    </a:lnTo>
                    <a:lnTo>
                      <a:pt x="878205" y="719138"/>
                    </a:lnTo>
                    <a:lnTo>
                      <a:pt x="878205" y="715328"/>
                    </a:lnTo>
                    <a:lnTo>
                      <a:pt x="878205" y="711518"/>
                    </a:lnTo>
                    <a:lnTo>
                      <a:pt x="879158" y="705803"/>
                    </a:lnTo>
                    <a:lnTo>
                      <a:pt x="880110" y="701040"/>
                    </a:lnTo>
                    <a:lnTo>
                      <a:pt x="882015" y="695325"/>
                    </a:lnTo>
                    <a:lnTo>
                      <a:pt x="884873" y="690563"/>
                    </a:lnTo>
                    <a:lnTo>
                      <a:pt x="887730" y="685800"/>
                    </a:lnTo>
                    <a:lnTo>
                      <a:pt x="891540" y="681038"/>
                    </a:lnTo>
                    <a:lnTo>
                      <a:pt x="895350" y="677228"/>
                    </a:lnTo>
                    <a:lnTo>
                      <a:pt x="900113" y="673418"/>
                    </a:lnTo>
                    <a:lnTo>
                      <a:pt x="904875" y="669608"/>
                    </a:lnTo>
                    <a:lnTo>
                      <a:pt x="910590" y="665798"/>
                    </a:lnTo>
                    <a:lnTo>
                      <a:pt x="916305" y="661988"/>
                    </a:lnTo>
                    <a:lnTo>
                      <a:pt x="922973" y="659130"/>
                    </a:lnTo>
                    <a:lnTo>
                      <a:pt x="929640" y="655320"/>
                    </a:lnTo>
                    <a:lnTo>
                      <a:pt x="936308" y="652463"/>
                    </a:lnTo>
                    <a:lnTo>
                      <a:pt x="942975" y="647700"/>
                    </a:lnTo>
                    <a:lnTo>
                      <a:pt x="950595" y="644843"/>
                    </a:lnTo>
                    <a:lnTo>
                      <a:pt x="966788" y="639128"/>
                    </a:lnTo>
                    <a:lnTo>
                      <a:pt x="982980" y="634365"/>
                    </a:lnTo>
                    <a:lnTo>
                      <a:pt x="1000125" y="629603"/>
                    </a:lnTo>
                    <a:lnTo>
                      <a:pt x="1018223" y="624840"/>
                    </a:lnTo>
                    <a:lnTo>
                      <a:pt x="1054418" y="615315"/>
                    </a:lnTo>
                    <a:lnTo>
                      <a:pt x="1090613" y="605790"/>
                    </a:lnTo>
                    <a:lnTo>
                      <a:pt x="1104900" y="601028"/>
                    </a:lnTo>
                    <a:lnTo>
                      <a:pt x="1118235" y="596265"/>
                    </a:lnTo>
                    <a:lnTo>
                      <a:pt x="1130618" y="591503"/>
                    </a:lnTo>
                    <a:lnTo>
                      <a:pt x="1142048" y="586740"/>
                    </a:lnTo>
                    <a:lnTo>
                      <a:pt x="1153478" y="581978"/>
                    </a:lnTo>
                    <a:lnTo>
                      <a:pt x="1163955" y="577215"/>
                    </a:lnTo>
                    <a:lnTo>
                      <a:pt x="1173480" y="572453"/>
                    </a:lnTo>
                    <a:lnTo>
                      <a:pt x="1182053" y="567690"/>
                    </a:lnTo>
                    <a:lnTo>
                      <a:pt x="1190625" y="561975"/>
                    </a:lnTo>
                    <a:lnTo>
                      <a:pt x="1198245" y="557213"/>
                    </a:lnTo>
                    <a:lnTo>
                      <a:pt x="1204913" y="551498"/>
                    </a:lnTo>
                    <a:lnTo>
                      <a:pt x="1211580" y="545783"/>
                    </a:lnTo>
                    <a:lnTo>
                      <a:pt x="1217295" y="540068"/>
                    </a:lnTo>
                    <a:lnTo>
                      <a:pt x="1223010" y="534353"/>
                    </a:lnTo>
                    <a:lnTo>
                      <a:pt x="1227773" y="528638"/>
                    </a:lnTo>
                    <a:lnTo>
                      <a:pt x="1232535" y="521970"/>
                    </a:lnTo>
                    <a:lnTo>
                      <a:pt x="1236345" y="525780"/>
                    </a:lnTo>
                    <a:lnTo>
                      <a:pt x="1241108" y="529590"/>
                    </a:lnTo>
                    <a:lnTo>
                      <a:pt x="1244918" y="533400"/>
                    </a:lnTo>
                    <a:lnTo>
                      <a:pt x="1248728" y="537210"/>
                    </a:lnTo>
                    <a:lnTo>
                      <a:pt x="1247775" y="538163"/>
                    </a:lnTo>
                    <a:lnTo>
                      <a:pt x="1247775" y="538163"/>
                    </a:lnTo>
                    <a:lnTo>
                      <a:pt x="1248728" y="538163"/>
                    </a:lnTo>
                    <a:lnTo>
                      <a:pt x="1252538" y="541973"/>
                    </a:lnTo>
                    <a:lnTo>
                      <a:pt x="1173480" y="621030"/>
                    </a:lnTo>
                    <a:lnTo>
                      <a:pt x="1167765" y="616268"/>
                    </a:lnTo>
                    <a:lnTo>
                      <a:pt x="1162050" y="611505"/>
                    </a:lnTo>
                    <a:lnTo>
                      <a:pt x="1156335" y="606743"/>
                    </a:lnTo>
                    <a:lnTo>
                      <a:pt x="1150620" y="602933"/>
                    </a:lnTo>
                    <a:lnTo>
                      <a:pt x="1125855" y="610553"/>
                    </a:lnTo>
                    <a:lnTo>
                      <a:pt x="1134428" y="616268"/>
                    </a:lnTo>
                    <a:lnTo>
                      <a:pt x="1142048" y="622935"/>
                    </a:lnTo>
                    <a:lnTo>
                      <a:pt x="1152525" y="628650"/>
                    </a:lnTo>
                    <a:lnTo>
                      <a:pt x="1160145" y="635318"/>
                    </a:lnTo>
                    <a:lnTo>
                      <a:pt x="1129665" y="666750"/>
                    </a:lnTo>
                    <a:lnTo>
                      <a:pt x="1127760" y="664845"/>
                    </a:lnTo>
                    <a:lnTo>
                      <a:pt x="1093470" y="670560"/>
                    </a:lnTo>
                    <a:lnTo>
                      <a:pt x="1087755" y="679133"/>
                    </a:lnTo>
                    <a:lnTo>
                      <a:pt x="1080135" y="679133"/>
                    </a:lnTo>
                    <a:lnTo>
                      <a:pt x="1098233" y="661035"/>
                    </a:lnTo>
                    <a:lnTo>
                      <a:pt x="1093470" y="658178"/>
                    </a:lnTo>
                    <a:lnTo>
                      <a:pt x="1075373" y="681990"/>
                    </a:lnTo>
                    <a:lnTo>
                      <a:pt x="1080135" y="681990"/>
                    </a:lnTo>
                    <a:lnTo>
                      <a:pt x="1080135" y="690563"/>
                    </a:lnTo>
                    <a:lnTo>
                      <a:pt x="1085850" y="693420"/>
                    </a:lnTo>
                    <a:lnTo>
                      <a:pt x="1088708" y="701993"/>
                    </a:lnTo>
                    <a:lnTo>
                      <a:pt x="1076325" y="701993"/>
                    </a:lnTo>
                    <a:lnTo>
                      <a:pt x="1064895" y="701993"/>
                    </a:lnTo>
                    <a:lnTo>
                      <a:pt x="1036320" y="687705"/>
                    </a:lnTo>
                    <a:lnTo>
                      <a:pt x="1033463" y="803910"/>
                    </a:lnTo>
                    <a:lnTo>
                      <a:pt x="1059180" y="812483"/>
                    </a:lnTo>
                    <a:lnTo>
                      <a:pt x="1084898" y="823913"/>
                    </a:lnTo>
                    <a:lnTo>
                      <a:pt x="1107758" y="835343"/>
                    </a:lnTo>
                    <a:lnTo>
                      <a:pt x="1127760" y="852488"/>
                    </a:lnTo>
                    <a:lnTo>
                      <a:pt x="1147763" y="869633"/>
                    </a:lnTo>
                    <a:lnTo>
                      <a:pt x="1162050" y="892493"/>
                    </a:lnTo>
                    <a:lnTo>
                      <a:pt x="1170623" y="918210"/>
                    </a:lnTo>
                    <a:lnTo>
                      <a:pt x="1173480" y="932498"/>
                    </a:lnTo>
                    <a:lnTo>
                      <a:pt x="1173480" y="946785"/>
                    </a:lnTo>
                    <a:lnTo>
                      <a:pt x="1170623" y="975360"/>
                    </a:lnTo>
                    <a:lnTo>
                      <a:pt x="1162050" y="998220"/>
                    </a:lnTo>
                    <a:lnTo>
                      <a:pt x="1144905" y="1021080"/>
                    </a:lnTo>
                    <a:lnTo>
                      <a:pt x="1124903" y="1038225"/>
                    </a:lnTo>
                    <a:lnTo>
                      <a:pt x="1122045" y="1041083"/>
                    </a:lnTo>
                    <a:lnTo>
                      <a:pt x="1111568" y="1047750"/>
                    </a:lnTo>
                    <a:lnTo>
                      <a:pt x="1104900" y="1051560"/>
                    </a:lnTo>
                    <a:lnTo>
                      <a:pt x="1098233" y="1055370"/>
                    </a:lnTo>
                    <a:lnTo>
                      <a:pt x="1091565" y="1058228"/>
                    </a:lnTo>
                    <a:lnTo>
                      <a:pt x="1083945" y="1061085"/>
                    </a:lnTo>
                    <a:lnTo>
                      <a:pt x="1077278" y="1063943"/>
                    </a:lnTo>
                    <a:lnTo>
                      <a:pt x="1039178" y="1075373"/>
                    </a:lnTo>
                    <a:lnTo>
                      <a:pt x="1035368" y="1076325"/>
                    </a:lnTo>
                    <a:lnTo>
                      <a:pt x="1030605" y="1077278"/>
                    </a:lnTo>
                    <a:lnTo>
                      <a:pt x="1030605" y="1079183"/>
                    </a:lnTo>
                    <a:lnTo>
                      <a:pt x="1029653" y="1079183"/>
                    </a:lnTo>
                    <a:lnTo>
                      <a:pt x="1026795" y="1141095"/>
                    </a:lnTo>
                    <a:lnTo>
                      <a:pt x="1046798" y="1149668"/>
                    </a:lnTo>
                    <a:lnTo>
                      <a:pt x="1066800" y="1161098"/>
                    </a:lnTo>
                    <a:lnTo>
                      <a:pt x="1083945" y="1175385"/>
                    </a:lnTo>
                    <a:lnTo>
                      <a:pt x="1101090" y="1192530"/>
                    </a:lnTo>
                    <a:lnTo>
                      <a:pt x="1105853" y="1200150"/>
                    </a:lnTo>
                    <a:lnTo>
                      <a:pt x="1115378" y="1218248"/>
                    </a:lnTo>
                    <a:lnTo>
                      <a:pt x="1123950" y="1238250"/>
                    </a:lnTo>
                    <a:lnTo>
                      <a:pt x="1129665" y="1266825"/>
                    </a:lnTo>
                    <a:lnTo>
                      <a:pt x="1129665" y="1301115"/>
                    </a:lnTo>
                    <a:lnTo>
                      <a:pt x="1129665" y="1318260"/>
                    </a:lnTo>
                    <a:lnTo>
                      <a:pt x="1124903" y="1326833"/>
                    </a:lnTo>
                    <a:lnTo>
                      <a:pt x="1119188" y="1332548"/>
                    </a:lnTo>
                    <a:lnTo>
                      <a:pt x="1119188" y="1332548"/>
                    </a:lnTo>
                    <a:lnTo>
                      <a:pt x="1120140" y="1333500"/>
                    </a:lnTo>
                    <a:lnTo>
                      <a:pt x="1107758" y="1336358"/>
                    </a:lnTo>
                    <a:lnTo>
                      <a:pt x="1096328" y="1339215"/>
                    </a:lnTo>
                    <a:lnTo>
                      <a:pt x="1083945" y="1341120"/>
                    </a:lnTo>
                    <a:lnTo>
                      <a:pt x="1071563" y="1343025"/>
                    </a:lnTo>
                    <a:lnTo>
                      <a:pt x="1057275" y="1343025"/>
                    </a:lnTo>
                    <a:lnTo>
                      <a:pt x="1044893" y="1344930"/>
                    </a:lnTo>
                    <a:lnTo>
                      <a:pt x="1032510" y="1345883"/>
                    </a:lnTo>
                    <a:lnTo>
                      <a:pt x="1020128" y="1346835"/>
                    </a:lnTo>
                    <a:lnTo>
                      <a:pt x="1019175" y="1370648"/>
                    </a:lnTo>
                    <a:lnTo>
                      <a:pt x="1031558" y="1369695"/>
                    </a:lnTo>
                    <a:lnTo>
                      <a:pt x="1043940" y="1368743"/>
                    </a:lnTo>
                    <a:lnTo>
                      <a:pt x="1056323" y="1366838"/>
                    </a:lnTo>
                    <a:lnTo>
                      <a:pt x="1068705" y="1364933"/>
                    </a:lnTo>
                    <a:lnTo>
                      <a:pt x="1081088" y="1363028"/>
                    </a:lnTo>
                    <a:lnTo>
                      <a:pt x="1093470" y="1360170"/>
                    </a:lnTo>
                    <a:lnTo>
                      <a:pt x="1105853" y="1357313"/>
                    </a:lnTo>
                    <a:lnTo>
                      <a:pt x="1118235" y="1354455"/>
                    </a:lnTo>
                    <a:lnTo>
                      <a:pt x="1129665" y="1351598"/>
                    </a:lnTo>
                    <a:lnTo>
                      <a:pt x="1142048" y="1348740"/>
                    </a:lnTo>
                    <a:lnTo>
                      <a:pt x="1153478" y="1344930"/>
                    </a:lnTo>
                    <a:lnTo>
                      <a:pt x="1164908" y="1341120"/>
                    </a:lnTo>
                    <a:lnTo>
                      <a:pt x="1176338" y="1337310"/>
                    </a:lnTo>
                    <a:lnTo>
                      <a:pt x="1187768" y="1333500"/>
                    </a:lnTo>
                    <a:lnTo>
                      <a:pt x="1199198" y="1328738"/>
                    </a:lnTo>
                    <a:lnTo>
                      <a:pt x="1209675" y="1323975"/>
                    </a:lnTo>
                    <a:lnTo>
                      <a:pt x="1220153" y="1319213"/>
                    </a:lnTo>
                    <a:lnTo>
                      <a:pt x="1230630" y="1313498"/>
                    </a:lnTo>
                    <a:lnTo>
                      <a:pt x="1241108" y="1307783"/>
                    </a:lnTo>
                    <a:lnTo>
                      <a:pt x="1251585" y="1302068"/>
                    </a:lnTo>
                    <a:lnTo>
                      <a:pt x="1262063" y="1296353"/>
                    </a:lnTo>
                    <a:lnTo>
                      <a:pt x="1272540" y="1289685"/>
                    </a:lnTo>
                    <a:lnTo>
                      <a:pt x="1282065" y="1283018"/>
                    </a:lnTo>
                    <a:lnTo>
                      <a:pt x="1292543" y="1276350"/>
                    </a:lnTo>
                    <a:lnTo>
                      <a:pt x="1302068" y="1269683"/>
                    </a:lnTo>
                    <a:lnTo>
                      <a:pt x="1311593" y="1263015"/>
                    </a:lnTo>
                    <a:lnTo>
                      <a:pt x="1321118" y="1256348"/>
                    </a:lnTo>
                    <a:lnTo>
                      <a:pt x="1330643" y="1248728"/>
                    </a:lnTo>
                    <a:lnTo>
                      <a:pt x="1340168" y="1241108"/>
                    </a:lnTo>
                    <a:lnTo>
                      <a:pt x="1349693" y="1233488"/>
                    </a:lnTo>
                    <a:lnTo>
                      <a:pt x="1358265" y="1225868"/>
                    </a:lnTo>
                    <a:lnTo>
                      <a:pt x="1366838" y="1217295"/>
                    </a:lnTo>
                    <a:lnTo>
                      <a:pt x="1444943" y="1295400"/>
                    </a:lnTo>
                    <a:lnTo>
                      <a:pt x="1433513" y="1305878"/>
                    </a:lnTo>
                    <a:lnTo>
                      <a:pt x="1422083" y="1316355"/>
                    </a:lnTo>
                    <a:lnTo>
                      <a:pt x="1410653" y="1326833"/>
                    </a:lnTo>
                    <a:lnTo>
                      <a:pt x="1398270" y="1336358"/>
                    </a:lnTo>
                    <a:lnTo>
                      <a:pt x="1385888" y="1345883"/>
                    </a:lnTo>
                    <a:lnTo>
                      <a:pt x="1373505" y="1355408"/>
                    </a:lnTo>
                    <a:lnTo>
                      <a:pt x="1361123" y="1364933"/>
                    </a:lnTo>
                    <a:lnTo>
                      <a:pt x="1348740" y="1373505"/>
                    </a:lnTo>
                    <a:lnTo>
                      <a:pt x="1335405" y="1382078"/>
                    </a:lnTo>
                    <a:lnTo>
                      <a:pt x="1322070" y="1389698"/>
                    </a:lnTo>
                    <a:lnTo>
                      <a:pt x="1308735" y="1397318"/>
                    </a:lnTo>
                    <a:lnTo>
                      <a:pt x="1295400" y="1404938"/>
                    </a:lnTo>
                    <a:lnTo>
                      <a:pt x="1281113" y="1411605"/>
                    </a:lnTo>
                    <a:lnTo>
                      <a:pt x="1266825" y="1418273"/>
                    </a:lnTo>
                    <a:lnTo>
                      <a:pt x="1252538" y="1424940"/>
                    </a:lnTo>
                    <a:lnTo>
                      <a:pt x="1238250" y="1430655"/>
                    </a:lnTo>
                    <a:lnTo>
                      <a:pt x="1223963" y="1436370"/>
                    </a:lnTo>
                    <a:lnTo>
                      <a:pt x="1209675" y="1442085"/>
                    </a:lnTo>
                    <a:lnTo>
                      <a:pt x="1194435" y="1447800"/>
                    </a:lnTo>
                    <a:lnTo>
                      <a:pt x="1179195" y="1452563"/>
                    </a:lnTo>
                    <a:lnTo>
                      <a:pt x="1163955" y="1456373"/>
                    </a:lnTo>
                    <a:lnTo>
                      <a:pt x="1148715" y="1460183"/>
                    </a:lnTo>
                    <a:lnTo>
                      <a:pt x="1133475" y="1463993"/>
                    </a:lnTo>
                    <a:lnTo>
                      <a:pt x="1117283" y="1466850"/>
                    </a:lnTo>
                    <a:lnTo>
                      <a:pt x="1101090" y="1469708"/>
                    </a:lnTo>
                    <a:lnTo>
                      <a:pt x="1084898" y="1472565"/>
                    </a:lnTo>
                    <a:lnTo>
                      <a:pt x="1068705" y="1474470"/>
                    </a:lnTo>
                    <a:lnTo>
                      <a:pt x="1052513" y="1476375"/>
                    </a:lnTo>
                    <a:lnTo>
                      <a:pt x="1036320" y="1478280"/>
                    </a:lnTo>
                    <a:lnTo>
                      <a:pt x="1020128" y="1479233"/>
                    </a:lnTo>
                    <a:lnTo>
                      <a:pt x="1003935" y="1480185"/>
                    </a:lnTo>
                    <a:lnTo>
                      <a:pt x="986790" y="1480185"/>
                    </a:lnTo>
                    <a:lnTo>
                      <a:pt x="970598" y="1480185"/>
                    </a:lnTo>
                    <a:lnTo>
                      <a:pt x="954405" y="1479233"/>
                    </a:lnTo>
                    <a:lnTo>
                      <a:pt x="938213" y="1478280"/>
                    </a:lnTo>
                    <a:lnTo>
                      <a:pt x="922020" y="1477328"/>
                    </a:lnTo>
                    <a:lnTo>
                      <a:pt x="905828" y="1475423"/>
                    </a:lnTo>
                    <a:lnTo>
                      <a:pt x="889635" y="1472565"/>
                    </a:lnTo>
                    <a:lnTo>
                      <a:pt x="873443" y="1469708"/>
                    </a:lnTo>
                    <a:lnTo>
                      <a:pt x="858203" y="1466850"/>
                    </a:lnTo>
                    <a:lnTo>
                      <a:pt x="842010" y="1463040"/>
                    </a:lnTo>
                    <a:lnTo>
                      <a:pt x="826770" y="1459230"/>
                    </a:lnTo>
                    <a:lnTo>
                      <a:pt x="811530" y="1455420"/>
                    </a:lnTo>
                    <a:lnTo>
                      <a:pt x="796290" y="1451610"/>
                    </a:lnTo>
                    <a:lnTo>
                      <a:pt x="782003" y="1446848"/>
                    </a:lnTo>
                    <a:lnTo>
                      <a:pt x="766763" y="1441133"/>
                    </a:lnTo>
                    <a:lnTo>
                      <a:pt x="751523" y="1435418"/>
                    </a:lnTo>
                    <a:lnTo>
                      <a:pt x="737235" y="1429703"/>
                    </a:lnTo>
                    <a:lnTo>
                      <a:pt x="722948" y="1423988"/>
                    </a:lnTo>
                    <a:lnTo>
                      <a:pt x="708660" y="1417320"/>
                    </a:lnTo>
                    <a:lnTo>
                      <a:pt x="694373" y="1410653"/>
                    </a:lnTo>
                    <a:lnTo>
                      <a:pt x="681038" y="1403985"/>
                    </a:lnTo>
                    <a:lnTo>
                      <a:pt x="667703" y="1396365"/>
                    </a:lnTo>
                    <a:lnTo>
                      <a:pt x="654368" y="1388745"/>
                    </a:lnTo>
                    <a:lnTo>
                      <a:pt x="641033" y="1381125"/>
                    </a:lnTo>
                    <a:lnTo>
                      <a:pt x="627698" y="1372553"/>
                    </a:lnTo>
                    <a:lnTo>
                      <a:pt x="614363" y="1363980"/>
                    </a:lnTo>
                    <a:lnTo>
                      <a:pt x="601980" y="1355408"/>
                    </a:lnTo>
                    <a:lnTo>
                      <a:pt x="589598" y="1345883"/>
                    </a:lnTo>
                    <a:lnTo>
                      <a:pt x="577215" y="1336358"/>
                    </a:lnTo>
                    <a:lnTo>
                      <a:pt x="564833" y="1326833"/>
                    </a:lnTo>
                    <a:lnTo>
                      <a:pt x="552450" y="1317308"/>
                    </a:lnTo>
                    <a:lnTo>
                      <a:pt x="541020" y="1306830"/>
                    </a:lnTo>
                    <a:lnTo>
                      <a:pt x="529590" y="1296353"/>
                    </a:lnTo>
                    <a:lnTo>
                      <a:pt x="607695" y="1218248"/>
                    </a:lnTo>
                    <a:lnTo>
                      <a:pt x="616268" y="1225868"/>
                    </a:lnTo>
                    <a:lnTo>
                      <a:pt x="624840" y="1233488"/>
                    </a:lnTo>
                    <a:lnTo>
                      <a:pt x="633413" y="1241108"/>
                    </a:lnTo>
                    <a:lnTo>
                      <a:pt x="641985" y="1247775"/>
                    </a:lnTo>
                    <a:lnTo>
                      <a:pt x="650558" y="1254443"/>
                    </a:lnTo>
                    <a:lnTo>
                      <a:pt x="660083" y="1261110"/>
                    </a:lnTo>
                    <a:lnTo>
                      <a:pt x="668655" y="1267778"/>
                    </a:lnTo>
                    <a:lnTo>
                      <a:pt x="678180" y="1274445"/>
                    </a:lnTo>
                    <a:lnTo>
                      <a:pt x="687705" y="1281113"/>
                    </a:lnTo>
                    <a:lnTo>
                      <a:pt x="697230" y="1286828"/>
                    </a:lnTo>
                    <a:lnTo>
                      <a:pt x="706755" y="1292543"/>
                    </a:lnTo>
                    <a:lnTo>
                      <a:pt x="716280" y="1298258"/>
                    </a:lnTo>
                    <a:lnTo>
                      <a:pt x="725805" y="1303973"/>
                    </a:lnTo>
                    <a:lnTo>
                      <a:pt x="735330" y="1309688"/>
                    </a:lnTo>
                    <a:lnTo>
                      <a:pt x="745808" y="1314450"/>
                    </a:lnTo>
                    <a:lnTo>
                      <a:pt x="756285" y="1319213"/>
                    </a:lnTo>
                    <a:lnTo>
                      <a:pt x="766763" y="1323975"/>
                    </a:lnTo>
                    <a:lnTo>
                      <a:pt x="777240" y="1328738"/>
                    </a:lnTo>
                    <a:lnTo>
                      <a:pt x="787718" y="1332548"/>
                    </a:lnTo>
                    <a:lnTo>
                      <a:pt x="798195" y="1336358"/>
                    </a:lnTo>
                    <a:lnTo>
                      <a:pt x="809625" y="1343025"/>
                    </a:lnTo>
                    <a:lnTo>
                      <a:pt x="820103" y="1346835"/>
                    </a:lnTo>
                    <a:lnTo>
                      <a:pt x="830580" y="1350645"/>
                    </a:lnTo>
                    <a:lnTo>
                      <a:pt x="842010" y="1353503"/>
                    </a:lnTo>
                    <a:lnTo>
                      <a:pt x="853440" y="1356360"/>
                    </a:lnTo>
                    <a:lnTo>
                      <a:pt x="864870" y="1359218"/>
                    </a:lnTo>
                    <a:lnTo>
                      <a:pt x="876300" y="1362075"/>
                    </a:lnTo>
                    <a:lnTo>
                      <a:pt x="887730" y="1363980"/>
                    </a:lnTo>
                    <a:lnTo>
                      <a:pt x="899160" y="1365885"/>
                    </a:lnTo>
                    <a:lnTo>
                      <a:pt x="910590" y="1367790"/>
                    </a:lnTo>
                    <a:lnTo>
                      <a:pt x="922020" y="1369695"/>
                    </a:lnTo>
                    <a:lnTo>
                      <a:pt x="934403" y="1370648"/>
                    </a:lnTo>
                    <a:lnTo>
                      <a:pt x="934403" y="1346835"/>
                    </a:lnTo>
                    <a:lnTo>
                      <a:pt x="923925" y="1345883"/>
                    </a:lnTo>
                    <a:lnTo>
                      <a:pt x="912495" y="1343978"/>
                    </a:lnTo>
                    <a:lnTo>
                      <a:pt x="902018" y="1342073"/>
                    </a:lnTo>
                    <a:lnTo>
                      <a:pt x="890588" y="1340168"/>
                    </a:lnTo>
                    <a:lnTo>
                      <a:pt x="880110" y="1338263"/>
                    </a:lnTo>
                    <a:lnTo>
                      <a:pt x="869633" y="1336358"/>
                    </a:lnTo>
                    <a:lnTo>
                      <a:pt x="859155" y="1333500"/>
                    </a:lnTo>
                    <a:lnTo>
                      <a:pt x="848678" y="1330643"/>
                    </a:lnTo>
                    <a:lnTo>
                      <a:pt x="838200" y="1327785"/>
                    </a:lnTo>
                    <a:lnTo>
                      <a:pt x="827723" y="1324928"/>
                    </a:lnTo>
                    <a:lnTo>
                      <a:pt x="817245" y="1321118"/>
                    </a:lnTo>
                    <a:lnTo>
                      <a:pt x="806768" y="1317308"/>
                    </a:lnTo>
                    <a:lnTo>
                      <a:pt x="796290" y="1313498"/>
                    </a:lnTo>
                    <a:lnTo>
                      <a:pt x="785813" y="1309688"/>
                    </a:lnTo>
                    <a:lnTo>
                      <a:pt x="776288" y="1305878"/>
                    </a:lnTo>
                    <a:lnTo>
                      <a:pt x="766763" y="1301115"/>
                    </a:lnTo>
                    <a:lnTo>
                      <a:pt x="757238" y="1296353"/>
                    </a:lnTo>
                    <a:lnTo>
                      <a:pt x="747713" y="1291590"/>
                    </a:lnTo>
                    <a:lnTo>
                      <a:pt x="738188" y="1286828"/>
                    </a:lnTo>
                    <a:lnTo>
                      <a:pt x="728663" y="1281113"/>
                    </a:lnTo>
                    <a:lnTo>
                      <a:pt x="719138" y="1275398"/>
                    </a:lnTo>
                    <a:lnTo>
                      <a:pt x="709613" y="1269683"/>
                    </a:lnTo>
                    <a:lnTo>
                      <a:pt x="700088" y="1263968"/>
                    </a:lnTo>
                    <a:lnTo>
                      <a:pt x="691515" y="1258253"/>
                    </a:lnTo>
                    <a:lnTo>
                      <a:pt x="682943" y="1251585"/>
                    </a:lnTo>
                    <a:lnTo>
                      <a:pt x="674370" y="1245870"/>
                    </a:lnTo>
                    <a:lnTo>
                      <a:pt x="665798" y="1239203"/>
                    </a:lnTo>
                    <a:lnTo>
                      <a:pt x="657225" y="1232535"/>
                    </a:lnTo>
                    <a:lnTo>
                      <a:pt x="648653" y="1225868"/>
                    </a:lnTo>
                    <a:lnTo>
                      <a:pt x="640080" y="1219200"/>
                    </a:lnTo>
                    <a:lnTo>
                      <a:pt x="632460" y="1212533"/>
                    </a:lnTo>
                    <a:lnTo>
                      <a:pt x="624840" y="1205865"/>
                    </a:lnTo>
                    <a:lnTo>
                      <a:pt x="644843" y="1185863"/>
                    </a:lnTo>
                    <a:lnTo>
                      <a:pt x="645795" y="1186815"/>
                    </a:lnTo>
                    <a:lnTo>
                      <a:pt x="674370" y="1189673"/>
                    </a:lnTo>
                    <a:lnTo>
                      <a:pt x="688658" y="1172528"/>
                    </a:lnTo>
                    <a:lnTo>
                      <a:pt x="728663" y="1175385"/>
                    </a:lnTo>
                    <a:lnTo>
                      <a:pt x="734378" y="1161098"/>
                    </a:lnTo>
                    <a:lnTo>
                      <a:pt x="734378" y="1155383"/>
                    </a:lnTo>
                    <a:lnTo>
                      <a:pt x="735330" y="1156335"/>
                    </a:lnTo>
                    <a:lnTo>
                      <a:pt x="735330" y="1155383"/>
                    </a:lnTo>
                    <a:lnTo>
                      <a:pt x="735330" y="1155383"/>
                    </a:lnTo>
                    <a:lnTo>
                      <a:pt x="745808" y="1163003"/>
                    </a:lnTo>
                    <a:lnTo>
                      <a:pt x="756285" y="1170623"/>
                    </a:lnTo>
                    <a:lnTo>
                      <a:pt x="767715" y="1177290"/>
                    </a:lnTo>
                    <a:lnTo>
                      <a:pt x="779145" y="1183958"/>
                    </a:lnTo>
                    <a:lnTo>
                      <a:pt x="790575" y="1190625"/>
                    </a:lnTo>
                    <a:lnTo>
                      <a:pt x="802005" y="1197293"/>
                    </a:lnTo>
                    <a:lnTo>
                      <a:pt x="814388" y="1203008"/>
                    </a:lnTo>
                    <a:lnTo>
                      <a:pt x="826770" y="1207770"/>
                    </a:lnTo>
                    <a:lnTo>
                      <a:pt x="839153" y="1212533"/>
                    </a:lnTo>
                    <a:lnTo>
                      <a:pt x="851535" y="1217295"/>
                    </a:lnTo>
                    <a:lnTo>
                      <a:pt x="864870" y="1221105"/>
                    </a:lnTo>
                    <a:lnTo>
                      <a:pt x="877253" y="1224915"/>
                    </a:lnTo>
                    <a:lnTo>
                      <a:pt x="890588" y="1228725"/>
                    </a:lnTo>
                    <a:lnTo>
                      <a:pt x="903923" y="1231583"/>
                    </a:lnTo>
                    <a:lnTo>
                      <a:pt x="917258" y="1233488"/>
                    </a:lnTo>
                    <a:lnTo>
                      <a:pt x="931545" y="1235393"/>
                    </a:lnTo>
                    <a:lnTo>
                      <a:pt x="931545" y="1210628"/>
                    </a:lnTo>
                    <a:lnTo>
                      <a:pt x="916305" y="1207770"/>
                    </a:lnTo>
                    <a:lnTo>
                      <a:pt x="901065" y="1204913"/>
                    </a:lnTo>
                    <a:lnTo>
                      <a:pt x="885825" y="1201103"/>
                    </a:lnTo>
                    <a:lnTo>
                      <a:pt x="871538" y="1197293"/>
                    </a:lnTo>
                    <a:lnTo>
                      <a:pt x="857250" y="1192530"/>
                    </a:lnTo>
                    <a:lnTo>
                      <a:pt x="842963" y="1187768"/>
                    </a:lnTo>
                    <a:lnTo>
                      <a:pt x="828675" y="1182053"/>
                    </a:lnTo>
                    <a:lnTo>
                      <a:pt x="814388" y="1175385"/>
                    </a:lnTo>
                    <a:lnTo>
                      <a:pt x="801053" y="1168718"/>
                    </a:lnTo>
                    <a:lnTo>
                      <a:pt x="787718" y="1162050"/>
                    </a:lnTo>
                    <a:lnTo>
                      <a:pt x="775335" y="1154430"/>
                    </a:lnTo>
                    <a:lnTo>
                      <a:pt x="762953" y="1145858"/>
                    </a:lnTo>
                    <a:lnTo>
                      <a:pt x="750570" y="1137285"/>
                    </a:lnTo>
                    <a:lnTo>
                      <a:pt x="739140" y="1128713"/>
                    </a:lnTo>
                    <a:lnTo>
                      <a:pt x="727710" y="1119188"/>
                    </a:lnTo>
                    <a:lnTo>
                      <a:pt x="716280" y="1108710"/>
                    </a:lnTo>
                    <a:lnTo>
                      <a:pt x="795338" y="1029653"/>
                    </a:lnTo>
                    <a:lnTo>
                      <a:pt x="802005" y="1035368"/>
                    </a:lnTo>
                    <a:lnTo>
                      <a:pt x="809625" y="1042035"/>
                    </a:lnTo>
                    <a:lnTo>
                      <a:pt x="817245" y="1047750"/>
                    </a:lnTo>
                    <a:lnTo>
                      <a:pt x="824865" y="1053465"/>
                    </a:lnTo>
                    <a:lnTo>
                      <a:pt x="832485" y="1058228"/>
                    </a:lnTo>
                    <a:lnTo>
                      <a:pt x="841058" y="1062990"/>
                    </a:lnTo>
                    <a:lnTo>
                      <a:pt x="849630" y="1067753"/>
                    </a:lnTo>
                    <a:lnTo>
                      <a:pt x="858203" y="1072515"/>
                    </a:lnTo>
                    <a:lnTo>
                      <a:pt x="858203" y="1071563"/>
                    </a:lnTo>
                    <a:lnTo>
                      <a:pt x="861060" y="1060133"/>
                    </a:lnTo>
                    <a:lnTo>
                      <a:pt x="864870" y="1052513"/>
                    </a:lnTo>
                    <a:lnTo>
                      <a:pt x="857250" y="1048703"/>
                    </a:lnTo>
                    <a:lnTo>
                      <a:pt x="849630" y="1044893"/>
                    </a:lnTo>
                    <a:lnTo>
                      <a:pt x="842963" y="1041083"/>
                    </a:lnTo>
                    <a:lnTo>
                      <a:pt x="836295" y="1036320"/>
                    </a:lnTo>
                    <a:lnTo>
                      <a:pt x="829628" y="1031558"/>
                    </a:lnTo>
                    <a:lnTo>
                      <a:pt x="822960" y="1025843"/>
                    </a:lnTo>
                    <a:lnTo>
                      <a:pt x="816293" y="1021080"/>
                    </a:lnTo>
                    <a:lnTo>
                      <a:pt x="809625" y="1015365"/>
                    </a:lnTo>
                    <a:lnTo>
                      <a:pt x="889635" y="935355"/>
                    </a:lnTo>
                    <a:lnTo>
                      <a:pt x="894398" y="939165"/>
                    </a:lnTo>
                    <a:lnTo>
                      <a:pt x="899160" y="942975"/>
                    </a:lnTo>
                    <a:lnTo>
                      <a:pt x="904875" y="945833"/>
                    </a:lnTo>
                    <a:lnTo>
                      <a:pt x="909638" y="948690"/>
                    </a:lnTo>
                    <a:lnTo>
                      <a:pt x="915353" y="951548"/>
                    </a:lnTo>
                    <a:lnTo>
                      <a:pt x="920115" y="954405"/>
                    </a:lnTo>
                    <a:lnTo>
                      <a:pt x="925830" y="957263"/>
                    </a:lnTo>
                    <a:lnTo>
                      <a:pt x="931545" y="959168"/>
                    </a:lnTo>
                    <a:lnTo>
                      <a:pt x="931545" y="935355"/>
                    </a:lnTo>
                    <a:lnTo>
                      <a:pt x="924878" y="932498"/>
                    </a:lnTo>
                    <a:lnTo>
                      <a:pt x="918210" y="928688"/>
                    </a:lnTo>
                    <a:lnTo>
                      <a:pt x="911543" y="924878"/>
                    </a:lnTo>
                    <a:lnTo>
                      <a:pt x="905828" y="920115"/>
                    </a:lnTo>
                    <a:lnTo>
                      <a:pt x="929640" y="896303"/>
                    </a:lnTo>
                    <a:lnTo>
                      <a:pt x="908685" y="885825"/>
                    </a:lnTo>
                    <a:lnTo>
                      <a:pt x="892493" y="902018"/>
                    </a:lnTo>
                    <a:lnTo>
                      <a:pt x="887730" y="895350"/>
                    </a:lnTo>
                    <a:lnTo>
                      <a:pt x="882968" y="888683"/>
                    </a:lnTo>
                    <a:lnTo>
                      <a:pt x="879158" y="882015"/>
                    </a:lnTo>
                    <a:lnTo>
                      <a:pt x="875348" y="874395"/>
                    </a:lnTo>
                    <a:lnTo>
                      <a:pt x="859155" y="868680"/>
                    </a:lnTo>
                    <a:lnTo>
                      <a:pt x="856298" y="867728"/>
                    </a:lnTo>
                    <a:lnTo>
                      <a:pt x="855345" y="866775"/>
                    </a:lnTo>
                    <a:lnTo>
                      <a:pt x="835343" y="855345"/>
                    </a:lnTo>
                    <a:lnTo>
                      <a:pt x="818198" y="843915"/>
                    </a:lnTo>
                    <a:lnTo>
                      <a:pt x="803910" y="829628"/>
                    </a:lnTo>
                    <a:lnTo>
                      <a:pt x="789623" y="815340"/>
                    </a:lnTo>
                    <a:lnTo>
                      <a:pt x="781050" y="798195"/>
                    </a:lnTo>
                    <a:lnTo>
                      <a:pt x="772478" y="781050"/>
                    </a:lnTo>
                    <a:lnTo>
                      <a:pt x="766763" y="762000"/>
                    </a:lnTo>
                    <a:lnTo>
                      <a:pt x="761048" y="744855"/>
                    </a:lnTo>
                    <a:lnTo>
                      <a:pt x="761048" y="721043"/>
                    </a:lnTo>
                    <a:lnTo>
                      <a:pt x="762953" y="695325"/>
                    </a:lnTo>
                    <a:lnTo>
                      <a:pt x="767715" y="671513"/>
                    </a:lnTo>
                    <a:lnTo>
                      <a:pt x="769620" y="664845"/>
                    </a:lnTo>
                    <a:lnTo>
                      <a:pt x="782955" y="635318"/>
                    </a:lnTo>
                    <a:lnTo>
                      <a:pt x="787718" y="627698"/>
                    </a:lnTo>
                    <a:lnTo>
                      <a:pt x="785813" y="628650"/>
                    </a:lnTo>
                    <a:lnTo>
                      <a:pt x="786765" y="624840"/>
                    </a:lnTo>
                    <a:lnTo>
                      <a:pt x="796290" y="613410"/>
                    </a:lnTo>
                    <a:lnTo>
                      <a:pt x="720090" y="536258"/>
                    </a:lnTo>
                    <a:lnTo>
                      <a:pt x="730568" y="526733"/>
                    </a:lnTo>
                    <a:lnTo>
                      <a:pt x="741998" y="517208"/>
                    </a:lnTo>
                    <a:lnTo>
                      <a:pt x="753428" y="508635"/>
                    </a:lnTo>
                    <a:lnTo>
                      <a:pt x="765810" y="500063"/>
                    </a:lnTo>
                    <a:lnTo>
                      <a:pt x="778193" y="491490"/>
                    </a:lnTo>
                    <a:lnTo>
                      <a:pt x="790575" y="483870"/>
                    </a:lnTo>
                    <a:lnTo>
                      <a:pt x="802958" y="477203"/>
                    </a:lnTo>
                    <a:lnTo>
                      <a:pt x="815340" y="470535"/>
                    </a:lnTo>
                    <a:lnTo>
                      <a:pt x="828675" y="463868"/>
                    </a:lnTo>
                    <a:lnTo>
                      <a:pt x="842010" y="458153"/>
                    </a:lnTo>
                    <a:lnTo>
                      <a:pt x="855345" y="452438"/>
                    </a:lnTo>
                    <a:lnTo>
                      <a:pt x="869633" y="447675"/>
                    </a:lnTo>
                    <a:lnTo>
                      <a:pt x="883920" y="443865"/>
                    </a:lnTo>
                    <a:lnTo>
                      <a:pt x="898208" y="440055"/>
                    </a:lnTo>
                    <a:lnTo>
                      <a:pt x="912495" y="437198"/>
                    </a:lnTo>
                    <a:lnTo>
                      <a:pt x="927735" y="434340"/>
                    </a:lnTo>
                    <a:lnTo>
                      <a:pt x="927735" y="410528"/>
                    </a:lnTo>
                    <a:lnTo>
                      <a:pt x="911543" y="413385"/>
                    </a:lnTo>
                    <a:lnTo>
                      <a:pt x="895350" y="416243"/>
                    </a:lnTo>
                    <a:lnTo>
                      <a:pt x="880110" y="420053"/>
                    </a:lnTo>
                    <a:lnTo>
                      <a:pt x="864870" y="423863"/>
                    </a:lnTo>
                    <a:lnTo>
                      <a:pt x="849630" y="428625"/>
                    </a:lnTo>
                    <a:lnTo>
                      <a:pt x="835343" y="434340"/>
                    </a:lnTo>
                    <a:lnTo>
                      <a:pt x="819150" y="443865"/>
                    </a:lnTo>
                    <a:lnTo>
                      <a:pt x="804863" y="450533"/>
                    </a:lnTo>
                    <a:lnTo>
                      <a:pt x="791528" y="457200"/>
                    </a:lnTo>
                    <a:lnTo>
                      <a:pt x="778193" y="464820"/>
                    </a:lnTo>
                    <a:lnTo>
                      <a:pt x="764858" y="473393"/>
                    </a:lnTo>
                    <a:lnTo>
                      <a:pt x="751523" y="481965"/>
                    </a:lnTo>
                    <a:lnTo>
                      <a:pt x="739140" y="491490"/>
                    </a:lnTo>
                    <a:lnTo>
                      <a:pt x="726758" y="501015"/>
                    </a:lnTo>
                    <a:lnTo>
                      <a:pt x="714375" y="510540"/>
                    </a:lnTo>
                    <a:lnTo>
                      <a:pt x="702945" y="521018"/>
                    </a:lnTo>
                    <a:lnTo>
                      <a:pt x="691515" y="509588"/>
                    </a:lnTo>
                    <a:lnTo>
                      <a:pt x="680085" y="531495"/>
                    </a:lnTo>
                    <a:lnTo>
                      <a:pt x="686753" y="538163"/>
                    </a:lnTo>
                    <a:lnTo>
                      <a:pt x="680085" y="544830"/>
                    </a:lnTo>
                    <a:lnTo>
                      <a:pt x="674370" y="551498"/>
                    </a:lnTo>
                    <a:lnTo>
                      <a:pt x="668655" y="558165"/>
                    </a:lnTo>
                    <a:lnTo>
                      <a:pt x="662940" y="564833"/>
                    </a:lnTo>
                    <a:lnTo>
                      <a:pt x="657225" y="572453"/>
                    </a:lnTo>
                    <a:lnTo>
                      <a:pt x="651510" y="580073"/>
                    </a:lnTo>
                    <a:lnTo>
                      <a:pt x="646748" y="587693"/>
                    </a:lnTo>
                    <a:lnTo>
                      <a:pt x="641033" y="595313"/>
                    </a:lnTo>
                    <a:lnTo>
                      <a:pt x="636270" y="602933"/>
                    </a:lnTo>
                    <a:lnTo>
                      <a:pt x="631508" y="610553"/>
                    </a:lnTo>
                    <a:lnTo>
                      <a:pt x="625793" y="619125"/>
                    </a:lnTo>
                    <a:lnTo>
                      <a:pt x="621030" y="627698"/>
                    </a:lnTo>
                    <a:lnTo>
                      <a:pt x="617220" y="636270"/>
                    </a:lnTo>
                    <a:lnTo>
                      <a:pt x="613410" y="643890"/>
                    </a:lnTo>
                    <a:lnTo>
                      <a:pt x="609600" y="652463"/>
                    </a:lnTo>
                    <a:lnTo>
                      <a:pt x="605790" y="661035"/>
                    </a:lnTo>
                    <a:lnTo>
                      <a:pt x="601980" y="669608"/>
                    </a:lnTo>
                    <a:lnTo>
                      <a:pt x="598170" y="678180"/>
                    </a:lnTo>
                    <a:lnTo>
                      <a:pt x="595313" y="687705"/>
                    </a:lnTo>
                    <a:lnTo>
                      <a:pt x="592455" y="696278"/>
                    </a:lnTo>
                    <a:lnTo>
                      <a:pt x="589598" y="705803"/>
                    </a:lnTo>
                    <a:lnTo>
                      <a:pt x="586740" y="715328"/>
                    </a:lnTo>
                    <a:lnTo>
                      <a:pt x="583883" y="724853"/>
                    </a:lnTo>
                    <a:lnTo>
                      <a:pt x="581978" y="734378"/>
                    </a:lnTo>
                    <a:lnTo>
                      <a:pt x="580073" y="743903"/>
                    </a:lnTo>
                    <a:lnTo>
                      <a:pt x="578168" y="753428"/>
                    </a:lnTo>
                    <a:lnTo>
                      <a:pt x="577215" y="762953"/>
                    </a:lnTo>
                    <a:lnTo>
                      <a:pt x="576263" y="772478"/>
                    </a:lnTo>
                    <a:lnTo>
                      <a:pt x="575310" y="782003"/>
                    </a:lnTo>
                    <a:lnTo>
                      <a:pt x="574358" y="791528"/>
                    </a:lnTo>
                    <a:lnTo>
                      <a:pt x="573405" y="801053"/>
                    </a:lnTo>
                    <a:lnTo>
                      <a:pt x="573405" y="811530"/>
                    </a:lnTo>
                    <a:lnTo>
                      <a:pt x="461963" y="811530"/>
                    </a:lnTo>
                    <a:lnTo>
                      <a:pt x="461963" y="798195"/>
                    </a:lnTo>
                    <a:lnTo>
                      <a:pt x="462915" y="785813"/>
                    </a:lnTo>
                    <a:lnTo>
                      <a:pt x="463868" y="773430"/>
                    </a:lnTo>
                    <a:lnTo>
                      <a:pt x="465773" y="761048"/>
                    </a:lnTo>
                    <a:lnTo>
                      <a:pt x="466725" y="748665"/>
                    </a:lnTo>
                    <a:lnTo>
                      <a:pt x="468630" y="736283"/>
                    </a:lnTo>
                    <a:lnTo>
                      <a:pt x="470535" y="723900"/>
                    </a:lnTo>
                    <a:lnTo>
                      <a:pt x="473393" y="711518"/>
                    </a:lnTo>
                    <a:lnTo>
                      <a:pt x="476250" y="699135"/>
                    </a:lnTo>
                    <a:lnTo>
                      <a:pt x="479108" y="686753"/>
                    </a:lnTo>
                    <a:lnTo>
                      <a:pt x="481965" y="674370"/>
                    </a:lnTo>
                    <a:lnTo>
                      <a:pt x="485775" y="662940"/>
                    </a:lnTo>
                    <a:lnTo>
                      <a:pt x="489585" y="651510"/>
                    </a:lnTo>
                    <a:lnTo>
                      <a:pt x="493395" y="640080"/>
                    </a:lnTo>
                    <a:lnTo>
                      <a:pt x="497205" y="628650"/>
                    </a:lnTo>
                    <a:lnTo>
                      <a:pt x="501968" y="617220"/>
                    </a:lnTo>
                    <a:lnTo>
                      <a:pt x="506730" y="605790"/>
                    </a:lnTo>
                    <a:lnTo>
                      <a:pt x="511493" y="595313"/>
                    </a:lnTo>
                    <a:lnTo>
                      <a:pt x="517208" y="584835"/>
                    </a:lnTo>
                    <a:lnTo>
                      <a:pt x="522923" y="574358"/>
                    </a:lnTo>
                    <a:lnTo>
                      <a:pt x="528638" y="563880"/>
                    </a:lnTo>
                    <a:lnTo>
                      <a:pt x="534353" y="553403"/>
                    </a:lnTo>
                    <a:lnTo>
                      <a:pt x="541020" y="542925"/>
                    </a:lnTo>
                    <a:lnTo>
                      <a:pt x="547688" y="532448"/>
                    </a:lnTo>
                    <a:lnTo>
                      <a:pt x="554355" y="522923"/>
                    </a:lnTo>
                    <a:lnTo>
                      <a:pt x="561023" y="513398"/>
                    </a:lnTo>
                    <a:lnTo>
                      <a:pt x="567690" y="503873"/>
                    </a:lnTo>
                    <a:lnTo>
                      <a:pt x="575310" y="494348"/>
                    </a:lnTo>
                    <a:lnTo>
                      <a:pt x="582930" y="484823"/>
                    </a:lnTo>
                    <a:lnTo>
                      <a:pt x="590550" y="475298"/>
                    </a:lnTo>
                    <a:lnTo>
                      <a:pt x="598170" y="466725"/>
                    </a:lnTo>
                    <a:lnTo>
                      <a:pt x="606743" y="458153"/>
                    </a:lnTo>
                    <a:lnTo>
                      <a:pt x="641985" y="494348"/>
                    </a:lnTo>
                    <a:lnTo>
                      <a:pt x="667703" y="485775"/>
                    </a:lnTo>
                    <a:lnTo>
                      <a:pt x="623888" y="441960"/>
                    </a:lnTo>
                    <a:lnTo>
                      <a:pt x="633413" y="433388"/>
                    </a:lnTo>
                    <a:lnTo>
                      <a:pt x="642938" y="424815"/>
                    </a:lnTo>
                    <a:lnTo>
                      <a:pt x="652463" y="417195"/>
                    </a:lnTo>
                    <a:lnTo>
                      <a:pt x="662940" y="409575"/>
                    </a:lnTo>
                    <a:lnTo>
                      <a:pt x="673418" y="401955"/>
                    </a:lnTo>
                    <a:lnTo>
                      <a:pt x="683895" y="394335"/>
                    </a:lnTo>
                    <a:lnTo>
                      <a:pt x="694373" y="386715"/>
                    </a:lnTo>
                    <a:lnTo>
                      <a:pt x="704850" y="380048"/>
                    </a:lnTo>
                    <a:lnTo>
                      <a:pt x="722948" y="341948"/>
                    </a:lnTo>
                    <a:lnTo>
                      <a:pt x="706755" y="351473"/>
                    </a:lnTo>
                    <a:lnTo>
                      <a:pt x="691515" y="360998"/>
                    </a:lnTo>
                    <a:lnTo>
                      <a:pt x="676275" y="371475"/>
                    </a:lnTo>
                    <a:lnTo>
                      <a:pt x="661988" y="381953"/>
                    </a:lnTo>
                    <a:lnTo>
                      <a:pt x="648653" y="390525"/>
                    </a:lnTo>
                    <a:lnTo>
                      <a:pt x="634365" y="401955"/>
                    </a:lnTo>
                    <a:lnTo>
                      <a:pt x="621030" y="413385"/>
                    </a:lnTo>
                    <a:lnTo>
                      <a:pt x="607695" y="425768"/>
                    </a:lnTo>
                    <a:lnTo>
                      <a:pt x="529590" y="347663"/>
                    </a:lnTo>
                    <a:lnTo>
                      <a:pt x="539115" y="338138"/>
                    </a:lnTo>
                    <a:lnTo>
                      <a:pt x="549593" y="329565"/>
                    </a:lnTo>
                    <a:lnTo>
                      <a:pt x="559118" y="320993"/>
                    </a:lnTo>
                    <a:lnTo>
                      <a:pt x="569595" y="312420"/>
                    </a:lnTo>
                    <a:lnTo>
                      <a:pt x="580073" y="303848"/>
                    </a:lnTo>
                    <a:lnTo>
                      <a:pt x="590550" y="295275"/>
                    </a:lnTo>
                    <a:lnTo>
                      <a:pt x="601028" y="287655"/>
                    </a:lnTo>
                    <a:lnTo>
                      <a:pt x="611505" y="280035"/>
                    </a:lnTo>
                    <a:lnTo>
                      <a:pt x="621983" y="272415"/>
                    </a:lnTo>
                    <a:lnTo>
                      <a:pt x="633413" y="265748"/>
                    </a:lnTo>
                    <a:lnTo>
                      <a:pt x="644843" y="259080"/>
                    </a:lnTo>
                    <a:lnTo>
                      <a:pt x="656273" y="252413"/>
                    </a:lnTo>
                    <a:lnTo>
                      <a:pt x="668655" y="245745"/>
                    </a:lnTo>
                    <a:lnTo>
                      <a:pt x="680085" y="239078"/>
                    </a:lnTo>
                    <a:lnTo>
                      <a:pt x="692468" y="233363"/>
                    </a:lnTo>
                    <a:lnTo>
                      <a:pt x="704850" y="227648"/>
                    </a:lnTo>
                    <a:lnTo>
                      <a:pt x="717233" y="221933"/>
                    </a:lnTo>
                    <a:lnTo>
                      <a:pt x="729615" y="216218"/>
                    </a:lnTo>
                    <a:lnTo>
                      <a:pt x="741998" y="210503"/>
                    </a:lnTo>
                    <a:lnTo>
                      <a:pt x="754380" y="205740"/>
                    </a:lnTo>
                    <a:lnTo>
                      <a:pt x="766763" y="200978"/>
                    </a:lnTo>
                    <a:lnTo>
                      <a:pt x="780098" y="197168"/>
                    </a:lnTo>
                    <a:lnTo>
                      <a:pt x="793433" y="193358"/>
                    </a:lnTo>
                    <a:lnTo>
                      <a:pt x="806768" y="189548"/>
                    </a:lnTo>
                    <a:lnTo>
                      <a:pt x="820103" y="185738"/>
                    </a:lnTo>
                    <a:lnTo>
                      <a:pt x="833438" y="181928"/>
                    </a:lnTo>
                    <a:lnTo>
                      <a:pt x="846773" y="179070"/>
                    </a:lnTo>
                    <a:lnTo>
                      <a:pt x="860108" y="176213"/>
                    </a:lnTo>
                    <a:lnTo>
                      <a:pt x="873443" y="173355"/>
                    </a:lnTo>
                    <a:lnTo>
                      <a:pt x="886778" y="170498"/>
                    </a:lnTo>
                    <a:lnTo>
                      <a:pt x="901065" y="168593"/>
                    </a:lnTo>
                    <a:lnTo>
                      <a:pt x="915353" y="166688"/>
                    </a:lnTo>
                    <a:lnTo>
                      <a:pt x="915353" y="142875"/>
                    </a:lnTo>
                    <a:lnTo>
                      <a:pt x="882968" y="146685"/>
                    </a:lnTo>
                    <a:lnTo>
                      <a:pt x="852488" y="152400"/>
                    </a:lnTo>
                    <a:lnTo>
                      <a:pt x="821055" y="159068"/>
                    </a:lnTo>
                    <a:lnTo>
                      <a:pt x="790575" y="168593"/>
                    </a:lnTo>
                    <a:lnTo>
                      <a:pt x="761048" y="178118"/>
                    </a:lnTo>
                    <a:lnTo>
                      <a:pt x="731520" y="189548"/>
                    </a:lnTo>
                    <a:lnTo>
                      <a:pt x="702945" y="201930"/>
                    </a:lnTo>
                    <a:lnTo>
                      <a:pt x="675323" y="215265"/>
                    </a:lnTo>
                    <a:lnTo>
                      <a:pt x="647700" y="229553"/>
                    </a:lnTo>
                    <a:lnTo>
                      <a:pt x="621030" y="245745"/>
                    </a:lnTo>
                    <a:lnTo>
                      <a:pt x="595313" y="262890"/>
                    </a:lnTo>
                    <a:lnTo>
                      <a:pt x="570548" y="280988"/>
                    </a:lnTo>
                    <a:lnTo>
                      <a:pt x="546735" y="300038"/>
                    </a:lnTo>
                    <a:lnTo>
                      <a:pt x="523875" y="320040"/>
                    </a:lnTo>
                    <a:lnTo>
                      <a:pt x="501968" y="340995"/>
                    </a:lnTo>
                    <a:lnTo>
                      <a:pt x="481013" y="363855"/>
                    </a:lnTo>
                    <a:lnTo>
                      <a:pt x="461010" y="386715"/>
                    </a:lnTo>
                    <a:lnTo>
                      <a:pt x="441960" y="410528"/>
                    </a:lnTo>
                    <a:lnTo>
                      <a:pt x="423863" y="435293"/>
                    </a:lnTo>
                    <a:lnTo>
                      <a:pt x="406718" y="461010"/>
                    </a:lnTo>
                    <a:lnTo>
                      <a:pt x="390525" y="488633"/>
                    </a:lnTo>
                    <a:lnTo>
                      <a:pt x="376238" y="516255"/>
                    </a:lnTo>
                    <a:lnTo>
                      <a:pt x="362903" y="544830"/>
                    </a:lnTo>
                    <a:lnTo>
                      <a:pt x="350520" y="573405"/>
                    </a:lnTo>
                    <a:lnTo>
                      <a:pt x="340043" y="602933"/>
                    </a:lnTo>
                    <a:lnTo>
                      <a:pt x="330518" y="632460"/>
                    </a:lnTo>
                    <a:lnTo>
                      <a:pt x="321945" y="662940"/>
                    </a:lnTo>
                    <a:lnTo>
                      <a:pt x="315278" y="694373"/>
                    </a:lnTo>
                    <a:lnTo>
                      <a:pt x="309563" y="725805"/>
                    </a:lnTo>
                    <a:lnTo>
                      <a:pt x="305753" y="758190"/>
                    </a:lnTo>
                    <a:lnTo>
                      <a:pt x="304800" y="789623"/>
                    </a:lnTo>
                    <a:lnTo>
                      <a:pt x="303848" y="822008"/>
                    </a:lnTo>
                    <a:lnTo>
                      <a:pt x="304800" y="857250"/>
                    </a:lnTo>
                    <a:lnTo>
                      <a:pt x="307658" y="891540"/>
                    </a:lnTo>
                    <a:lnTo>
                      <a:pt x="312420" y="925830"/>
                    </a:lnTo>
                    <a:lnTo>
                      <a:pt x="318135" y="959168"/>
                    </a:lnTo>
                    <a:lnTo>
                      <a:pt x="325755" y="992505"/>
                    </a:lnTo>
                    <a:lnTo>
                      <a:pt x="335280" y="1024890"/>
                    </a:lnTo>
                    <a:lnTo>
                      <a:pt x="345758" y="1056323"/>
                    </a:lnTo>
                    <a:lnTo>
                      <a:pt x="358140" y="1086803"/>
                    </a:lnTo>
                    <a:lnTo>
                      <a:pt x="371475" y="1117283"/>
                    </a:lnTo>
                    <a:lnTo>
                      <a:pt x="386715" y="1146810"/>
                    </a:lnTo>
                    <a:lnTo>
                      <a:pt x="402908" y="1175385"/>
                    </a:lnTo>
                    <a:lnTo>
                      <a:pt x="420053" y="1203008"/>
                    </a:lnTo>
                    <a:lnTo>
                      <a:pt x="439103" y="1229678"/>
                    </a:lnTo>
                    <a:lnTo>
                      <a:pt x="459105" y="1255395"/>
                    </a:lnTo>
                    <a:lnTo>
                      <a:pt x="480060" y="1280160"/>
                    </a:lnTo>
                    <a:lnTo>
                      <a:pt x="502920" y="1303973"/>
                    </a:lnTo>
                    <a:lnTo>
                      <a:pt x="526733" y="1326833"/>
                    </a:lnTo>
                    <a:lnTo>
                      <a:pt x="551498" y="1348740"/>
                    </a:lnTo>
                    <a:lnTo>
                      <a:pt x="577215" y="1368743"/>
                    </a:lnTo>
                    <a:lnTo>
                      <a:pt x="603885" y="1387793"/>
                    </a:lnTo>
                    <a:lnTo>
                      <a:pt x="631508" y="1405890"/>
                    </a:lnTo>
                    <a:lnTo>
                      <a:pt x="660083" y="1422083"/>
                    </a:lnTo>
                    <a:lnTo>
                      <a:pt x="689610" y="1437323"/>
                    </a:lnTo>
                    <a:lnTo>
                      <a:pt x="720090" y="1450658"/>
                    </a:lnTo>
                    <a:lnTo>
                      <a:pt x="751523" y="1463040"/>
                    </a:lnTo>
                    <a:lnTo>
                      <a:pt x="782955" y="1473518"/>
                    </a:lnTo>
                    <a:lnTo>
                      <a:pt x="815340" y="1483043"/>
                    </a:lnTo>
                    <a:lnTo>
                      <a:pt x="848678" y="1490663"/>
                    </a:lnTo>
                    <a:lnTo>
                      <a:pt x="882015" y="1496378"/>
                    </a:lnTo>
                    <a:lnTo>
                      <a:pt x="916305" y="1500188"/>
                    </a:lnTo>
                    <a:lnTo>
                      <a:pt x="950595" y="1503045"/>
                    </a:lnTo>
                    <a:lnTo>
                      <a:pt x="985838" y="1503998"/>
                    </a:lnTo>
                    <a:lnTo>
                      <a:pt x="1021080" y="1503045"/>
                    </a:lnTo>
                    <a:lnTo>
                      <a:pt x="1055370" y="1500188"/>
                    </a:lnTo>
                    <a:lnTo>
                      <a:pt x="1089660" y="1496378"/>
                    </a:lnTo>
                    <a:lnTo>
                      <a:pt x="1122998" y="1490663"/>
                    </a:lnTo>
                    <a:lnTo>
                      <a:pt x="1156335" y="1483043"/>
                    </a:lnTo>
                    <a:lnTo>
                      <a:pt x="1188720" y="1473518"/>
                    </a:lnTo>
                    <a:lnTo>
                      <a:pt x="1221105" y="1463040"/>
                    </a:lnTo>
                    <a:lnTo>
                      <a:pt x="1252538" y="1450658"/>
                    </a:lnTo>
                    <a:lnTo>
                      <a:pt x="1283018" y="1437323"/>
                    </a:lnTo>
                    <a:lnTo>
                      <a:pt x="1312545" y="1422083"/>
                    </a:lnTo>
                    <a:lnTo>
                      <a:pt x="1341120" y="1405890"/>
                    </a:lnTo>
                    <a:lnTo>
                      <a:pt x="1368743" y="1387793"/>
                    </a:lnTo>
                    <a:lnTo>
                      <a:pt x="1395413" y="1368743"/>
                    </a:lnTo>
                    <a:lnTo>
                      <a:pt x="1421130" y="1348740"/>
                    </a:lnTo>
                    <a:lnTo>
                      <a:pt x="1445895" y="1326833"/>
                    </a:lnTo>
                    <a:lnTo>
                      <a:pt x="1469708" y="1303973"/>
                    </a:lnTo>
                    <a:lnTo>
                      <a:pt x="1492568" y="1280160"/>
                    </a:lnTo>
                    <a:lnTo>
                      <a:pt x="1514475" y="1255395"/>
                    </a:lnTo>
                    <a:lnTo>
                      <a:pt x="1534478" y="1229678"/>
                    </a:lnTo>
                    <a:lnTo>
                      <a:pt x="1553528" y="1203008"/>
                    </a:lnTo>
                    <a:lnTo>
                      <a:pt x="1571625" y="1175385"/>
                    </a:lnTo>
                    <a:lnTo>
                      <a:pt x="1587818" y="1146810"/>
                    </a:lnTo>
                    <a:lnTo>
                      <a:pt x="1603058" y="1117283"/>
                    </a:lnTo>
                    <a:lnTo>
                      <a:pt x="1616393" y="1086803"/>
                    </a:lnTo>
                    <a:lnTo>
                      <a:pt x="1628775" y="1056323"/>
                    </a:lnTo>
                    <a:lnTo>
                      <a:pt x="1639253" y="1024890"/>
                    </a:lnTo>
                    <a:lnTo>
                      <a:pt x="1648778" y="992505"/>
                    </a:lnTo>
                    <a:lnTo>
                      <a:pt x="1656398" y="959168"/>
                    </a:lnTo>
                    <a:lnTo>
                      <a:pt x="1662113" y="925830"/>
                    </a:lnTo>
                    <a:lnTo>
                      <a:pt x="1665923" y="891540"/>
                    </a:lnTo>
                    <a:lnTo>
                      <a:pt x="1668780" y="857250"/>
                    </a:lnTo>
                    <a:lnTo>
                      <a:pt x="1669733" y="822008"/>
                    </a:lnTo>
                    <a:lnTo>
                      <a:pt x="1668780" y="788670"/>
                    </a:lnTo>
                    <a:lnTo>
                      <a:pt x="1665923" y="756285"/>
                    </a:lnTo>
                    <a:lnTo>
                      <a:pt x="1662113" y="723900"/>
                    </a:lnTo>
                    <a:lnTo>
                      <a:pt x="1656398" y="692468"/>
                    </a:lnTo>
                    <a:lnTo>
                      <a:pt x="1649730" y="661035"/>
                    </a:lnTo>
                    <a:lnTo>
                      <a:pt x="1642110" y="630555"/>
                    </a:lnTo>
                    <a:lnTo>
                      <a:pt x="1632585" y="601028"/>
                    </a:lnTo>
                    <a:lnTo>
                      <a:pt x="1622108" y="571500"/>
                    </a:lnTo>
                    <a:lnTo>
                      <a:pt x="1609725" y="542925"/>
                    </a:lnTo>
                    <a:lnTo>
                      <a:pt x="1596390" y="514350"/>
                    </a:lnTo>
                    <a:lnTo>
                      <a:pt x="1582103" y="486728"/>
                    </a:lnTo>
                    <a:lnTo>
                      <a:pt x="1565910" y="460058"/>
                    </a:lnTo>
                    <a:lnTo>
                      <a:pt x="1548765" y="434340"/>
                    </a:lnTo>
                    <a:lnTo>
                      <a:pt x="1530668" y="409575"/>
                    </a:lnTo>
                    <a:lnTo>
                      <a:pt x="1511618" y="385763"/>
                    </a:lnTo>
                    <a:lnTo>
                      <a:pt x="1491615" y="362903"/>
                    </a:lnTo>
                    <a:lnTo>
                      <a:pt x="1470660" y="340043"/>
                    </a:lnTo>
                    <a:lnTo>
                      <a:pt x="1448753" y="319088"/>
                    </a:lnTo>
                    <a:lnTo>
                      <a:pt x="1425893" y="299085"/>
                    </a:lnTo>
                    <a:lnTo>
                      <a:pt x="1402080" y="280035"/>
                    </a:lnTo>
                    <a:lnTo>
                      <a:pt x="1377315" y="261938"/>
                    </a:lnTo>
                    <a:lnTo>
                      <a:pt x="1351598" y="244793"/>
                    </a:lnTo>
                    <a:lnTo>
                      <a:pt x="1323975" y="228600"/>
                    </a:lnTo>
                    <a:lnTo>
                      <a:pt x="1296353" y="214313"/>
                    </a:lnTo>
                    <a:lnTo>
                      <a:pt x="1267778" y="200978"/>
                    </a:lnTo>
                    <a:lnTo>
                      <a:pt x="1239203" y="188595"/>
                    </a:lnTo>
                    <a:lnTo>
                      <a:pt x="1209675" y="178118"/>
                    </a:lnTo>
                    <a:lnTo>
                      <a:pt x="1180148" y="168593"/>
                    </a:lnTo>
                    <a:lnTo>
                      <a:pt x="1149668" y="160973"/>
                    </a:lnTo>
                    <a:lnTo>
                      <a:pt x="1119188" y="154305"/>
                    </a:lnTo>
                    <a:lnTo>
                      <a:pt x="1086803" y="148590"/>
                    </a:lnTo>
                    <a:lnTo>
                      <a:pt x="1054418" y="144780"/>
                    </a:lnTo>
                    <a:lnTo>
                      <a:pt x="1054418" y="168593"/>
                    </a:lnTo>
                    <a:lnTo>
                      <a:pt x="1067753" y="169545"/>
                    </a:lnTo>
                    <a:lnTo>
                      <a:pt x="1082040" y="171450"/>
                    </a:lnTo>
                    <a:lnTo>
                      <a:pt x="1096328" y="173355"/>
                    </a:lnTo>
                    <a:lnTo>
                      <a:pt x="1110615" y="176213"/>
                    </a:lnTo>
                    <a:lnTo>
                      <a:pt x="1123950" y="179070"/>
                    </a:lnTo>
                    <a:lnTo>
                      <a:pt x="1137285" y="181928"/>
                    </a:lnTo>
                    <a:lnTo>
                      <a:pt x="1150620" y="184785"/>
                    </a:lnTo>
                    <a:lnTo>
                      <a:pt x="1163955" y="188595"/>
                    </a:lnTo>
                    <a:lnTo>
                      <a:pt x="1177290" y="192405"/>
                    </a:lnTo>
                    <a:lnTo>
                      <a:pt x="1190625" y="196215"/>
                    </a:lnTo>
                    <a:lnTo>
                      <a:pt x="1203960" y="200978"/>
                    </a:lnTo>
                    <a:lnTo>
                      <a:pt x="1217295" y="205740"/>
                    </a:lnTo>
                    <a:lnTo>
                      <a:pt x="1230630" y="210503"/>
                    </a:lnTo>
                    <a:lnTo>
                      <a:pt x="1243013" y="216218"/>
                    </a:lnTo>
                    <a:lnTo>
                      <a:pt x="1255395" y="221933"/>
                    </a:lnTo>
                    <a:lnTo>
                      <a:pt x="1267778" y="227648"/>
                    </a:lnTo>
                    <a:lnTo>
                      <a:pt x="1280160" y="233363"/>
                    </a:lnTo>
                    <a:lnTo>
                      <a:pt x="1292543" y="240030"/>
                    </a:lnTo>
                    <a:lnTo>
                      <a:pt x="1304925" y="246698"/>
                    </a:lnTo>
                    <a:lnTo>
                      <a:pt x="1317308" y="253365"/>
                    </a:lnTo>
                    <a:lnTo>
                      <a:pt x="1328738" y="260033"/>
                    </a:lnTo>
                    <a:lnTo>
                      <a:pt x="1340168" y="267653"/>
                    </a:lnTo>
                    <a:lnTo>
                      <a:pt x="1351598" y="275273"/>
                    </a:lnTo>
                    <a:lnTo>
                      <a:pt x="1363028" y="282893"/>
                    </a:lnTo>
                    <a:lnTo>
                      <a:pt x="1374458" y="290513"/>
                    </a:lnTo>
                    <a:lnTo>
                      <a:pt x="1384935" y="298133"/>
                    </a:lnTo>
                    <a:lnTo>
                      <a:pt x="1395413" y="306705"/>
                    </a:lnTo>
                    <a:lnTo>
                      <a:pt x="1405890" y="315278"/>
                    </a:lnTo>
                    <a:lnTo>
                      <a:pt x="1416368" y="323850"/>
                    </a:lnTo>
                    <a:lnTo>
                      <a:pt x="1426845" y="332423"/>
                    </a:lnTo>
                    <a:lnTo>
                      <a:pt x="1437323" y="341948"/>
                    </a:lnTo>
                    <a:lnTo>
                      <a:pt x="1446848" y="351473"/>
                    </a:lnTo>
                    <a:lnTo>
                      <a:pt x="1371600" y="426720"/>
                    </a:lnTo>
                    <a:lnTo>
                      <a:pt x="1374458" y="415290"/>
                    </a:lnTo>
                    <a:lnTo>
                      <a:pt x="1365885" y="412433"/>
                    </a:lnTo>
                    <a:lnTo>
                      <a:pt x="1351598" y="409575"/>
                    </a:lnTo>
                    <a:lnTo>
                      <a:pt x="1354455" y="401003"/>
                    </a:lnTo>
                    <a:lnTo>
                      <a:pt x="1345883" y="369570"/>
                    </a:lnTo>
                    <a:lnTo>
                      <a:pt x="1325880" y="349568"/>
                    </a:lnTo>
                    <a:lnTo>
                      <a:pt x="1268730" y="318135"/>
                    </a:lnTo>
                    <a:lnTo>
                      <a:pt x="1263015" y="323850"/>
                    </a:lnTo>
                    <a:lnTo>
                      <a:pt x="1251585" y="326708"/>
                    </a:lnTo>
                    <a:lnTo>
                      <a:pt x="1265873" y="349568"/>
                    </a:lnTo>
                    <a:lnTo>
                      <a:pt x="1266825" y="351473"/>
                    </a:lnTo>
                    <a:lnTo>
                      <a:pt x="1257300" y="345758"/>
                    </a:lnTo>
                    <a:lnTo>
                      <a:pt x="1247775" y="340995"/>
                    </a:lnTo>
                    <a:lnTo>
                      <a:pt x="1238250" y="335280"/>
                    </a:lnTo>
                    <a:lnTo>
                      <a:pt x="1228725" y="330518"/>
                    </a:lnTo>
                    <a:lnTo>
                      <a:pt x="1224915" y="325755"/>
                    </a:lnTo>
                    <a:lnTo>
                      <a:pt x="1221105" y="320993"/>
                    </a:lnTo>
                    <a:lnTo>
                      <a:pt x="1216343" y="316230"/>
                    </a:lnTo>
                    <a:lnTo>
                      <a:pt x="1212533" y="311468"/>
                    </a:lnTo>
                    <a:lnTo>
                      <a:pt x="1207770" y="307658"/>
                    </a:lnTo>
                    <a:lnTo>
                      <a:pt x="1203008" y="303848"/>
                    </a:lnTo>
                    <a:lnTo>
                      <a:pt x="1197293" y="300038"/>
                    </a:lnTo>
                    <a:lnTo>
                      <a:pt x="1192530" y="296228"/>
                    </a:lnTo>
                    <a:lnTo>
                      <a:pt x="1182053" y="288608"/>
                    </a:lnTo>
                    <a:lnTo>
                      <a:pt x="1170623" y="281940"/>
                    </a:lnTo>
                    <a:lnTo>
                      <a:pt x="1159193" y="275273"/>
                    </a:lnTo>
                    <a:lnTo>
                      <a:pt x="1146810" y="269558"/>
                    </a:lnTo>
                    <a:lnTo>
                      <a:pt x="1134428" y="263843"/>
                    </a:lnTo>
                    <a:lnTo>
                      <a:pt x="1122045" y="259080"/>
                    </a:lnTo>
                    <a:lnTo>
                      <a:pt x="1109663" y="255270"/>
                    </a:lnTo>
                    <a:lnTo>
                      <a:pt x="1097280" y="251460"/>
                    </a:lnTo>
                    <a:lnTo>
                      <a:pt x="1084898" y="248603"/>
                    </a:lnTo>
                    <a:lnTo>
                      <a:pt x="1072515" y="246698"/>
                    </a:lnTo>
                    <a:lnTo>
                      <a:pt x="1060133" y="244793"/>
                    </a:lnTo>
                    <a:lnTo>
                      <a:pt x="1046798" y="241935"/>
                    </a:lnTo>
                    <a:lnTo>
                      <a:pt x="1046798" y="241935"/>
                    </a:lnTo>
                    <a:close/>
                    <a:moveTo>
                      <a:pt x="1245870" y="499110"/>
                    </a:moveTo>
                    <a:lnTo>
                      <a:pt x="1248728" y="491490"/>
                    </a:lnTo>
                    <a:lnTo>
                      <a:pt x="1251585" y="482918"/>
                    </a:lnTo>
                    <a:lnTo>
                      <a:pt x="1253490" y="474345"/>
                    </a:lnTo>
                    <a:lnTo>
                      <a:pt x="1255395" y="464820"/>
                    </a:lnTo>
                    <a:lnTo>
                      <a:pt x="1257300" y="455295"/>
                    </a:lnTo>
                    <a:lnTo>
                      <a:pt x="1258253" y="444818"/>
                    </a:lnTo>
                    <a:lnTo>
                      <a:pt x="1259205" y="434340"/>
                    </a:lnTo>
                    <a:lnTo>
                      <a:pt x="1259205" y="423863"/>
                    </a:lnTo>
                    <a:lnTo>
                      <a:pt x="1259205" y="416243"/>
                    </a:lnTo>
                    <a:lnTo>
                      <a:pt x="1259205" y="409575"/>
                    </a:lnTo>
                    <a:lnTo>
                      <a:pt x="1258253" y="402908"/>
                    </a:lnTo>
                    <a:lnTo>
                      <a:pt x="1257300" y="396240"/>
                    </a:lnTo>
                    <a:lnTo>
                      <a:pt x="1256348" y="389573"/>
                    </a:lnTo>
                    <a:lnTo>
                      <a:pt x="1254443" y="382905"/>
                    </a:lnTo>
                    <a:lnTo>
                      <a:pt x="1252538" y="376238"/>
                    </a:lnTo>
                    <a:lnTo>
                      <a:pt x="1250633" y="369570"/>
                    </a:lnTo>
                    <a:lnTo>
                      <a:pt x="1257300" y="373380"/>
                    </a:lnTo>
                    <a:lnTo>
                      <a:pt x="1263968" y="377190"/>
                    </a:lnTo>
                    <a:lnTo>
                      <a:pt x="1270635" y="381000"/>
                    </a:lnTo>
                    <a:lnTo>
                      <a:pt x="1277303" y="384810"/>
                    </a:lnTo>
                    <a:lnTo>
                      <a:pt x="1280160" y="399098"/>
                    </a:lnTo>
                    <a:lnTo>
                      <a:pt x="1283018" y="424815"/>
                    </a:lnTo>
                    <a:lnTo>
                      <a:pt x="1283018" y="439103"/>
                    </a:lnTo>
                    <a:lnTo>
                      <a:pt x="1311593" y="476250"/>
                    </a:lnTo>
                    <a:lnTo>
                      <a:pt x="1297305" y="479108"/>
                    </a:lnTo>
                    <a:lnTo>
                      <a:pt x="1306830" y="490538"/>
                    </a:lnTo>
                    <a:lnTo>
                      <a:pt x="1281113" y="515303"/>
                    </a:lnTo>
                    <a:lnTo>
                      <a:pt x="1271588" y="499110"/>
                    </a:lnTo>
                    <a:lnTo>
                      <a:pt x="1264920" y="515303"/>
                    </a:lnTo>
                    <a:lnTo>
                      <a:pt x="1260158" y="511493"/>
                    </a:lnTo>
                    <a:lnTo>
                      <a:pt x="1255395" y="507683"/>
                    </a:lnTo>
                    <a:lnTo>
                      <a:pt x="1250633" y="503873"/>
                    </a:lnTo>
                    <a:lnTo>
                      <a:pt x="1245870" y="499110"/>
                    </a:lnTo>
                    <a:lnTo>
                      <a:pt x="1245870" y="499110"/>
                    </a:lnTo>
                    <a:close/>
                    <a:moveTo>
                      <a:pt x="920115" y="256223"/>
                    </a:moveTo>
                    <a:lnTo>
                      <a:pt x="911543" y="260033"/>
                    </a:lnTo>
                    <a:lnTo>
                      <a:pt x="902970" y="263843"/>
                    </a:lnTo>
                    <a:lnTo>
                      <a:pt x="894398" y="266700"/>
                    </a:lnTo>
                    <a:lnTo>
                      <a:pt x="885825" y="270510"/>
                    </a:lnTo>
                    <a:lnTo>
                      <a:pt x="877253" y="274320"/>
                    </a:lnTo>
                    <a:lnTo>
                      <a:pt x="868680" y="278130"/>
                    </a:lnTo>
                    <a:lnTo>
                      <a:pt x="860108" y="281940"/>
                    </a:lnTo>
                    <a:lnTo>
                      <a:pt x="851535" y="285750"/>
                    </a:lnTo>
                    <a:lnTo>
                      <a:pt x="843915" y="285750"/>
                    </a:lnTo>
                    <a:lnTo>
                      <a:pt x="836295" y="286703"/>
                    </a:lnTo>
                    <a:lnTo>
                      <a:pt x="829628" y="288608"/>
                    </a:lnTo>
                    <a:lnTo>
                      <a:pt x="822960" y="290513"/>
                    </a:lnTo>
                    <a:lnTo>
                      <a:pt x="816293" y="293370"/>
                    </a:lnTo>
                    <a:lnTo>
                      <a:pt x="810578" y="295275"/>
                    </a:lnTo>
                    <a:lnTo>
                      <a:pt x="803910" y="298133"/>
                    </a:lnTo>
                    <a:lnTo>
                      <a:pt x="797243" y="300990"/>
                    </a:lnTo>
                    <a:lnTo>
                      <a:pt x="791528" y="304800"/>
                    </a:lnTo>
                    <a:lnTo>
                      <a:pt x="785813" y="308610"/>
                    </a:lnTo>
                    <a:lnTo>
                      <a:pt x="780098" y="312420"/>
                    </a:lnTo>
                    <a:lnTo>
                      <a:pt x="774383" y="316230"/>
                    </a:lnTo>
                    <a:lnTo>
                      <a:pt x="769620" y="320993"/>
                    </a:lnTo>
                    <a:lnTo>
                      <a:pt x="764858" y="325755"/>
                    </a:lnTo>
                    <a:lnTo>
                      <a:pt x="760095" y="330518"/>
                    </a:lnTo>
                    <a:lnTo>
                      <a:pt x="755333" y="335280"/>
                    </a:lnTo>
                    <a:lnTo>
                      <a:pt x="750570" y="340043"/>
                    </a:lnTo>
                    <a:lnTo>
                      <a:pt x="745808" y="345758"/>
                    </a:lnTo>
                    <a:lnTo>
                      <a:pt x="741998" y="351473"/>
                    </a:lnTo>
                    <a:lnTo>
                      <a:pt x="738188" y="358140"/>
                    </a:lnTo>
                    <a:lnTo>
                      <a:pt x="733425" y="363855"/>
                    </a:lnTo>
                    <a:lnTo>
                      <a:pt x="729615" y="370523"/>
                    </a:lnTo>
                    <a:lnTo>
                      <a:pt x="725805" y="377190"/>
                    </a:lnTo>
                    <a:lnTo>
                      <a:pt x="721995" y="383858"/>
                    </a:lnTo>
                    <a:lnTo>
                      <a:pt x="719138" y="391478"/>
                    </a:lnTo>
                    <a:lnTo>
                      <a:pt x="716280" y="399098"/>
                    </a:lnTo>
                    <a:lnTo>
                      <a:pt x="713423" y="406718"/>
                    </a:lnTo>
                    <a:lnTo>
                      <a:pt x="710565" y="415290"/>
                    </a:lnTo>
                    <a:lnTo>
                      <a:pt x="707708" y="423863"/>
                    </a:lnTo>
                    <a:lnTo>
                      <a:pt x="704850" y="432435"/>
                    </a:lnTo>
                    <a:lnTo>
                      <a:pt x="702945" y="441008"/>
                    </a:lnTo>
                    <a:lnTo>
                      <a:pt x="701040" y="450533"/>
                    </a:lnTo>
                    <a:lnTo>
                      <a:pt x="701040" y="450533"/>
                    </a:lnTo>
                    <a:lnTo>
                      <a:pt x="701040" y="450533"/>
                    </a:lnTo>
                    <a:lnTo>
                      <a:pt x="701040" y="452438"/>
                    </a:lnTo>
                    <a:lnTo>
                      <a:pt x="701040" y="454343"/>
                    </a:lnTo>
                    <a:lnTo>
                      <a:pt x="700088" y="454343"/>
                    </a:lnTo>
                    <a:lnTo>
                      <a:pt x="698183" y="460058"/>
                    </a:lnTo>
                    <a:lnTo>
                      <a:pt x="696278" y="465773"/>
                    </a:lnTo>
                    <a:lnTo>
                      <a:pt x="694373" y="471488"/>
                    </a:lnTo>
                    <a:lnTo>
                      <a:pt x="691515" y="475298"/>
                    </a:lnTo>
                    <a:lnTo>
                      <a:pt x="688658" y="479108"/>
                    </a:lnTo>
                    <a:lnTo>
                      <a:pt x="685800" y="483870"/>
                    </a:lnTo>
                    <a:lnTo>
                      <a:pt x="681990" y="486728"/>
                    </a:lnTo>
                    <a:lnTo>
                      <a:pt x="678180" y="489585"/>
                    </a:lnTo>
                    <a:lnTo>
                      <a:pt x="674370" y="492443"/>
                    </a:lnTo>
                    <a:lnTo>
                      <a:pt x="670560" y="494348"/>
                    </a:lnTo>
                    <a:lnTo>
                      <a:pt x="665798" y="496253"/>
                    </a:lnTo>
                    <a:lnTo>
                      <a:pt x="661035" y="497205"/>
                    </a:lnTo>
                    <a:lnTo>
                      <a:pt x="656273" y="498158"/>
                    </a:lnTo>
                    <a:lnTo>
                      <a:pt x="650558" y="499110"/>
                    </a:lnTo>
                    <a:lnTo>
                      <a:pt x="644843" y="499110"/>
                    </a:lnTo>
                    <a:lnTo>
                      <a:pt x="639128" y="499110"/>
                    </a:lnTo>
                    <a:lnTo>
                      <a:pt x="641985" y="499110"/>
                    </a:lnTo>
                    <a:lnTo>
                      <a:pt x="645795" y="500063"/>
                    </a:lnTo>
                    <a:lnTo>
                      <a:pt x="649605" y="500063"/>
                    </a:lnTo>
                    <a:lnTo>
                      <a:pt x="654368" y="500063"/>
                    </a:lnTo>
                    <a:lnTo>
                      <a:pt x="659130" y="500063"/>
                    </a:lnTo>
                    <a:lnTo>
                      <a:pt x="664845" y="499110"/>
                    </a:lnTo>
                    <a:lnTo>
                      <a:pt x="670560" y="498158"/>
                    </a:lnTo>
                    <a:lnTo>
                      <a:pt x="677228" y="496253"/>
                    </a:lnTo>
                    <a:lnTo>
                      <a:pt x="676275" y="503873"/>
                    </a:lnTo>
                    <a:lnTo>
                      <a:pt x="673418" y="511493"/>
                    </a:lnTo>
                    <a:lnTo>
                      <a:pt x="673418" y="514350"/>
                    </a:lnTo>
                    <a:lnTo>
                      <a:pt x="672465" y="518160"/>
                    </a:lnTo>
                    <a:lnTo>
                      <a:pt x="671513" y="521970"/>
                    </a:lnTo>
                    <a:lnTo>
                      <a:pt x="671513" y="525780"/>
                    </a:lnTo>
                    <a:lnTo>
                      <a:pt x="673418" y="520065"/>
                    </a:lnTo>
                    <a:lnTo>
                      <a:pt x="676275" y="514350"/>
                    </a:lnTo>
                    <a:lnTo>
                      <a:pt x="678180" y="509588"/>
                    </a:lnTo>
                    <a:lnTo>
                      <a:pt x="681038" y="504825"/>
                    </a:lnTo>
                    <a:lnTo>
                      <a:pt x="683895" y="500063"/>
                    </a:lnTo>
                    <a:lnTo>
                      <a:pt x="685800" y="495300"/>
                    </a:lnTo>
                    <a:lnTo>
                      <a:pt x="688658" y="490538"/>
                    </a:lnTo>
                    <a:lnTo>
                      <a:pt x="691515" y="486728"/>
                    </a:lnTo>
                    <a:lnTo>
                      <a:pt x="694373" y="482918"/>
                    </a:lnTo>
                    <a:lnTo>
                      <a:pt x="697230" y="479108"/>
                    </a:lnTo>
                    <a:lnTo>
                      <a:pt x="700088" y="476250"/>
                    </a:lnTo>
                    <a:lnTo>
                      <a:pt x="702945" y="473393"/>
                    </a:lnTo>
                    <a:lnTo>
                      <a:pt x="706755" y="470535"/>
                    </a:lnTo>
                    <a:lnTo>
                      <a:pt x="710565" y="468630"/>
                    </a:lnTo>
                    <a:lnTo>
                      <a:pt x="714375" y="467678"/>
                    </a:lnTo>
                    <a:lnTo>
                      <a:pt x="718185" y="466725"/>
                    </a:lnTo>
                    <a:lnTo>
                      <a:pt x="720090" y="466725"/>
                    </a:lnTo>
                    <a:lnTo>
                      <a:pt x="745808" y="459105"/>
                    </a:lnTo>
                    <a:lnTo>
                      <a:pt x="755333" y="454343"/>
                    </a:lnTo>
                    <a:lnTo>
                      <a:pt x="764858" y="449580"/>
                    </a:lnTo>
                    <a:lnTo>
                      <a:pt x="774383" y="444818"/>
                    </a:lnTo>
                    <a:lnTo>
                      <a:pt x="782955" y="440055"/>
                    </a:lnTo>
                    <a:lnTo>
                      <a:pt x="791528" y="435293"/>
                    </a:lnTo>
                    <a:lnTo>
                      <a:pt x="800100" y="430530"/>
                    </a:lnTo>
                    <a:lnTo>
                      <a:pt x="808673" y="424815"/>
                    </a:lnTo>
                    <a:lnTo>
                      <a:pt x="817245" y="419100"/>
                    </a:lnTo>
                    <a:lnTo>
                      <a:pt x="825818" y="412433"/>
                    </a:lnTo>
                    <a:lnTo>
                      <a:pt x="833438" y="405765"/>
                    </a:lnTo>
                    <a:lnTo>
                      <a:pt x="841058" y="399098"/>
                    </a:lnTo>
                    <a:lnTo>
                      <a:pt x="848678" y="392430"/>
                    </a:lnTo>
                    <a:lnTo>
                      <a:pt x="856298" y="384810"/>
                    </a:lnTo>
                    <a:lnTo>
                      <a:pt x="863918" y="377190"/>
                    </a:lnTo>
                    <a:lnTo>
                      <a:pt x="870585" y="369570"/>
                    </a:lnTo>
                    <a:lnTo>
                      <a:pt x="877253" y="360998"/>
                    </a:lnTo>
                    <a:lnTo>
                      <a:pt x="923925" y="332423"/>
                    </a:lnTo>
                    <a:lnTo>
                      <a:pt x="920115" y="256223"/>
                    </a:lnTo>
                    <a:lnTo>
                      <a:pt x="920115" y="256223"/>
                    </a:lnTo>
                    <a:close/>
                    <a:moveTo>
                      <a:pt x="768668" y="376238"/>
                    </a:moveTo>
                    <a:lnTo>
                      <a:pt x="779145" y="355283"/>
                    </a:lnTo>
                    <a:lnTo>
                      <a:pt x="795338" y="355283"/>
                    </a:lnTo>
                    <a:lnTo>
                      <a:pt x="785813" y="372428"/>
                    </a:lnTo>
                    <a:lnTo>
                      <a:pt x="768668" y="376238"/>
                    </a:lnTo>
                    <a:lnTo>
                      <a:pt x="768668" y="376238"/>
                    </a:lnTo>
                    <a:close/>
                    <a:moveTo>
                      <a:pt x="985838" y="0"/>
                    </a:moveTo>
                    <a:lnTo>
                      <a:pt x="971550" y="0"/>
                    </a:lnTo>
                    <a:lnTo>
                      <a:pt x="957263" y="5715"/>
                    </a:lnTo>
                    <a:lnTo>
                      <a:pt x="948690" y="11430"/>
                    </a:lnTo>
                    <a:lnTo>
                      <a:pt x="940118" y="20003"/>
                    </a:lnTo>
                    <a:lnTo>
                      <a:pt x="934403" y="31433"/>
                    </a:lnTo>
                    <a:lnTo>
                      <a:pt x="931545" y="42863"/>
                    </a:lnTo>
                    <a:lnTo>
                      <a:pt x="928688" y="68580"/>
                    </a:lnTo>
                    <a:lnTo>
                      <a:pt x="928688" y="97155"/>
                    </a:lnTo>
                    <a:lnTo>
                      <a:pt x="934403" y="125730"/>
                    </a:lnTo>
                    <a:lnTo>
                      <a:pt x="942975" y="171450"/>
                    </a:lnTo>
                    <a:lnTo>
                      <a:pt x="951548" y="530543"/>
                    </a:lnTo>
                    <a:lnTo>
                      <a:pt x="988695" y="521970"/>
                    </a:lnTo>
                    <a:lnTo>
                      <a:pt x="1017270" y="516255"/>
                    </a:lnTo>
                    <a:lnTo>
                      <a:pt x="1025843" y="171450"/>
                    </a:lnTo>
                    <a:lnTo>
                      <a:pt x="1034415" y="125730"/>
                    </a:lnTo>
                    <a:lnTo>
                      <a:pt x="1037273" y="97155"/>
                    </a:lnTo>
                    <a:lnTo>
                      <a:pt x="1040130" y="68580"/>
                    </a:lnTo>
                    <a:lnTo>
                      <a:pt x="1040130" y="42863"/>
                    </a:lnTo>
                    <a:lnTo>
                      <a:pt x="1033463" y="28575"/>
                    </a:lnTo>
                    <a:lnTo>
                      <a:pt x="1030605" y="20003"/>
                    </a:lnTo>
                    <a:lnTo>
                      <a:pt x="1022033" y="11430"/>
                    </a:lnTo>
                    <a:lnTo>
                      <a:pt x="1013460" y="5715"/>
                    </a:lnTo>
                    <a:lnTo>
                      <a:pt x="1000125" y="0"/>
                    </a:lnTo>
                    <a:lnTo>
                      <a:pt x="985838" y="0"/>
                    </a:lnTo>
                    <a:lnTo>
                      <a:pt x="985838" y="0"/>
                    </a:lnTo>
                    <a:close/>
                    <a:moveTo>
                      <a:pt x="1119188" y="225743"/>
                    </a:moveTo>
                    <a:lnTo>
                      <a:pt x="1124903" y="220028"/>
                    </a:lnTo>
                    <a:lnTo>
                      <a:pt x="1112520" y="214313"/>
                    </a:lnTo>
                    <a:lnTo>
                      <a:pt x="1077278" y="214313"/>
                    </a:lnTo>
                    <a:lnTo>
                      <a:pt x="1068705" y="220028"/>
                    </a:lnTo>
                    <a:lnTo>
                      <a:pt x="1047750" y="217170"/>
                    </a:lnTo>
                    <a:lnTo>
                      <a:pt x="1047750" y="222885"/>
                    </a:lnTo>
                    <a:lnTo>
                      <a:pt x="1082993" y="225743"/>
                    </a:lnTo>
                    <a:lnTo>
                      <a:pt x="1101090" y="225743"/>
                    </a:lnTo>
                    <a:lnTo>
                      <a:pt x="1119188" y="225743"/>
                    </a:lnTo>
                    <a:lnTo>
                      <a:pt x="1119188" y="225743"/>
                    </a:lnTo>
                    <a:close/>
                    <a:moveTo>
                      <a:pt x="1051560" y="945833"/>
                    </a:moveTo>
                    <a:lnTo>
                      <a:pt x="1051560" y="942975"/>
                    </a:lnTo>
                    <a:lnTo>
                      <a:pt x="1045845" y="937260"/>
                    </a:lnTo>
                    <a:lnTo>
                      <a:pt x="1033463" y="928688"/>
                    </a:lnTo>
                    <a:lnTo>
                      <a:pt x="1030605" y="928688"/>
                    </a:lnTo>
                    <a:lnTo>
                      <a:pt x="1030605" y="968693"/>
                    </a:lnTo>
                    <a:lnTo>
                      <a:pt x="1045845" y="957263"/>
                    </a:lnTo>
                    <a:lnTo>
                      <a:pt x="1051560" y="951548"/>
                    </a:lnTo>
                    <a:lnTo>
                      <a:pt x="1051560" y="945833"/>
                    </a:lnTo>
                    <a:lnTo>
                      <a:pt x="1051560" y="945833"/>
                    </a:lnTo>
                    <a:close/>
                    <a:moveTo>
                      <a:pt x="1476375" y="576263"/>
                    </a:moveTo>
                    <a:lnTo>
                      <a:pt x="1476375" y="576263"/>
                    </a:lnTo>
                    <a:lnTo>
                      <a:pt x="1481138" y="578168"/>
                    </a:lnTo>
                    <a:lnTo>
                      <a:pt x="1483995" y="572453"/>
                    </a:lnTo>
                    <a:lnTo>
                      <a:pt x="1463993" y="538163"/>
                    </a:lnTo>
                    <a:lnTo>
                      <a:pt x="1441133" y="503873"/>
                    </a:lnTo>
                    <a:lnTo>
                      <a:pt x="1422083" y="488633"/>
                    </a:lnTo>
                    <a:lnTo>
                      <a:pt x="1412558" y="477203"/>
                    </a:lnTo>
                    <a:lnTo>
                      <a:pt x="1403033" y="465773"/>
                    </a:lnTo>
                    <a:lnTo>
                      <a:pt x="1393508" y="455295"/>
                    </a:lnTo>
                    <a:lnTo>
                      <a:pt x="1383983" y="444818"/>
                    </a:lnTo>
                    <a:lnTo>
                      <a:pt x="1462088" y="366713"/>
                    </a:lnTo>
                    <a:lnTo>
                      <a:pt x="1472565" y="377190"/>
                    </a:lnTo>
                    <a:lnTo>
                      <a:pt x="1482090" y="388620"/>
                    </a:lnTo>
                    <a:lnTo>
                      <a:pt x="1491615" y="400050"/>
                    </a:lnTo>
                    <a:lnTo>
                      <a:pt x="1501140" y="411480"/>
                    </a:lnTo>
                    <a:lnTo>
                      <a:pt x="1510665" y="423863"/>
                    </a:lnTo>
                    <a:lnTo>
                      <a:pt x="1520190" y="436245"/>
                    </a:lnTo>
                    <a:lnTo>
                      <a:pt x="1528763" y="448628"/>
                    </a:lnTo>
                    <a:lnTo>
                      <a:pt x="1537335" y="461010"/>
                    </a:lnTo>
                    <a:lnTo>
                      <a:pt x="1544955" y="473393"/>
                    </a:lnTo>
                    <a:lnTo>
                      <a:pt x="1552575" y="486728"/>
                    </a:lnTo>
                    <a:lnTo>
                      <a:pt x="1560195" y="500063"/>
                    </a:lnTo>
                    <a:lnTo>
                      <a:pt x="1567815" y="513398"/>
                    </a:lnTo>
                    <a:lnTo>
                      <a:pt x="1574483" y="526733"/>
                    </a:lnTo>
                    <a:lnTo>
                      <a:pt x="1581150" y="540068"/>
                    </a:lnTo>
                    <a:lnTo>
                      <a:pt x="1587818" y="554355"/>
                    </a:lnTo>
                    <a:lnTo>
                      <a:pt x="1593533" y="567690"/>
                    </a:lnTo>
                    <a:lnTo>
                      <a:pt x="1599248" y="581978"/>
                    </a:lnTo>
                    <a:lnTo>
                      <a:pt x="1604963" y="596265"/>
                    </a:lnTo>
                    <a:lnTo>
                      <a:pt x="1609725" y="610553"/>
                    </a:lnTo>
                    <a:lnTo>
                      <a:pt x="1614488" y="624840"/>
                    </a:lnTo>
                    <a:lnTo>
                      <a:pt x="1619250" y="640080"/>
                    </a:lnTo>
                    <a:lnTo>
                      <a:pt x="1623060" y="654368"/>
                    </a:lnTo>
                    <a:lnTo>
                      <a:pt x="1626870" y="669608"/>
                    </a:lnTo>
                    <a:lnTo>
                      <a:pt x="1630680" y="684848"/>
                    </a:lnTo>
                    <a:lnTo>
                      <a:pt x="1633538" y="700088"/>
                    </a:lnTo>
                    <a:lnTo>
                      <a:pt x="1636395" y="715328"/>
                    </a:lnTo>
                    <a:lnTo>
                      <a:pt x="1639253" y="730568"/>
                    </a:lnTo>
                    <a:lnTo>
                      <a:pt x="1641158" y="746760"/>
                    </a:lnTo>
                    <a:lnTo>
                      <a:pt x="1643063" y="762953"/>
                    </a:lnTo>
                    <a:lnTo>
                      <a:pt x="1644015" y="779145"/>
                    </a:lnTo>
                    <a:lnTo>
                      <a:pt x="1644968" y="795338"/>
                    </a:lnTo>
                    <a:lnTo>
                      <a:pt x="1644968" y="811530"/>
                    </a:lnTo>
                    <a:lnTo>
                      <a:pt x="1534478" y="811530"/>
                    </a:lnTo>
                    <a:lnTo>
                      <a:pt x="1533525" y="795338"/>
                    </a:lnTo>
                    <a:lnTo>
                      <a:pt x="1532573" y="779145"/>
                    </a:lnTo>
                    <a:lnTo>
                      <a:pt x="1531620" y="763905"/>
                    </a:lnTo>
                    <a:lnTo>
                      <a:pt x="1529715" y="748665"/>
                    </a:lnTo>
                    <a:lnTo>
                      <a:pt x="1527810" y="733425"/>
                    </a:lnTo>
                    <a:lnTo>
                      <a:pt x="1524953" y="718185"/>
                    </a:lnTo>
                    <a:lnTo>
                      <a:pt x="1522095" y="702945"/>
                    </a:lnTo>
                    <a:lnTo>
                      <a:pt x="1518285" y="688658"/>
                    </a:lnTo>
                    <a:lnTo>
                      <a:pt x="1514475" y="673418"/>
                    </a:lnTo>
                    <a:lnTo>
                      <a:pt x="1510665" y="659130"/>
                    </a:lnTo>
                    <a:lnTo>
                      <a:pt x="1505903" y="644843"/>
                    </a:lnTo>
                    <a:lnTo>
                      <a:pt x="1500188" y="630555"/>
                    </a:lnTo>
                    <a:lnTo>
                      <a:pt x="1494473" y="616268"/>
                    </a:lnTo>
                    <a:lnTo>
                      <a:pt x="1488758" y="602933"/>
                    </a:lnTo>
                    <a:lnTo>
                      <a:pt x="1483043" y="589598"/>
                    </a:lnTo>
                    <a:lnTo>
                      <a:pt x="1476375" y="576263"/>
                    </a:lnTo>
                    <a:lnTo>
                      <a:pt x="1476375" y="576263"/>
                    </a:lnTo>
                    <a:close/>
                    <a:moveTo>
                      <a:pt x="1319213" y="510540"/>
                    </a:moveTo>
                    <a:lnTo>
                      <a:pt x="1319213" y="510540"/>
                    </a:lnTo>
                    <a:lnTo>
                      <a:pt x="1319213" y="510540"/>
                    </a:lnTo>
                    <a:lnTo>
                      <a:pt x="1346835" y="514350"/>
                    </a:lnTo>
                    <a:lnTo>
                      <a:pt x="1352550" y="522923"/>
                    </a:lnTo>
                    <a:lnTo>
                      <a:pt x="1349693" y="534353"/>
                    </a:lnTo>
                    <a:lnTo>
                      <a:pt x="1386840" y="557213"/>
                    </a:lnTo>
                    <a:lnTo>
                      <a:pt x="1392555" y="554355"/>
                    </a:lnTo>
                    <a:lnTo>
                      <a:pt x="1440180" y="611505"/>
                    </a:lnTo>
                    <a:lnTo>
                      <a:pt x="1459230" y="603885"/>
                    </a:lnTo>
                    <a:lnTo>
                      <a:pt x="1460183" y="602933"/>
                    </a:lnTo>
                    <a:lnTo>
                      <a:pt x="1460183" y="601980"/>
                    </a:lnTo>
                    <a:lnTo>
                      <a:pt x="1465898" y="614363"/>
                    </a:lnTo>
                    <a:lnTo>
                      <a:pt x="1471613" y="626745"/>
                    </a:lnTo>
                    <a:lnTo>
                      <a:pt x="1476375" y="639128"/>
                    </a:lnTo>
                    <a:lnTo>
                      <a:pt x="1481138" y="651510"/>
                    </a:lnTo>
                    <a:lnTo>
                      <a:pt x="1484948" y="664845"/>
                    </a:lnTo>
                    <a:lnTo>
                      <a:pt x="1488758" y="677228"/>
                    </a:lnTo>
                    <a:lnTo>
                      <a:pt x="1492568" y="690563"/>
                    </a:lnTo>
                    <a:lnTo>
                      <a:pt x="1495425" y="703898"/>
                    </a:lnTo>
                    <a:lnTo>
                      <a:pt x="1498283" y="717233"/>
                    </a:lnTo>
                    <a:lnTo>
                      <a:pt x="1501140" y="730568"/>
                    </a:lnTo>
                    <a:lnTo>
                      <a:pt x="1503045" y="743903"/>
                    </a:lnTo>
                    <a:lnTo>
                      <a:pt x="1504950" y="757238"/>
                    </a:lnTo>
                    <a:lnTo>
                      <a:pt x="1505903" y="770573"/>
                    </a:lnTo>
                    <a:lnTo>
                      <a:pt x="1506855" y="784860"/>
                    </a:lnTo>
                    <a:lnTo>
                      <a:pt x="1507808" y="798195"/>
                    </a:lnTo>
                    <a:lnTo>
                      <a:pt x="1508760" y="812483"/>
                    </a:lnTo>
                    <a:lnTo>
                      <a:pt x="1398270" y="812483"/>
                    </a:lnTo>
                    <a:lnTo>
                      <a:pt x="1397318" y="802005"/>
                    </a:lnTo>
                    <a:lnTo>
                      <a:pt x="1396365" y="791528"/>
                    </a:lnTo>
                    <a:lnTo>
                      <a:pt x="1395413" y="781050"/>
                    </a:lnTo>
                    <a:lnTo>
                      <a:pt x="1394460" y="770573"/>
                    </a:lnTo>
                    <a:lnTo>
                      <a:pt x="1393508" y="760095"/>
                    </a:lnTo>
                    <a:lnTo>
                      <a:pt x="1391603" y="749618"/>
                    </a:lnTo>
                    <a:lnTo>
                      <a:pt x="1389698" y="739140"/>
                    </a:lnTo>
                    <a:lnTo>
                      <a:pt x="1386840" y="728663"/>
                    </a:lnTo>
                    <a:lnTo>
                      <a:pt x="1390650" y="725805"/>
                    </a:lnTo>
                    <a:lnTo>
                      <a:pt x="1396365" y="691515"/>
                    </a:lnTo>
                    <a:lnTo>
                      <a:pt x="1390650" y="651510"/>
                    </a:lnTo>
                    <a:lnTo>
                      <a:pt x="1379220" y="608648"/>
                    </a:lnTo>
                    <a:lnTo>
                      <a:pt x="1347788" y="562928"/>
                    </a:lnTo>
                    <a:lnTo>
                      <a:pt x="1353503" y="565785"/>
                    </a:lnTo>
                    <a:lnTo>
                      <a:pt x="1362075" y="561975"/>
                    </a:lnTo>
                    <a:lnTo>
                      <a:pt x="1336358" y="544830"/>
                    </a:lnTo>
                    <a:lnTo>
                      <a:pt x="1333500" y="550545"/>
                    </a:lnTo>
                    <a:lnTo>
                      <a:pt x="1359218" y="587693"/>
                    </a:lnTo>
                    <a:lnTo>
                      <a:pt x="1373505" y="616268"/>
                    </a:lnTo>
                    <a:lnTo>
                      <a:pt x="1384935" y="644843"/>
                    </a:lnTo>
                    <a:lnTo>
                      <a:pt x="1387793" y="664845"/>
                    </a:lnTo>
                    <a:lnTo>
                      <a:pt x="1393508" y="699135"/>
                    </a:lnTo>
                    <a:lnTo>
                      <a:pt x="1382078" y="699135"/>
                    </a:lnTo>
                    <a:lnTo>
                      <a:pt x="1379220" y="691515"/>
                    </a:lnTo>
                    <a:lnTo>
                      <a:pt x="1376363" y="683895"/>
                    </a:lnTo>
                    <a:lnTo>
                      <a:pt x="1373505" y="675323"/>
                    </a:lnTo>
                    <a:lnTo>
                      <a:pt x="1370648" y="667703"/>
                    </a:lnTo>
                    <a:lnTo>
                      <a:pt x="1373505" y="662940"/>
                    </a:lnTo>
                    <a:lnTo>
                      <a:pt x="1364933" y="651510"/>
                    </a:lnTo>
                    <a:lnTo>
                      <a:pt x="1364933" y="637223"/>
                    </a:lnTo>
                    <a:lnTo>
                      <a:pt x="1356360" y="628650"/>
                    </a:lnTo>
                    <a:lnTo>
                      <a:pt x="1352550" y="628650"/>
                    </a:lnTo>
                    <a:lnTo>
                      <a:pt x="1350645" y="624840"/>
                    </a:lnTo>
                    <a:lnTo>
                      <a:pt x="1348740" y="621030"/>
                    </a:lnTo>
                    <a:lnTo>
                      <a:pt x="1346835" y="617220"/>
                    </a:lnTo>
                    <a:lnTo>
                      <a:pt x="1344930" y="613410"/>
                    </a:lnTo>
                    <a:lnTo>
                      <a:pt x="1345883" y="613410"/>
                    </a:lnTo>
                    <a:lnTo>
                      <a:pt x="1347788" y="613410"/>
                    </a:lnTo>
                    <a:lnTo>
                      <a:pt x="1344930" y="604838"/>
                    </a:lnTo>
                    <a:lnTo>
                      <a:pt x="1350645" y="601980"/>
                    </a:lnTo>
                    <a:lnTo>
                      <a:pt x="1347788" y="596265"/>
                    </a:lnTo>
                    <a:lnTo>
                      <a:pt x="1337310" y="601980"/>
                    </a:lnTo>
                    <a:lnTo>
                      <a:pt x="1337310" y="601028"/>
                    </a:lnTo>
                    <a:lnTo>
                      <a:pt x="1343025" y="584835"/>
                    </a:lnTo>
                    <a:lnTo>
                      <a:pt x="1334453" y="581978"/>
                    </a:lnTo>
                    <a:lnTo>
                      <a:pt x="1330643" y="589598"/>
                    </a:lnTo>
                    <a:lnTo>
                      <a:pt x="1321118" y="576263"/>
                    </a:lnTo>
                    <a:lnTo>
                      <a:pt x="1311593" y="563880"/>
                    </a:lnTo>
                    <a:lnTo>
                      <a:pt x="1301115" y="551498"/>
                    </a:lnTo>
                    <a:lnTo>
                      <a:pt x="1290638" y="540068"/>
                    </a:lnTo>
                    <a:lnTo>
                      <a:pt x="1319213" y="510540"/>
                    </a:lnTo>
                    <a:lnTo>
                      <a:pt x="1319213" y="510540"/>
                    </a:lnTo>
                    <a:close/>
                    <a:moveTo>
                      <a:pt x="1271588" y="557213"/>
                    </a:moveTo>
                    <a:lnTo>
                      <a:pt x="1272540" y="558165"/>
                    </a:lnTo>
                    <a:lnTo>
                      <a:pt x="1273493" y="557213"/>
                    </a:lnTo>
                    <a:lnTo>
                      <a:pt x="1287780" y="575310"/>
                    </a:lnTo>
                    <a:lnTo>
                      <a:pt x="1288733" y="574358"/>
                    </a:lnTo>
                    <a:lnTo>
                      <a:pt x="1298258" y="585788"/>
                    </a:lnTo>
                    <a:lnTo>
                      <a:pt x="1306830" y="598170"/>
                    </a:lnTo>
                    <a:lnTo>
                      <a:pt x="1314450" y="610553"/>
                    </a:lnTo>
                    <a:lnTo>
                      <a:pt x="1322070" y="622935"/>
                    </a:lnTo>
                    <a:lnTo>
                      <a:pt x="1321118" y="622935"/>
                    </a:lnTo>
                    <a:lnTo>
                      <a:pt x="1321118" y="622935"/>
                    </a:lnTo>
                    <a:lnTo>
                      <a:pt x="1309688" y="625793"/>
                    </a:lnTo>
                    <a:lnTo>
                      <a:pt x="1309688" y="642938"/>
                    </a:lnTo>
                    <a:lnTo>
                      <a:pt x="1341120" y="662940"/>
                    </a:lnTo>
                    <a:lnTo>
                      <a:pt x="1342073" y="662940"/>
                    </a:lnTo>
                    <a:lnTo>
                      <a:pt x="1343025" y="662940"/>
                    </a:lnTo>
                    <a:lnTo>
                      <a:pt x="1347788" y="674370"/>
                    </a:lnTo>
                    <a:lnTo>
                      <a:pt x="1352550" y="685800"/>
                    </a:lnTo>
                    <a:lnTo>
                      <a:pt x="1357313" y="697230"/>
                    </a:lnTo>
                    <a:lnTo>
                      <a:pt x="1361123" y="709613"/>
                    </a:lnTo>
                    <a:lnTo>
                      <a:pt x="1359218" y="710565"/>
                    </a:lnTo>
                    <a:lnTo>
                      <a:pt x="1359218" y="710565"/>
                    </a:lnTo>
                    <a:lnTo>
                      <a:pt x="1356360" y="719138"/>
                    </a:lnTo>
                    <a:lnTo>
                      <a:pt x="1344930" y="724853"/>
                    </a:lnTo>
                    <a:lnTo>
                      <a:pt x="1342073" y="741998"/>
                    </a:lnTo>
                    <a:lnTo>
                      <a:pt x="1333500" y="744855"/>
                    </a:lnTo>
                    <a:lnTo>
                      <a:pt x="1327785" y="753428"/>
                    </a:lnTo>
                    <a:lnTo>
                      <a:pt x="1322070" y="750570"/>
                    </a:lnTo>
                    <a:lnTo>
                      <a:pt x="1310640" y="750570"/>
                    </a:lnTo>
                    <a:lnTo>
                      <a:pt x="1316355" y="741998"/>
                    </a:lnTo>
                    <a:lnTo>
                      <a:pt x="1322070" y="719138"/>
                    </a:lnTo>
                    <a:lnTo>
                      <a:pt x="1330643" y="713423"/>
                    </a:lnTo>
                    <a:lnTo>
                      <a:pt x="1307783" y="693420"/>
                    </a:lnTo>
                    <a:lnTo>
                      <a:pt x="1290638" y="699135"/>
                    </a:lnTo>
                    <a:lnTo>
                      <a:pt x="1287780" y="713423"/>
                    </a:lnTo>
                    <a:lnTo>
                      <a:pt x="1279208" y="724853"/>
                    </a:lnTo>
                    <a:lnTo>
                      <a:pt x="1267778" y="716280"/>
                    </a:lnTo>
                    <a:lnTo>
                      <a:pt x="1264920" y="707708"/>
                    </a:lnTo>
                    <a:lnTo>
                      <a:pt x="1270635" y="704850"/>
                    </a:lnTo>
                    <a:lnTo>
                      <a:pt x="1273493" y="710565"/>
                    </a:lnTo>
                    <a:lnTo>
                      <a:pt x="1279208" y="707708"/>
                    </a:lnTo>
                    <a:lnTo>
                      <a:pt x="1276350" y="699135"/>
                    </a:lnTo>
                    <a:lnTo>
                      <a:pt x="1267778" y="699135"/>
                    </a:lnTo>
                    <a:lnTo>
                      <a:pt x="1267778" y="704850"/>
                    </a:lnTo>
                    <a:lnTo>
                      <a:pt x="1264920" y="704850"/>
                    </a:lnTo>
                    <a:lnTo>
                      <a:pt x="1239203" y="675323"/>
                    </a:lnTo>
                    <a:lnTo>
                      <a:pt x="1230630" y="669608"/>
                    </a:lnTo>
                    <a:lnTo>
                      <a:pt x="1233488" y="666750"/>
                    </a:lnTo>
                    <a:lnTo>
                      <a:pt x="1242060" y="663893"/>
                    </a:lnTo>
                    <a:lnTo>
                      <a:pt x="1233488" y="661035"/>
                    </a:lnTo>
                    <a:lnTo>
                      <a:pt x="1224915" y="663893"/>
                    </a:lnTo>
                    <a:lnTo>
                      <a:pt x="1230630" y="669608"/>
                    </a:lnTo>
                    <a:lnTo>
                      <a:pt x="1218248" y="669608"/>
                    </a:lnTo>
                    <a:lnTo>
                      <a:pt x="1212533" y="661035"/>
                    </a:lnTo>
                    <a:lnTo>
                      <a:pt x="1206818" y="652463"/>
                    </a:lnTo>
                    <a:lnTo>
                      <a:pt x="1200150" y="643890"/>
                    </a:lnTo>
                    <a:lnTo>
                      <a:pt x="1193483" y="636270"/>
                    </a:lnTo>
                    <a:lnTo>
                      <a:pt x="1271588" y="557213"/>
                    </a:lnTo>
                    <a:lnTo>
                      <a:pt x="1271588" y="557213"/>
                    </a:lnTo>
                    <a:close/>
                    <a:moveTo>
                      <a:pt x="1198245" y="678180"/>
                    </a:moveTo>
                    <a:lnTo>
                      <a:pt x="1196340" y="678180"/>
                    </a:lnTo>
                    <a:lnTo>
                      <a:pt x="1196340" y="679133"/>
                    </a:lnTo>
                    <a:lnTo>
                      <a:pt x="1193483" y="693420"/>
                    </a:lnTo>
                    <a:lnTo>
                      <a:pt x="1182053" y="684848"/>
                    </a:lnTo>
                    <a:lnTo>
                      <a:pt x="1173480" y="687705"/>
                    </a:lnTo>
                    <a:lnTo>
                      <a:pt x="1179195" y="696278"/>
                    </a:lnTo>
                    <a:lnTo>
                      <a:pt x="1182053" y="696278"/>
                    </a:lnTo>
                    <a:lnTo>
                      <a:pt x="1179195" y="707708"/>
                    </a:lnTo>
                    <a:lnTo>
                      <a:pt x="1173480" y="701993"/>
                    </a:lnTo>
                    <a:lnTo>
                      <a:pt x="1162050" y="699135"/>
                    </a:lnTo>
                    <a:lnTo>
                      <a:pt x="1171575" y="695325"/>
                    </a:lnTo>
                    <a:lnTo>
                      <a:pt x="1171575" y="692468"/>
                    </a:lnTo>
                    <a:lnTo>
                      <a:pt x="1163003" y="686753"/>
                    </a:lnTo>
                    <a:lnTo>
                      <a:pt x="1165860" y="663893"/>
                    </a:lnTo>
                    <a:lnTo>
                      <a:pt x="1165860" y="663893"/>
                    </a:lnTo>
                    <a:lnTo>
                      <a:pt x="1178243" y="651510"/>
                    </a:lnTo>
                    <a:lnTo>
                      <a:pt x="1183958" y="657225"/>
                    </a:lnTo>
                    <a:lnTo>
                      <a:pt x="1188720" y="663893"/>
                    </a:lnTo>
                    <a:lnTo>
                      <a:pt x="1193483" y="670560"/>
                    </a:lnTo>
                    <a:lnTo>
                      <a:pt x="1198245" y="678180"/>
                    </a:lnTo>
                    <a:lnTo>
                      <a:pt x="1198245" y="678180"/>
                    </a:lnTo>
                    <a:close/>
                    <a:moveTo>
                      <a:pt x="1248728" y="1278255"/>
                    </a:moveTo>
                    <a:lnTo>
                      <a:pt x="1259205" y="1257300"/>
                    </a:lnTo>
                    <a:lnTo>
                      <a:pt x="1253490" y="1245870"/>
                    </a:lnTo>
                    <a:lnTo>
                      <a:pt x="1270635" y="1231583"/>
                    </a:lnTo>
                    <a:lnTo>
                      <a:pt x="1270635" y="1223010"/>
                    </a:lnTo>
                    <a:lnTo>
                      <a:pt x="1256348" y="1214438"/>
                    </a:lnTo>
                    <a:lnTo>
                      <a:pt x="1267778" y="1194435"/>
                    </a:lnTo>
                    <a:lnTo>
                      <a:pt x="1284923" y="1171575"/>
                    </a:lnTo>
                    <a:lnTo>
                      <a:pt x="1267778" y="1154430"/>
                    </a:lnTo>
                    <a:lnTo>
                      <a:pt x="1256348" y="1154430"/>
                    </a:lnTo>
                    <a:lnTo>
                      <a:pt x="1248728" y="1143953"/>
                    </a:lnTo>
                    <a:lnTo>
                      <a:pt x="1254443" y="1139190"/>
                    </a:lnTo>
                    <a:lnTo>
                      <a:pt x="1260158" y="1133475"/>
                    </a:lnTo>
                    <a:lnTo>
                      <a:pt x="1265873" y="1128713"/>
                    </a:lnTo>
                    <a:lnTo>
                      <a:pt x="1271588" y="1122998"/>
                    </a:lnTo>
                    <a:lnTo>
                      <a:pt x="1311593" y="1163003"/>
                    </a:lnTo>
                    <a:lnTo>
                      <a:pt x="1311593" y="1169670"/>
                    </a:lnTo>
                    <a:lnTo>
                      <a:pt x="1311593" y="1169670"/>
                    </a:lnTo>
                    <a:lnTo>
                      <a:pt x="1319213" y="1170623"/>
                    </a:lnTo>
                    <a:lnTo>
                      <a:pt x="1349693" y="1201103"/>
                    </a:lnTo>
                    <a:lnTo>
                      <a:pt x="1338263" y="1211580"/>
                    </a:lnTo>
                    <a:lnTo>
                      <a:pt x="1326833" y="1222058"/>
                    </a:lnTo>
                    <a:lnTo>
                      <a:pt x="1314450" y="1232535"/>
                    </a:lnTo>
                    <a:lnTo>
                      <a:pt x="1302068" y="1242060"/>
                    </a:lnTo>
                    <a:lnTo>
                      <a:pt x="1288733" y="1251585"/>
                    </a:lnTo>
                    <a:lnTo>
                      <a:pt x="1275398" y="1261110"/>
                    </a:lnTo>
                    <a:lnTo>
                      <a:pt x="1262063" y="1269683"/>
                    </a:lnTo>
                    <a:lnTo>
                      <a:pt x="1248728" y="1278255"/>
                    </a:lnTo>
                    <a:lnTo>
                      <a:pt x="1248728" y="1278255"/>
                    </a:lnTo>
                    <a:close/>
                    <a:moveTo>
                      <a:pt x="1258253" y="1076325"/>
                    </a:moveTo>
                    <a:lnTo>
                      <a:pt x="1262063" y="1065848"/>
                    </a:lnTo>
                    <a:lnTo>
                      <a:pt x="1250633" y="1031558"/>
                    </a:lnTo>
                    <a:lnTo>
                      <a:pt x="1237298" y="1054418"/>
                    </a:lnTo>
                    <a:lnTo>
                      <a:pt x="1226820" y="1043940"/>
                    </a:lnTo>
                    <a:lnTo>
                      <a:pt x="1231583" y="1037273"/>
                    </a:lnTo>
                    <a:lnTo>
                      <a:pt x="1243013" y="1017270"/>
                    </a:lnTo>
                    <a:lnTo>
                      <a:pt x="1237298" y="1011555"/>
                    </a:lnTo>
                    <a:lnTo>
                      <a:pt x="1245870" y="994410"/>
                    </a:lnTo>
                    <a:lnTo>
                      <a:pt x="1243013" y="980123"/>
                    </a:lnTo>
                    <a:lnTo>
                      <a:pt x="1240155" y="965835"/>
                    </a:lnTo>
                    <a:lnTo>
                      <a:pt x="1228725" y="962978"/>
                    </a:lnTo>
                    <a:lnTo>
                      <a:pt x="1225868" y="971550"/>
                    </a:lnTo>
                    <a:lnTo>
                      <a:pt x="1223010" y="970598"/>
                    </a:lnTo>
                    <a:lnTo>
                      <a:pt x="1228725" y="960120"/>
                    </a:lnTo>
                    <a:lnTo>
                      <a:pt x="1234440" y="949643"/>
                    </a:lnTo>
                    <a:lnTo>
                      <a:pt x="1239203" y="939165"/>
                    </a:lnTo>
                    <a:lnTo>
                      <a:pt x="1243965" y="928688"/>
                    </a:lnTo>
                    <a:lnTo>
                      <a:pt x="1253490" y="923925"/>
                    </a:lnTo>
                    <a:lnTo>
                      <a:pt x="1259205" y="918210"/>
                    </a:lnTo>
                    <a:lnTo>
                      <a:pt x="1262063" y="921068"/>
                    </a:lnTo>
                    <a:lnTo>
                      <a:pt x="1267778" y="912495"/>
                    </a:lnTo>
                    <a:lnTo>
                      <a:pt x="1262063" y="906780"/>
                    </a:lnTo>
                    <a:lnTo>
                      <a:pt x="1267778" y="903923"/>
                    </a:lnTo>
                    <a:lnTo>
                      <a:pt x="1276350" y="906780"/>
                    </a:lnTo>
                    <a:lnTo>
                      <a:pt x="1293495" y="906780"/>
                    </a:lnTo>
                    <a:lnTo>
                      <a:pt x="1304925" y="903923"/>
                    </a:lnTo>
                    <a:lnTo>
                      <a:pt x="1333500" y="895350"/>
                    </a:lnTo>
                    <a:lnTo>
                      <a:pt x="1327785" y="886778"/>
                    </a:lnTo>
                    <a:lnTo>
                      <a:pt x="1323975" y="876300"/>
                    </a:lnTo>
                    <a:lnTo>
                      <a:pt x="1338263" y="882015"/>
                    </a:lnTo>
                    <a:lnTo>
                      <a:pt x="1343978" y="879158"/>
                    </a:lnTo>
                    <a:lnTo>
                      <a:pt x="1341120" y="867728"/>
                    </a:lnTo>
                    <a:lnTo>
                      <a:pt x="1323975" y="873443"/>
                    </a:lnTo>
                    <a:lnTo>
                      <a:pt x="1303973" y="870585"/>
                    </a:lnTo>
                    <a:lnTo>
                      <a:pt x="1289685" y="839153"/>
                    </a:lnTo>
                    <a:lnTo>
                      <a:pt x="1290638" y="839153"/>
                    </a:lnTo>
                    <a:lnTo>
                      <a:pt x="1290638" y="839153"/>
                    </a:lnTo>
                    <a:lnTo>
                      <a:pt x="1288733" y="836295"/>
                    </a:lnTo>
                    <a:lnTo>
                      <a:pt x="1376363" y="836295"/>
                    </a:lnTo>
                    <a:lnTo>
                      <a:pt x="1376363" y="845820"/>
                    </a:lnTo>
                    <a:lnTo>
                      <a:pt x="1375410" y="855345"/>
                    </a:lnTo>
                    <a:lnTo>
                      <a:pt x="1374458" y="864870"/>
                    </a:lnTo>
                    <a:lnTo>
                      <a:pt x="1373505" y="874395"/>
                    </a:lnTo>
                    <a:lnTo>
                      <a:pt x="1372553" y="882968"/>
                    </a:lnTo>
                    <a:lnTo>
                      <a:pt x="1370648" y="891540"/>
                    </a:lnTo>
                    <a:lnTo>
                      <a:pt x="1368743" y="900113"/>
                    </a:lnTo>
                    <a:lnTo>
                      <a:pt x="1366838" y="908685"/>
                    </a:lnTo>
                    <a:lnTo>
                      <a:pt x="1364933" y="917258"/>
                    </a:lnTo>
                    <a:lnTo>
                      <a:pt x="1363028" y="925830"/>
                    </a:lnTo>
                    <a:lnTo>
                      <a:pt x="1360170" y="934403"/>
                    </a:lnTo>
                    <a:lnTo>
                      <a:pt x="1357313" y="942975"/>
                    </a:lnTo>
                    <a:lnTo>
                      <a:pt x="1354455" y="950595"/>
                    </a:lnTo>
                    <a:lnTo>
                      <a:pt x="1351598" y="959168"/>
                    </a:lnTo>
                    <a:lnTo>
                      <a:pt x="1348740" y="966788"/>
                    </a:lnTo>
                    <a:lnTo>
                      <a:pt x="1345883" y="974408"/>
                    </a:lnTo>
                    <a:lnTo>
                      <a:pt x="1342073" y="982028"/>
                    </a:lnTo>
                    <a:lnTo>
                      <a:pt x="1338263" y="989648"/>
                    </a:lnTo>
                    <a:lnTo>
                      <a:pt x="1334453" y="997268"/>
                    </a:lnTo>
                    <a:lnTo>
                      <a:pt x="1330643" y="1004888"/>
                    </a:lnTo>
                    <a:lnTo>
                      <a:pt x="1326833" y="1012508"/>
                    </a:lnTo>
                    <a:lnTo>
                      <a:pt x="1323023" y="1020128"/>
                    </a:lnTo>
                    <a:lnTo>
                      <a:pt x="1318260" y="1027748"/>
                    </a:lnTo>
                    <a:lnTo>
                      <a:pt x="1313498" y="1035368"/>
                    </a:lnTo>
                    <a:lnTo>
                      <a:pt x="1308735" y="1042035"/>
                    </a:lnTo>
                    <a:lnTo>
                      <a:pt x="1303973" y="1048703"/>
                    </a:lnTo>
                    <a:lnTo>
                      <a:pt x="1299210" y="1055370"/>
                    </a:lnTo>
                    <a:lnTo>
                      <a:pt x="1293495" y="1062038"/>
                    </a:lnTo>
                    <a:lnTo>
                      <a:pt x="1287780" y="1068705"/>
                    </a:lnTo>
                    <a:lnTo>
                      <a:pt x="1283018" y="1075373"/>
                    </a:lnTo>
                    <a:lnTo>
                      <a:pt x="1277303" y="1082040"/>
                    </a:lnTo>
                    <a:lnTo>
                      <a:pt x="1271588" y="1088708"/>
                    </a:lnTo>
                    <a:lnTo>
                      <a:pt x="1258253" y="1076325"/>
                    </a:lnTo>
                    <a:lnTo>
                      <a:pt x="1258253" y="1076325"/>
                    </a:lnTo>
                    <a:close/>
                    <a:moveTo>
                      <a:pt x="1212533" y="1063943"/>
                    </a:moveTo>
                    <a:lnTo>
                      <a:pt x="1206818" y="1064895"/>
                    </a:lnTo>
                    <a:lnTo>
                      <a:pt x="1207770" y="1065848"/>
                    </a:lnTo>
                    <a:lnTo>
                      <a:pt x="1204913" y="1068705"/>
                    </a:lnTo>
                    <a:lnTo>
                      <a:pt x="1179195" y="1062990"/>
                    </a:lnTo>
                    <a:lnTo>
                      <a:pt x="1173480" y="1065848"/>
                    </a:lnTo>
                    <a:lnTo>
                      <a:pt x="1159193" y="1054418"/>
                    </a:lnTo>
                    <a:lnTo>
                      <a:pt x="1147763" y="1051560"/>
                    </a:lnTo>
                    <a:lnTo>
                      <a:pt x="1163955" y="1038225"/>
                    </a:lnTo>
                    <a:lnTo>
                      <a:pt x="1163955" y="1036320"/>
                    </a:lnTo>
                    <a:lnTo>
                      <a:pt x="1177290" y="1029653"/>
                    </a:lnTo>
                    <a:lnTo>
                      <a:pt x="1212533" y="1063943"/>
                    </a:lnTo>
                    <a:lnTo>
                      <a:pt x="1212533" y="1063943"/>
                    </a:lnTo>
                    <a:close/>
                    <a:moveTo>
                      <a:pt x="1275398" y="811530"/>
                    </a:moveTo>
                    <a:lnTo>
                      <a:pt x="1275398" y="805815"/>
                    </a:lnTo>
                    <a:lnTo>
                      <a:pt x="1286828" y="797243"/>
                    </a:lnTo>
                    <a:lnTo>
                      <a:pt x="1286828" y="791528"/>
                    </a:lnTo>
                    <a:lnTo>
                      <a:pt x="1292543" y="788670"/>
                    </a:lnTo>
                    <a:lnTo>
                      <a:pt x="1306830" y="785813"/>
                    </a:lnTo>
                    <a:lnTo>
                      <a:pt x="1306830" y="781050"/>
                    </a:lnTo>
                    <a:lnTo>
                      <a:pt x="1295400" y="775335"/>
                    </a:lnTo>
                    <a:lnTo>
                      <a:pt x="1315403" y="763905"/>
                    </a:lnTo>
                    <a:lnTo>
                      <a:pt x="1335405" y="761048"/>
                    </a:lnTo>
                    <a:lnTo>
                      <a:pt x="1341120" y="749618"/>
                    </a:lnTo>
                    <a:lnTo>
                      <a:pt x="1352550" y="743903"/>
                    </a:lnTo>
                    <a:lnTo>
                      <a:pt x="1358265" y="732473"/>
                    </a:lnTo>
                    <a:lnTo>
                      <a:pt x="1361123" y="718185"/>
                    </a:lnTo>
                    <a:lnTo>
                      <a:pt x="1361123" y="719138"/>
                    </a:lnTo>
                    <a:lnTo>
                      <a:pt x="1361123" y="718185"/>
                    </a:lnTo>
                    <a:lnTo>
                      <a:pt x="1362075" y="717233"/>
                    </a:lnTo>
                    <a:lnTo>
                      <a:pt x="1363028" y="721043"/>
                    </a:lnTo>
                    <a:lnTo>
                      <a:pt x="1363980" y="724853"/>
                    </a:lnTo>
                    <a:lnTo>
                      <a:pt x="1364933" y="728663"/>
                    </a:lnTo>
                    <a:lnTo>
                      <a:pt x="1365885" y="732473"/>
                    </a:lnTo>
                    <a:lnTo>
                      <a:pt x="1363028" y="736283"/>
                    </a:lnTo>
                    <a:lnTo>
                      <a:pt x="1363028" y="736283"/>
                    </a:lnTo>
                    <a:lnTo>
                      <a:pt x="1354455" y="765810"/>
                    </a:lnTo>
                    <a:lnTo>
                      <a:pt x="1351598" y="777240"/>
                    </a:lnTo>
                    <a:lnTo>
                      <a:pt x="1364933" y="762953"/>
                    </a:lnTo>
                    <a:lnTo>
                      <a:pt x="1370648" y="754380"/>
                    </a:lnTo>
                    <a:lnTo>
                      <a:pt x="1371600" y="761048"/>
                    </a:lnTo>
                    <a:lnTo>
                      <a:pt x="1372553" y="767715"/>
                    </a:lnTo>
                    <a:lnTo>
                      <a:pt x="1373505" y="775335"/>
                    </a:lnTo>
                    <a:lnTo>
                      <a:pt x="1374458" y="782003"/>
                    </a:lnTo>
                    <a:lnTo>
                      <a:pt x="1375410" y="788670"/>
                    </a:lnTo>
                    <a:lnTo>
                      <a:pt x="1375410" y="795338"/>
                    </a:lnTo>
                    <a:lnTo>
                      <a:pt x="1375410" y="802958"/>
                    </a:lnTo>
                    <a:lnTo>
                      <a:pt x="1375410" y="810578"/>
                    </a:lnTo>
                    <a:lnTo>
                      <a:pt x="1275398" y="810578"/>
                    </a:lnTo>
                    <a:lnTo>
                      <a:pt x="1275398" y="811530"/>
                    </a:lnTo>
                    <a:close/>
                    <a:moveTo>
                      <a:pt x="1143953" y="625793"/>
                    </a:moveTo>
                    <a:lnTo>
                      <a:pt x="1143000" y="626745"/>
                    </a:lnTo>
                    <a:lnTo>
                      <a:pt x="1134428" y="632460"/>
                    </a:lnTo>
                    <a:lnTo>
                      <a:pt x="1128713" y="641033"/>
                    </a:lnTo>
                    <a:lnTo>
                      <a:pt x="1122998" y="635318"/>
                    </a:lnTo>
                    <a:lnTo>
                      <a:pt x="1105853" y="641033"/>
                    </a:lnTo>
                    <a:lnTo>
                      <a:pt x="1111568" y="649605"/>
                    </a:lnTo>
                    <a:lnTo>
                      <a:pt x="1122998" y="643890"/>
                    </a:lnTo>
                    <a:lnTo>
                      <a:pt x="1131570" y="646748"/>
                    </a:lnTo>
                    <a:lnTo>
                      <a:pt x="1131570" y="641033"/>
                    </a:lnTo>
                    <a:lnTo>
                      <a:pt x="1137285" y="638175"/>
                    </a:lnTo>
                    <a:lnTo>
                      <a:pt x="1140143" y="635318"/>
                    </a:lnTo>
                    <a:lnTo>
                      <a:pt x="1148715" y="632460"/>
                    </a:lnTo>
                    <a:lnTo>
                      <a:pt x="1155383" y="632460"/>
                    </a:lnTo>
                    <a:lnTo>
                      <a:pt x="1143953" y="625793"/>
                    </a:lnTo>
                    <a:lnTo>
                      <a:pt x="1143953" y="625793"/>
                    </a:lnTo>
                    <a:close/>
                    <a:moveTo>
                      <a:pt x="1351598" y="1168718"/>
                    </a:moveTo>
                    <a:lnTo>
                      <a:pt x="1356360" y="1162050"/>
                    </a:lnTo>
                    <a:lnTo>
                      <a:pt x="1347788" y="1119188"/>
                    </a:lnTo>
                    <a:lnTo>
                      <a:pt x="1342073" y="1116330"/>
                    </a:lnTo>
                    <a:lnTo>
                      <a:pt x="1344930" y="1110615"/>
                    </a:lnTo>
                    <a:lnTo>
                      <a:pt x="1327785" y="1104900"/>
                    </a:lnTo>
                    <a:lnTo>
                      <a:pt x="1322070" y="1119188"/>
                    </a:lnTo>
                    <a:lnTo>
                      <a:pt x="1322070" y="1139190"/>
                    </a:lnTo>
                    <a:lnTo>
                      <a:pt x="1288733" y="1105853"/>
                    </a:lnTo>
                    <a:lnTo>
                      <a:pt x="1294448" y="1099185"/>
                    </a:lnTo>
                    <a:lnTo>
                      <a:pt x="1301115" y="1092518"/>
                    </a:lnTo>
                    <a:lnTo>
                      <a:pt x="1306830" y="1085850"/>
                    </a:lnTo>
                    <a:lnTo>
                      <a:pt x="1312545" y="1078230"/>
                    </a:lnTo>
                    <a:lnTo>
                      <a:pt x="1318260" y="1071563"/>
                    </a:lnTo>
                    <a:lnTo>
                      <a:pt x="1323975" y="1063943"/>
                    </a:lnTo>
                    <a:lnTo>
                      <a:pt x="1329690" y="1056323"/>
                    </a:lnTo>
                    <a:lnTo>
                      <a:pt x="1335405" y="1048703"/>
                    </a:lnTo>
                    <a:lnTo>
                      <a:pt x="1340168" y="1041083"/>
                    </a:lnTo>
                    <a:lnTo>
                      <a:pt x="1344930" y="1033463"/>
                    </a:lnTo>
                    <a:lnTo>
                      <a:pt x="1349693" y="1025843"/>
                    </a:lnTo>
                    <a:lnTo>
                      <a:pt x="1354455" y="1018223"/>
                    </a:lnTo>
                    <a:lnTo>
                      <a:pt x="1358265" y="1009650"/>
                    </a:lnTo>
                    <a:lnTo>
                      <a:pt x="1362075" y="1001078"/>
                    </a:lnTo>
                    <a:lnTo>
                      <a:pt x="1365885" y="992505"/>
                    </a:lnTo>
                    <a:lnTo>
                      <a:pt x="1369695" y="983933"/>
                    </a:lnTo>
                    <a:lnTo>
                      <a:pt x="1373505" y="975360"/>
                    </a:lnTo>
                    <a:lnTo>
                      <a:pt x="1377315" y="966788"/>
                    </a:lnTo>
                    <a:lnTo>
                      <a:pt x="1380173" y="958215"/>
                    </a:lnTo>
                    <a:lnTo>
                      <a:pt x="1383030" y="949643"/>
                    </a:lnTo>
                    <a:lnTo>
                      <a:pt x="1385888" y="940118"/>
                    </a:lnTo>
                    <a:lnTo>
                      <a:pt x="1388745" y="930593"/>
                    </a:lnTo>
                    <a:lnTo>
                      <a:pt x="1391603" y="921068"/>
                    </a:lnTo>
                    <a:lnTo>
                      <a:pt x="1393508" y="911543"/>
                    </a:lnTo>
                    <a:lnTo>
                      <a:pt x="1395413" y="902018"/>
                    </a:lnTo>
                    <a:lnTo>
                      <a:pt x="1397318" y="892493"/>
                    </a:lnTo>
                    <a:lnTo>
                      <a:pt x="1398270" y="882968"/>
                    </a:lnTo>
                    <a:lnTo>
                      <a:pt x="1399223" y="873443"/>
                    </a:lnTo>
                    <a:lnTo>
                      <a:pt x="1400175" y="863918"/>
                    </a:lnTo>
                    <a:lnTo>
                      <a:pt x="1401128" y="854393"/>
                    </a:lnTo>
                    <a:lnTo>
                      <a:pt x="1401128" y="844868"/>
                    </a:lnTo>
                    <a:lnTo>
                      <a:pt x="1402080" y="835343"/>
                    </a:lnTo>
                    <a:lnTo>
                      <a:pt x="1512570" y="835343"/>
                    </a:lnTo>
                    <a:lnTo>
                      <a:pt x="1511618" y="847725"/>
                    </a:lnTo>
                    <a:lnTo>
                      <a:pt x="1510665" y="860108"/>
                    </a:lnTo>
                    <a:lnTo>
                      <a:pt x="1509713" y="872490"/>
                    </a:lnTo>
                    <a:lnTo>
                      <a:pt x="1508760" y="884873"/>
                    </a:lnTo>
                    <a:lnTo>
                      <a:pt x="1506855" y="897255"/>
                    </a:lnTo>
                    <a:lnTo>
                      <a:pt x="1504950" y="909638"/>
                    </a:lnTo>
                    <a:lnTo>
                      <a:pt x="1503045" y="922020"/>
                    </a:lnTo>
                    <a:lnTo>
                      <a:pt x="1500188" y="934403"/>
                    </a:lnTo>
                    <a:lnTo>
                      <a:pt x="1497330" y="946785"/>
                    </a:lnTo>
                    <a:lnTo>
                      <a:pt x="1494473" y="959168"/>
                    </a:lnTo>
                    <a:lnTo>
                      <a:pt x="1491615" y="970598"/>
                    </a:lnTo>
                    <a:lnTo>
                      <a:pt x="1487805" y="982028"/>
                    </a:lnTo>
                    <a:lnTo>
                      <a:pt x="1483995" y="993458"/>
                    </a:lnTo>
                    <a:lnTo>
                      <a:pt x="1480185" y="1004888"/>
                    </a:lnTo>
                    <a:lnTo>
                      <a:pt x="1476375" y="1016318"/>
                    </a:lnTo>
                    <a:lnTo>
                      <a:pt x="1471613" y="1027748"/>
                    </a:lnTo>
                    <a:lnTo>
                      <a:pt x="1466850" y="1038225"/>
                    </a:lnTo>
                    <a:lnTo>
                      <a:pt x="1461135" y="1048703"/>
                    </a:lnTo>
                    <a:lnTo>
                      <a:pt x="1455420" y="1059180"/>
                    </a:lnTo>
                    <a:lnTo>
                      <a:pt x="1449705" y="1069658"/>
                    </a:lnTo>
                    <a:lnTo>
                      <a:pt x="1443990" y="1080135"/>
                    </a:lnTo>
                    <a:lnTo>
                      <a:pt x="1438275" y="1090613"/>
                    </a:lnTo>
                    <a:lnTo>
                      <a:pt x="1431608" y="1101090"/>
                    </a:lnTo>
                    <a:lnTo>
                      <a:pt x="1424940" y="1110615"/>
                    </a:lnTo>
                    <a:lnTo>
                      <a:pt x="1418273" y="1120140"/>
                    </a:lnTo>
                    <a:lnTo>
                      <a:pt x="1411605" y="1129665"/>
                    </a:lnTo>
                    <a:lnTo>
                      <a:pt x="1403985" y="1139190"/>
                    </a:lnTo>
                    <a:lnTo>
                      <a:pt x="1397318" y="1148715"/>
                    </a:lnTo>
                    <a:lnTo>
                      <a:pt x="1389698" y="1158240"/>
                    </a:lnTo>
                    <a:lnTo>
                      <a:pt x="1382078" y="1166813"/>
                    </a:lnTo>
                    <a:lnTo>
                      <a:pt x="1374458" y="1176338"/>
                    </a:lnTo>
                    <a:lnTo>
                      <a:pt x="1366838" y="1184910"/>
                    </a:lnTo>
                    <a:lnTo>
                      <a:pt x="1351598" y="1168718"/>
                    </a:lnTo>
                    <a:lnTo>
                      <a:pt x="1351598" y="1168718"/>
                    </a:lnTo>
                    <a:close/>
                    <a:moveTo>
                      <a:pt x="626745" y="837248"/>
                    </a:moveTo>
                    <a:lnTo>
                      <a:pt x="626745" y="837248"/>
                    </a:lnTo>
                    <a:lnTo>
                      <a:pt x="618173" y="865823"/>
                    </a:lnTo>
                    <a:lnTo>
                      <a:pt x="629603" y="874395"/>
                    </a:lnTo>
                    <a:lnTo>
                      <a:pt x="618173" y="891540"/>
                    </a:lnTo>
                    <a:lnTo>
                      <a:pt x="601028" y="891540"/>
                    </a:lnTo>
                    <a:lnTo>
                      <a:pt x="600075" y="884873"/>
                    </a:lnTo>
                    <a:lnTo>
                      <a:pt x="599123" y="878205"/>
                    </a:lnTo>
                    <a:lnTo>
                      <a:pt x="598170" y="871538"/>
                    </a:lnTo>
                    <a:lnTo>
                      <a:pt x="597218" y="864870"/>
                    </a:lnTo>
                    <a:lnTo>
                      <a:pt x="596265" y="857250"/>
                    </a:lnTo>
                    <a:lnTo>
                      <a:pt x="596265" y="850583"/>
                    </a:lnTo>
                    <a:lnTo>
                      <a:pt x="595313" y="843915"/>
                    </a:lnTo>
                    <a:lnTo>
                      <a:pt x="595313" y="836295"/>
                    </a:lnTo>
                    <a:lnTo>
                      <a:pt x="628650" y="836295"/>
                    </a:lnTo>
                    <a:lnTo>
                      <a:pt x="626745" y="837248"/>
                    </a:lnTo>
                    <a:lnTo>
                      <a:pt x="626745" y="837248"/>
                    </a:lnTo>
                    <a:close/>
                    <a:moveTo>
                      <a:pt x="574358" y="870585"/>
                    </a:moveTo>
                    <a:lnTo>
                      <a:pt x="573405" y="870585"/>
                    </a:lnTo>
                    <a:lnTo>
                      <a:pt x="573405" y="871538"/>
                    </a:lnTo>
                    <a:lnTo>
                      <a:pt x="559118" y="874395"/>
                    </a:lnTo>
                    <a:lnTo>
                      <a:pt x="556260" y="888683"/>
                    </a:lnTo>
                    <a:lnTo>
                      <a:pt x="527685" y="922973"/>
                    </a:lnTo>
                    <a:lnTo>
                      <a:pt x="530543" y="974408"/>
                    </a:lnTo>
                    <a:lnTo>
                      <a:pt x="499110" y="982980"/>
                    </a:lnTo>
                    <a:lnTo>
                      <a:pt x="486728" y="982980"/>
                    </a:lnTo>
                    <a:lnTo>
                      <a:pt x="481013" y="964883"/>
                    </a:lnTo>
                    <a:lnTo>
                      <a:pt x="476250" y="946785"/>
                    </a:lnTo>
                    <a:lnTo>
                      <a:pt x="472440" y="928688"/>
                    </a:lnTo>
                    <a:lnTo>
                      <a:pt x="469583" y="909638"/>
                    </a:lnTo>
                    <a:lnTo>
                      <a:pt x="466725" y="890588"/>
                    </a:lnTo>
                    <a:lnTo>
                      <a:pt x="464820" y="871538"/>
                    </a:lnTo>
                    <a:lnTo>
                      <a:pt x="463868" y="862013"/>
                    </a:lnTo>
                    <a:lnTo>
                      <a:pt x="462915" y="852488"/>
                    </a:lnTo>
                    <a:lnTo>
                      <a:pt x="462915" y="842963"/>
                    </a:lnTo>
                    <a:lnTo>
                      <a:pt x="462915" y="833438"/>
                    </a:lnTo>
                    <a:lnTo>
                      <a:pt x="573405" y="833438"/>
                    </a:lnTo>
                    <a:lnTo>
                      <a:pt x="573405" y="842963"/>
                    </a:lnTo>
                    <a:lnTo>
                      <a:pt x="574358" y="851535"/>
                    </a:lnTo>
                    <a:lnTo>
                      <a:pt x="575310" y="861060"/>
                    </a:lnTo>
                    <a:lnTo>
                      <a:pt x="574358" y="870585"/>
                    </a:lnTo>
                    <a:lnTo>
                      <a:pt x="574358" y="870585"/>
                    </a:lnTo>
                    <a:close/>
                    <a:moveTo>
                      <a:pt x="461963" y="982980"/>
                    </a:moveTo>
                    <a:lnTo>
                      <a:pt x="458153" y="982980"/>
                    </a:lnTo>
                    <a:lnTo>
                      <a:pt x="458153" y="982980"/>
                    </a:lnTo>
                    <a:lnTo>
                      <a:pt x="458153" y="983933"/>
                    </a:lnTo>
                    <a:lnTo>
                      <a:pt x="451485" y="983933"/>
                    </a:lnTo>
                    <a:lnTo>
                      <a:pt x="445770" y="975360"/>
                    </a:lnTo>
                    <a:lnTo>
                      <a:pt x="415290" y="972503"/>
                    </a:lnTo>
                    <a:lnTo>
                      <a:pt x="423863" y="986790"/>
                    </a:lnTo>
                    <a:lnTo>
                      <a:pt x="396240" y="981075"/>
                    </a:lnTo>
                    <a:lnTo>
                      <a:pt x="404813" y="972503"/>
                    </a:lnTo>
                    <a:lnTo>
                      <a:pt x="396240" y="966788"/>
                    </a:lnTo>
                    <a:lnTo>
                      <a:pt x="377190" y="975360"/>
                    </a:lnTo>
                    <a:lnTo>
                      <a:pt x="368618" y="989648"/>
                    </a:lnTo>
                    <a:lnTo>
                      <a:pt x="371475" y="1020128"/>
                    </a:lnTo>
                    <a:lnTo>
                      <a:pt x="396240" y="1078230"/>
                    </a:lnTo>
                    <a:lnTo>
                      <a:pt x="407670" y="1095375"/>
                    </a:lnTo>
                    <a:lnTo>
                      <a:pt x="413385" y="1098233"/>
                    </a:lnTo>
                    <a:lnTo>
                      <a:pt x="396240" y="1064895"/>
                    </a:lnTo>
                    <a:lnTo>
                      <a:pt x="390525" y="1047750"/>
                    </a:lnTo>
                    <a:lnTo>
                      <a:pt x="396240" y="1042035"/>
                    </a:lnTo>
                    <a:lnTo>
                      <a:pt x="393383" y="1033463"/>
                    </a:lnTo>
                    <a:lnTo>
                      <a:pt x="405765" y="1033463"/>
                    </a:lnTo>
                    <a:lnTo>
                      <a:pt x="421958" y="1058228"/>
                    </a:lnTo>
                    <a:lnTo>
                      <a:pt x="424815" y="1061085"/>
                    </a:lnTo>
                    <a:lnTo>
                      <a:pt x="424815" y="1042035"/>
                    </a:lnTo>
                    <a:lnTo>
                      <a:pt x="430530" y="1047750"/>
                    </a:lnTo>
                    <a:lnTo>
                      <a:pt x="433388" y="1056323"/>
                    </a:lnTo>
                    <a:lnTo>
                      <a:pt x="449580" y="1062038"/>
                    </a:lnTo>
                    <a:lnTo>
                      <a:pt x="458153" y="1056323"/>
                    </a:lnTo>
                    <a:lnTo>
                      <a:pt x="461963" y="1056323"/>
                    </a:lnTo>
                    <a:lnTo>
                      <a:pt x="461963" y="1071563"/>
                    </a:lnTo>
                    <a:lnTo>
                      <a:pt x="467678" y="1082993"/>
                    </a:lnTo>
                    <a:lnTo>
                      <a:pt x="479108" y="1082993"/>
                    </a:lnTo>
                    <a:lnTo>
                      <a:pt x="499110" y="1122045"/>
                    </a:lnTo>
                    <a:lnTo>
                      <a:pt x="510540" y="1124903"/>
                    </a:lnTo>
                    <a:lnTo>
                      <a:pt x="516255" y="1107758"/>
                    </a:lnTo>
                    <a:lnTo>
                      <a:pt x="516255" y="1105853"/>
                    </a:lnTo>
                    <a:lnTo>
                      <a:pt x="516255" y="1105853"/>
                    </a:lnTo>
                    <a:lnTo>
                      <a:pt x="516255" y="1104900"/>
                    </a:lnTo>
                    <a:lnTo>
                      <a:pt x="523875" y="1118235"/>
                    </a:lnTo>
                    <a:lnTo>
                      <a:pt x="532448" y="1131570"/>
                    </a:lnTo>
                    <a:lnTo>
                      <a:pt x="541020" y="1143953"/>
                    </a:lnTo>
                    <a:lnTo>
                      <a:pt x="550545" y="1156335"/>
                    </a:lnTo>
                    <a:lnTo>
                      <a:pt x="560070" y="1168718"/>
                    </a:lnTo>
                    <a:lnTo>
                      <a:pt x="569595" y="1180148"/>
                    </a:lnTo>
                    <a:lnTo>
                      <a:pt x="580073" y="1191578"/>
                    </a:lnTo>
                    <a:lnTo>
                      <a:pt x="590550" y="1203008"/>
                    </a:lnTo>
                    <a:lnTo>
                      <a:pt x="512445" y="1281113"/>
                    </a:lnTo>
                    <a:lnTo>
                      <a:pt x="501968" y="1270635"/>
                    </a:lnTo>
                    <a:lnTo>
                      <a:pt x="491490" y="1259205"/>
                    </a:lnTo>
                    <a:lnTo>
                      <a:pt x="481965" y="1247775"/>
                    </a:lnTo>
                    <a:lnTo>
                      <a:pt x="472440" y="1236345"/>
                    </a:lnTo>
                    <a:lnTo>
                      <a:pt x="462915" y="1223963"/>
                    </a:lnTo>
                    <a:lnTo>
                      <a:pt x="453390" y="1211580"/>
                    </a:lnTo>
                    <a:lnTo>
                      <a:pt x="444818" y="1199198"/>
                    </a:lnTo>
                    <a:lnTo>
                      <a:pt x="436245" y="1186815"/>
                    </a:lnTo>
                    <a:lnTo>
                      <a:pt x="427673" y="1174433"/>
                    </a:lnTo>
                    <a:lnTo>
                      <a:pt x="420053" y="1161098"/>
                    </a:lnTo>
                    <a:lnTo>
                      <a:pt x="412433" y="1147763"/>
                    </a:lnTo>
                    <a:lnTo>
                      <a:pt x="404813" y="1134428"/>
                    </a:lnTo>
                    <a:lnTo>
                      <a:pt x="398145" y="1121093"/>
                    </a:lnTo>
                    <a:lnTo>
                      <a:pt x="391478" y="1107758"/>
                    </a:lnTo>
                    <a:lnTo>
                      <a:pt x="384810" y="1094423"/>
                    </a:lnTo>
                    <a:lnTo>
                      <a:pt x="379095" y="1080135"/>
                    </a:lnTo>
                    <a:lnTo>
                      <a:pt x="373380" y="1065848"/>
                    </a:lnTo>
                    <a:lnTo>
                      <a:pt x="367665" y="1051560"/>
                    </a:lnTo>
                    <a:lnTo>
                      <a:pt x="362903" y="1037273"/>
                    </a:lnTo>
                    <a:lnTo>
                      <a:pt x="358140" y="1022985"/>
                    </a:lnTo>
                    <a:lnTo>
                      <a:pt x="353378" y="1007745"/>
                    </a:lnTo>
                    <a:lnTo>
                      <a:pt x="349568" y="993458"/>
                    </a:lnTo>
                    <a:lnTo>
                      <a:pt x="345758" y="978218"/>
                    </a:lnTo>
                    <a:lnTo>
                      <a:pt x="341948" y="962978"/>
                    </a:lnTo>
                    <a:lnTo>
                      <a:pt x="339090" y="947738"/>
                    </a:lnTo>
                    <a:lnTo>
                      <a:pt x="336233" y="932498"/>
                    </a:lnTo>
                    <a:lnTo>
                      <a:pt x="333375" y="916305"/>
                    </a:lnTo>
                    <a:lnTo>
                      <a:pt x="333375" y="900113"/>
                    </a:lnTo>
                    <a:lnTo>
                      <a:pt x="331470" y="883920"/>
                    </a:lnTo>
                    <a:lnTo>
                      <a:pt x="330518" y="867728"/>
                    </a:lnTo>
                    <a:lnTo>
                      <a:pt x="329565" y="851535"/>
                    </a:lnTo>
                    <a:lnTo>
                      <a:pt x="328613" y="835343"/>
                    </a:lnTo>
                    <a:lnTo>
                      <a:pt x="439103" y="835343"/>
                    </a:lnTo>
                    <a:lnTo>
                      <a:pt x="440055" y="854393"/>
                    </a:lnTo>
                    <a:lnTo>
                      <a:pt x="441960" y="873443"/>
                    </a:lnTo>
                    <a:lnTo>
                      <a:pt x="443865" y="892493"/>
                    </a:lnTo>
                    <a:lnTo>
                      <a:pt x="446723" y="910590"/>
                    </a:lnTo>
                    <a:lnTo>
                      <a:pt x="450533" y="928688"/>
                    </a:lnTo>
                    <a:lnTo>
                      <a:pt x="454343" y="946785"/>
                    </a:lnTo>
                    <a:lnTo>
                      <a:pt x="458153" y="964883"/>
                    </a:lnTo>
                    <a:lnTo>
                      <a:pt x="461963" y="982980"/>
                    </a:lnTo>
                    <a:lnTo>
                      <a:pt x="461963" y="982980"/>
                    </a:lnTo>
                    <a:close/>
                    <a:moveTo>
                      <a:pt x="585788" y="1162050"/>
                    </a:moveTo>
                    <a:lnTo>
                      <a:pt x="596265" y="1154430"/>
                    </a:lnTo>
                    <a:lnTo>
                      <a:pt x="621983" y="1168718"/>
                    </a:lnTo>
                    <a:lnTo>
                      <a:pt x="625793" y="1170623"/>
                    </a:lnTo>
                    <a:lnTo>
                      <a:pt x="608648" y="1187768"/>
                    </a:lnTo>
                    <a:lnTo>
                      <a:pt x="602933" y="1181100"/>
                    </a:lnTo>
                    <a:lnTo>
                      <a:pt x="597218" y="1174433"/>
                    </a:lnTo>
                    <a:lnTo>
                      <a:pt x="591503" y="1167765"/>
                    </a:lnTo>
                    <a:lnTo>
                      <a:pt x="585788" y="1162050"/>
                    </a:lnTo>
                    <a:lnTo>
                      <a:pt x="585788" y="1162050"/>
                    </a:lnTo>
                    <a:close/>
                    <a:moveTo>
                      <a:pt x="681038" y="1067753"/>
                    </a:moveTo>
                    <a:lnTo>
                      <a:pt x="683895" y="1041083"/>
                    </a:lnTo>
                    <a:lnTo>
                      <a:pt x="672465" y="1015365"/>
                    </a:lnTo>
                    <a:lnTo>
                      <a:pt x="669608" y="972503"/>
                    </a:lnTo>
                    <a:lnTo>
                      <a:pt x="655320" y="946785"/>
                    </a:lnTo>
                    <a:lnTo>
                      <a:pt x="658178" y="929640"/>
                    </a:lnTo>
                    <a:lnTo>
                      <a:pt x="641033" y="898208"/>
                    </a:lnTo>
                    <a:lnTo>
                      <a:pt x="626745" y="892493"/>
                    </a:lnTo>
                    <a:lnTo>
                      <a:pt x="632460" y="875348"/>
                    </a:lnTo>
                    <a:lnTo>
                      <a:pt x="626745" y="861060"/>
                    </a:lnTo>
                    <a:lnTo>
                      <a:pt x="632460" y="846773"/>
                    </a:lnTo>
                    <a:lnTo>
                      <a:pt x="649605" y="846773"/>
                    </a:lnTo>
                    <a:lnTo>
                      <a:pt x="655320" y="839153"/>
                    </a:lnTo>
                    <a:lnTo>
                      <a:pt x="655320" y="838200"/>
                    </a:lnTo>
                    <a:lnTo>
                      <a:pt x="656273" y="834390"/>
                    </a:lnTo>
                    <a:lnTo>
                      <a:pt x="679133" y="834390"/>
                    </a:lnTo>
                    <a:lnTo>
                      <a:pt x="681990" y="837248"/>
                    </a:lnTo>
                    <a:lnTo>
                      <a:pt x="681990" y="837248"/>
                    </a:lnTo>
                    <a:lnTo>
                      <a:pt x="681990" y="837248"/>
                    </a:lnTo>
                    <a:lnTo>
                      <a:pt x="681990" y="837248"/>
                    </a:lnTo>
                    <a:lnTo>
                      <a:pt x="681990" y="837248"/>
                    </a:lnTo>
                    <a:lnTo>
                      <a:pt x="684848" y="845820"/>
                    </a:lnTo>
                    <a:lnTo>
                      <a:pt x="681990" y="871538"/>
                    </a:lnTo>
                    <a:lnTo>
                      <a:pt x="676275" y="878205"/>
                    </a:lnTo>
                    <a:lnTo>
                      <a:pt x="686753" y="898208"/>
                    </a:lnTo>
                    <a:lnTo>
                      <a:pt x="681990" y="903923"/>
                    </a:lnTo>
                    <a:lnTo>
                      <a:pt x="676275" y="898208"/>
                    </a:lnTo>
                    <a:lnTo>
                      <a:pt x="673418" y="898208"/>
                    </a:lnTo>
                    <a:lnTo>
                      <a:pt x="679133" y="912495"/>
                    </a:lnTo>
                    <a:lnTo>
                      <a:pt x="686753" y="926783"/>
                    </a:lnTo>
                    <a:lnTo>
                      <a:pt x="689610" y="926783"/>
                    </a:lnTo>
                    <a:lnTo>
                      <a:pt x="692468" y="912495"/>
                    </a:lnTo>
                    <a:lnTo>
                      <a:pt x="687705" y="909638"/>
                    </a:lnTo>
                    <a:lnTo>
                      <a:pt x="687705" y="900113"/>
                    </a:lnTo>
                    <a:lnTo>
                      <a:pt x="687705" y="882015"/>
                    </a:lnTo>
                    <a:lnTo>
                      <a:pt x="693420" y="847725"/>
                    </a:lnTo>
                    <a:lnTo>
                      <a:pt x="691515" y="843915"/>
                    </a:lnTo>
                    <a:lnTo>
                      <a:pt x="686753" y="837248"/>
                    </a:lnTo>
                    <a:lnTo>
                      <a:pt x="688658" y="837248"/>
                    </a:lnTo>
                    <a:lnTo>
                      <a:pt x="687705" y="834390"/>
                    </a:lnTo>
                    <a:lnTo>
                      <a:pt x="709613" y="834390"/>
                    </a:lnTo>
                    <a:lnTo>
                      <a:pt x="710565" y="847725"/>
                    </a:lnTo>
                    <a:lnTo>
                      <a:pt x="711518" y="860108"/>
                    </a:lnTo>
                    <a:lnTo>
                      <a:pt x="713423" y="872490"/>
                    </a:lnTo>
                    <a:lnTo>
                      <a:pt x="716280" y="884873"/>
                    </a:lnTo>
                    <a:lnTo>
                      <a:pt x="719138" y="897255"/>
                    </a:lnTo>
                    <a:lnTo>
                      <a:pt x="722948" y="909638"/>
                    </a:lnTo>
                    <a:lnTo>
                      <a:pt x="726758" y="921068"/>
                    </a:lnTo>
                    <a:lnTo>
                      <a:pt x="731520" y="932498"/>
                    </a:lnTo>
                    <a:lnTo>
                      <a:pt x="736283" y="943928"/>
                    </a:lnTo>
                    <a:lnTo>
                      <a:pt x="741998" y="954405"/>
                    </a:lnTo>
                    <a:lnTo>
                      <a:pt x="747713" y="964883"/>
                    </a:lnTo>
                    <a:lnTo>
                      <a:pt x="754380" y="975360"/>
                    </a:lnTo>
                    <a:lnTo>
                      <a:pt x="761048" y="984885"/>
                    </a:lnTo>
                    <a:lnTo>
                      <a:pt x="768668" y="994410"/>
                    </a:lnTo>
                    <a:lnTo>
                      <a:pt x="776288" y="1003935"/>
                    </a:lnTo>
                    <a:lnTo>
                      <a:pt x="783908" y="1012508"/>
                    </a:lnTo>
                    <a:lnTo>
                      <a:pt x="703898" y="1092518"/>
                    </a:lnTo>
                    <a:lnTo>
                      <a:pt x="698183" y="1085850"/>
                    </a:lnTo>
                    <a:lnTo>
                      <a:pt x="692468" y="1079183"/>
                    </a:lnTo>
                    <a:lnTo>
                      <a:pt x="686753" y="1072515"/>
                    </a:lnTo>
                    <a:lnTo>
                      <a:pt x="681038" y="1067753"/>
                    </a:lnTo>
                    <a:lnTo>
                      <a:pt x="681038" y="1067753"/>
                    </a:lnTo>
                    <a:close/>
                    <a:moveTo>
                      <a:pt x="676275" y="811530"/>
                    </a:moveTo>
                    <a:lnTo>
                      <a:pt x="666750" y="798195"/>
                    </a:lnTo>
                    <a:lnTo>
                      <a:pt x="666750" y="778193"/>
                    </a:lnTo>
                    <a:lnTo>
                      <a:pt x="681038" y="769620"/>
                    </a:lnTo>
                    <a:lnTo>
                      <a:pt x="703898" y="772478"/>
                    </a:lnTo>
                    <a:lnTo>
                      <a:pt x="709613" y="778193"/>
                    </a:lnTo>
                    <a:lnTo>
                      <a:pt x="709613" y="780098"/>
                    </a:lnTo>
                    <a:lnTo>
                      <a:pt x="711518" y="785813"/>
                    </a:lnTo>
                    <a:lnTo>
                      <a:pt x="710565" y="792480"/>
                    </a:lnTo>
                    <a:lnTo>
                      <a:pt x="710565" y="799148"/>
                    </a:lnTo>
                    <a:lnTo>
                      <a:pt x="709613" y="805815"/>
                    </a:lnTo>
                    <a:lnTo>
                      <a:pt x="709613" y="812483"/>
                    </a:lnTo>
                    <a:lnTo>
                      <a:pt x="676275" y="812483"/>
                    </a:lnTo>
                    <a:lnTo>
                      <a:pt x="676275" y="811530"/>
                    </a:lnTo>
                    <a:close/>
                    <a:moveTo>
                      <a:pt x="731520" y="854393"/>
                    </a:moveTo>
                    <a:lnTo>
                      <a:pt x="733425" y="857250"/>
                    </a:lnTo>
                    <a:lnTo>
                      <a:pt x="743903" y="869633"/>
                    </a:lnTo>
                    <a:lnTo>
                      <a:pt x="761048" y="869633"/>
                    </a:lnTo>
                    <a:lnTo>
                      <a:pt x="781050" y="883920"/>
                    </a:lnTo>
                    <a:lnTo>
                      <a:pt x="786765" y="881063"/>
                    </a:lnTo>
                    <a:lnTo>
                      <a:pt x="801053" y="892493"/>
                    </a:lnTo>
                    <a:lnTo>
                      <a:pt x="792480" y="898208"/>
                    </a:lnTo>
                    <a:lnTo>
                      <a:pt x="809625" y="906780"/>
                    </a:lnTo>
                    <a:lnTo>
                      <a:pt x="809625" y="895350"/>
                    </a:lnTo>
                    <a:lnTo>
                      <a:pt x="818198" y="881063"/>
                    </a:lnTo>
                    <a:lnTo>
                      <a:pt x="826770" y="892493"/>
                    </a:lnTo>
                    <a:lnTo>
                      <a:pt x="838200" y="903923"/>
                    </a:lnTo>
                    <a:lnTo>
                      <a:pt x="821055" y="909638"/>
                    </a:lnTo>
                    <a:lnTo>
                      <a:pt x="826770" y="923925"/>
                    </a:lnTo>
                    <a:lnTo>
                      <a:pt x="838200" y="918210"/>
                    </a:lnTo>
                    <a:lnTo>
                      <a:pt x="838200" y="912495"/>
                    </a:lnTo>
                    <a:lnTo>
                      <a:pt x="846773" y="906780"/>
                    </a:lnTo>
                    <a:lnTo>
                      <a:pt x="852488" y="881063"/>
                    </a:lnTo>
                    <a:lnTo>
                      <a:pt x="853440" y="882968"/>
                    </a:lnTo>
                    <a:lnTo>
                      <a:pt x="853440" y="880110"/>
                    </a:lnTo>
                    <a:lnTo>
                      <a:pt x="855345" y="878205"/>
                    </a:lnTo>
                    <a:lnTo>
                      <a:pt x="858203" y="883920"/>
                    </a:lnTo>
                    <a:lnTo>
                      <a:pt x="861060" y="889635"/>
                    </a:lnTo>
                    <a:lnTo>
                      <a:pt x="863918" y="894398"/>
                    </a:lnTo>
                    <a:lnTo>
                      <a:pt x="866775" y="899160"/>
                    </a:lnTo>
                    <a:lnTo>
                      <a:pt x="869633" y="903923"/>
                    </a:lnTo>
                    <a:lnTo>
                      <a:pt x="873443" y="908685"/>
                    </a:lnTo>
                    <a:lnTo>
                      <a:pt x="877253" y="912495"/>
                    </a:lnTo>
                    <a:lnTo>
                      <a:pt x="881063" y="917258"/>
                    </a:lnTo>
                    <a:lnTo>
                      <a:pt x="801053" y="997268"/>
                    </a:lnTo>
                    <a:lnTo>
                      <a:pt x="794385" y="989648"/>
                    </a:lnTo>
                    <a:lnTo>
                      <a:pt x="787718" y="982028"/>
                    </a:lnTo>
                    <a:lnTo>
                      <a:pt x="782003" y="974408"/>
                    </a:lnTo>
                    <a:lnTo>
                      <a:pt x="776288" y="965835"/>
                    </a:lnTo>
                    <a:lnTo>
                      <a:pt x="771525" y="957263"/>
                    </a:lnTo>
                    <a:lnTo>
                      <a:pt x="765810" y="948690"/>
                    </a:lnTo>
                    <a:lnTo>
                      <a:pt x="761048" y="940118"/>
                    </a:lnTo>
                    <a:lnTo>
                      <a:pt x="756285" y="931545"/>
                    </a:lnTo>
                    <a:lnTo>
                      <a:pt x="752475" y="922020"/>
                    </a:lnTo>
                    <a:lnTo>
                      <a:pt x="748665" y="912495"/>
                    </a:lnTo>
                    <a:lnTo>
                      <a:pt x="744855" y="902970"/>
                    </a:lnTo>
                    <a:lnTo>
                      <a:pt x="741998" y="893445"/>
                    </a:lnTo>
                    <a:lnTo>
                      <a:pt x="739140" y="883920"/>
                    </a:lnTo>
                    <a:lnTo>
                      <a:pt x="737235" y="874395"/>
                    </a:lnTo>
                    <a:lnTo>
                      <a:pt x="733425" y="864870"/>
                    </a:lnTo>
                    <a:lnTo>
                      <a:pt x="731520" y="854393"/>
                    </a:lnTo>
                    <a:lnTo>
                      <a:pt x="731520" y="854393"/>
                    </a:lnTo>
                    <a:close/>
                    <a:moveTo>
                      <a:pt x="781050" y="633413"/>
                    </a:moveTo>
                    <a:lnTo>
                      <a:pt x="777240" y="636270"/>
                    </a:lnTo>
                    <a:lnTo>
                      <a:pt x="777240" y="636270"/>
                    </a:lnTo>
                    <a:lnTo>
                      <a:pt x="754380" y="664845"/>
                    </a:lnTo>
                    <a:lnTo>
                      <a:pt x="735330" y="695325"/>
                    </a:lnTo>
                    <a:lnTo>
                      <a:pt x="728663" y="695325"/>
                    </a:lnTo>
                    <a:lnTo>
                      <a:pt x="718185" y="698183"/>
                    </a:lnTo>
                    <a:lnTo>
                      <a:pt x="713423" y="698183"/>
                    </a:lnTo>
                    <a:lnTo>
                      <a:pt x="702945" y="709613"/>
                    </a:lnTo>
                    <a:lnTo>
                      <a:pt x="716280" y="706755"/>
                    </a:lnTo>
                    <a:lnTo>
                      <a:pt x="730568" y="703898"/>
                    </a:lnTo>
                    <a:lnTo>
                      <a:pt x="727710" y="709613"/>
                    </a:lnTo>
                    <a:lnTo>
                      <a:pt x="717233" y="715328"/>
                    </a:lnTo>
                    <a:lnTo>
                      <a:pt x="711518" y="715328"/>
                    </a:lnTo>
                    <a:lnTo>
                      <a:pt x="694373" y="728663"/>
                    </a:lnTo>
                    <a:lnTo>
                      <a:pt x="678180" y="725805"/>
                    </a:lnTo>
                    <a:lnTo>
                      <a:pt x="653415" y="770573"/>
                    </a:lnTo>
                    <a:lnTo>
                      <a:pt x="659130" y="781050"/>
                    </a:lnTo>
                    <a:lnTo>
                      <a:pt x="644843" y="795338"/>
                    </a:lnTo>
                    <a:lnTo>
                      <a:pt x="644843" y="811530"/>
                    </a:lnTo>
                    <a:lnTo>
                      <a:pt x="596265" y="811530"/>
                    </a:lnTo>
                    <a:lnTo>
                      <a:pt x="596265" y="802005"/>
                    </a:lnTo>
                    <a:lnTo>
                      <a:pt x="597218" y="792480"/>
                    </a:lnTo>
                    <a:lnTo>
                      <a:pt x="598170" y="782955"/>
                    </a:lnTo>
                    <a:lnTo>
                      <a:pt x="599123" y="773430"/>
                    </a:lnTo>
                    <a:lnTo>
                      <a:pt x="600075" y="764858"/>
                    </a:lnTo>
                    <a:lnTo>
                      <a:pt x="601028" y="755333"/>
                    </a:lnTo>
                    <a:lnTo>
                      <a:pt x="601980" y="746760"/>
                    </a:lnTo>
                    <a:lnTo>
                      <a:pt x="603885" y="737235"/>
                    </a:lnTo>
                    <a:lnTo>
                      <a:pt x="605790" y="728663"/>
                    </a:lnTo>
                    <a:lnTo>
                      <a:pt x="608648" y="720090"/>
                    </a:lnTo>
                    <a:lnTo>
                      <a:pt x="611505" y="711518"/>
                    </a:lnTo>
                    <a:lnTo>
                      <a:pt x="614363" y="702945"/>
                    </a:lnTo>
                    <a:lnTo>
                      <a:pt x="617220" y="694373"/>
                    </a:lnTo>
                    <a:lnTo>
                      <a:pt x="620078" y="686753"/>
                    </a:lnTo>
                    <a:lnTo>
                      <a:pt x="622935" y="678180"/>
                    </a:lnTo>
                    <a:lnTo>
                      <a:pt x="625793" y="670560"/>
                    </a:lnTo>
                    <a:lnTo>
                      <a:pt x="629603" y="662940"/>
                    </a:lnTo>
                    <a:lnTo>
                      <a:pt x="633413" y="655320"/>
                    </a:lnTo>
                    <a:lnTo>
                      <a:pt x="637223" y="647700"/>
                    </a:lnTo>
                    <a:lnTo>
                      <a:pt x="641033" y="640080"/>
                    </a:lnTo>
                    <a:lnTo>
                      <a:pt x="644843" y="632460"/>
                    </a:lnTo>
                    <a:lnTo>
                      <a:pt x="648653" y="624840"/>
                    </a:lnTo>
                    <a:lnTo>
                      <a:pt x="653415" y="617220"/>
                    </a:lnTo>
                    <a:lnTo>
                      <a:pt x="658178" y="609600"/>
                    </a:lnTo>
                    <a:lnTo>
                      <a:pt x="662940" y="601980"/>
                    </a:lnTo>
                    <a:lnTo>
                      <a:pt x="667703" y="595313"/>
                    </a:lnTo>
                    <a:lnTo>
                      <a:pt x="673418" y="588645"/>
                    </a:lnTo>
                    <a:lnTo>
                      <a:pt x="678180" y="581978"/>
                    </a:lnTo>
                    <a:lnTo>
                      <a:pt x="683895" y="575310"/>
                    </a:lnTo>
                    <a:lnTo>
                      <a:pt x="689610" y="568643"/>
                    </a:lnTo>
                    <a:lnTo>
                      <a:pt x="695325" y="561975"/>
                    </a:lnTo>
                    <a:lnTo>
                      <a:pt x="701040" y="555308"/>
                    </a:lnTo>
                    <a:lnTo>
                      <a:pt x="781050" y="633413"/>
                    </a:lnTo>
                    <a:lnTo>
                      <a:pt x="781050" y="633413"/>
                    </a:lnTo>
                    <a:close/>
                    <a:moveTo>
                      <a:pt x="1319213" y="325755"/>
                    </a:moveTo>
                    <a:lnTo>
                      <a:pt x="1313498" y="314325"/>
                    </a:lnTo>
                    <a:lnTo>
                      <a:pt x="1299210" y="305753"/>
                    </a:lnTo>
                    <a:lnTo>
                      <a:pt x="1287780" y="317183"/>
                    </a:lnTo>
                    <a:lnTo>
                      <a:pt x="1302068" y="322898"/>
                    </a:lnTo>
                    <a:lnTo>
                      <a:pt x="1319213" y="334328"/>
                    </a:lnTo>
                    <a:lnTo>
                      <a:pt x="1319213" y="325755"/>
                    </a:lnTo>
                    <a:lnTo>
                      <a:pt x="1319213" y="325755"/>
                    </a:lnTo>
                    <a:close/>
                    <a:moveTo>
                      <a:pt x="1253490" y="641985"/>
                    </a:moveTo>
                    <a:lnTo>
                      <a:pt x="1253490" y="650558"/>
                    </a:lnTo>
                    <a:lnTo>
                      <a:pt x="1273493" y="644843"/>
                    </a:lnTo>
                    <a:lnTo>
                      <a:pt x="1279208" y="633413"/>
                    </a:lnTo>
                    <a:lnTo>
                      <a:pt x="1264920" y="616268"/>
                    </a:lnTo>
                    <a:lnTo>
                      <a:pt x="1270635" y="604838"/>
                    </a:lnTo>
                    <a:lnTo>
                      <a:pt x="1290638" y="616268"/>
                    </a:lnTo>
                    <a:lnTo>
                      <a:pt x="1293495" y="613410"/>
                    </a:lnTo>
                    <a:lnTo>
                      <a:pt x="1290638" y="613410"/>
                    </a:lnTo>
                    <a:lnTo>
                      <a:pt x="1284923" y="604838"/>
                    </a:lnTo>
                    <a:lnTo>
                      <a:pt x="1293495" y="599123"/>
                    </a:lnTo>
                    <a:lnTo>
                      <a:pt x="1284923" y="590550"/>
                    </a:lnTo>
                    <a:lnTo>
                      <a:pt x="1267778" y="599123"/>
                    </a:lnTo>
                    <a:lnTo>
                      <a:pt x="1262063" y="610553"/>
                    </a:lnTo>
                    <a:lnTo>
                      <a:pt x="1259205" y="619125"/>
                    </a:lnTo>
                    <a:lnTo>
                      <a:pt x="1267778" y="630555"/>
                    </a:lnTo>
                    <a:lnTo>
                      <a:pt x="1264920" y="636270"/>
                    </a:lnTo>
                    <a:lnTo>
                      <a:pt x="1253490" y="641985"/>
                    </a:lnTo>
                    <a:lnTo>
                      <a:pt x="1253490" y="641985"/>
                    </a:lnTo>
                    <a:close/>
                    <a:moveTo>
                      <a:pt x="441960" y="1145858"/>
                    </a:moveTo>
                    <a:lnTo>
                      <a:pt x="441960" y="1140143"/>
                    </a:lnTo>
                    <a:lnTo>
                      <a:pt x="433388" y="1117283"/>
                    </a:lnTo>
                    <a:lnTo>
                      <a:pt x="421958" y="1114425"/>
                    </a:lnTo>
                    <a:lnTo>
                      <a:pt x="441960" y="1145858"/>
                    </a:lnTo>
                    <a:lnTo>
                      <a:pt x="441960" y="1145858"/>
                    </a:lnTo>
                    <a:close/>
                    <a:moveTo>
                      <a:pt x="900113" y="723900"/>
                    </a:moveTo>
                    <a:lnTo>
                      <a:pt x="902970" y="735330"/>
                    </a:lnTo>
                    <a:lnTo>
                      <a:pt x="908685" y="746760"/>
                    </a:lnTo>
                    <a:lnTo>
                      <a:pt x="917258" y="758190"/>
                    </a:lnTo>
                    <a:lnTo>
                      <a:pt x="931545" y="766763"/>
                    </a:lnTo>
                    <a:lnTo>
                      <a:pt x="931545" y="758190"/>
                    </a:lnTo>
                    <a:lnTo>
                      <a:pt x="920115" y="743903"/>
                    </a:lnTo>
                    <a:lnTo>
                      <a:pt x="925830" y="732473"/>
                    </a:lnTo>
                    <a:lnTo>
                      <a:pt x="931545" y="729615"/>
                    </a:lnTo>
                    <a:lnTo>
                      <a:pt x="931545" y="681038"/>
                    </a:lnTo>
                    <a:lnTo>
                      <a:pt x="928688" y="681038"/>
                    </a:lnTo>
                    <a:lnTo>
                      <a:pt x="917258" y="689610"/>
                    </a:lnTo>
                    <a:lnTo>
                      <a:pt x="908685" y="698183"/>
                    </a:lnTo>
                    <a:lnTo>
                      <a:pt x="902970" y="709613"/>
                    </a:lnTo>
                    <a:lnTo>
                      <a:pt x="900113" y="723900"/>
                    </a:lnTo>
                    <a:lnTo>
                      <a:pt x="900113" y="723900"/>
                    </a:lnTo>
                    <a:close/>
                    <a:moveTo>
                      <a:pt x="663893" y="515303"/>
                    </a:moveTo>
                    <a:lnTo>
                      <a:pt x="656273" y="506730"/>
                    </a:lnTo>
                    <a:lnTo>
                      <a:pt x="672465" y="503873"/>
                    </a:lnTo>
                    <a:lnTo>
                      <a:pt x="663893" y="515303"/>
                    </a:lnTo>
                    <a:lnTo>
                      <a:pt x="663893" y="515303"/>
                    </a:lnTo>
                    <a:close/>
                    <a:moveTo>
                      <a:pt x="1644968" y="835343"/>
                    </a:moveTo>
                    <a:lnTo>
                      <a:pt x="1534478" y="835343"/>
                    </a:lnTo>
                    <a:lnTo>
                      <a:pt x="1533525" y="848678"/>
                    </a:lnTo>
                    <a:lnTo>
                      <a:pt x="1532573" y="862013"/>
                    </a:lnTo>
                    <a:lnTo>
                      <a:pt x="1531620" y="875348"/>
                    </a:lnTo>
                    <a:lnTo>
                      <a:pt x="1529715" y="888683"/>
                    </a:lnTo>
                    <a:lnTo>
                      <a:pt x="1527810" y="901065"/>
                    </a:lnTo>
                    <a:lnTo>
                      <a:pt x="1525905" y="914400"/>
                    </a:lnTo>
                    <a:lnTo>
                      <a:pt x="1523048" y="926783"/>
                    </a:lnTo>
                    <a:lnTo>
                      <a:pt x="1520190" y="939165"/>
                    </a:lnTo>
                    <a:lnTo>
                      <a:pt x="1517333" y="951548"/>
                    </a:lnTo>
                    <a:lnTo>
                      <a:pt x="1514475" y="963930"/>
                    </a:lnTo>
                    <a:lnTo>
                      <a:pt x="1510665" y="976313"/>
                    </a:lnTo>
                    <a:lnTo>
                      <a:pt x="1506855" y="988695"/>
                    </a:lnTo>
                    <a:lnTo>
                      <a:pt x="1503045" y="1001078"/>
                    </a:lnTo>
                    <a:lnTo>
                      <a:pt x="1499235" y="1012508"/>
                    </a:lnTo>
                    <a:lnTo>
                      <a:pt x="1494473" y="1024890"/>
                    </a:lnTo>
                    <a:lnTo>
                      <a:pt x="1489710" y="1036320"/>
                    </a:lnTo>
                    <a:lnTo>
                      <a:pt x="1484948" y="1047750"/>
                    </a:lnTo>
                    <a:lnTo>
                      <a:pt x="1479233" y="1059180"/>
                    </a:lnTo>
                    <a:lnTo>
                      <a:pt x="1473518" y="1070610"/>
                    </a:lnTo>
                    <a:lnTo>
                      <a:pt x="1467803" y="1082040"/>
                    </a:lnTo>
                    <a:lnTo>
                      <a:pt x="1462088" y="1092518"/>
                    </a:lnTo>
                    <a:lnTo>
                      <a:pt x="1455420" y="1102995"/>
                    </a:lnTo>
                    <a:lnTo>
                      <a:pt x="1448753" y="1113473"/>
                    </a:lnTo>
                    <a:lnTo>
                      <a:pt x="1442085" y="1123950"/>
                    </a:lnTo>
                    <a:lnTo>
                      <a:pt x="1438275" y="1133475"/>
                    </a:lnTo>
                    <a:lnTo>
                      <a:pt x="1430655" y="1143953"/>
                    </a:lnTo>
                    <a:lnTo>
                      <a:pt x="1423035" y="1153478"/>
                    </a:lnTo>
                    <a:lnTo>
                      <a:pt x="1415415" y="1163003"/>
                    </a:lnTo>
                    <a:lnTo>
                      <a:pt x="1407795" y="1172528"/>
                    </a:lnTo>
                    <a:lnTo>
                      <a:pt x="1400175" y="1182053"/>
                    </a:lnTo>
                    <a:lnTo>
                      <a:pt x="1391603" y="1191578"/>
                    </a:lnTo>
                    <a:lnTo>
                      <a:pt x="1385888" y="1201103"/>
                    </a:lnTo>
                    <a:lnTo>
                      <a:pt x="1461135" y="1278255"/>
                    </a:lnTo>
                    <a:lnTo>
                      <a:pt x="1471613" y="1267778"/>
                    </a:lnTo>
                    <a:lnTo>
                      <a:pt x="1481138" y="1256348"/>
                    </a:lnTo>
                    <a:lnTo>
                      <a:pt x="1490663" y="1244918"/>
                    </a:lnTo>
                    <a:lnTo>
                      <a:pt x="1500188" y="1233488"/>
                    </a:lnTo>
                    <a:lnTo>
                      <a:pt x="1509713" y="1222058"/>
                    </a:lnTo>
                    <a:lnTo>
                      <a:pt x="1518285" y="1209675"/>
                    </a:lnTo>
                    <a:lnTo>
                      <a:pt x="1526858" y="1197293"/>
                    </a:lnTo>
                    <a:lnTo>
                      <a:pt x="1535430" y="1184910"/>
                    </a:lnTo>
                    <a:lnTo>
                      <a:pt x="1543050" y="1171575"/>
                    </a:lnTo>
                    <a:lnTo>
                      <a:pt x="1550670" y="1159193"/>
                    </a:lnTo>
                    <a:lnTo>
                      <a:pt x="1558290" y="1145858"/>
                    </a:lnTo>
                    <a:lnTo>
                      <a:pt x="1564958" y="1132523"/>
                    </a:lnTo>
                    <a:lnTo>
                      <a:pt x="1571625" y="1119188"/>
                    </a:lnTo>
                    <a:lnTo>
                      <a:pt x="1578293" y="1105853"/>
                    </a:lnTo>
                    <a:lnTo>
                      <a:pt x="1584960" y="1091565"/>
                    </a:lnTo>
                    <a:lnTo>
                      <a:pt x="1590675" y="1077278"/>
                    </a:lnTo>
                    <a:lnTo>
                      <a:pt x="1596390" y="1062990"/>
                    </a:lnTo>
                    <a:lnTo>
                      <a:pt x="1602105" y="1048703"/>
                    </a:lnTo>
                    <a:lnTo>
                      <a:pt x="1606868" y="1034415"/>
                    </a:lnTo>
                    <a:lnTo>
                      <a:pt x="1611630" y="1020128"/>
                    </a:lnTo>
                    <a:lnTo>
                      <a:pt x="1616393" y="1004888"/>
                    </a:lnTo>
                    <a:lnTo>
                      <a:pt x="1620203" y="989648"/>
                    </a:lnTo>
                    <a:lnTo>
                      <a:pt x="1624013" y="974408"/>
                    </a:lnTo>
                    <a:lnTo>
                      <a:pt x="1627823" y="959168"/>
                    </a:lnTo>
                    <a:lnTo>
                      <a:pt x="1630680" y="943928"/>
                    </a:lnTo>
                    <a:lnTo>
                      <a:pt x="1633538" y="928688"/>
                    </a:lnTo>
                    <a:lnTo>
                      <a:pt x="1635443" y="912495"/>
                    </a:lnTo>
                    <a:lnTo>
                      <a:pt x="1637348" y="897255"/>
                    </a:lnTo>
                    <a:lnTo>
                      <a:pt x="1639253" y="881063"/>
                    </a:lnTo>
                    <a:lnTo>
                      <a:pt x="1640205" y="864870"/>
                    </a:lnTo>
                    <a:lnTo>
                      <a:pt x="1641158" y="848678"/>
                    </a:lnTo>
                    <a:lnTo>
                      <a:pt x="1644968" y="835343"/>
                    </a:lnTo>
                    <a:lnTo>
                      <a:pt x="1644968" y="835343"/>
                    </a:lnTo>
                    <a:close/>
                  </a:path>
                </a:pathLst>
              </a:custGeom>
              <a:solidFill>
                <a:srgbClr val="009AD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1092"/>
              </a:p>
            </p:txBody>
          </p:sp>
        </p:grpSp>
        <p:sp>
          <p:nvSpPr>
            <p:cNvPr id="74" name="Freeform 73">
              <a:extLst>
                <a:ext uri="{FF2B5EF4-FFF2-40B4-BE49-F238E27FC236}">
                  <a16:creationId xmlns:a16="http://schemas.microsoft.com/office/drawing/2014/main" id="{61A8EB63-8E8F-DF1E-E9E3-69B8570F4F34}"/>
                </a:ext>
              </a:extLst>
            </p:cNvPr>
            <p:cNvSpPr/>
            <p:nvPr/>
          </p:nvSpPr>
          <p:spPr>
            <a:xfrm>
              <a:off x="11980227" y="3782467"/>
              <a:ext cx="15240" cy="1734502"/>
            </a:xfrm>
            <a:custGeom>
              <a:avLst/>
              <a:gdLst>
                <a:gd name="connsiteX0" fmla="*/ 0 w 15240"/>
                <a:gd name="connsiteY0" fmla="*/ 0 h 1734502"/>
                <a:gd name="connsiteX1" fmla="*/ 15240 w 15240"/>
                <a:gd name="connsiteY1" fmla="*/ 0 h 1734502"/>
                <a:gd name="connsiteX2" fmla="*/ 15240 w 15240"/>
                <a:gd name="connsiteY2" fmla="*/ 1734503 h 1734502"/>
                <a:gd name="connsiteX3" fmla="*/ 0 w 15240"/>
                <a:gd name="connsiteY3" fmla="*/ 1734503 h 1734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" h="1734502">
                  <a:moveTo>
                    <a:pt x="0" y="0"/>
                  </a:moveTo>
                  <a:lnTo>
                    <a:pt x="15240" y="0"/>
                  </a:lnTo>
                  <a:lnTo>
                    <a:pt x="15240" y="1734503"/>
                  </a:lnTo>
                  <a:lnTo>
                    <a:pt x="0" y="1734503"/>
                  </a:lnTo>
                  <a:close/>
                </a:path>
              </a:pathLst>
            </a:custGeom>
            <a:solidFill>
              <a:srgbClr val="009A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092"/>
            </a:p>
          </p:txBody>
        </p:sp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7527D9B4-3B42-7176-D3C1-568998893F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4914563" y="3983451"/>
              <a:ext cx="2717800" cy="1320800"/>
            </a:xfrm>
            <a:prstGeom prst="rect">
              <a:avLst/>
            </a:prstGeom>
          </p:spPr>
        </p:pic>
        <p:sp>
          <p:nvSpPr>
            <p:cNvPr id="76" name="Freeform 75">
              <a:extLst>
                <a:ext uri="{FF2B5EF4-FFF2-40B4-BE49-F238E27FC236}">
                  <a16:creationId xmlns:a16="http://schemas.microsoft.com/office/drawing/2014/main" id="{8C52AD92-99E4-C2E7-8569-622E620139CB}"/>
                </a:ext>
              </a:extLst>
            </p:cNvPr>
            <p:cNvSpPr/>
            <p:nvPr userDrawn="1"/>
          </p:nvSpPr>
          <p:spPr>
            <a:xfrm>
              <a:off x="14513877" y="3782467"/>
              <a:ext cx="15240" cy="1734502"/>
            </a:xfrm>
            <a:custGeom>
              <a:avLst/>
              <a:gdLst>
                <a:gd name="connsiteX0" fmla="*/ 0 w 15240"/>
                <a:gd name="connsiteY0" fmla="*/ 0 h 1734502"/>
                <a:gd name="connsiteX1" fmla="*/ 15240 w 15240"/>
                <a:gd name="connsiteY1" fmla="*/ 0 h 1734502"/>
                <a:gd name="connsiteX2" fmla="*/ 15240 w 15240"/>
                <a:gd name="connsiteY2" fmla="*/ 1734503 h 1734502"/>
                <a:gd name="connsiteX3" fmla="*/ 0 w 15240"/>
                <a:gd name="connsiteY3" fmla="*/ 1734503 h 1734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" h="1734502">
                  <a:moveTo>
                    <a:pt x="0" y="0"/>
                  </a:moveTo>
                  <a:lnTo>
                    <a:pt x="15240" y="0"/>
                  </a:lnTo>
                  <a:lnTo>
                    <a:pt x="15240" y="1734503"/>
                  </a:lnTo>
                  <a:lnTo>
                    <a:pt x="0" y="1734503"/>
                  </a:lnTo>
                  <a:close/>
                </a:path>
              </a:pathLst>
            </a:custGeom>
            <a:solidFill>
              <a:srgbClr val="009AD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092"/>
            </a:p>
          </p:txBody>
        </p:sp>
      </p:grpSp>
      <p:sp>
        <p:nvSpPr>
          <p:cNvPr id="78" name="Footer Placeholder 1">
            <a:extLst>
              <a:ext uri="{FF2B5EF4-FFF2-40B4-BE49-F238E27FC236}">
                <a16:creationId xmlns:a16="http://schemas.microsoft.com/office/drawing/2014/main" id="{16B0C472-5F58-55A4-2655-068AB2BA7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6396" y="6482886"/>
            <a:ext cx="7575715" cy="111982"/>
          </a:xfrm>
        </p:spPr>
        <p:txBody>
          <a:bodyPr/>
          <a:lstStyle/>
          <a:p>
            <a:pPr defTabSz="554492">
              <a:defRPr/>
            </a:pPr>
            <a:r>
              <a:rPr lang="en-GB">
                <a:solidFill>
                  <a:schemeClr val="bg1">
                    <a:lumMod val="95000"/>
                  </a:schemeClr>
                </a:solidFill>
                <a:cs typeface="Poppins" pitchFamily="2" charset="77"/>
              </a:rPr>
              <a:t>Meeting of the MI4A Advisory Group</a:t>
            </a:r>
          </a:p>
        </p:txBody>
      </p:sp>
      <p:sp>
        <p:nvSpPr>
          <p:cNvPr id="79" name="Slide Number Placeholder 2">
            <a:extLst>
              <a:ext uri="{FF2B5EF4-FFF2-40B4-BE49-F238E27FC236}">
                <a16:creationId xmlns:a16="http://schemas.microsoft.com/office/drawing/2014/main" id="{43150ACB-0697-D879-F7EB-68B56EE950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408" y="6482886"/>
            <a:ext cx="897196" cy="112018"/>
          </a:xfrm>
        </p:spPr>
        <p:txBody>
          <a:bodyPr/>
          <a:lstStyle/>
          <a:p>
            <a:pPr defTabSz="554466"/>
            <a:fld id="{E2E31AFC-DF42-41A5-B57C-06A83BBA6616}" type="slidenum">
              <a:rPr lang="en-GB" smtClean="0">
                <a:solidFill>
                  <a:schemeClr val="bg1">
                    <a:lumMod val="95000"/>
                  </a:schemeClr>
                </a:solidFill>
              </a:rPr>
              <a:pPr defTabSz="554466"/>
              <a:t>‹#›</a:t>
            </a:fld>
            <a:endParaRPr lang="en-GB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38F3CF05-8EC2-82F4-E6FB-A38EDB61B963}"/>
              </a:ext>
            </a:extLst>
          </p:cNvPr>
          <p:cNvCxnSpPr/>
          <p:nvPr userDrawn="1"/>
        </p:nvCxnSpPr>
        <p:spPr>
          <a:xfrm>
            <a:off x="506396" y="6397938"/>
            <a:ext cx="111792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715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| sourc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3EB862-FA01-EF0D-81B5-BA962AC01052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72C68D09-42FD-93A9-3770-72841444741A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nfographic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23227BC4-3697-49CB-8C94-2ABB376D098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497044" y="3515344"/>
            <a:ext cx="9198321" cy="257506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2FEDC8-D0DD-425E-97D5-0F98C2977C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861" y="5903487"/>
            <a:ext cx="11048278" cy="150298"/>
          </a:xfrm>
        </p:spPr>
        <p:txBody>
          <a:bodyPr/>
          <a:lstStyle>
            <a:lvl1pPr>
              <a:defRPr sz="84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592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gn-off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Meeting of the MI4A Advisory Group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C1720A0-FC5D-48B5-9BF5-272126604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22749" y="2900500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662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9267467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2212"/>
            <a:ext cx="11082528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1007984"/>
            <a:ext cx="11082528" cy="3138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554736" y="659314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16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1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3843338" cy="1395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A1961CE-39CC-478C-A1C6-073AF8EFFE2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50939370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5813BB-030D-9C4C-B255-5BCD07881B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ECAAF0E-50B1-F349-A79D-EF1722087F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A9AFE3-AE73-4F49-81CC-E88F9B920B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E6B0-C9BF-BE4F-BA66-C5458071D6A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872943-B9B5-8949-B5A5-49E832B320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0A0F47-5E48-A048-9E17-CCEACB68A7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2029D7-BE6C-7A48-BA47-6667F4BE15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818763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899B3F-31BE-C14D-B00C-5E268105D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1A6330-25DA-A94A-9B79-9F41471ACC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368132-C829-4843-82B1-2AD753DE3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E6B0-C9BF-BE4F-BA66-C5458071D6A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72E71F-226C-7A41-BB10-7624D5071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80471F-631C-6243-BC4C-2B883AF14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2029D7-BE6C-7A48-BA47-6667F4BE15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453179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8475A4-5F03-6946-AA6E-67ED55A92E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E962C2-10DA-0F44-84D9-47F44C6974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5E455E-7BC6-144C-824A-19B82E1704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E6B0-C9BF-BE4F-BA66-C5458071D6A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47C958-C4B0-E04C-880E-019BB0EDE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5D5093-FA0C-6E4F-BC23-456A8B491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2029D7-BE6C-7A48-BA47-6667F4BE15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6406021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C19E3-751F-F34C-8580-0FEB94078C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73638C-2B86-C84B-B04C-47758648B7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07C889-E3A6-0A48-B61A-4F91528A16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9968C7-4FAE-EA40-BFE8-F15EF3BF5F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E6B0-C9BF-BE4F-BA66-C5458071D6A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D85D6F-3401-3145-AB1A-BD751C3ACE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C0C43F-BCC9-8A4A-A3DA-FF75E0F53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2029D7-BE6C-7A48-BA47-6667F4BE15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314381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B3AAE5-63E1-5741-91E0-ECD13B07D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F81E45-754C-2B4B-B3E1-033E1EA745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D5C7B9-D853-9942-AA6F-237A35D8AE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99B482-1F17-5540-A0C2-44506D42D2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94336B8-85B5-BC4E-AAF0-8BE74EAE314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4F3A8A1-C349-9D4F-A95F-62D5BD8B58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E6B0-C9BF-BE4F-BA66-C5458071D6A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12C7A0C-2D4D-0E4C-A996-737CD2794C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ED0759F-9A45-B547-BE11-34101D8FC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2029D7-BE6C-7A48-BA47-6667F4BE15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088988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567244-94CC-D64F-8699-1A72ADC4A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8CE698-8188-D646-AC0F-E12F3129FF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E6B0-C9BF-BE4F-BA66-C5458071D6A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DEFF31-437A-7749-990C-4AB984CFD6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3DFCE5-CF1C-EB46-88B8-11115ADD6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2029D7-BE6C-7A48-BA47-6667F4BE15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2737417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09126D8-F376-9C45-87AA-84A7A9DD3D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E6B0-C9BF-BE4F-BA66-C5458071D6A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4576C1-0A33-0345-8902-CA1A8AAB1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74E5AC-9121-2045-93F4-5B96B763A5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2029D7-BE6C-7A48-BA47-6667F4BE15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754447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232CB3-521D-5147-A389-65AE5F0969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A7EAD8-364B-9D43-ABA2-C4A984F2CD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3543A3-F3C1-EF43-B610-BFE4EA2C07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5F5ABE-6E8D-CC4C-93C7-93F9C462E4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E6B0-C9BF-BE4F-BA66-C5458071D6A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07E230-E55E-BE42-A931-C9A253442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689EB4-0B4C-7342-A953-6BEB4391A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2029D7-BE6C-7A48-BA47-6667F4BE15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6178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EE8B0B-9AC5-4329-879D-F980200B6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FB1331-88C0-4B0B-9691-DA41558E3FA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2CD3A4-D6A2-4EFA-92DC-A341A2064A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70B96B-EC66-46C8-BA5B-08A0424BAE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12984-CCA6-40C2-A876-382B8C68BCC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D1532D-F447-43E6-813D-93444CD511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7A3B03-4004-4F89-BFDF-0234350F4A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6B2428-E456-463D-9B39-0CE3462EA6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3993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373DF84-6D83-2BFD-4957-CC41D9FB1134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B73CDC8-43B7-4F5C-1498-7EE80D1C22AE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80AF144C-4F83-4A53-AEB3-4893C96DD04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77638" y="5936408"/>
            <a:ext cx="11046352" cy="447719"/>
          </a:xfrm>
          <a:solidFill>
            <a:schemeClr val="bg2"/>
          </a:solidFill>
        </p:spPr>
        <p:txBody>
          <a:bodyPr tIns="108000" bIns="144000"/>
          <a:lstStyle>
            <a:lvl1pPr algn="ctr">
              <a:defRPr sz="1092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2323278-E89D-4D80-A18A-B49324F6E7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6E72E6E5-210D-43FE-B069-74E7F6C1BD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78519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67E7BAB-F631-4062-8A88-65F51EC442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78519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6BE899-EB40-48CF-AC4E-A642FFFB1AD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79402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48F6FBC-9928-4ECC-8454-6B4856741F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779402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8CE8A230-B6E3-43F3-A987-6673C06011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960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46543DE-6963-4E6B-8D97-FBAB40255BE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78960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C7F9CE2-C3F9-4791-8B8B-B5803FF1D6C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78079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37E3A2C-8F9E-4585-9298-05F9DDA873B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78079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21BD2F87-1775-4DA1-9F5C-C4C9D94FEDA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096317" y="5592104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573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3C7E8-FA8F-A94C-A968-E1269FBDD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54A26C2-454C-F743-95B8-3F3BBBD4D3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4E8136-BEB8-1E41-B411-3609449D17B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CBCAC7-F997-274D-B58D-10E17C54F8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E6B0-C9BF-BE4F-BA66-C5458071D6A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22B0CD-BE51-C84E-9D63-E022979CBF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E2F56B-38C4-B946-8A73-C5D59AF8B1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2029D7-BE6C-7A48-BA47-6667F4BE15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43099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6DC004-1414-AF44-8F94-D0895ED7E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DDAB983-6FB6-6E43-8E08-42276D9A177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5AF56B-249E-434F-9FC6-37F9D07F83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E6B0-C9BF-BE4F-BA66-C5458071D6A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8C3733-C8B3-0743-8557-3591D2B96A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B9DEBC-A689-DF4E-8153-0018E3D6E4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2029D7-BE6C-7A48-BA47-6667F4BE15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616383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4AF35C3-180F-A442-BB57-BA56BD62D3E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E49C60F-D9AA-9F46-9B47-288239772BF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93DE43-66B4-2146-B024-49F074C779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E6B0-C9BF-BE4F-BA66-C5458071D6A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90CED6-F1EE-2F43-8CD2-7995473B93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A2E5C0-B2A3-8F47-AAC2-8A3F9ED7B6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2029D7-BE6C-7A48-BA47-6667F4BE15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564283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3373143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8491344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85765C15-050B-3F46-BA7D-23E9D746CA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553909" y="6225493"/>
            <a:ext cx="1314983" cy="168059"/>
          </a:xfrm>
        </p:spPr>
        <p:txBody>
          <a:bodyPr/>
          <a:lstStyle>
            <a:lvl1pPr marL="0" marR="0" indent="0" algn="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999999"/>
                </a:solidFill>
              </a:defRPr>
            </a:lvl1pPr>
          </a:lstStyle>
          <a:p>
            <a:r>
              <a:rPr lang="en-GB" sz="1092">
                <a:latin typeface="Poppins Medium" pitchFamily="2" charset="77"/>
                <a:cs typeface="Poppins Medium" pitchFamily="2" charset="77"/>
              </a:rPr>
              <a:t>WUENIC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DAFA51-0F1A-9D4E-BF85-8D1047C752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06396" y="6225493"/>
            <a:ext cx="1048051" cy="167972"/>
          </a:xfrm>
        </p:spPr>
        <p:txBody>
          <a:bodyPr/>
          <a:lstStyle>
            <a:lvl1pPr algn="l">
              <a:defRPr sz="1092" b="0" i="0">
                <a:solidFill>
                  <a:srgbClr val="999999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r>
              <a:rPr lang="en-GB"/>
              <a:t> of 28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8868AC3-E71E-584E-95BA-49ED20AC6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6396" y="467566"/>
            <a:ext cx="3493502" cy="99647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2456"/>
              </a:lnSpc>
              <a:defRPr sz="2062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084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Multi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45E02C2-D236-2492-8C8A-A43F1B67A478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C42D9B5-703F-FC46-DE3B-A1936326A4E9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491CD948-AEDF-48BE-92C5-5538CE9FE7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65CB4B4F-829A-4844-A666-11265CE11D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3595500"/>
            <a:ext cx="11049048" cy="406867"/>
          </a:xfrm>
        </p:spPr>
        <p:txBody>
          <a:bodyPr numCol="6" spcCol="360000" anchor="b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6547738-490D-47DE-A148-663CEC533E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7638" y="4145140"/>
            <a:ext cx="11036725" cy="294885"/>
          </a:xfrm>
        </p:spPr>
        <p:txBody>
          <a:bodyPr numCol="6" spcCol="360000"/>
          <a:lstStyle>
            <a:lvl1pPr marL="0" indent="0" algn="l">
              <a:buFont typeface="Arial" panose="020B0604020202020204" pitchFamily="34" charset="0"/>
              <a:buNone/>
              <a:defRPr sz="1092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/>
              <a:t>Click to edit Master text styles </a:t>
            </a:r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71E669C7-3F15-4404-9192-6B03E3E0872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46020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7">
            <a:extLst>
              <a:ext uri="{FF2B5EF4-FFF2-40B4-BE49-F238E27FC236}">
                <a16:creationId xmlns:a16="http://schemas.microsoft.com/office/drawing/2014/main" id="{6BDECDBF-1E7F-429C-B857-BC3BE17D9B4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375245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458D35B0-2ABD-4A88-AD9C-250F5B0BFFF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115016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7">
            <a:extLst>
              <a:ext uri="{FF2B5EF4-FFF2-40B4-BE49-F238E27FC236}">
                <a16:creationId xmlns:a16="http://schemas.microsoft.com/office/drawing/2014/main" id="{7B333D88-0458-48F5-97FB-D2D7718EC7C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856566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463A1320-1804-44CE-8DBA-867CC87A9DB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985791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797DADDD-4137-4C8B-B442-114D65CCBB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7134106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multi-colum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2610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conography +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116E913-C443-4D6A-E1D0-11E158BE75ED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E677FA19-E6B5-CBF8-FDA9-E5701776915B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7177775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multi-colum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4327381"/>
            <a:ext cx="11049048" cy="406867"/>
          </a:xfrm>
        </p:spPr>
        <p:txBody>
          <a:bodyPr numCol="3" spcCol="720000" anchor="t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62016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59237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7571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conography +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0B30415-E68C-18C8-4C3F-0A3C0E999100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B7DC94F-35D3-F475-3748-DB636E8A59C2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1719313"/>
            <a:ext cx="11049048" cy="406867"/>
          </a:xfrm>
        </p:spPr>
        <p:txBody>
          <a:bodyPr numCol="3" spcCol="720000" anchor="t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62016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59237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BBCEB9F-975E-4B56-A29F-0854EDFB008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77638" y="2735922"/>
            <a:ext cx="3336819" cy="257506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9D6AFE-0A37-46FD-833E-9282879972A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69882" y="2735922"/>
            <a:ext cx="3336819" cy="257506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FC94985-AFDD-4DF6-992E-19087D2130F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23760" y="2735922"/>
            <a:ext cx="3336819" cy="257506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861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Multi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8E6B702-BE1F-FD29-854B-99721174A6CD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4CA3E283-5FB8-93A3-7FF1-279F77805AC2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252E3C-0AA5-469B-ACE4-9A227101D8C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77638" y="2735923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E32ADA5-A0D2-4524-B1E4-2B46413B84B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877116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F999747-8F91-4BF8-B89A-418788FD50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176595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spcAft>
                <a:spcPts val="364"/>
              </a:spcAft>
              <a:defRPr>
                <a:latin typeface="Poppins" pitchFamily="2" charset="77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FF637A0C-4B6D-4207-A7D9-CAF1D2DFC8E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476073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9D094B4-29B2-4197-A8AD-66F9F9CAAF3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775551" y="2735923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24729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5+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8BCAEDF-837F-73E4-B4E2-F0FD4FB8B13A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D98249F-A017-3A28-9BA9-9B4043037796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14281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Iconography with text x5+1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2323278-E89D-4D80-A18A-B49324F6E7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6E72E6E5-210D-43FE-B069-74E7F6C1BD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78519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67E7BAB-F631-4062-8A88-65F51EC442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78519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6BE899-EB40-48CF-AC4E-A642FFFB1AD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79402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48F6FBC-9928-4ECC-8454-6B4856741F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779402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8CE8A230-B6E3-43F3-A987-6673C06011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960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46543DE-6963-4E6B-8D97-FBAB40255BE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78960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C7F9CE2-C3F9-4791-8B8B-B5803FF1D6C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78079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37E3A2C-8F9E-4585-9298-05F9DDA873B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78079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AABBEEF-0FF4-4074-9C40-9B691395E8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58259" y="1638314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92962D6-56F3-48D3-9A11-82CCFC1CC0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511485" y="1551340"/>
            <a:ext cx="4584515" cy="257558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9095E28A-06FE-49A2-AAE0-DD1F0C107A6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511485" y="1918071"/>
            <a:ext cx="4584515" cy="25755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0737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3 x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28C5D1F-D392-6FF1-379C-A3D8F0F04886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FED0170B-CDB5-12AF-469C-C1702E8AA293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518361" cy="414281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7357175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D8794217-5EF6-484A-9789-939A04CBD6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859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E0AE9E36-7C00-4922-AA13-C35396AF38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9748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530D9E0-01F3-4B3E-A984-26FC050FE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637" y="4248829"/>
            <a:ext cx="3232504" cy="257506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DE89019-B2ED-4062-BEFD-1AF245BF4D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81859" y="4248829"/>
            <a:ext cx="3232504" cy="257506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6F488F1-69E1-4A48-8E9C-2F5EC2BFAB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79748" y="4248829"/>
            <a:ext cx="3232504" cy="257506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5107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5 x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FCC1580-B443-C84D-B512-3BA864842DB5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A964D74-0486-9466-524A-AB302C9A9BCA}"/>
              </a:ext>
            </a:extLst>
          </p:cNvPr>
          <p:cNvSpPr/>
          <p:nvPr userDrawn="1"/>
        </p:nvSpPr>
        <p:spPr>
          <a:xfrm>
            <a:off x="0" y="-238123"/>
            <a:ext cx="12192000" cy="16859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irector’s Report to SAG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518361" cy="414281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755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530D9E0-01F3-4B3E-A984-26FC050FE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638" y="3658327"/>
            <a:ext cx="1838812" cy="526170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D6BD4396-836B-4609-A351-6FA3B73A5F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40394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BEC8D12B-8172-4BD9-B198-FC940EA5F58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69276" y="3658327"/>
            <a:ext cx="1838812" cy="526170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4C3A68AC-120B-4739-BD77-EB8D9A277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47712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0A9A1E10-7F09-44CE-87BF-10DBCB2DD3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76594" y="3658327"/>
            <a:ext cx="1838812" cy="526170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F45A253A-F83B-4FD4-A131-FA4682A23A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62836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403F967D-B169-4689-B49E-43267F0A42D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491719" y="3658327"/>
            <a:ext cx="1838812" cy="526170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FD3AE7CA-391E-4375-9398-D249BBBFEA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46668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xxx</a:t>
            </a:r>
            <a:endParaRPr lang="en-US"/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E4F804E3-C2DE-4602-B167-5B66CA4202B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75550" y="3658327"/>
            <a:ext cx="1838812" cy="526170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0408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stat | b/g image / gra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DC44D74-3B3F-47E0-B848-9173CD01DCB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noFill/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508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508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D8794217-5EF6-484A-9789-939A04CBD6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05918" y="2107959"/>
            <a:ext cx="4214820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2128" b="0" i="0" spc="-637">
                <a:solidFill>
                  <a:schemeClr val="bg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err="1"/>
              <a:t>x.xm</a:t>
            </a:r>
            <a:endParaRPr lang="en-US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DE89019-B2ED-4062-BEFD-1AF245BF4D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05918" y="3480495"/>
            <a:ext cx="4214819" cy="30053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 sz="1698" b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934863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Map + pin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59EA77B-10F0-4804-A145-524336802D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11288" y="1509771"/>
            <a:ext cx="9195987" cy="453863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DBFC085-0C60-416E-8CFF-15E94416B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8"/>
            <a:ext cx="11013551" cy="414281"/>
          </a:xfrm>
        </p:spPr>
        <p:txBody>
          <a:bodyPr lIns="0" tIns="0" rIns="0" bIns="0"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B553B6D6-CC16-4E40-914D-C81F67547F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127910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28651641-59C0-4E53-BC82-FBC2B7BB8D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7638" y="5974456"/>
            <a:ext cx="3140422" cy="171705"/>
          </a:xfrm>
        </p:spPr>
        <p:txBody>
          <a:bodyPr tIns="0" bIns="0" anchor="t" anchorCtr="0"/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55" b="1" i="0" baseline="3000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E20BD56E-0E17-4AED-B089-01FA1B56B6F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7638" y="5537888"/>
            <a:ext cx="3140422" cy="171705"/>
          </a:xfrm>
        </p:spPr>
        <p:txBody>
          <a:bodyPr tIns="0" bIns="0" anchor="t" anchorCtr="0"/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55" b="1" i="0" baseline="3000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C73E20F7-E9CB-484A-B765-8163DC385D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81812" y="4163432"/>
            <a:ext cx="2314188" cy="171705"/>
          </a:xfrm>
        </p:spPr>
        <p:txBody>
          <a:bodyPr wrap="square" tIns="0" bIns="0" anchor="t" anchorCtr="0">
            <a:spAutoFit/>
          </a:bodyPr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55" b="1" i="0" baseline="3000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3E398FEC-3245-4CB1-99A2-4E4EDB86690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24726" y="3036052"/>
            <a:ext cx="2314188" cy="171705"/>
          </a:xfrm>
        </p:spPr>
        <p:txBody>
          <a:bodyPr wrap="square" tIns="0" bIns="0" anchor="t" anchorCtr="0">
            <a:spAutoFit/>
          </a:bodyPr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55" b="1" i="0" baseline="3000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441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E56D08-7E12-483F-9261-2C24DF56F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B7F88C-54E8-4115-B337-516EE6F95C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BF81EC-B172-4C5D-8CBD-A51E13C803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D2C07D-5D43-47F1-887B-0DF1F674D0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22DD23F-BBA6-487D-89E9-9576022D55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1F4BA76-9D29-42BD-B831-2E03D8144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12984-CCA6-40C2-A876-382B8C68BCC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6DA35B-E6AD-4D09-966F-ED1B81AB91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9D630EF-8D4D-453E-9623-2E0B890448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6B2428-E456-463D-9B39-0CE3462EA6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109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vision | Centre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E04318B-A241-43E7-94D4-29E516C89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16700" y="561282"/>
            <a:ext cx="5558600" cy="1192121"/>
          </a:xfrm>
        </p:spPr>
        <p:txBody>
          <a:bodyPr lIns="0" tIns="0" rIns="0" bIns="0" anchor="b" anchorCtr="0"/>
          <a:lstStyle>
            <a:lvl1pPr algn="ctr">
              <a:defRPr sz="424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234693-3B2F-4AE8-AE43-6003C99CB8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9847" y="2162835"/>
            <a:ext cx="10991343" cy="579582"/>
          </a:xfrm>
        </p:spPr>
        <p:txBody>
          <a:bodyPr/>
          <a:lstStyle>
            <a:lvl1pPr algn="ctr">
              <a:defRPr sz="32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object 37">
            <a:extLst>
              <a:ext uri="{FF2B5EF4-FFF2-40B4-BE49-F238E27FC236}">
                <a16:creationId xmlns:a16="http://schemas.microsoft.com/office/drawing/2014/main" id="{254656CD-21F4-415A-855F-8FEF936CAD12}"/>
              </a:ext>
            </a:extLst>
          </p:cNvPr>
          <p:cNvSpPr/>
          <p:nvPr userDrawn="1"/>
        </p:nvSpPr>
        <p:spPr>
          <a:xfrm>
            <a:off x="3344643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38">
            <a:extLst>
              <a:ext uri="{FF2B5EF4-FFF2-40B4-BE49-F238E27FC236}">
                <a16:creationId xmlns:a16="http://schemas.microsoft.com/office/drawing/2014/main" id="{5C6A6A71-005C-4561-B24C-20036B336094}"/>
              </a:ext>
            </a:extLst>
          </p:cNvPr>
          <p:cNvSpPr/>
          <p:nvPr userDrawn="1"/>
        </p:nvSpPr>
        <p:spPr>
          <a:xfrm>
            <a:off x="9774588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40">
            <a:extLst>
              <a:ext uri="{FF2B5EF4-FFF2-40B4-BE49-F238E27FC236}">
                <a16:creationId xmlns:a16="http://schemas.microsoft.com/office/drawing/2014/main" id="{176FBC2B-5877-478A-BEB4-EDF0B54837C2}"/>
              </a:ext>
            </a:extLst>
          </p:cNvPr>
          <p:cNvSpPr txBox="1"/>
          <p:nvPr userDrawn="1"/>
        </p:nvSpPr>
        <p:spPr>
          <a:xfrm>
            <a:off x="577638" y="5241915"/>
            <a:ext cx="1696672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ssociated</a:t>
            </a:r>
            <a:r>
              <a:rPr sz="1395" b="0" i="0" spc="-61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with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8" name="object 41">
            <a:extLst>
              <a:ext uri="{FF2B5EF4-FFF2-40B4-BE49-F238E27FC236}">
                <a16:creationId xmlns:a16="http://schemas.microsoft.com/office/drawing/2014/main" id="{F38E41A8-ECE8-47B1-85AB-9824D1D80C00}"/>
              </a:ext>
            </a:extLst>
          </p:cNvPr>
          <p:cNvSpPr txBox="1"/>
          <p:nvPr userDrawn="1"/>
        </p:nvSpPr>
        <p:spPr>
          <a:xfrm>
            <a:off x="3915513" y="5241915"/>
            <a:ext cx="1743798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Supported</a:t>
            </a:r>
            <a:r>
              <a:rPr sz="1395" b="0" i="0" spc="-67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by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9" name="object 42">
            <a:extLst>
              <a:ext uri="{FF2B5EF4-FFF2-40B4-BE49-F238E27FC236}">
                <a16:creationId xmlns:a16="http://schemas.microsoft.com/office/drawing/2014/main" id="{E15DCFC0-DA16-4F9A-B70D-3C33C791B448}"/>
              </a:ext>
            </a:extLst>
          </p:cNvPr>
          <p:cNvSpPr txBox="1"/>
          <p:nvPr userDrawn="1"/>
        </p:nvSpPr>
        <p:spPr>
          <a:xfrm>
            <a:off x="10161465" y="5241915"/>
            <a:ext cx="1743797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Hosted</a:t>
            </a:r>
            <a:r>
              <a:rPr sz="1395" b="0" i="0" spc="-64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t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187717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ssion Statement | Left Alig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E04318B-A241-43E7-94D4-29E516C89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9848" y="1287250"/>
            <a:ext cx="7334965" cy="466153"/>
          </a:xfrm>
        </p:spPr>
        <p:txBody>
          <a:bodyPr lIns="0" tIns="0" rIns="0" bIns="0" anchor="b" anchorCtr="0"/>
          <a:lstStyle>
            <a:lvl1pPr algn="l">
              <a:defRPr sz="327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234693-3B2F-4AE8-AE43-6003C99CB8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9847" y="2162835"/>
            <a:ext cx="8255334" cy="300531"/>
          </a:xfrm>
        </p:spPr>
        <p:txBody>
          <a:bodyPr/>
          <a:lstStyle>
            <a:lvl1pPr algn="l">
              <a:defRPr sz="16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object 37">
            <a:extLst>
              <a:ext uri="{FF2B5EF4-FFF2-40B4-BE49-F238E27FC236}">
                <a16:creationId xmlns:a16="http://schemas.microsoft.com/office/drawing/2014/main" id="{254656CD-21F4-415A-855F-8FEF936CAD12}"/>
              </a:ext>
            </a:extLst>
          </p:cNvPr>
          <p:cNvSpPr/>
          <p:nvPr userDrawn="1"/>
        </p:nvSpPr>
        <p:spPr>
          <a:xfrm>
            <a:off x="3344643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38">
            <a:extLst>
              <a:ext uri="{FF2B5EF4-FFF2-40B4-BE49-F238E27FC236}">
                <a16:creationId xmlns:a16="http://schemas.microsoft.com/office/drawing/2014/main" id="{5C6A6A71-005C-4561-B24C-20036B336094}"/>
              </a:ext>
            </a:extLst>
          </p:cNvPr>
          <p:cNvSpPr/>
          <p:nvPr userDrawn="1"/>
        </p:nvSpPr>
        <p:spPr>
          <a:xfrm>
            <a:off x="9774588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40">
            <a:extLst>
              <a:ext uri="{FF2B5EF4-FFF2-40B4-BE49-F238E27FC236}">
                <a16:creationId xmlns:a16="http://schemas.microsoft.com/office/drawing/2014/main" id="{176FBC2B-5877-478A-BEB4-EDF0B54837C2}"/>
              </a:ext>
            </a:extLst>
          </p:cNvPr>
          <p:cNvSpPr txBox="1"/>
          <p:nvPr userDrawn="1"/>
        </p:nvSpPr>
        <p:spPr>
          <a:xfrm>
            <a:off x="599847" y="5241915"/>
            <a:ext cx="1880668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ssociated</a:t>
            </a:r>
            <a:r>
              <a:rPr sz="1395" b="0" i="0" spc="-61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with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8" name="object 41">
            <a:extLst>
              <a:ext uri="{FF2B5EF4-FFF2-40B4-BE49-F238E27FC236}">
                <a16:creationId xmlns:a16="http://schemas.microsoft.com/office/drawing/2014/main" id="{F38E41A8-ECE8-47B1-85AB-9824D1D80C00}"/>
              </a:ext>
            </a:extLst>
          </p:cNvPr>
          <p:cNvSpPr txBox="1"/>
          <p:nvPr userDrawn="1"/>
        </p:nvSpPr>
        <p:spPr>
          <a:xfrm>
            <a:off x="3915513" y="5241915"/>
            <a:ext cx="2180486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Supported</a:t>
            </a:r>
            <a:r>
              <a:rPr sz="1395" b="0" i="0" spc="-67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by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9" name="object 42">
            <a:extLst>
              <a:ext uri="{FF2B5EF4-FFF2-40B4-BE49-F238E27FC236}">
                <a16:creationId xmlns:a16="http://schemas.microsoft.com/office/drawing/2014/main" id="{E15DCFC0-DA16-4F9A-B70D-3C33C791B448}"/>
              </a:ext>
            </a:extLst>
          </p:cNvPr>
          <p:cNvSpPr txBox="1"/>
          <p:nvPr userDrawn="1"/>
        </p:nvSpPr>
        <p:spPr>
          <a:xfrm>
            <a:off x="10161465" y="5241915"/>
            <a:ext cx="1459271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Hosted</a:t>
            </a:r>
            <a:r>
              <a:rPr sz="1395" b="0" i="0" spc="-64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t</a:t>
            </a:r>
            <a:endParaRPr sz="1395" b="0" i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39" name="object 14">
            <a:extLst>
              <a:ext uri="{FF2B5EF4-FFF2-40B4-BE49-F238E27FC236}">
                <a16:creationId xmlns:a16="http://schemas.microsoft.com/office/drawing/2014/main" id="{EBA520A8-D9DC-4590-A234-60E794F86D19}"/>
              </a:ext>
            </a:extLst>
          </p:cNvPr>
          <p:cNvSpPr/>
          <p:nvPr userDrawn="1"/>
        </p:nvSpPr>
        <p:spPr>
          <a:xfrm>
            <a:off x="577850" y="5000063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965406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1ED4F-48C8-405A-BAF4-A471B383C9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8007" y="2863649"/>
            <a:ext cx="9195987" cy="1130703"/>
          </a:xfrm>
        </p:spPr>
        <p:txBody>
          <a:bodyPr anchor="ctr"/>
          <a:lstStyle>
            <a:lvl1pPr algn="ctr">
              <a:defRPr sz="4245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007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1ED4F-48C8-405A-BAF4-A471B383C9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7044" y="3681455"/>
            <a:ext cx="9195987" cy="839551"/>
          </a:xfrm>
        </p:spPr>
        <p:txBody>
          <a:bodyPr anchor="ctr"/>
          <a:lstStyle>
            <a:lvl1pPr algn="ctr">
              <a:defRPr sz="2668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C1720A0-FC5D-48B5-9BF5-272126604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22749" y="2293692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253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gn-off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C1720A0-FC5D-48B5-9BF5-272126604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22749" y="2900500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5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4F929E-2F1D-4406-9057-6C8251939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A9C806-229B-4A8D-AFA7-03EDD985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26A3070-CE06-4CEE-A226-D97212C3B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11282640" cy="40313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C887375E-F637-44FE-AF63-8A8B04BD6ACA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143288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98216C-FBC6-4FE9-B765-9829B6654C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5CCD18-98C9-460B-932F-8D6DCCEA79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71D3AE-70C9-4548-B586-BF975EC21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29062-D5EF-40C7-A7F6-03CCF92BADF0}" type="datetimeFigureOut">
              <a:rPr lang="en-GB" smtClean="0"/>
              <a:t>09/09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605236-1862-4932-B83C-CA02EDF559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DF5439-FE4A-432E-B63B-5E6183CD6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0297EC-B0D6-4809-9049-2FFB778B644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98923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85765C15-050B-3F46-BA7D-23E9D746CA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553909" y="6225493"/>
            <a:ext cx="1314983" cy="177377"/>
          </a:xfrm>
        </p:spPr>
        <p:txBody>
          <a:bodyPr/>
          <a:lstStyle>
            <a:lvl1pPr marL="0" marR="0" indent="0" algn="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999999"/>
                </a:solidFill>
              </a:defRPr>
            </a:lvl1pPr>
          </a:lstStyle>
          <a:p>
            <a:endParaRPr lang="en-GB" sz="1092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DAFA51-0F1A-9D4E-BF85-8D1047C752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06396" y="6225493"/>
            <a:ext cx="1048051" cy="167972"/>
          </a:xfrm>
        </p:spPr>
        <p:txBody>
          <a:bodyPr/>
          <a:lstStyle>
            <a:lvl1pPr algn="l">
              <a:defRPr sz="1092" b="0" i="0">
                <a:solidFill>
                  <a:srgbClr val="999999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r>
              <a:rPr lang="en-GB"/>
              <a:t> of 20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8868AC3-E71E-584E-95BA-49ED20AC6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6396" y="467566"/>
            <a:ext cx="3493502" cy="99647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2456"/>
              </a:lnSpc>
              <a:defRPr sz="2062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845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_ligh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D1B0992-9F08-4D46-9772-C6DCA591D5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5406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87AC725-C918-4A1E-9902-F4CF517CB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52FA82-9B0A-496B-9CB6-8D5E67706E7D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265AC6-4155-47B3-A3BC-5177F44188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A465D9-05D0-4703-AE5C-5A8A174B1B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E56A0C-A02E-43BC-ABF0-0621C1896F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057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26BAE-BCAD-4690-BE8F-1B2A96D46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BA5484-5805-46F8-9BB3-3FF7F53FD6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12984-CCA6-40C2-A876-382B8C68BCC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8B508D-0B3E-405C-A2A8-C170120B5E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4E2F12-8FD6-4F19-A388-4F9F80B69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6B2428-E456-463D-9B39-0CE3462EA6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8062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5D9A77-9F81-458F-9555-C04F05C6ED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DE48754-A755-4C84-9A4A-E18082A21C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688DA40-E913-4F30-897B-E7C9F2210CDB}"/>
              </a:ext>
            </a:extLst>
          </p:cNvPr>
          <p:cNvSpPr/>
          <p:nvPr userDrawn="1"/>
        </p:nvSpPr>
        <p:spPr>
          <a:xfrm>
            <a:off x="11734824" y="6480913"/>
            <a:ext cx="4571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9867941-63FA-4CD6-A032-7C119A3B5DFB}" type="slidenum">
              <a:rPr lang="en-GB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332629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NCIR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s of the U.S. Department of Health and Human Services and the Centers for Disease control and Prevention" title="logo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1185297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1386071"/>
            <a:ext cx="10972800" cy="1155779"/>
          </a:xfrm>
          <a:prstGeom prst="rect">
            <a:avLst/>
          </a:prstGeom>
        </p:spPr>
        <p:txBody>
          <a:bodyPr/>
          <a:lstStyle>
            <a:lvl1pPr algn="l">
              <a:lnSpc>
                <a:spcPts val="4000"/>
              </a:lnSpc>
              <a:defRPr sz="3733" b="1" baseline="0">
                <a:solidFill>
                  <a:srgbClr val="8B9B9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09600" y="2859349"/>
            <a:ext cx="8534400" cy="4572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67" b="1" baseline="0">
                <a:solidFill>
                  <a:srgbClr val="8B9B92"/>
                </a:solidFill>
                <a:effectLst/>
                <a:latin typeface="Calibri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9600" y="3946019"/>
            <a:ext cx="8534400" cy="12954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667"/>
              </a:lnSpc>
              <a:buNone/>
              <a:defRPr sz="2400" baseline="0">
                <a:solidFill>
                  <a:srgbClr val="8B9B92"/>
                </a:solidFill>
                <a:latin typeface="Calibri" pitchFamily="34" charset="0"/>
              </a:defRPr>
            </a:lvl1pPr>
            <a:lvl2pPr algn="ctr">
              <a:defRPr>
                <a:solidFill>
                  <a:schemeClr val="tx2"/>
                </a:solidFill>
              </a:defRPr>
            </a:lvl2pPr>
            <a:lvl3pPr algn="ctr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tx2"/>
                </a:solidFill>
              </a:defRPr>
            </a:lvl4pPr>
            <a:lvl5pPr algn="ctr">
              <a:defRPr>
                <a:solidFill>
                  <a:schemeClr val="tx2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609600" y="120203"/>
            <a:ext cx="92041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>
                <a:solidFill>
                  <a:schemeClr val="tx2"/>
                </a:solidFill>
                <a:latin typeface="Calibri" panose="020F0502020204030204" pitchFamily="34" charset="0"/>
              </a:rPr>
              <a:t>National Center for Immunization &amp; Respiratory Diseases</a:t>
            </a:r>
          </a:p>
        </p:txBody>
      </p:sp>
    </p:spTree>
    <p:extLst>
      <p:ext uri="{BB962C8B-B14F-4D97-AF65-F5344CB8AC3E}">
        <p14:creationId xmlns:p14="http://schemas.microsoft.com/office/powerpoint/2010/main" val="1084243811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ata Slide (for content heavy tables and char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8B9B92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/>
              <a:t>Bottom band: NCIR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09600" y="1545167"/>
            <a:ext cx="10972800" cy="4455584"/>
          </a:xfrm>
        </p:spPr>
        <p:txBody>
          <a:bodyPr/>
          <a:lstStyle>
            <a:lvl1pPr marL="457189" indent="-457189">
              <a:buClr>
                <a:srgbClr val="8B9B92"/>
              </a:buClr>
              <a:buFont typeface="Wingdings" panose="05000000000000000000" pitchFamily="2" charset="2"/>
              <a:buChar char="§"/>
              <a:defRPr sz="2667">
                <a:solidFill>
                  <a:schemeClr val="accent4">
                    <a:lumMod val="75000"/>
                  </a:schemeClr>
                </a:solidFill>
              </a:defRPr>
            </a:lvl1pPr>
            <a:lvl2pPr>
              <a:buClr>
                <a:srgbClr val="B2A97E"/>
              </a:buClr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>
                <a:srgbClr val="594F40"/>
              </a:buClr>
              <a:defRPr sz="2667">
                <a:solidFill>
                  <a:schemeClr val="accent4">
                    <a:lumMod val="75000"/>
                  </a:schemeClr>
                </a:solidFill>
              </a:defRPr>
            </a:lvl3pPr>
            <a:lvl4pPr>
              <a:defRPr sz="2667">
                <a:solidFill>
                  <a:schemeClr val="accent4">
                    <a:lumMod val="75000"/>
                  </a:schemeClr>
                </a:solidFill>
              </a:defRPr>
            </a:lvl4pPr>
            <a:lvl5pPr>
              <a:defRPr sz="2667">
                <a:solidFill>
                  <a:schemeClr val="accent4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37261"/>
            <a:ext cx="12192000" cy="120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36173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ULLETS/DATA_2s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8B9B9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00201"/>
            <a:ext cx="5172892" cy="419100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32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990575" indent="-380990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24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24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2400">
                <a:solidFill>
                  <a:schemeClr val="bg2"/>
                </a:solidFill>
              </a:defRPr>
            </a:lvl5pPr>
          </a:lstStyle>
          <a:p>
            <a:pPr lvl="2"/>
            <a:endParaRPr lang="en-US"/>
          </a:p>
          <a:p>
            <a:pPr lvl="0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 userDrawn="1">
            <p:ph idx="10"/>
          </p:nvPr>
        </p:nvSpPr>
        <p:spPr>
          <a:xfrm>
            <a:off x="6409509" y="1600201"/>
            <a:ext cx="5172892" cy="419100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32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990575" indent="-380990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24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24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2400">
                <a:solidFill>
                  <a:schemeClr val="bg2"/>
                </a:solidFill>
              </a:defRPr>
            </a:lvl5pPr>
          </a:lstStyle>
          <a:p>
            <a:pPr lvl="2"/>
            <a:endParaRPr lang="en-US"/>
          </a:p>
          <a:p>
            <a:pPr lvl="0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37261"/>
            <a:ext cx="12192000" cy="120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692460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or_background">
    <p:bg>
      <p:bgPr>
        <a:solidFill>
          <a:srgbClr val="594F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4467097"/>
            <a:ext cx="11059884" cy="1162051"/>
          </a:xfrm>
          <a:prstGeom prst="rect">
            <a:avLst/>
          </a:prstGeom>
        </p:spPr>
        <p:txBody>
          <a:bodyPr anchor="b"/>
          <a:lstStyle>
            <a:lvl1pPr algn="l">
              <a:defRPr sz="4800" b="1" baseline="0">
                <a:solidFill>
                  <a:schemeClr val="bg2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609601" y="5900928"/>
            <a:ext cx="10363200" cy="568325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ts val="2933"/>
              </a:lnSpc>
              <a:buNone/>
              <a:defRPr sz="2667" baseline="0">
                <a:solidFill>
                  <a:schemeClr val="bg2"/>
                </a:solidFill>
                <a:latin typeface="Calibri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2694118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388790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NCIR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s of the U.S. Department of Health and Human Services and the Centers for Disease control and Prevention" title="logo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1185297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1386071"/>
            <a:ext cx="10972800" cy="1155779"/>
          </a:xfrm>
          <a:prstGeom prst="rect">
            <a:avLst/>
          </a:prstGeom>
        </p:spPr>
        <p:txBody>
          <a:bodyPr/>
          <a:lstStyle>
            <a:lvl1pPr algn="l">
              <a:lnSpc>
                <a:spcPts val="4000"/>
              </a:lnSpc>
              <a:defRPr sz="3733" b="1" baseline="0">
                <a:solidFill>
                  <a:srgbClr val="8B9B9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09600" y="2859349"/>
            <a:ext cx="8534400" cy="4572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67" b="1" baseline="0">
                <a:solidFill>
                  <a:srgbClr val="8B9B92"/>
                </a:solidFill>
                <a:effectLst/>
                <a:latin typeface="Calibri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9600" y="3946019"/>
            <a:ext cx="8534400" cy="12954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667"/>
              </a:lnSpc>
              <a:buNone/>
              <a:defRPr sz="2400" baseline="0">
                <a:solidFill>
                  <a:srgbClr val="8B9B92"/>
                </a:solidFill>
                <a:latin typeface="Calibri" pitchFamily="34" charset="0"/>
              </a:defRPr>
            </a:lvl1pPr>
            <a:lvl2pPr algn="ctr">
              <a:defRPr>
                <a:solidFill>
                  <a:schemeClr val="tx2"/>
                </a:solidFill>
              </a:defRPr>
            </a:lvl2pPr>
            <a:lvl3pPr algn="ctr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tx2"/>
                </a:solidFill>
              </a:defRPr>
            </a:lvl4pPr>
            <a:lvl5pPr algn="ctr">
              <a:defRPr>
                <a:solidFill>
                  <a:schemeClr val="tx2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609600" y="120203"/>
            <a:ext cx="92041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>
                <a:solidFill>
                  <a:schemeClr val="tx2"/>
                </a:solidFill>
                <a:latin typeface="Calibri" panose="020F0502020204030204" pitchFamily="34" charset="0"/>
              </a:rPr>
              <a:t>National Center for Immunization &amp; Respiratory Diseases</a:t>
            </a:r>
          </a:p>
        </p:txBody>
      </p:sp>
    </p:spTree>
    <p:extLst>
      <p:ext uri="{BB962C8B-B14F-4D97-AF65-F5344CB8AC3E}">
        <p14:creationId xmlns:p14="http://schemas.microsoft.com/office/powerpoint/2010/main" val="2178572630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ata Slide (for content heavy tables and char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8B9B92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/>
              <a:t>Bottom band: NCIRD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09600" y="1545167"/>
            <a:ext cx="10972800" cy="4455584"/>
          </a:xfrm>
        </p:spPr>
        <p:txBody>
          <a:bodyPr/>
          <a:lstStyle>
            <a:lvl1pPr marL="457189" indent="-457189">
              <a:buClr>
                <a:srgbClr val="8B9B92"/>
              </a:buClr>
              <a:buFont typeface="Wingdings" panose="05000000000000000000" pitchFamily="2" charset="2"/>
              <a:buChar char="§"/>
              <a:defRPr sz="2667">
                <a:solidFill>
                  <a:schemeClr val="accent4">
                    <a:lumMod val="75000"/>
                  </a:schemeClr>
                </a:solidFill>
              </a:defRPr>
            </a:lvl1pPr>
            <a:lvl2pPr>
              <a:buClr>
                <a:srgbClr val="B2A97E"/>
              </a:buClr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>
                <a:srgbClr val="594F40"/>
              </a:buClr>
              <a:defRPr sz="2667">
                <a:solidFill>
                  <a:schemeClr val="accent4">
                    <a:lumMod val="75000"/>
                  </a:schemeClr>
                </a:solidFill>
              </a:defRPr>
            </a:lvl3pPr>
            <a:lvl4pPr>
              <a:defRPr sz="2667">
                <a:solidFill>
                  <a:schemeClr val="accent4">
                    <a:lumMod val="75000"/>
                  </a:schemeClr>
                </a:solidFill>
              </a:defRPr>
            </a:lvl4pPr>
            <a:lvl5pPr>
              <a:defRPr sz="2667">
                <a:solidFill>
                  <a:schemeClr val="accent4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37261"/>
            <a:ext cx="12192000" cy="120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893703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ULLETS/DATA_2s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8B9B9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00201"/>
            <a:ext cx="5172892" cy="419100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32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990575" indent="-380990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24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24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2400">
                <a:solidFill>
                  <a:schemeClr val="bg2"/>
                </a:solidFill>
              </a:defRPr>
            </a:lvl5pPr>
          </a:lstStyle>
          <a:p>
            <a:pPr lvl="2"/>
            <a:endParaRPr lang="en-US"/>
          </a:p>
          <a:p>
            <a:pPr lvl="0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 userDrawn="1">
            <p:ph idx="10"/>
          </p:nvPr>
        </p:nvSpPr>
        <p:spPr>
          <a:xfrm>
            <a:off x="6409509" y="1600201"/>
            <a:ext cx="5172892" cy="419100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32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990575" indent="-380990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24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24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2400">
                <a:solidFill>
                  <a:schemeClr val="bg2"/>
                </a:solidFill>
              </a:defRPr>
            </a:lvl5pPr>
          </a:lstStyle>
          <a:p>
            <a:pPr lvl="2"/>
            <a:endParaRPr lang="en-US"/>
          </a:p>
          <a:p>
            <a:pPr lvl="0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37261"/>
            <a:ext cx="12192000" cy="120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353383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or_background">
    <p:bg>
      <p:bgPr>
        <a:solidFill>
          <a:srgbClr val="594F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4467097"/>
            <a:ext cx="11059884" cy="1162051"/>
          </a:xfrm>
          <a:prstGeom prst="rect">
            <a:avLst/>
          </a:prstGeom>
        </p:spPr>
        <p:txBody>
          <a:bodyPr anchor="b"/>
          <a:lstStyle>
            <a:lvl1pPr algn="l">
              <a:defRPr sz="4800" b="1" baseline="0">
                <a:solidFill>
                  <a:schemeClr val="bg2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609601" y="5900928"/>
            <a:ext cx="10363200" cy="568325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ts val="2933"/>
              </a:lnSpc>
              <a:buNone/>
              <a:defRPr sz="2667" baseline="0">
                <a:solidFill>
                  <a:schemeClr val="bg2"/>
                </a:solidFill>
                <a:latin typeface="Calibri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68995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90561C-04E4-4DAF-B110-39953180AD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12984-CCA6-40C2-A876-382B8C68BCC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553FD3-E11C-4305-B2C9-B5FA0F962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96F14D-9C97-4588-8E52-0B021EF21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6B2428-E456-463D-9B39-0CE3462EA68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1A72BC-A299-8F11-4531-87F44EEE0D24}"/>
              </a:ext>
            </a:extLst>
          </p:cNvPr>
          <p:cNvSpPr/>
          <p:nvPr userDrawn="1"/>
        </p:nvSpPr>
        <p:spPr>
          <a:xfrm>
            <a:off x="428921" y="1045029"/>
            <a:ext cx="11763079" cy="581297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0419943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19A75-8DC2-4618-9571-521D6E0661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072EE4-2223-40BD-91BE-EA00EAC760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32095E-A086-45FB-AA92-3DEEF8E791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A70BC4-F241-4D78-82F9-F3BAE56C065E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5A85B6-3502-45EE-A7E1-AE4F481DF1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7DB1DD-37AF-4796-8B39-750A01E0C2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56E2D-C8D3-4DF1-BA0D-65B6BEF5B1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993477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398523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  <a:endParaRPr lang="fr-CA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35BCA-EA75-47BD-A3BC-78CED2BA246E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18015343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35BCA-EA75-47BD-A3BC-78CED2BA246E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98729603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35BCA-EA75-47BD-A3BC-78CED2BA246E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03376850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35BCA-EA75-47BD-A3BC-78CED2BA246E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74115484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35BCA-EA75-47BD-A3BC-78CED2BA246E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2689460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35BCA-EA75-47BD-A3BC-78CED2BA246E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50111749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35BCA-EA75-47BD-A3BC-78CED2BA246E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20794854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35BCA-EA75-47BD-A3BC-78CED2BA246E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078316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070995-969D-417F-8E99-6EC23A30BB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A9AB03-EBC6-4D02-A962-9F3CB5C9F4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9C4333-9435-42B9-BE6A-477391D0FC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6C6E62-AC68-4DA0-8A66-602DCFE615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12984-CCA6-40C2-A876-382B8C68BCC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EE8E8B-25BC-46FB-8F08-31D61EBA22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50E288-62BF-4220-A408-70E6F0EDC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6B2428-E456-463D-9B39-0CE3462EA6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509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CA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35BCA-EA75-47BD-A3BC-78CED2BA246E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79882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35BCA-EA75-47BD-A3BC-78CED2BA246E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45035701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35BCA-EA75-47BD-A3BC-78CED2BA246E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8891725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D632BD-0DE2-4863-B625-A2C7822359CD}" type="datetimeFigureOut">
              <a:rPr lang="en-GB" smtClean="0"/>
              <a:t>09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0E277-723E-4ABD-8708-1F0E74CFC4A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8011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D632BD-0DE2-4863-B625-A2C7822359CD}" type="datetimeFigureOut">
              <a:rPr lang="en-GB" smtClean="0"/>
              <a:t>09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0E277-723E-4ABD-8708-1F0E74CFC4A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021800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D632BD-0DE2-4863-B625-A2C7822359CD}" type="datetimeFigureOut">
              <a:rPr lang="en-GB" smtClean="0"/>
              <a:t>09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0E277-723E-4ABD-8708-1F0E74CFC4A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94240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D632BD-0DE2-4863-B625-A2C7822359CD}" type="datetimeFigureOut">
              <a:rPr lang="en-GB" smtClean="0"/>
              <a:t>09/09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0E277-723E-4ABD-8708-1F0E74CFC4A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156858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D632BD-0DE2-4863-B625-A2C7822359CD}" type="datetimeFigureOut">
              <a:rPr lang="en-GB" smtClean="0"/>
              <a:t>09/09/2024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0E277-723E-4ABD-8708-1F0E74CFC4A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41530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D632BD-0DE2-4863-B625-A2C7822359CD}" type="datetimeFigureOut">
              <a:rPr lang="en-GB" smtClean="0"/>
              <a:t>09/09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0E277-723E-4ABD-8708-1F0E74CFC4A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601603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D632BD-0DE2-4863-B625-A2C7822359CD}" type="datetimeFigureOut">
              <a:rPr lang="en-GB" smtClean="0"/>
              <a:t>09/09/2024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0E277-723E-4ABD-8708-1F0E74CFC4A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11184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0D8F1-712A-4687-80DF-D6B4AC8B3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AF68F62-30CC-4F87-8EF1-3B20F89909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138C92-9542-499A-AA86-5C4E8B9F04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986591-00C8-4D85-BB89-0F12CDF40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12984-CCA6-40C2-A876-382B8C68BCC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466E44-CF34-4FDF-98BB-B8876D343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850D54-D611-4052-A69B-2572C9D006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6B2428-E456-463D-9B39-0CE3462EA6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92087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D632BD-0DE2-4863-B625-A2C7822359CD}" type="datetimeFigureOut">
              <a:rPr lang="en-GB" smtClean="0"/>
              <a:t>09/09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0E277-723E-4ABD-8708-1F0E74CFC4A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08683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D632BD-0DE2-4863-B625-A2C7822359CD}" type="datetimeFigureOut">
              <a:rPr lang="en-GB" smtClean="0"/>
              <a:t>09/09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0E277-723E-4ABD-8708-1F0E74CFC4A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826806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D632BD-0DE2-4863-B625-A2C7822359CD}" type="datetimeFigureOut">
              <a:rPr lang="en-GB" smtClean="0"/>
              <a:t>09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0E277-723E-4ABD-8708-1F0E74CFC4A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16358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D632BD-0DE2-4863-B625-A2C7822359CD}" type="datetimeFigureOut">
              <a:rPr lang="en-GB" smtClean="0"/>
              <a:t>09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C0E277-723E-4ABD-8708-1F0E74CFC4A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119699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0981E17-5695-435B-969A-5EECE7102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1704030" cy="646908"/>
          </a:xfrm>
          <a:prstGeom prst="rect">
            <a:avLst/>
          </a:prstGeom>
        </p:spPr>
      </p:pic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523DD328-9428-4A62-9563-5F3EC36C155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1305723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4B1DB28-413A-41E9-A6F8-727DE05F8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3036723" cy="646908"/>
          </a:xfrm>
          <a:prstGeom prst="rect">
            <a:avLst/>
          </a:prstGeom>
        </p:spPr>
      </p:pic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570D610-DA38-4B7D-93BE-2E443F0EE1A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228944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F1B92ED-1DA4-42D5-94F1-A383F50976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6444"/>
            <a:ext cx="750929" cy="554493"/>
          </a:xfrm>
          <a:prstGeom prst="rect">
            <a:avLst/>
          </a:prstGeom>
        </p:spPr>
      </p:pic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F6DBB05F-4272-4D46-84A3-F2972EF1D50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3010402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54F6A8A-3C2B-480E-A8DA-BC1ADCD083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48016" y="2773428"/>
            <a:ext cx="3471601" cy="1311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607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42CC9A5-8FA8-4188-B9FB-687FDCC80C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11528" y="2900500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709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0B47A-2C2A-47A3-B698-CA6A0FD6F0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56337" y="2220890"/>
            <a:ext cx="2454959" cy="1819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998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1.xml"/><Relationship Id="rId18" Type="http://schemas.openxmlformats.org/officeDocument/2006/relationships/slideLayout" Target="../slideLayouts/slideLayout286.xml"/><Relationship Id="rId26" Type="http://schemas.openxmlformats.org/officeDocument/2006/relationships/slideLayout" Target="../slideLayouts/slideLayout294.xml"/><Relationship Id="rId39" Type="http://schemas.openxmlformats.org/officeDocument/2006/relationships/slideLayout" Target="../slideLayouts/slideLayout307.xml"/><Relationship Id="rId21" Type="http://schemas.openxmlformats.org/officeDocument/2006/relationships/slideLayout" Target="../slideLayouts/slideLayout289.xml"/><Relationship Id="rId34" Type="http://schemas.openxmlformats.org/officeDocument/2006/relationships/slideLayout" Target="../slideLayouts/slideLayout302.xml"/><Relationship Id="rId42" Type="http://schemas.openxmlformats.org/officeDocument/2006/relationships/slideLayout" Target="../slideLayouts/slideLayout310.xml"/><Relationship Id="rId47" Type="http://schemas.openxmlformats.org/officeDocument/2006/relationships/slideLayout" Target="../slideLayouts/slideLayout315.xml"/><Relationship Id="rId50" Type="http://schemas.openxmlformats.org/officeDocument/2006/relationships/slideLayout" Target="../slideLayouts/slideLayout318.xml"/><Relationship Id="rId55" Type="http://schemas.openxmlformats.org/officeDocument/2006/relationships/slideLayout" Target="../slideLayouts/slideLayout323.xml"/><Relationship Id="rId7" Type="http://schemas.openxmlformats.org/officeDocument/2006/relationships/slideLayout" Target="../slideLayouts/slideLayout275.xml"/><Relationship Id="rId12" Type="http://schemas.openxmlformats.org/officeDocument/2006/relationships/slideLayout" Target="../slideLayouts/slideLayout280.xml"/><Relationship Id="rId17" Type="http://schemas.openxmlformats.org/officeDocument/2006/relationships/slideLayout" Target="../slideLayouts/slideLayout285.xml"/><Relationship Id="rId25" Type="http://schemas.openxmlformats.org/officeDocument/2006/relationships/slideLayout" Target="../slideLayouts/slideLayout293.xml"/><Relationship Id="rId33" Type="http://schemas.openxmlformats.org/officeDocument/2006/relationships/slideLayout" Target="../slideLayouts/slideLayout301.xml"/><Relationship Id="rId38" Type="http://schemas.openxmlformats.org/officeDocument/2006/relationships/slideLayout" Target="../slideLayouts/slideLayout306.xml"/><Relationship Id="rId46" Type="http://schemas.openxmlformats.org/officeDocument/2006/relationships/slideLayout" Target="../slideLayouts/slideLayout314.xml"/><Relationship Id="rId59" Type="http://schemas.openxmlformats.org/officeDocument/2006/relationships/slideLayout" Target="../slideLayouts/slideLayout327.xml"/><Relationship Id="rId2" Type="http://schemas.openxmlformats.org/officeDocument/2006/relationships/slideLayout" Target="../slideLayouts/slideLayout270.xml"/><Relationship Id="rId16" Type="http://schemas.openxmlformats.org/officeDocument/2006/relationships/slideLayout" Target="../slideLayouts/slideLayout284.xml"/><Relationship Id="rId20" Type="http://schemas.openxmlformats.org/officeDocument/2006/relationships/slideLayout" Target="../slideLayouts/slideLayout288.xml"/><Relationship Id="rId29" Type="http://schemas.openxmlformats.org/officeDocument/2006/relationships/slideLayout" Target="../slideLayouts/slideLayout297.xml"/><Relationship Id="rId41" Type="http://schemas.openxmlformats.org/officeDocument/2006/relationships/slideLayout" Target="../slideLayouts/slideLayout309.xml"/><Relationship Id="rId54" Type="http://schemas.openxmlformats.org/officeDocument/2006/relationships/slideLayout" Target="../slideLayouts/slideLayout322.xml"/><Relationship Id="rId1" Type="http://schemas.openxmlformats.org/officeDocument/2006/relationships/slideLayout" Target="../slideLayouts/slideLayout269.xml"/><Relationship Id="rId6" Type="http://schemas.openxmlformats.org/officeDocument/2006/relationships/slideLayout" Target="../slideLayouts/slideLayout274.xml"/><Relationship Id="rId11" Type="http://schemas.openxmlformats.org/officeDocument/2006/relationships/slideLayout" Target="../slideLayouts/slideLayout279.xml"/><Relationship Id="rId24" Type="http://schemas.openxmlformats.org/officeDocument/2006/relationships/slideLayout" Target="../slideLayouts/slideLayout292.xml"/><Relationship Id="rId32" Type="http://schemas.openxmlformats.org/officeDocument/2006/relationships/slideLayout" Target="../slideLayouts/slideLayout300.xml"/><Relationship Id="rId37" Type="http://schemas.openxmlformats.org/officeDocument/2006/relationships/slideLayout" Target="../slideLayouts/slideLayout305.xml"/><Relationship Id="rId40" Type="http://schemas.openxmlformats.org/officeDocument/2006/relationships/slideLayout" Target="../slideLayouts/slideLayout308.xml"/><Relationship Id="rId45" Type="http://schemas.openxmlformats.org/officeDocument/2006/relationships/slideLayout" Target="../slideLayouts/slideLayout313.xml"/><Relationship Id="rId53" Type="http://schemas.openxmlformats.org/officeDocument/2006/relationships/slideLayout" Target="../slideLayouts/slideLayout321.xml"/><Relationship Id="rId58" Type="http://schemas.openxmlformats.org/officeDocument/2006/relationships/slideLayout" Target="../slideLayouts/slideLayout326.xml"/><Relationship Id="rId5" Type="http://schemas.openxmlformats.org/officeDocument/2006/relationships/slideLayout" Target="../slideLayouts/slideLayout273.xml"/><Relationship Id="rId15" Type="http://schemas.openxmlformats.org/officeDocument/2006/relationships/slideLayout" Target="../slideLayouts/slideLayout283.xml"/><Relationship Id="rId23" Type="http://schemas.openxmlformats.org/officeDocument/2006/relationships/slideLayout" Target="../slideLayouts/slideLayout291.xml"/><Relationship Id="rId28" Type="http://schemas.openxmlformats.org/officeDocument/2006/relationships/slideLayout" Target="../slideLayouts/slideLayout296.xml"/><Relationship Id="rId36" Type="http://schemas.openxmlformats.org/officeDocument/2006/relationships/slideLayout" Target="../slideLayouts/slideLayout304.xml"/><Relationship Id="rId49" Type="http://schemas.openxmlformats.org/officeDocument/2006/relationships/slideLayout" Target="../slideLayouts/slideLayout317.xml"/><Relationship Id="rId57" Type="http://schemas.openxmlformats.org/officeDocument/2006/relationships/slideLayout" Target="../slideLayouts/slideLayout325.xml"/><Relationship Id="rId10" Type="http://schemas.openxmlformats.org/officeDocument/2006/relationships/slideLayout" Target="../slideLayouts/slideLayout278.xml"/><Relationship Id="rId19" Type="http://schemas.openxmlformats.org/officeDocument/2006/relationships/slideLayout" Target="../slideLayouts/slideLayout287.xml"/><Relationship Id="rId31" Type="http://schemas.openxmlformats.org/officeDocument/2006/relationships/slideLayout" Target="../slideLayouts/slideLayout299.xml"/><Relationship Id="rId44" Type="http://schemas.openxmlformats.org/officeDocument/2006/relationships/slideLayout" Target="../slideLayouts/slideLayout312.xml"/><Relationship Id="rId52" Type="http://schemas.openxmlformats.org/officeDocument/2006/relationships/slideLayout" Target="../slideLayouts/slideLayout320.xml"/><Relationship Id="rId60" Type="http://schemas.openxmlformats.org/officeDocument/2006/relationships/theme" Target="../theme/theme10.xml"/><Relationship Id="rId4" Type="http://schemas.openxmlformats.org/officeDocument/2006/relationships/slideLayout" Target="../slideLayouts/slideLayout272.xml"/><Relationship Id="rId9" Type="http://schemas.openxmlformats.org/officeDocument/2006/relationships/slideLayout" Target="../slideLayouts/slideLayout277.xml"/><Relationship Id="rId14" Type="http://schemas.openxmlformats.org/officeDocument/2006/relationships/slideLayout" Target="../slideLayouts/slideLayout282.xml"/><Relationship Id="rId22" Type="http://schemas.openxmlformats.org/officeDocument/2006/relationships/slideLayout" Target="../slideLayouts/slideLayout290.xml"/><Relationship Id="rId27" Type="http://schemas.openxmlformats.org/officeDocument/2006/relationships/slideLayout" Target="../slideLayouts/slideLayout295.xml"/><Relationship Id="rId30" Type="http://schemas.openxmlformats.org/officeDocument/2006/relationships/slideLayout" Target="../slideLayouts/slideLayout298.xml"/><Relationship Id="rId35" Type="http://schemas.openxmlformats.org/officeDocument/2006/relationships/slideLayout" Target="../slideLayouts/slideLayout303.xml"/><Relationship Id="rId43" Type="http://schemas.openxmlformats.org/officeDocument/2006/relationships/slideLayout" Target="../slideLayouts/slideLayout311.xml"/><Relationship Id="rId48" Type="http://schemas.openxmlformats.org/officeDocument/2006/relationships/slideLayout" Target="../slideLayouts/slideLayout316.xml"/><Relationship Id="rId56" Type="http://schemas.openxmlformats.org/officeDocument/2006/relationships/slideLayout" Target="../slideLayouts/slideLayout324.xml"/><Relationship Id="rId8" Type="http://schemas.openxmlformats.org/officeDocument/2006/relationships/slideLayout" Target="../slideLayouts/slideLayout276.xml"/><Relationship Id="rId51" Type="http://schemas.openxmlformats.org/officeDocument/2006/relationships/slideLayout" Target="../slideLayouts/slideLayout319.xml"/><Relationship Id="rId3" Type="http://schemas.openxmlformats.org/officeDocument/2006/relationships/slideLayout" Target="../slideLayouts/slideLayout271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0.xml"/><Relationship Id="rId18" Type="http://schemas.openxmlformats.org/officeDocument/2006/relationships/slideLayout" Target="../slideLayouts/slideLayout345.xml"/><Relationship Id="rId26" Type="http://schemas.openxmlformats.org/officeDocument/2006/relationships/slideLayout" Target="../slideLayouts/slideLayout353.xml"/><Relationship Id="rId39" Type="http://schemas.openxmlformats.org/officeDocument/2006/relationships/slideLayout" Target="../slideLayouts/slideLayout366.xml"/><Relationship Id="rId21" Type="http://schemas.openxmlformats.org/officeDocument/2006/relationships/slideLayout" Target="../slideLayouts/slideLayout348.xml"/><Relationship Id="rId34" Type="http://schemas.openxmlformats.org/officeDocument/2006/relationships/slideLayout" Target="../slideLayouts/slideLayout361.xml"/><Relationship Id="rId42" Type="http://schemas.openxmlformats.org/officeDocument/2006/relationships/slideLayout" Target="../slideLayouts/slideLayout369.xml"/><Relationship Id="rId47" Type="http://schemas.openxmlformats.org/officeDocument/2006/relationships/slideLayout" Target="../slideLayouts/slideLayout374.xml"/><Relationship Id="rId50" Type="http://schemas.openxmlformats.org/officeDocument/2006/relationships/slideLayout" Target="../slideLayouts/slideLayout377.xml"/><Relationship Id="rId55" Type="http://schemas.openxmlformats.org/officeDocument/2006/relationships/slideLayout" Target="../slideLayouts/slideLayout382.xml"/><Relationship Id="rId63" Type="http://schemas.openxmlformats.org/officeDocument/2006/relationships/slideLayout" Target="../slideLayouts/slideLayout390.xml"/><Relationship Id="rId68" Type="http://schemas.openxmlformats.org/officeDocument/2006/relationships/image" Target="../media/image1.emf"/><Relationship Id="rId7" Type="http://schemas.openxmlformats.org/officeDocument/2006/relationships/slideLayout" Target="../slideLayouts/slideLayout334.xml"/><Relationship Id="rId2" Type="http://schemas.openxmlformats.org/officeDocument/2006/relationships/slideLayout" Target="../slideLayouts/slideLayout329.xml"/><Relationship Id="rId16" Type="http://schemas.openxmlformats.org/officeDocument/2006/relationships/slideLayout" Target="../slideLayouts/slideLayout343.xml"/><Relationship Id="rId29" Type="http://schemas.openxmlformats.org/officeDocument/2006/relationships/slideLayout" Target="../slideLayouts/slideLayout356.xml"/><Relationship Id="rId1" Type="http://schemas.openxmlformats.org/officeDocument/2006/relationships/slideLayout" Target="../slideLayouts/slideLayout328.xml"/><Relationship Id="rId6" Type="http://schemas.openxmlformats.org/officeDocument/2006/relationships/slideLayout" Target="../slideLayouts/slideLayout333.xml"/><Relationship Id="rId11" Type="http://schemas.openxmlformats.org/officeDocument/2006/relationships/slideLayout" Target="../slideLayouts/slideLayout338.xml"/><Relationship Id="rId24" Type="http://schemas.openxmlformats.org/officeDocument/2006/relationships/slideLayout" Target="../slideLayouts/slideLayout351.xml"/><Relationship Id="rId32" Type="http://schemas.openxmlformats.org/officeDocument/2006/relationships/slideLayout" Target="../slideLayouts/slideLayout359.xml"/><Relationship Id="rId37" Type="http://schemas.openxmlformats.org/officeDocument/2006/relationships/slideLayout" Target="../slideLayouts/slideLayout364.xml"/><Relationship Id="rId40" Type="http://schemas.openxmlformats.org/officeDocument/2006/relationships/slideLayout" Target="../slideLayouts/slideLayout367.xml"/><Relationship Id="rId45" Type="http://schemas.openxmlformats.org/officeDocument/2006/relationships/slideLayout" Target="../slideLayouts/slideLayout372.xml"/><Relationship Id="rId53" Type="http://schemas.openxmlformats.org/officeDocument/2006/relationships/slideLayout" Target="../slideLayouts/slideLayout380.xml"/><Relationship Id="rId58" Type="http://schemas.openxmlformats.org/officeDocument/2006/relationships/slideLayout" Target="../slideLayouts/slideLayout385.xml"/><Relationship Id="rId66" Type="http://schemas.openxmlformats.org/officeDocument/2006/relationships/tags" Target="../tags/tag3.xml"/><Relationship Id="rId5" Type="http://schemas.openxmlformats.org/officeDocument/2006/relationships/slideLayout" Target="../slideLayouts/slideLayout332.xml"/><Relationship Id="rId15" Type="http://schemas.openxmlformats.org/officeDocument/2006/relationships/slideLayout" Target="../slideLayouts/slideLayout342.xml"/><Relationship Id="rId23" Type="http://schemas.openxmlformats.org/officeDocument/2006/relationships/slideLayout" Target="../slideLayouts/slideLayout350.xml"/><Relationship Id="rId28" Type="http://schemas.openxmlformats.org/officeDocument/2006/relationships/slideLayout" Target="../slideLayouts/slideLayout355.xml"/><Relationship Id="rId36" Type="http://schemas.openxmlformats.org/officeDocument/2006/relationships/slideLayout" Target="../slideLayouts/slideLayout363.xml"/><Relationship Id="rId49" Type="http://schemas.openxmlformats.org/officeDocument/2006/relationships/slideLayout" Target="../slideLayouts/slideLayout376.xml"/><Relationship Id="rId57" Type="http://schemas.openxmlformats.org/officeDocument/2006/relationships/slideLayout" Target="../slideLayouts/slideLayout384.xml"/><Relationship Id="rId61" Type="http://schemas.openxmlformats.org/officeDocument/2006/relationships/slideLayout" Target="../slideLayouts/slideLayout388.xml"/><Relationship Id="rId10" Type="http://schemas.openxmlformats.org/officeDocument/2006/relationships/slideLayout" Target="../slideLayouts/slideLayout337.xml"/><Relationship Id="rId19" Type="http://schemas.openxmlformats.org/officeDocument/2006/relationships/slideLayout" Target="../slideLayouts/slideLayout346.xml"/><Relationship Id="rId31" Type="http://schemas.openxmlformats.org/officeDocument/2006/relationships/slideLayout" Target="../slideLayouts/slideLayout358.xml"/><Relationship Id="rId44" Type="http://schemas.openxmlformats.org/officeDocument/2006/relationships/slideLayout" Target="../slideLayouts/slideLayout371.xml"/><Relationship Id="rId52" Type="http://schemas.openxmlformats.org/officeDocument/2006/relationships/slideLayout" Target="../slideLayouts/slideLayout379.xml"/><Relationship Id="rId60" Type="http://schemas.openxmlformats.org/officeDocument/2006/relationships/slideLayout" Target="../slideLayouts/slideLayout387.xml"/><Relationship Id="rId65" Type="http://schemas.openxmlformats.org/officeDocument/2006/relationships/theme" Target="../theme/theme11.xml"/><Relationship Id="rId4" Type="http://schemas.openxmlformats.org/officeDocument/2006/relationships/slideLayout" Target="../slideLayouts/slideLayout331.xml"/><Relationship Id="rId9" Type="http://schemas.openxmlformats.org/officeDocument/2006/relationships/slideLayout" Target="../slideLayouts/slideLayout336.xml"/><Relationship Id="rId14" Type="http://schemas.openxmlformats.org/officeDocument/2006/relationships/slideLayout" Target="../slideLayouts/slideLayout341.xml"/><Relationship Id="rId22" Type="http://schemas.openxmlformats.org/officeDocument/2006/relationships/slideLayout" Target="../slideLayouts/slideLayout349.xml"/><Relationship Id="rId27" Type="http://schemas.openxmlformats.org/officeDocument/2006/relationships/slideLayout" Target="../slideLayouts/slideLayout354.xml"/><Relationship Id="rId30" Type="http://schemas.openxmlformats.org/officeDocument/2006/relationships/slideLayout" Target="../slideLayouts/slideLayout357.xml"/><Relationship Id="rId35" Type="http://schemas.openxmlformats.org/officeDocument/2006/relationships/slideLayout" Target="../slideLayouts/slideLayout362.xml"/><Relationship Id="rId43" Type="http://schemas.openxmlformats.org/officeDocument/2006/relationships/slideLayout" Target="../slideLayouts/slideLayout370.xml"/><Relationship Id="rId48" Type="http://schemas.openxmlformats.org/officeDocument/2006/relationships/slideLayout" Target="../slideLayouts/slideLayout375.xml"/><Relationship Id="rId56" Type="http://schemas.openxmlformats.org/officeDocument/2006/relationships/slideLayout" Target="../slideLayouts/slideLayout383.xml"/><Relationship Id="rId64" Type="http://schemas.openxmlformats.org/officeDocument/2006/relationships/slideLayout" Target="../slideLayouts/slideLayout391.xml"/><Relationship Id="rId8" Type="http://schemas.openxmlformats.org/officeDocument/2006/relationships/slideLayout" Target="../slideLayouts/slideLayout335.xml"/><Relationship Id="rId51" Type="http://schemas.openxmlformats.org/officeDocument/2006/relationships/slideLayout" Target="../slideLayouts/slideLayout378.xml"/><Relationship Id="rId3" Type="http://schemas.openxmlformats.org/officeDocument/2006/relationships/slideLayout" Target="../slideLayouts/slideLayout330.xml"/><Relationship Id="rId12" Type="http://schemas.openxmlformats.org/officeDocument/2006/relationships/slideLayout" Target="../slideLayouts/slideLayout339.xml"/><Relationship Id="rId17" Type="http://schemas.openxmlformats.org/officeDocument/2006/relationships/slideLayout" Target="../slideLayouts/slideLayout344.xml"/><Relationship Id="rId25" Type="http://schemas.openxmlformats.org/officeDocument/2006/relationships/slideLayout" Target="../slideLayouts/slideLayout352.xml"/><Relationship Id="rId33" Type="http://schemas.openxmlformats.org/officeDocument/2006/relationships/slideLayout" Target="../slideLayouts/slideLayout360.xml"/><Relationship Id="rId38" Type="http://schemas.openxmlformats.org/officeDocument/2006/relationships/slideLayout" Target="../slideLayouts/slideLayout365.xml"/><Relationship Id="rId46" Type="http://schemas.openxmlformats.org/officeDocument/2006/relationships/slideLayout" Target="../slideLayouts/slideLayout373.xml"/><Relationship Id="rId59" Type="http://schemas.openxmlformats.org/officeDocument/2006/relationships/slideLayout" Target="../slideLayouts/slideLayout386.xml"/><Relationship Id="rId67" Type="http://schemas.openxmlformats.org/officeDocument/2006/relationships/oleObject" Target="../embeddings/oleObject3.bin"/><Relationship Id="rId20" Type="http://schemas.openxmlformats.org/officeDocument/2006/relationships/slideLayout" Target="../slideLayouts/slideLayout347.xml"/><Relationship Id="rId41" Type="http://schemas.openxmlformats.org/officeDocument/2006/relationships/slideLayout" Target="../slideLayouts/slideLayout368.xml"/><Relationship Id="rId54" Type="http://schemas.openxmlformats.org/officeDocument/2006/relationships/slideLayout" Target="../slideLayouts/slideLayout381.xml"/><Relationship Id="rId62" Type="http://schemas.openxmlformats.org/officeDocument/2006/relationships/slideLayout" Target="../slideLayouts/slideLayout38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9.xml"/><Relationship Id="rId13" Type="http://schemas.openxmlformats.org/officeDocument/2006/relationships/slideLayout" Target="../slideLayouts/slideLayout404.xml"/><Relationship Id="rId3" Type="http://schemas.openxmlformats.org/officeDocument/2006/relationships/slideLayout" Target="../slideLayouts/slideLayout394.xml"/><Relationship Id="rId7" Type="http://schemas.openxmlformats.org/officeDocument/2006/relationships/slideLayout" Target="../slideLayouts/slideLayout398.xml"/><Relationship Id="rId12" Type="http://schemas.openxmlformats.org/officeDocument/2006/relationships/slideLayout" Target="../slideLayouts/slideLayout403.xml"/><Relationship Id="rId2" Type="http://schemas.openxmlformats.org/officeDocument/2006/relationships/slideLayout" Target="../slideLayouts/slideLayout393.xml"/><Relationship Id="rId1" Type="http://schemas.openxmlformats.org/officeDocument/2006/relationships/slideLayout" Target="../slideLayouts/slideLayout392.xml"/><Relationship Id="rId6" Type="http://schemas.openxmlformats.org/officeDocument/2006/relationships/slideLayout" Target="../slideLayouts/slideLayout397.xml"/><Relationship Id="rId11" Type="http://schemas.openxmlformats.org/officeDocument/2006/relationships/slideLayout" Target="../slideLayouts/slideLayout402.xml"/><Relationship Id="rId5" Type="http://schemas.openxmlformats.org/officeDocument/2006/relationships/slideLayout" Target="../slideLayouts/slideLayout396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401.xml"/><Relationship Id="rId4" Type="http://schemas.openxmlformats.org/officeDocument/2006/relationships/slideLayout" Target="../slideLayouts/slideLayout395.xml"/><Relationship Id="rId9" Type="http://schemas.openxmlformats.org/officeDocument/2006/relationships/slideLayout" Target="../slideLayouts/slideLayout400.xml"/><Relationship Id="rId14" Type="http://schemas.openxmlformats.org/officeDocument/2006/relationships/slideLayout" Target="../slideLayouts/slideLayout405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5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6.xml"/><Relationship Id="rId18" Type="http://schemas.openxmlformats.org/officeDocument/2006/relationships/slideLayout" Target="../slideLayouts/slideLayout111.xml"/><Relationship Id="rId26" Type="http://schemas.openxmlformats.org/officeDocument/2006/relationships/slideLayout" Target="../slideLayouts/slideLayout119.xml"/><Relationship Id="rId39" Type="http://schemas.openxmlformats.org/officeDocument/2006/relationships/slideLayout" Target="../slideLayouts/slideLayout132.xml"/><Relationship Id="rId21" Type="http://schemas.openxmlformats.org/officeDocument/2006/relationships/slideLayout" Target="../slideLayouts/slideLayout114.xml"/><Relationship Id="rId34" Type="http://schemas.openxmlformats.org/officeDocument/2006/relationships/slideLayout" Target="../slideLayouts/slideLayout127.xml"/><Relationship Id="rId42" Type="http://schemas.openxmlformats.org/officeDocument/2006/relationships/slideLayout" Target="../slideLayouts/slideLayout135.xml"/><Relationship Id="rId47" Type="http://schemas.openxmlformats.org/officeDocument/2006/relationships/slideLayout" Target="../slideLayouts/slideLayout140.xml"/><Relationship Id="rId50" Type="http://schemas.openxmlformats.org/officeDocument/2006/relationships/slideLayout" Target="../slideLayouts/slideLayout143.xml"/><Relationship Id="rId55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slideLayout" Target="../slideLayouts/slideLayout110.xml"/><Relationship Id="rId25" Type="http://schemas.openxmlformats.org/officeDocument/2006/relationships/slideLayout" Target="../slideLayouts/slideLayout118.xml"/><Relationship Id="rId33" Type="http://schemas.openxmlformats.org/officeDocument/2006/relationships/slideLayout" Target="../slideLayouts/slideLayout126.xml"/><Relationship Id="rId38" Type="http://schemas.openxmlformats.org/officeDocument/2006/relationships/slideLayout" Target="../slideLayouts/slideLayout131.xml"/><Relationship Id="rId46" Type="http://schemas.openxmlformats.org/officeDocument/2006/relationships/slideLayout" Target="../slideLayouts/slideLayout139.xml"/><Relationship Id="rId59" Type="http://schemas.openxmlformats.org/officeDocument/2006/relationships/theme" Target="../theme/theme7.xml"/><Relationship Id="rId2" Type="http://schemas.openxmlformats.org/officeDocument/2006/relationships/slideLayout" Target="../slideLayouts/slideLayout95.xml"/><Relationship Id="rId16" Type="http://schemas.openxmlformats.org/officeDocument/2006/relationships/slideLayout" Target="../slideLayouts/slideLayout109.xml"/><Relationship Id="rId20" Type="http://schemas.openxmlformats.org/officeDocument/2006/relationships/slideLayout" Target="../slideLayouts/slideLayout113.xml"/><Relationship Id="rId29" Type="http://schemas.openxmlformats.org/officeDocument/2006/relationships/slideLayout" Target="../slideLayouts/slideLayout122.xml"/><Relationship Id="rId41" Type="http://schemas.openxmlformats.org/officeDocument/2006/relationships/slideLayout" Target="../slideLayouts/slideLayout134.xml"/><Relationship Id="rId54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24" Type="http://schemas.openxmlformats.org/officeDocument/2006/relationships/slideLayout" Target="../slideLayouts/slideLayout117.xml"/><Relationship Id="rId32" Type="http://schemas.openxmlformats.org/officeDocument/2006/relationships/slideLayout" Target="../slideLayouts/slideLayout125.xml"/><Relationship Id="rId37" Type="http://schemas.openxmlformats.org/officeDocument/2006/relationships/slideLayout" Target="../slideLayouts/slideLayout130.xml"/><Relationship Id="rId40" Type="http://schemas.openxmlformats.org/officeDocument/2006/relationships/slideLayout" Target="../slideLayouts/slideLayout133.xml"/><Relationship Id="rId45" Type="http://schemas.openxmlformats.org/officeDocument/2006/relationships/slideLayout" Target="../slideLayouts/slideLayout138.xml"/><Relationship Id="rId53" Type="http://schemas.openxmlformats.org/officeDocument/2006/relationships/slideLayout" Target="../slideLayouts/slideLayout146.xml"/><Relationship Id="rId58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23" Type="http://schemas.openxmlformats.org/officeDocument/2006/relationships/slideLayout" Target="../slideLayouts/slideLayout116.xml"/><Relationship Id="rId28" Type="http://schemas.openxmlformats.org/officeDocument/2006/relationships/slideLayout" Target="../slideLayouts/slideLayout121.xml"/><Relationship Id="rId36" Type="http://schemas.openxmlformats.org/officeDocument/2006/relationships/slideLayout" Target="../slideLayouts/slideLayout129.xml"/><Relationship Id="rId49" Type="http://schemas.openxmlformats.org/officeDocument/2006/relationships/slideLayout" Target="../slideLayouts/slideLayout142.xml"/><Relationship Id="rId57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03.xml"/><Relationship Id="rId19" Type="http://schemas.openxmlformats.org/officeDocument/2006/relationships/slideLayout" Target="../slideLayouts/slideLayout112.xml"/><Relationship Id="rId31" Type="http://schemas.openxmlformats.org/officeDocument/2006/relationships/slideLayout" Target="../slideLayouts/slideLayout124.xml"/><Relationship Id="rId44" Type="http://schemas.openxmlformats.org/officeDocument/2006/relationships/slideLayout" Target="../slideLayouts/slideLayout137.xml"/><Relationship Id="rId52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Relationship Id="rId22" Type="http://schemas.openxmlformats.org/officeDocument/2006/relationships/slideLayout" Target="../slideLayouts/slideLayout115.xml"/><Relationship Id="rId27" Type="http://schemas.openxmlformats.org/officeDocument/2006/relationships/slideLayout" Target="../slideLayouts/slideLayout120.xml"/><Relationship Id="rId30" Type="http://schemas.openxmlformats.org/officeDocument/2006/relationships/slideLayout" Target="../slideLayouts/slideLayout123.xml"/><Relationship Id="rId35" Type="http://schemas.openxmlformats.org/officeDocument/2006/relationships/slideLayout" Target="../slideLayouts/slideLayout128.xml"/><Relationship Id="rId43" Type="http://schemas.openxmlformats.org/officeDocument/2006/relationships/slideLayout" Target="../slideLayouts/slideLayout136.xml"/><Relationship Id="rId48" Type="http://schemas.openxmlformats.org/officeDocument/2006/relationships/slideLayout" Target="../slideLayouts/slideLayout141.xml"/><Relationship Id="rId56" Type="http://schemas.openxmlformats.org/officeDocument/2006/relationships/slideLayout" Target="../slideLayouts/slideLayout149.xml"/><Relationship Id="rId8" Type="http://schemas.openxmlformats.org/officeDocument/2006/relationships/slideLayout" Target="../slideLayouts/slideLayout101.xml"/><Relationship Id="rId51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96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4.xml"/><Relationship Id="rId18" Type="http://schemas.openxmlformats.org/officeDocument/2006/relationships/slideLayout" Target="../slideLayouts/slideLayout169.xml"/><Relationship Id="rId26" Type="http://schemas.openxmlformats.org/officeDocument/2006/relationships/slideLayout" Target="../slideLayouts/slideLayout177.xml"/><Relationship Id="rId39" Type="http://schemas.openxmlformats.org/officeDocument/2006/relationships/slideLayout" Target="../slideLayouts/slideLayout190.xml"/><Relationship Id="rId21" Type="http://schemas.openxmlformats.org/officeDocument/2006/relationships/slideLayout" Target="../slideLayouts/slideLayout172.xml"/><Relationship Id="rId34" Type="http://schemas.openxmlformats.org/officeDocument/2006/relationships/slideLayout" Target="../slideLayouts/slideLayout185.xml"/><Relationship Id="rId42" Type="http://schemas.openxmlformats.org/officeDocument/2006/relationships/slideLayout" Target="../slideLayouts/slideLayout193.xml"/><Relationship Id="rId47" Type="http://schemas.openxmlformats.org/officeDocument/2006/relationships/slideLayout" Target="../slideLayouts/slideLayout198.xml"/><Relationship Id="rId50" Type="http://schemas.openxmlformats.org/officeDocument/2006/relationships/slideLayout" Target="../slideLayouts/slideLayout201.xml"/><Relationship Id="rId55" Type="http://schemas.openxmlformats.org/officeDocument/2006/relationships/slideLayout" Target="../slideLayouts/slideLayout206.xml"/><Relationship Id="rId63" Type="http://schemas.openxmlformats.org/officeDocument/2006/relationships/image" Target="../media/image1.emf"/><Relationship Id="rId7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53.xml"/><Relationship Id="rId16" Type="http://schemas.openxmlformats.org/officeDocument/2006/relationships/slideLayout" Target="../slideLayouts/slideLayout167.xml"/><Relationship Id="rId20" Type="http://schemas.openxmlformats.org/officeDocument/2006/relationships/slideLayout" Target="../slideLayouts/slideLayout171.xml"/><Relationship Id="rId29" Type="http://schemas.openxmlformats.org/officeDocument/2006/relationships/slideLayout" Target="../slideLayouts/slideLayout180.xml"/><Relationship Id="rId41" Type="http://schemas.openxmlformats.org/officeDocument/2006/relationships/slideLayout" Target="../slideLayouts/slideLayout192.xml"/><Relationship Id="rId54" Type="http://schemas.openxmlformats.org/officeDocument/2006/relationships/slideLayout" Target="../slideLayouts/slideLayout205.xml"/><Relationship Id="rId62" Type="http://schemas.openxmlformats.org/officeDocument/2006/relationships/oleObject" Target="../embeddings/oleObject2.bin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24" Type="http://schemas.openxmlformats.org/officeDocument/2006/relationships/slideLayout" Target="../slideLayouts/slideLayout175.xml"/><Relationship Id="rId32" Type="http://schemas.openxmlformats.org/officeDocument/2006/relationships/slideLayout" Target="../slideLayouts/slideLayout183.xml"/><Relationship Id="rId37" Type="http://schemas.openxmlformats.org/officeDocument/2006/relationships/slideLayout" Target="../slideLayouts/slideLayout188.xml"/><Relationship Id="rId40" Type="http://schemas.openxmlformats.org/officeDocument/2006/relationships/slideLayout" Target="../slideLayouts/slideLayout191.xml"/><Relationship Id="rId45" Type="http://schemas.openxmlformats.org/officeDocument/2006/relationships/slideLayout" Target="../slideLayouts/slideLayout196.xml"/><Relationship Id="rId53" Type="http://schemas.openxmlformats.org/officeDocument/2006/relationships/slideLayout" Target="../slideLayouts/slideLayout204.xml"/><Relationship Id="rId58" Type="http://schemas.openxmlformats.org/officeDocument/2006/relationships/slideLayout" Target="../slideLayouts/slideLayout209.xml"/><Relationship Id="rId5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6.xml"/><Relationship Id="rId23" Type="http://schemas.openxmlformats.org/officeDocument/2006/relationships/slideLayout" Target="../slideLayouts/slideLayout174.xml"/><Relationship Id="rId28" Type="http://schemas.openxmlformats.org/officeDocument/2006/relationships/slideLayout" Target="../slideLayouts/slideLayout179.xml"/><Relationship Id="rId36" Type="http://schemas.openxmlformats.org/officeDocument/2006/relationships/slideLayout" Target="../slideLayouts/slideLayout187.xml"/><Relationship Id="rId49" Type="http://schemas.openxmlformats.org/officeDocument/2006/relationships/slideLayout" Target="../slideLayouts/slideLayout200.xml"/><Relationship Id="rId57" Type="http://schemas.openxmlformats.org/officeDocument/2006/relationships/slideLayout" Target="../slideLayouts/slideLayout208.xml"/><Relationship Id="rId61" Type="http://schemas.openxmlformats.org/officeDocument/2006/relationships/tags" Target="../tags/tag2.xml"/><Relationship Id="rId10" Type="http://schemas.openxmlformats.org/officeDocument/2006/relationships/slideLayout" Target="../slideLayouts/slideLayout161.xml"/><Relationship Id="rId19" Type="http://schemas.openxmlformats.org/officeDocument/2006/relationships/slideLayout" Target="../slideLayouts/slideLayout170.xml"/><Relationship Id="rId31" Type="http://schemas.openxmlformats.org/officeDocument/2006/relationships/slideLayout" Target="../slideLayouts/slideLayout182.xml"/><Relationship Id="rId44" Type="http://schemas.openxmlformats.org/officeDocument/2006/relationships/slideLayout" Target="../slideLayouts/slideLayout195.xml"/><Relationship Id="rId52" Type="http://schemas.openxmlformats.org/officeDocument/2006/relationships/slideLayout" Target="../slideLayouts/slideLayout203.xml"/><Relationship Id="rId60" Type="http://schemas.openxmlformats.org/officeDocument/2006/relationships/theme" Target="../theme/theme8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Relationship Id="rId22" Type="http://schemas.openxmlformats.org/officeDocument/2006/relationships/slideLayout" Target="../slideLayouts/slideLayout173.xml"/><Relationship Id="rId27" Type="http://schemas.openxmlformats.org/officeDocument/2006/relationships/slideLayout" Target="../slideLayouts/slideLayout178.xml"/><Relationship Id="rId30" Type="http://schemas.openxmlformats.org/officeDocument/2006/relationships/slideLayout" Target="../slideLayouts/slideLayout181.xml"/><Relationship Id="rId35" Type="http://schemas.openxmlformats.org/officeDocument/2006/relationships/slideLayout" Target="../slideLayouts/slideLayout186.xml"/><Relationship Id="rId43" Type="http://schemas.openxmlformats.org/officeDocument/2006/relationships/slideLayout" Target="../slideLayouts/slideLayout194.xml"/><Relationship Id="rId48" Type="http://schemas.openxmlformats.org/officeDocument/2006/relationships/slideLayout" Target="../slideLayouts/slideLayout199.xml"/><Relationship Id="rId56" Type="http://schemas.openxmlformats.org/officeDocument/2006/relationships/slideLayout" Target="../slideLayouts/slideLayout207.xml"/><Relationship Id="rId8" Type="http://schemas.openxmlformats.org/officeDocument/2006/relationships/slideLayout" Target="../slideLayouts/slideLayout159.xml"/><Relationship Id="rId51" Type="http://schemas.openxmlformats.org/officeDocument/2006/relationships/slideLayout" Target="../slideLayouts/slideLayout202.xml"/><Relationship Id="rId3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63.xml"/><Relationship Id="rId17" Type="http://schemas.openxmlformats.org/officeDocument/2006/relationships/slideLayout" Target="../slideLayouts/slideLayout168.xml"/><Relationship Id="rId25" Type="http://schemas.openxmlformats.org/officeDocument/2006/relationships/slideLayout" Target="../slideLayouts/slideLayout176.xml"/><Relationship Id="rId33" Type="http://schemas.openxmlformats.org/officeDocument/2006/relationships/slideLayout" Target="../slideLayouts/slideLayout184.xml"/><Relationship Id="rId38" Type="http://schemas.openxmlformats.org/officeDocument/2006/relationships/slideLayout" Target="../slideLayouts/slideLayout189.xml"/><Relationship Id="rId46" Type="http://schemas.openxmlformats.org/officeDocument/2006/relationships/slideLayout" Target="../slideLayouts/slideLayout197.xml"/><Relationship Id="rId59" Type="http://schemas.openxmlformats.org/officeDocument/2006/relationships/slideLayout" Target="../slideLayouts/slideLayout210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3.xml"/><Relationship Id="rId18" Type="http://schemas.openxmlformats.org/officeDocument/2006/relationships/slideLayout" Target="../slideLayouts/slideLayout228.xml"/><Relationship Id="rId26" Type="http://schemas.openxmlformats.org/officeDocument/2006/relationships/slideLayout" Target="../slideLayouts/slideLayout236.xml"/><Relationship Id="rId39" Type="http://schemas.openxmlformats.org/officeDocument/2006/relationships/slideLayout" Target="../slideLayouts/slideLayout249.xml"/><Relationship Id="rId21" Type="http://schemas.openxmlformats.org/officeDocument/2006/relationships/slideLayout" Target="../slideLayouts/slideLayout231.xml"/><Relationship Id="rId34" Type="http://schemas.openxmlformats.org/officeDocument/2006/relationships/slideLayout" Target="../slideLayouts/slideLayout244.xml"/><Relationship Id="rId42" Type="http://schemas.openxmlformats.org/officeDocument/2006/relationships/slideLayout" Target="../slideLayouts/slideLayout252.xml"/><Relationship Id="rId47" Type="http://schemas.openxmlformats.org/officeDocument/2006/relationships/slideLayout" Target="../slideLayouts/slideLayout257.xml"/><Relationship Id="rId50" Type="http://schemas.openxmlformats.org/officeDocument/2006/relationships/slideLayout" Target="../slideLayouts/slideLayout260.xml"/><Relationship Id="rId55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17.xml"/><Relationship Id="rId12" Type="http://schemas.openxmlformats.org/officeDocument/2006/relationships/slideLayout" Target="../slideLayouts/slideLayout222.xml"/><Relationship Id="rId17" Type="http://schemas.openxmlformats.org/officeDocument/2006/relationships/slideLayout" Target="../slideLayouts/slideLayout227.xml"/><Relationship Id="rId25" Type="http://schemas.openxmlformats.org/officeDocument/2006/relationships/slideLayout" Target="../slideLayouts/slideLayout235.xml"/><Relationship Id="rId33" Type="http://schemas.openxmlformats.org/officeDocument/2006/relationships/slideLayout" Target="../slideLayouts/slideLayout243.xml"/><Relationship Id="rId38" Type="http://schemas.openxmlformats.org/officeDocument/2006/relationships/slideLayout" Target="../slideLayouts/slideLayout248.xml"/><Relationship Id="rId46" Type="http://schemas.openxmlformats.org/officeDocument/2006/relationships/slideLayout" Target="../slideLayouts/slideLayout256.xml"/><Relationship Id="rId59" Type="http://schemas.openxmlformats.org/officeDocument/2006/relationships/theme" Target="../theme/theme9.xml"/><Relationship Id="rId2" Type="http://schemas.openxmlformats.org/officeDocument/2006/relationships/slideLayout" Target="../slideLayouts/slideLayout212.xml"/><Relationship Id="rId16" Type="http://schemas.openxmlformats.org/officeDocument/2006/relationships/slideLayout" Target="../slideLayouts/slideLayout226.xml"/><Relationship Id="rId20" Type="http://schemas.openxmlformats.org/officeDocument/2006/relationships/slideLayout" Target="../slideLayouts/slideLayout230.xml"/><Relationship Id="rId29" Type="http://schemas.openxmlformats.org/officeDocument/2006/relationships/slideLayout" Target="../slideLayouts/slideLayout239.xml"/><Relationship Id="rId41" Type="http://schemas.openxmlformats.org/officeDocument/2006/relationships/slideLayout" Target="../slideLayouts/slideLayout251.xml"/><Relationship Id="rId54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24" Type="http://schemas.openxmlformats.org/officeDocument/2006/relationships/slideLayout" Target="../slideLayouts/slideLayout234.xml"/><Relationship Id="rId32" Type="http://schemas.openxmlformats.org/officeDocument/2006/relationships/slideLayout" Target="../slideLayouts/slideLayout242.xml"/><Relationship Id="rId37" Type="http://schemas.openxmlformats.org/officeDocument/2006/relationships/slideLayout" Target="../slideLayouts/slideLayout247.xml"/><Relationship Id="rId40" Type="http://schemas.openxmlformats.org/officeDocument/2006/relationships/slideLayout" Target="../slideLayouts/slideLayout250.xml"/><Relationship Id="rId45" Type="http://schemas.openxmlformats.org/officeDocument/2006/relationships/slideLayout" Target="../slideLayouts/slideLayout255.xml"/><Relationship Id="rId53" Type="http://schemas.openxmlformats.org/officeDocument/2006/relationships/slideLayout" Target="../slideLayouts/slideLayout263.xml"/><Relationship Id="rId58" Type="http://schemas.openxmlformats.org/officeDocument/2006/relationships/slideLayout" Target="../slideLayouts/slideLayout268.xml"/><Relationship Id="rId5" Type="http://schemas.openxmlformats.org/officeDocument/2006/relationships/slideLayout" Target="../slideLayouts/slideLayout215.xml"/><Relationship Id="rId15" Type="http://schemas.openxmlformats.org/officeDocument/2006/relationships/slideLayout" Target="../slideLayouts/slideLayout225.xml"/><Relationship Id="rId23" Type="http://schemas.openxmlformats.org/officeDocument/2006/relationships/slideLayout" Target="../slideLayouts/slideLayout233.xml"/><Relationship Id="rId28" Type="http://schemas.openxmlformats.org/officeDocument/2006/relationships/slideLayout" Target="../slideLayouts/slideLayout238.xml"/><Relationship Id="rId36" Type="http://schemas.openxmlformats.org/officeDocument/2006/relationships/slideLayout" Target="../slideLayouts/slideLayout246.xml"/><Relationship Id="rId49" Type="http://schemas.openxmlformats.org/officeDocument/2006/relationships/slideLayout" Target="../slideLayouts/slideLayout259.xml"/><Relationship Id="rId57" Type="http://schemas.openxmlformats.org/officeDocument/2006/relationships/slideLayout" Target="../slideLayouts/slideLayout267.xml"/><Relationship Id="rId10" Type="http://schemas.openxmlformats.org/officeDocument/2006/relationships/slideLayout" Target="../slideLayouts/slideLayout220.xml"/><Relationship Id="rId19" Type="http://schemas.openxmlformats.org/officeDocument/2006/relationships/slideLayout" Target="../slideLayouts/slideLayout229.xml"/><Relationship Id="rId31" Type="http://schemas.openxmlformats.org/officeDocument/2006/relationships/slideLayout" Target="../slideLayouts/slideLayout241.xml"/><Relationship Id="rId44" Type="http://schemas.openxmlformats.org/officeDocument/2006/relationships/slideLayout" Target="../slideLayouts/slideLayout254.xml"/><Relationship Id="rId52" Type="http://schemas.openxmlformats.org/officeDocument/2006/relationships/slideLayout" Target="../slideLayouts/slideLayout262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slideLayout" Target="../slideLayouts/slideLayout224.xml"/><Relationship Id="rId22" Type="http://schemas.openxmlformats.org/officeDocument/2006/relationships/slideLayout" Target="../slideLayouts/slideLayout232.xml"/><Relationship Id="rId27" Type="http://schemas.openxmlformats.org/officeDocument/2006/relationships/slideLayout" Target="../slideLayouts/slideLayout237.xml"/><Relationship Id="rId30" Type="http://schemas.openxmlformats.org/officeDocument/2006/relationships/slideLayout" Target="../slideLayouts/slideLayout240.xml"/><Relationship Id="rId35" Type="http://schemas.openxmlformats.org/officeDocument/2006/relationships/slideLayout" Target="../slideLayouts/slideLayout245.xml"/><Relationship Id="rId43" Type="http://schemas.openxmlformats.org/officeDocument/2006/relationships/slideLayout" Target="../slideLayouts/slideLayout253.xml"/><Relationship Id="rId48" Type="http://schemas.openxmlformats.org/officeDocument/2006/relationships/slideLayout" Target="../slideLayouts/slideLayout258.xml"/><Relationship Id="rId56" Type="http://schemas.openxmlformats.org/officeDocument/2006/relationships/slideLayout" Target="../slideLayouts/slideLayout266.xml"/><Relationship Id="rId8" Type="http://schemas.openxmlformats.org/officeDocument/2006/relationships/slideLayout" Target="../slideLayouts/slideLayout218.xml"/><Relationship Id="rId51" Type="http://schemas.openxmlformats.org/officeDocument/2006/relationships/slideLayout" Target="../slideLayouts/slideLayout261.xml"/><Relationship Id="rId3" Type="http://schemas.openxmlformats.org/officeDocument/2006/relationships/slideLayout" Target="../slideLayouts/slideLayout2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331B2C1-3B15-42B9-8ED1-DE8B7E416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quez pour modifier le style du titre princip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0F2E38-8766-443A-A5BC-BE18BA091A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quez pour modifier les styles de texte du Master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52D02B-D673-472D-AB19-6CC1B1A8BA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B12984-CCA6-40C2-A876-382B8C68BCC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348015-350E-4B21-8A1D-110192FD93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7DA600-060E-4D27-BCA7-ABBC3F77F9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6B2428-E456-463D-9B39-0CE3462EA6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040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9D9051C-C807-46F9-8511-7BA810EF2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7"/>
            <a:ext cx="5693037" cy="414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quez pour modifier le style du titre principal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925905-8E0F-4E1F-969B-102428583B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7638" y="1551583"/>
            <a:ext cx="10775825" cy="15642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quez pour modifier les styles de texte du Master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E7121D-1697-409F-80BF-51B7EAFBB2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28">
                <a:solidFill>
                  <a:schemeClr val="tx1">
                    <a:tint val="75000"/>
                  </a:schemeClr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/>
              <a:t>Rapport du directeur de l'IVB à SAG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226665-F903-468B-9EDC-63D86E71F6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93993" y="6482886"/>
            <a:ext cx="897196" cy="1119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728">
                <a:solidFill>
                  <a:schemeClr val="tx1">
                    <a:tint val="75000"/>
                  </a:schemeClr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0421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40" r:id="rId2"/>
    <p:sldLayoutId id="2147484041" r:id="rId3"/>
    <p:sldLayoutId id="2147484042" r:id="rId4"/>
    <p:sldLayoutId id="2147484043" r:id="rId5"/>
    <p:sldLayoutId id="2147484044" r:id="rId6"/>
    <p:sldLayoutId id="2147484045" r:id="rId7"/>
    <p:sldLayoutId id="2147484046" r:id="rId8"/>
    <p:sldLayoutId id="2147484047" r:id="rId9"/>
    <p:sldLayoutId id="2147484048" r:id="rId10"/>
    <p:sldLayoutId id="2147484049" r:id="rId11"/>
    <p:sldLayoutId id="2147484050" r:id="rId12"/>
    <p:sldLayoutId id="2147484051" r:id="rId13"/>
    <p:sldLayoutId id="2147484052" r:id="rId14"/>
    <p:sldLayoutId id="2147484053" r:id="rId15"/>
    <p:sldLayoutId id="2147484054" r:id="rId16"/>
    <p:sldLayoutId id="2147484055" r:id="rId17"/>
    <p:sldLayoutId id="2147484056" r:id="rId18"/>
    <p:sldLayoutId id="2147484057" r:id="rId19"/>
    <p:sldLayoutId id="2147484058" r:id="rId20"/>
    <p:sldLayoutId id="2147484059" r:id="rId21"/>
    <p:sldLayoutId id="2147484060" r:id="rId22"/>
    <p:sldLayoutId id="2147484061" r:id="rId23"/>
    <p:sldLayoutId id="2147484062" r:id="rId24"/>
    <p:sldLayoutId id="2147484063" r:id="rId25"/>
    <p:sldLayoutId id="2147484064" r:id="rId26"/>
    <p:sldLayoutId id="2147484065" r:id="rId27"/>
    <p:sldLayoutId id="2147484066" r:id="rId28"/>
    <p:sldLayoutId id="2147484067" r:id="rId29"/>
    <p:sldLayoutId id="2147484068" r:id="rId30"/>
    <p:sldLayoutId id="2147484069" r:id="rId31"/>
    <p:sldLayoutId id="2147484070" r:id="rId32"/>
    <p:sldLayoutId id="2147484071" r:id="rId33"/>
    <p:sldLayoutId id="2147484072" r:id="rId34"/>
    <p:sldLayoutId id="2147484073" r:id="rId35"/>
    <p:sldLayoutId id="2147484074" r:id="rId36"/>
    <p:sldLayoutId id="2147484075" r:id="rId37"/>
    <p:sldLayoutId id="2147484076" r:id="rId38"/>
    <p:sldLayoutId id="2147484077" r:id="rId39"/>
    <p:sldLayoutId id="2147484078" r:id="rId40"/>
    <p:sldLayoutId id="2147484079" r:id="rId41"/>
    <p:sldLayoutId id="2147484080" r:id="rId42"/>
    <p:sldLayoutId id="2147484081" r:id="rId43"/>
    <p:sldLayoutId id="2147484082" r:id="rId44"/>
    <p:sldLayoutId id="2147484083" r:id="rId45"/>
    <p:sldLayoutId id="2147484084" r:id="rId46"/>
    <p:sldLayoutId id="2147484085" r:id="rId47"/>
    <p:sldLayoutId id="2147484086" r:id="rId48"/>
    <p:sldLayoutId id="2147484087" r:id="rId49"/>
    <p:sldLayoutId id="2147484088" r:id="rId50"/>
    <p:sldLayoutId id="2147484089" r:id="rId51"/>
    <p:sldLayoutId id="2147484090" r:id="rId52"/>
    <p:sldLayoutId id="2147484091" r:id="rId53"/>
    <p:sldLayoutId id="2147484092" r:id="rId54"/>
    <p:sldLayoutId id="2147484093" r:id="rId55"/>
    <p:sldLayoutId id="2147484094" r:id="rId56"/>
    <p:sldLayoutId id="2147484095" r:id="rId57"/>
    <p:sldLayoutId id="2147484096" r:id="rId58"/>
    <p:sldLayoutId id="2147484097" r:id="rId5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hf hdr="0" dt="0"/>
  <p:txStyles>
    <p:titleStyle>
      <a:lvl1pPr algn="l" defTabSz="554492" rtl="0" eaLnBrk="1" latinLnBrk="0" hangingPunct="1">
        <a:lnSpc>
          <a:spcPct val="90000"/>
        </a:lnSpc>
        <a:spcBef>
          <a:spcPct val="0"/>
        </a:spcBef>
        <a:buNone/>
        <a:defRPr sz="2911" b="1" i="0" kern="1200">
          <a:solidFill>
            <a:schemeClr val="tx1"/>
          </a:solidFill>
          <a:latin typeface="Poppins SemiBold" pitchFamily="2" charset="77"/>
          <a:ea typeface="Roboto" panose="02000000000000000000" pitchFamily="2" charset="0"/>
          <a:cs typeface="Poppins SemiBold" pitchFamily="2" charset="77"/>
        </a:defRPr>
      </a:lvl1pPr>
    </p:titleStyle>
    <p:bodyStyle>
      <a:lvl1pPr marL="0" indent="0" algn="l" defTabSz="554492" rtl="0" eaLnBrk="1" latinLnBrk="0" hangingPunct="1">
        <a:lnSpc>
          <a:spcPct val="120000"/>
        </a:lnSpc>
        <a:spcBef>
          <a:spcPts val="606"/>
        </a:spcBef>
        <a:spcAft>
          <a:spcPts val="728"/>
        </a:spcAft>
        <a:buSzPct val="75000"/>
        <a:buFontTx/>
        <a:buNone/>
        <a:defRPr sz="1455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1pPr>
      <a:lvl2pPr marL="480269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1213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2pPr>
      <a:lvl3pPr marL="698573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1092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3pPr>
      <a:lvl4pPr marL="916877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970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4pPr>
      <a:lvl5pPr marL="1135181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970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5pPr>
      <a:lvl6pPr marL="1524853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802100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2079346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356592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1pPr>
      <a:lvl2pPr marL="27724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2pPr>
      <a:lvl3pPr marL="554492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3pPr>
      <a:lvl4pPr marL="831738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4pPr>
      <a:lvl5pPr marL="1108984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5pPr>
      <a:lvl6pPr marL="138623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66347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1940723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217969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1D1D1D"/>
          </p15:clr>
        </p15:guide>
        <p15:guide id="2" pos="12664">
          <p15:clr>
            <a:srgbClr val="1D1D1D"/>
          </p15:clr>
        </p15:guide>
        <p15:guide id="3" pos="600">
          <p15:clr>
            <a:srgbClr val="1D1D1D"/>
          </p15:clr>
        </p15:guide>
        <p15:guide id="4" pos="1555">
          <p15:clr>
            <a:srgbClr val="1D1D1D"/>
          </p15:clr>
        </p15:guide>
        <p15:guide id="5" pos="2510">
          <p15:clr>
            <a:srgbClr val="1D1D1D"/>
          </p15:clr>
        </p15:guide>
        <p15:guide id="6" pos="3466">
          <p15:clr>
            <a:srgbClr val="1D1D1D"/>
          </p15:clr>
        </p15:guide>
        <p15:guide id="7" pos="4421">
          <p15:clr>
            <a:srgbClr val="1D1D1D"/>
          </p15:clr>
        </p15:guide>
        <p15:guide id="8" pos="5376">
          <p15:clr>
            <a:srgbClr val="1D1D1D"/>
          </p15:clr>
        </p15:guide>
        <p15:guide id="9" pos="6332">
          <p15:clr>
            <a:srgbClr val="1D1D1D"/>
          </p15:clr>
        </p15:guide>
        <p15:guide id="10" pos="7287">
          <p15:clr>
            <a:srgbClr val="1D1D1D"/>
          </p15:clr>
        </p15:guide>
        <p15:guide id="11" pos="8242">
          <p15:clr>
            <a:srgbClr val="1D1D1D"/>
          </p15:clr>
        </p15:guide>
        <p15:guide id="12" pos="9198">
          <p15:clr>
            <a:srgbClr val="1D1D1D"/>
          </p15:clr>
        </p15:guide>
        <p15:guide id="13" pos="10153">
          <p15:clr>
            <a:srgbClr val="1D1D1D"/>
          </p15:clr>
        </p15:guide>
        <p15:guide id="14" pos="11108">
          <p15:clr>
            <a:srgbClr val="1D1D1D"/>
          </p15:clr>
        </p15:guide>
        <p15:guide id="15" pos="12064">
          <p15:clr>
            <a:srgbClr val="1D1D1D"/>
          </p15:clr>
        </p15:guide>
        <p15:guide id="16" orient="horz">
          <p15:clr>
            <a:srgbClr val="1D1D1D"/>
          </p15:clr>
        </p15:guide>
        <p15:guide id="17" orient="horz" pos="7124">
          <p15:clr>
            <a:srgbClr val="1D1D1D"/>
          </p15:clr>
        </p15:guide>
        <p15:guide id="18" orient="horz" pos="600">
          <p15:clr>
            <a:srgbClr val="1D1D1D"/>
          </p15:clr>
        </p15:guide>
        <p15:guide id="19" orient="horz" pos="3562">
          <p15:clr>
            <a:srgbClr val="1D1D1D"/>
          </p15:clr>
        </p15:guide>
        <p15:guide id="20" orient="horz" pos="6524">
          <p15:clr>
            <a:srgbClr val="1D1D1D"/>
          </p15:clr>
        </p15:guide>
        <p15:guide id="21" pos="6786">
          <p15:clr>
            <a:srgbClr val="1D1D1D"/>
          </p15:clr>
        </p15:guide>
        <p15:guide id="22" pos="5878">
          <p15:clr>
            <a:srgbClr val="1D1D1D"/>
          </p15:clr>
        </p15:guide>
        <p15:guide id="23" orient="horz" pos="3018">
          <p15:clr>
            <a:srgbClr val="1D1D1D"/>
          </p15:clr>
        </p15:guide>
        <p15:guide id="24" orient="horz" pos="6646">
          <p15:clr>
            <a:srgbClr val="1D1D1D"/>
          </p15:clr>
        </p15:guide>
        <p15:guide id="25" orient="horz" pos="2836">
          <p15:clr>
            <a:srgbClr val="1D1D1D"/>
          </p15:clr>
        </p15:guide>
        <p15:guide id="26" orient="horz" pos="6283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DC7B4F3-32A8-3305-1033-19E1C40CDB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6"/>
            </p:custDataLst>
            <p:extLst>
              <p:ext uri="{D42A27DB-BD31-4B8C-83A1-F6EECF244321}">
                <p14:modId xmlns:p14="http://schemas.microsoft.com/office/powerpoint/2010/main" val="4112844536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7" imgW="415" imgH="416" progId="TCLayout.ActiveDocument.1">
                  <p:embed/>
                </p:oleObj>
              </mc:Choice>
              <mc:Fallback>
                <p:oleObj name="think-cell Slide" r:id="rId67" imgW="415" imgH="4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DC7B4F3-32A8-3305-1033-19E1C40CDB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9D9051C-C807-46F9-8511-7BA810EF2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7"/>
            <a:ext cx="5693037" cy="414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/>
              <a:t>Cliquez pour modifier le style du titre princip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925905-8E0F-4E1F-969B-102428583B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7638" y="1551583"/>
            <a:ext cx="10775825" cy="15642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quez pour modifier les styles de texte du Master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226665-F903-468B-9EDC-63D86E71F6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93993" y="6482886"/>
            <a:ext cx="897196" cy="1119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728">
                <a:solidFill>
                  <a:schemeClr val="tx1">
                    <a:tint val="75000"/>
                  </a:schemeClr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4" name="Footer Placeholder 7">
            <a:extLst>
              <a:ext uri="{FF2B5EF4-FFF2-40B4-BE49-F238E27FC236}">
                <a16:creationId xmlns:a16="http://schemas.microsoft.com/office/drawing/2014/main" id="{FCDA0F15-BD23-42C2-5B37-8DFB5A668A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7638" y="6482886"/>
            <a:ext cx="7575715" cy="111982"/>
          </a:xfrm>
          <a:prstGeom prst="rect">
            <a:avLst/>
          </a:prstGeom>
        </p:spPr>
        <p:txBody>
          <a:bodyPr lIns="0" tIns="0" rIns="0" bIns="0"/>
          <a:lstStyle>
            <a:lvl1pPr>
              <a:defRPr sz="728">
                <a:solidFill>
                  <a:schemeClr val="tx2"/>
                </a:solidFill>
              </a:defRPr>
            </a:lvl1pPr>
          </a:lstStyle>
          <a:p>
            <a:r>
              <a:rPr lang="en-GB"/>
              <a:t>Réunion du groupe consultatif MI4A</a:t>
            </a:r>
          </a:p>
        </p:txBody>
      </p:sp>
    </p:spTree>
    <p:extLst>
      <p:ext uri="{BB962C8B-B14F-4D97-AF65-F5344CB8AC3E}">
        <p14:creationId xmlns:p14="http://schemas.microsoft.com/office/powerpoint/2010/main" val="4064405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9" r:id="rId1"/>
    <p:sldLayoutId id="2147484100" r:id="rId2"/>
    <p:sldLayoutId id="2147484101" r:id="rId3"/>
    <p:sldLayoutId id="2147484102" r:id="rId4"/>
    <p:sldLayoutId id="2147484103" r:id="rId5"/>
    <p:sldLayoutId id="2147484104" r:id="rId6"/>
    <p:sldLayoutId id="2147484105" r:id="rId7"/>
    <p:sldLayoutId id="2147484106" r:id="rId8"/>
    <p:sldLayoutId id="2147484107" r:id="rId9"/>
    <p:sldLayoutId id="2147484108" r:id="rId10"/>
    <p:sldLayoutId id="2147484109" r:id="rId11"/>
    <p:sldLayoutId id="2147484110" r:id="rId12"/>
    <p:sldLayoutId id="2147484111" r:id="rId13"/>
    <p:sldLayoutId id="2147484112" r:id="rId14"/>
    <p:sldLayoutId id="2147484113" r:id="rId15"/>
    <p:sldLayoutId id="2147484114" r:id="rId16"/>
    <p:sldLayoutId id="2147484115" r:id="rId17"/>
    <p:sldLayoutId id="2147484116" r:id="rId18"/>
    <p:sldLayoutId id="2147484117" r:id="rId19"/>
    <p:sldLayoutId id="2147484118" r:id="rId20"/>
    <p:sldLayoutId id="2147484119" r:id="rId21"/>
    <p:sldLayoutId id="2147484120" r:id="rId22"/>
    <p:sldLayoutId id="2147484121" r:id="rId23"/>
    <p:sldLayoutId id="2147484122" r:id="rId24"/>
    <p:sldLayoutId id="2147484123" r:id="rId25"/>
    <p:sldLayoutId id="2147484124" r:id="rId26"/>
    <p:sldLayoutId id="2147484125" r:id="rId27"/>
    <p:sldLayoutId id="2147484126" r:id="rId28"/>
    <p:sldLayoutId id="2147484127" r:id="rId29"/>
    <p:sldLayoutId id="2147484128" r:id="rId30"/>
    <p:sldLayoutId id="2147484129" r:id="rId31"/>
    <p:sldLayoutId id="2147484130" r:id="rId32"/>
    <p:sldLayoutId id="2147484131" r:id="rId33"/>
    <p:sldLayoutId id="2147484132" r:id="rId34"/>
    <p:sldLayoutId id="2147484133" r:id="rId35"/>
    <p:sldLayoutId id="2147484134" r:id="rId36"/>
    <p:sldLayoutId id="2147484135" r:id="rId37"/>
    <p:sldLayoutId id="2147484136" r:id="rId38"/>
    <p:sldLayoutId id="2147484137" r:id="rId39"/>
    <p:sldLayoutId id="2147484138" r:id="rId40"/>
    <p:sldLayoutId id="2147484139" r:id="rId41"/>
    <p:sldLayoutId id="2147484140" r:id="rId42"/>
    <p:sldLayoutId id="2147484141" r:id="rId43"/>
    <p:sldLayoutId id="2147484142" r:id="rId44"/>
    <p:sldLayoutId id="2147484143" r:id="rId45"/>
    <p:sldLayoutId id="2147484144" r:id="rId46"/>
    <p:sldLayoutId id="2147484145" r:id="rId47"/>
    <p:sldLayoutId id="2147484146" r:id="rId48"/>
    <p:sldLayoutId id="2147484147" r:id="rId49"/>
    <p:sldLayoutId id="2147484148" r:id="rId50"/>
    <p:sldLayoutId id="2147484149" r:id="rId51"/>
    <p:sldLayoutId id="2147484150" r:id="rId52"/>
    <p:sldLayoutId id="2147484151" r:id="rId53"/>
    <p:sldLayoutId id="2147484152" r:id="rId54"/>
    <p:sldLayoutId id="2147484153" r:id="rId55"/>
    <p:sldLayoutId id="2147484154" r:id="rId56"/>
    <p:sldLayoutId id="2147484155" r:id="rId57"/>
    <p:sldLayoutId id="2147484156" r:id="rId58"/>
    <p:sldLayoutId id="2147484157" r:id="rId59"/>
    <p:sldLayoutId id="2147484158" r:id="rId60"/>
    <p:sldLayoutId id="2147484159" r:id="rId61"/>
    <p:sldLayoutId id="2147484160" r:id="rId62"/>
    <p:sldLayoutId id="2147484161" r:id="rId63"/>
    <p:sldLayoutId id="2147484162" r:id="rId6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v="urn:schemas-microsoft-com:vml" xmlns:p15="http://schemas.microsoft.com/office/powerpoint/2012/main">
      <p:transition spd="med">
        <p:fade/>
      </p:transition>
    </mc:Fallback>
  </mc:AlternateContent>
  <p:hf hdr="0" dt="0"/>
  <p:txStyles>
    <p:titleStyle>
      <a:lvl1pPr algn="l" defTabSz="554492" rtl="0" eaLnBrk="1" latinLnBrk="0" hangingPunct="1">
        <a:lnSpc>
          <a:spcPct val="90000"/>
        </a:lnSpc>
        <a:spcBef>
          <a:spcPct val="0"/>
        </a:spcBef>
        <a:buNone/>
        <a:defRPr sz="2911" b="1" i="0" kern="1200">
          <a:solidFill>
            <a:schemeClr val="tx1"/>
          </a:solidFill>
          <a:latin typeface="Poppins SemiBold" pitchFamily="2" charset="77"/>
          <a:ea typeface="Roboto" panose="02000000000000000000" pitchFamily="2" charset="0"/>
          <a:cs typeface="Poppins SemiBold" pitchFamily="2" charset="77"/>
        </a:defRPr>
      </a:lvl1pPr>
    </p:titleStyle>
    <p:bodyStyle>
      <a:lvl1pPr marL="0" indent="0" algn="l" defTabSz="554492" rtl="0" eaLnBrk="1" latinLnBrk="0" hangingPunct="1">
        <a:lnSpc>
          <a:spcPct val="120000"/>
        </a:lnSpc>
        <a:spcBef>
          <a:spcPts val="606"/>
        </a:spcBef>
        <a:spcAft>
          <a:spcPts val="728"/>
        </a:spcAft>
        <a:buSzPct val="75000"/>
        <a:buFontTx/>
        <a:buNone/>
        <a:defRPr sz="1455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1pPr>
      <a:lvl2pPr marL="480269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1213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2pPr>
      <a:lvl3pPr marL="698573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1092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3pPr>
      <a:lvl4pPr marL="916877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970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4pPr>
      <a:lvl5pPr marL="1135181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970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5pPr>
      <a:lvl6pPr marL="1524853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802100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2079346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356592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1pPr>
      <a:lvl2pPr marL="27724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2pPr>
      <a:lvl3pPr marL="554492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3pPr>
      <a:lvl4pPr marL="831738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4pPr>
      <a:lvl5pPr marL="1108984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5pPr>
      <a:lvl6pPr marL="138623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66347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1940723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217969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1D1D1D"/>
          </p15:clr>
        </p15:guide>
        <p15:guide id="2" pos="12664">
          <p15:clr>
            <a:srgbClr val="1D1D1D"/>
          </p15:clr>
        </p15:guide>
        <p15:guide id="3" pos="600">
          <p15:clr>
            <a:srgbClr val="1D1D1D"/>
          </p15:clr>
        </p15:guide>
        <p15:guide id="4" pos="1555">
          <p15:clr>
            <a:srgbClr val="1D1D1D"/>
          </p15:clr>
        </p15:guide>
        <p15:guide id="5" pos="2510">
          <p15:clr>
            <a:srgbClr val="1D1D1D"/>
          </p15:clr>
        </p15:guide>
        <p15:guide id="6" pos="3466">
          <p15:clr>
            <a:srgbClr val="1D1D1D"/>
          </p15:clr>
        </p15:guide>
        <p15:guide id="7" pos="4421">
          <p15:clr>
            <a:srgbClr val="1D1D1D"/>
          </p15:clr>
        </p15:guide>
        <p15:guide id="8" pos="5376">
          <p15:clr>
            <a:srgbClr val="1D1D1D"/>
          </p15:clr>
        </p15:guide>
        <p15:guide id="9" pos="6332">
          <p15:clr>
            <a:srgbClr val="1D1D1D"/>
          </p15:clr>
        </p15:guide>
        <p15:guide id="10" pos="7287">
          <p15:clr>
            <a:srgbClr val="1D1D1D"/>
          </p15:clr>
        </p15:guide>
        <p15:guide id="11" pos="8242">
          <p15:clr>
            <a:srgbClr val="1D1D1D"/>
          </p15:clr>
        </p15:guide>
        <p15:guide id="12" pos="9198">
          <p15:clr>
            <a:srgbClr val="1D1D1D"/>
          </p15:clr>
        </p15:guide>
        <p15:guide id="13" pos="10153">
          <p15:clr>
            <a:srgbClr val="1D1D1D"/>
          </p15:clr>
        </p15:guide>
        <p15:guide id="14" pos="11108">
          <p15:clr>
            <a:srgbClr val="1D1D1D"/>
          </p15:clr>
        </p15:guide>
        <p15:guide id="15" pos="12064">
          <p15:clr>
            <a:srgbClr val="1D1D1D"/>
          </p15:clr>
        </p15:guide>
        <p15:guide id="16" orient="horz">
          <p15:clr>
            <a:srgbClr val="1D1D1D"/>
          </p15:clr>
        </p15:guide>
        <p15:guide id="17" orient="horz" pos="7124">
          <p15:clr>
            <a:srgbClr val="1D1D1D"/>
          </p15:clr>
        </p15:guide>
        <p15:guide id="18" orient="horz" pos="600">
          <p15:clr>
            <a:srgbClr val="1D1D1D"/>
          </p15:clr>
        </p15:guide>
        <p15:guide id="19" orient="horz" pos="3562">
          <p15:clr>
            <a:srgbClr val="1D1D1D"/>
          </p15:clr>
        </p15:guide>
        <p15:guide id="20" orient="horz" pos="6524">
          <p15:clr>
            <a:srgbClr val="1D1D1D"/>
          </p15:clr>
        </p15:guide>
        <p15:guide id="21" pos="6786">
          <p15:clr>
            <a:srgbClr val="1D1D1D"/>
          </p15:clr>
        </p15:guide>
        <p15:guide id="22" pos="5878">
          <p15:clr>
            <a:srgbClr val="1D1D1D"/>
          </p15:clr>
        </p15:guide>
        <p15:guide id="23" orient="horz" pos="3018">
          <p15:clr>
            <a:srgbClr val="1D1D1D"/>
          </p15:clr>
        </p15:guide>
        <p15:guide id="24" orient="horz" pos="6646">
          <p15:clr>
            <a:srgbClr val="1D1D1D"/>
          </p15:clr>
        </p15:guide>
        <p15:guide id="25" orient="horz" pos="2836">
          <p15:clr>
            <a:srgbClr val="1D1D1D"/>
          </p15:clr>
        </p15:guide>
        <p15:guide id="26" orient="horz" pos="6283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BDA5C6F-B6F6-2647-96E5-3D603AF9E1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quez pour modifier le style du titre princip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560A47-2E70-C44F-AF7E-315FBFE7E9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Modifier les styles du texte maîtr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FBFF62-7A66-7940-B6CF-715A19CB4B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19E6B0-C9BF-BE4F-BA66-C5458071D6A6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EF5BAD-3A33-EF42-ADDB-59AB66394E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1C16E7-8D41-424A-B0A0-267895BA3A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2029D7-BE6C-7A48-BA47-6667F4BE15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461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4" r:id="rId1"/>
    <p:sldLayoutId id="2147484165" r:id="rId2"/>
    <p:sldLayoutId id="2147484166" r:id="rId3"/>
    <p:sldLayoutId id="2147484167" r:id="rId4"/>
    <p:sldLayoutId id="2147484168" r:id="rId5"/>
    <p:sldLayoutId id="2147484169" r:id="rId6"/>
    <p:sldLayoutId id="2147484170" r:id="rId7"/>
    <p:sldLayoutId id="2147484171" r:id="rId8"/>
    <p:sldLayoutId id="2147484172" r:id="rId9"/>
    <p:sldLayoutId id="2147484173" r:id="rId10"/>
    <p:sldLayoutId id="2147484174" r:id="rId11"/>
    <p:sldLayoutId id="2147484175" r:id="rId12"/>
    <p:sldLayoutId id="2147484176" r:id="rId13"/>
    <p:sldLayoutId id="214748417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A319585-B819-231A-4D02-352CE1617F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3342926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622" imgH="623" progId="TCLayout.ActiveDocument.1">
                  <p:embed/>
                </p:oleObj>
              </mc:Choice>
              <mc:Fallback>
                <p:oleObj name="think-cell Slide" r:id="rId52" imgW="622" imgH="6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A319585-B819-231A-4D02-352CE1617F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CEBF6EE0-523E-B7D9-6ED2-716A41DEB536}"/>
              </a:ext>
            </a:extLst>
          </p:cNvPr>
          <p:cNvSpPr/>
          <p:nvPr userDrawn="1"/>
        </p:nvSpPr>
        <p:spPr>
          <a:xfrm>
            <a:off x="0" y="1133475"/>
            <a:ext cx="12192000" cy="5724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E938C9A-ADC3-DD6A-0AD5-9B598A0F8329}"/>
              </a:ext>
            </a:extLst>
          </p:cNvPr>
          <p:cNvSpPr/>
          <p:nvPr userDrawn="1"/>
        </p:nvSpPr>
        <p:spPr>
          <a:xfrm>
            <a:off x="0" y="0"/>
            <a:ext cx="12192000" cy="1409700"/>
          </a:xfrm>
          <a:custGeom>
            <a:avLst/>
            <a:gdLst>
              <a:gd name="connsiteX0" fmla="*/ 0 w 12192000"/>
              <a:gd name="connsiteY0" fmla="*/ 0 h 1261193"/>
              <a:gd name="connsiteX1" fmla="*/ 12192000 w 12192000"/>
              <a:gd name="connsiteY1" fmla="*/ 0 h 1261193"/>
              <a:gd name="connsiteX2" fmla="*/ 12192000 w 12192000"/>
              <a:gd name="connsiteY2" fmla="*/ 980201 h 1261193"/>
              <a:gd name="connsiteX3" fmla="*/ 11911008 w 12192000"/>
              <a:gd name="connsiteY3" fmla="*/ 1261193 h 1261193"/>
              <a:gd name="connsiteX4" fmla="*/ 280992 w 12192000"/>
              <a:gd name="connsiteY4" fmla="*/ 1261193 h 1261193"/>
              <a:gd name="connsiteX5" fmla="*/ 0 w 12192000"/>
              <a:gd name="connsiteY5" fmla="*/ 980201 h 1261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1261193">
                <a:moveTo>
                  <a:pt x="0" y="0"/>
                </a:moveTo>
                <a:lnTo>
                  <a:pt x="12192000" y="0"/>
                </a:lnTo>
                <a:lnTo>
                  <a:pt x="12192000" y="980201"/>
                </a:lnTo>
                <a:cubicBezTo>
                  <a:pt x="12192000" y="1135389"/>
                  <a:pt x="12066196" y="1261193"/>
                  <a:pt x="11911008" y="1261193"/>
                </a:cubicBezTo>
                <a:lnTo>
                  <a:pt x="280992" y="1261193"/>
                </a:lnTo>
                <a:cubicBezTo>
                  <a:pt x="125804" y="1261193"/>
                  <a:pt x="0" y="1135389"/>
                  <a:pt x="0" y="98020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9D9051C-C807-46F9-8511-7BA810EF2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7"/>
            <a:ext cx="5693037" cy="414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quez pour modifier le style du titre principal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925905-8E0F-4E1F-969B-102428583B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7638" y="1551583"/>
            <a:ext cx="10775825" cy="15642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quez pour modifier les styles de texte du Master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E7121D-1697-409F-80BF-51B7EAFBB2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7638" y="6482886"/>
            <a:ext cx="7575715" cy="11201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28">
                <a:solidFill>
                  <a:schemeClr val="tx1">
                    <a:tint val="75000"/>
                  </a:schemeClr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/>
              <a:t>Rapport du directeur au SAG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226665-F903-468B-9EDC-63D86E71F6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93993" y="6482886"/>
            <a:ext cx="897196" cy="1119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728">
                <a:solidFill>
                  <a:schemeClr val="tx1">
                    <a:tint val="75000"/>
                  </a:schemeClr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9043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  <p:sldLayoutId id="2147483733" r:id="rId22"/>
    <p:sldLayoutId id="2147483734" r:id="rId23"/>
    <p:sldLayoutId id="2147483735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2" r:id="rId31"/>
    <p:sldLayoutId id="2147483743" r:id="rId32"/>
    <p:sldLayoutId id="2147483744" r:id="rId33"/>
    <p:sldLayoutId id="2147483745" r:id="rId34"/>
    <p:sldLayoutId id="2147483746" r:id="rId35"/>
    <p:sldLayoutId id="2147483747" r:id="rId36"/>
    <p:sldLayoutId id="2147483748" r:id="rId37"/>
    <p:sldLayoutId id="2147483749" r:id="rId38"/>
    <p:sldLayoutId id="2147483750" r:id="rId39"/>
    <p:sldLayoutId id="2147483751" r:id="rId40"/>
    <p:sldLayoutId id="2147483752" r:id="rId41"/>
    <p:sldLayoutId id="2147483753" r:id="rId42"/>
    <p:sldLayoutId id="2147483754" r:id="rId43"/>
    <p:sldLayoutId id="2147483755" r:id="rId44"/>
    <p:sldLayoutId id="2147483756" r:id="rId45"/>
    <p:sldLayoutId id="2147483757" r:id="rId46"/>
    <p:sldLayoutId id="2147483758" r:id="rId47"/>
    <p:sldLayoutId id="2147483759" r:id="rId48"/>
    <p:sldLayoutId id="2147483760" r:id="rId4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v="urn:schemas-microsoft-com:vml" xmlns:p15="http://schemas.microsoft.com/office/powerpoint/2012/main">
      <p:transition spd="med">
        <p:fade/>
      </p:transition>
    </mc:Fallback>
  </mc:AlternateContent>
  <p:hf hdr="0" dt="0"/>
  <p:txStyles>
    <p:titleStyle>
      <a:lvl1pPr algn="l" defTabSz="554492" rtl="0" eaLnBrk="1" latinLnBrk="0" hangingPunct="1">
        <a:lnSpc>
          <a:spcPct val="90000"/>
        </a:lnSpc>
        <a:spcBef>
          <a:spcPct val="0"/>
        </a:spcBef>
        <a:buNone/>
        <a:defRPr sz="2911" b="1" i="0" kern="1200">
          <a:solidFill>
            <a:schemeClr val="tx1"/>
          </a:solidFill>
          <a:latin typeface="Poppins SemiBold" pitchFamily="2" charset="77"/>
          <a:ea typeface="Roboto" panose="02000000000000000000" pitchFamily="2" charset="0"/>
          <a:cs typeface="Poppins SemiBold" pitchFamily="2" charset="77"/>
        </a:defRPr>
      </a:lvl1pPr>
    </p:titleStyle>
    <p:bodyStyle>
      <a:lvl1pPr marL="0" indent="0" algn="l" defTabSz="554492" rtl="0" eaLnBrk="1" latinLnBrk="0" hangingPunct="1">
        <a:lnSpc>
          <a:spcPct val="120000"/>
        </a:lnSpc>
        <a:spcBef>
          <a:spcPts val="606"/>
        </a:spcBef>
        <a:spcAft>
          <a:spcPts val="728"/>
        </a:spcAft>
        <a:buSzPct val="75000"/>
        <a:buFontTx/>
        <a:buNone/>
        <a:defRPr sz="1455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1pPr>
      <a:lvl2pPr marL="480269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1213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2pPr>
      <a:lvl3pPr marL="698573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1092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3pPr>
      <a:lvl4pPr marL="916877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970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4pPr>
      <a:lvl5pPr marL="1135181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970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5pPr>
      <a:lvl6pPr marL="1524853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802100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2079346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356592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1pPr>
      <a:lvl2pPr marL="27724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2pPr>
      <a:lvl3pPr marL="554492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3pPr>
      <a:lvl4pPr marL="831738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4pPr>
      <a:lvl5pPr marL="1108984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5pPr>
      <a:lvl6pPr marL="138623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66347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1940723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217969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1D1D1D"/>
          </p15:clr>
        </p15:guide>
        <p15:guide id="2" pos="12664">
          <p15:clr>
            <a:srgbClr val="1D1D1D"/>
          </p15:clr>
        </p15:guide>
        <p15:guide id="3" pos="600">
          <p15:clr>
            <a:srgbClr val="1D1D1D"/>
          </p15:clr>
        </p15:guide>
        <p15:guide id="4" pos="1555">
          <p15:clr>
            <a:srgbClr val="1D1D1D"/>
          </p15:clr>
        </p15:guide>
        <p15:guide id="5" pos="2510">
          <p15:clr>
            <a:srgbClr val="1D1D1D"/>
          </p15:clr>
        </p15:guide>
        <p15:guide id="6" pos="3466">
          <p15:clr>
            <a:srgbClr val="1D1D1D"/>
          </p15:clr>
        </p15:guide>
        <p15:guide id="7" pos="4421">
          <p15:clr>
            <a:srgbClr val="1D1D1D"/>
          </p15:clr>
        </p15:guide>
        <p15:guide id="8" pos="5376">
          <p15:clr>
            <a:srgbClr val="1D1D1D"/>
          </p15:clr>
        </p15:guide>
        <p15:guide id="9" pos="6332">
          <p15:clr>
            <a:srgbClr val="1D1D1D"/>
          </p15:clr>
        </p15:guide>
        <p15:guide id="10" pos="7287">
          <p15:clr>
            <a:srgbClr val="1D1D1D"/>
          </p15:clr>
        </p15:guide>
        <p15:guide id="11" pos="8242">
          <p15:clr>
            <a:srgbClr val="1D1D1D"/>
          </p15:clr>
        </p15:guide>
        <p15:guide id="12" pos="9198">
          <p15:clr>
            <a:srgbClr val="1D1D1D"/>
          </p15:clr>
        </p15:guide>
        <p15:guide id="13" pos="10153">
          <p15:clr>
            <a:srgbClr val="1D1D1D"/>
          </p15:clr>
        </p15:guide>
        <p15:guide id="14" pos="11108">
          <p15:clr>
            <a:srgbClr val="1D1D1D"/>
          </p15:clr>
        </p15:guide>
        <p15:guide id="15" pos="12064">
          <p15:clr>
            <a:srgbClr val="1D1D1D"/>
          </p15:clr>
        </p15:guide>
        <p15:guide id="16" orient="horz">
          <p15:clr>
            <a:srgbClr val="1D1D1D"/>
          </p15:clr>
        </p15:guide>
        <p15:guide id="17" orient="horz" pos="7124">
          <p15:clr>
            <a:srgbClr val="1D1D1D"/>
          </p15:clr>
        </p15:guide>
        <p15:guide id="18" orient="horz" pos="600">
          <p15:clr>
            <a:srgbClr val="1D1D1D"/>
          </p15:clr>
        </p15:guide>
        <p15:guide id="19" orient="horz" pos="3562">
          <p15:clr>
            <a:srgbClr val="1D1D1D"/>
          </p15:clr>
        </p15:guide>
        <p15:guide id="20" orient="horz" pos="6524">
          <p15:clr>
            <a:srgbClr val="1D1D1D"/>
          </p15:clr>
        </p15:guide>
        <p15:guide id="21" pos="6786">
          <p15:clr>
            <a:srgbClr val="1D1D1D"/>
          </p15:clr>
        </p15:guide>
        <p15:guide id="22" pos="5878">
          <p15:clr>
            <a:srgbClr val="1D1D1D"/>
          </p15:clr>
        </p15:guide>
        <p15:guide id="23" orient="horz" pos="3018">
          <p15:clr>
            <a:srgbClr val="1D1D1D"/>
          </p15:clr>
        </p15:guide>
        <p15:guide id="24" orient="horz" pos="6646">
          <p15:clr>
            <a:srgbClr val="1D1D1D"/>
          </p15:clr>
        </p15:guide>
        <p15:guide id="25" orient="horz" pos="2836">
          <p15:clr>
            <a:srgbClr val="1D1D1D"/>
          </p15:clr>
        </p15:guide>
        <p15:guide id="26" orient="horz" pos="628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quez pour modifier les styles de texte du Master</a:t>
            </a:r>
          </a:p>
          <a:p>
            <a:pPr lvl="1"/>
            <a:r>
              <a:rPr lang="en-US" altLang="en-US"/>
              <a:t>Deuxième niveau</a:t>
            </a:r>
          </a:p>
          <a:p>
            <a:pPr lvl="2"/>
            <a:r>
              <a:rPr lang="en-US" altLang="en-US"/>
              <a:t>Troisième niveau</a:t>
            </a:r>
          </a:p>
          <a:p>
            <a:pPr lvl="3"/>
            <a:r>
              <a:rPr lang="en-US" altLang="en-US"/>
              <a:t>Quatrième niveau</a:t>
            </a:r>
          </a:p>
          <a:p>
            <a:pPr lvl="4"/>
            <a:r>
              <a:rPr lang="en-US" altLang="en-US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49510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rgbClr val="7F7F7F"/>
          </a:solidFill>
          <a:latin typeface="Calibri" panose="020F0502020204030204" pitchFamily="34" charset="0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rgbClr val="7F7F7F"/>
          </a:solidFill>
          <a:latin typeface="Calibri" panose="020F0502020204030204" pitchFamily="34" charset="0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rgbClr val="7F7F7F"/>
          </a:solidFill>
          <a:latin typeface="Calibri" panose="020F0502020204030204" pitchFamily="34" charset="0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rgbClr val="7F7F7F"/>
          </a:solidFill>
          <a:latin typeface="Calibri" panose="020F0502020204030204" pitchFamily="34" charset="0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rgbClr val="7F7F7F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quez pour modifier les styles de texte du Master</a:t>
            </a:r>
          </a:p>
          <a:p>
            <a:pPr lvl="1"/>
            <a:r>
              <a:rPr lang="en-US" altLang="en-US"/>
              <a:t>Deuxième niveau</a:t>
            </a:r>
          </a:p>
          <a:p>
            <a:pPr lvl="2"/>
            <a:r>
              <a:rPr lang="en-US" altLang="en-US"/>
              <a:t>Troisième niveau</a:t>
            </a:r>
          </a:p>
          <a:p>
            <a:pPr lvl="3"/>
            <a:r>
              <a:rPr lang="en-US" altLang="en-US"/>
              <a:t>Quatrième niveau</a:t>
            </a:r>
          </a:p>
          <a:p>
            <a:pPr lvl="4"/>
            <a:r>
              <a:rPr lang="en-US" altLang="en-US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79534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rgbClr val="7F7F7F"/>
          </a:solidFill>
          <a:latin typeface="Calibri" panose="020F0502020204030204" pitchFamily="34" charset="0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rgbClr val="7F7F7F"/>
          </a:solidFill>
          <a:latin typeface="Calibri" panose="020F0502020204030204" pitchFamily="34" charset="0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rgbClr val="7F7F7F"/>
          </a:solidFill>
          <a:latin typeface="Calibri" panose="020F0502020204030204" pitchFamily="34" charset="0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rgbClr val="7F7F7F"/>
          </a:solidFill>
          <a:latin typeface="Calibri" panose="020F0502020204030204" pitchFamily="34" charset="0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rgbClr val="7F7F7F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fr-CA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A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CA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CA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535BCA-EA75-47BD-A3BC-78CED2BA246E}" type="slidenum">
              <a:rPr lang="fr-CA" smtClean="0"/>
              <a:t>‹#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211801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quez pour modifier le style du titre principal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quez pour modifier les styles de texte du Master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D632BD-0DE2-4863-B625-A2C7822359CD}" type="datetimeFigureOut">
              <a:rPr lang="en-GB" smtClean="0"/>
              <a:t>09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C0E277-723E-4ABD-8708-1F0E74CFC4A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9158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9D9051C-C807-46F9-8511-7BA810EF2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7"/>
            <a:ext cx="5693037" cy="414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quez pour modifier le style du titre principal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925905-8E0F-4E1F-969B-102428583B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7638" y="1551583"/>
            <a:ext cx="10775825" cy="15642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quez pour modifier les styles de texte du Master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E7121D-1697-409F-80BF-51B7EAFBB2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7638" y="6482886"/>
            <a:ext cx="7575715" cy="11201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28">
                <a:solidFill>
                  <a:schemeClr val="tx1">
                    <a:tint val="75000"/>
                  </a:schemeClr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7701">
              <a:spcBef>
                <a:spcPts val="76"/>
              </a:spcBef>
            </a:pPr>
            <a:r>
              <a:rPr lang="en-GB" spc="3"/>
              <a:t>Immunisation, vaccins et produits biologiqu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226665-F903-468B-9EDC-63D86E71F6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1943" y="6445156"/>
            <a:ext cx="886606" cy="22396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455">
                <a:solidFill>
                  <a:schemeClr val="tx1">
                    <a:tint val="75000"/>
                  </a:schemeClr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/>
              <a:t>Diapositive</a:t>
            </a:r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5418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  <p:sldLayoutId id="2147483867" r:id="rId23"/>
    <p:sldLayoutId id="2147483868" r:id="rId24"/>
    <p:sldLayoutId id="2147483869" r:id="rId25"/>
    <p:sldLayoutId id="2147483870" r:id="rId26"/>
    <p:sldLayoutId id="2147483871" r:id="rId27"/>
    <p:sldLayoutId id="2147483872" r:id="rId28"/>
    <p:sldLayoutId id="2147483873" r:id="rId29"/>
    <p:sldLayoutId id="2147483874" r:id="rId30"/>
    <p:sldLayoutId id="2147483875" r:id="rId31"/>
    <p:sldLayoutId id="2147483876" r:id="rId32"/>
    <p:sldLayoutId id="2147483877" r:id="rId33"/>
    <p:sldLayoutId id="2147483878" r:id="rId34"/>
    <p:sldLayoutId id="2147483879" r:id="rId35"/>
    <p:sldLayoutId id="2147483880" r:id="rId36"/>
    <p:sldLayoutId id="2147483881" r:id="rId37"/>
    <p:sldLayoutId id="2147483882" r:id="rId38"/>
    <p:sldLayoutId id="2147483883" r:id="rId39"/>
    <p:sldLayoutId id="2147483884" r:id="rId40"/>
    <p:sldLayoutId id="2147483885" r:id="rId41"/>
    <p:sldLayoutId id="2147483886" r:id="rId42"/>
    <p:sldLayoutId id="2147483887" r:id="rId43"/>
    <p:sldLayoutId id="2147483888" r:id="rId44"/>
    <p:sldLayoutId id="2147483889" r:id="rId45"/>
    <p:sldLayoutId id="2147483890" r:id="rId46"/>
    <p:sldLayoutId id="2147483891" r:id="rId47"/>
    <p:sldLayoutId id="2147483892" r:id="rId48"/>
    <p:sldLayoutId id="2147483893" r:id="rId49"/>
    <p:sldLayoutId id="2147483894" r:id="rId50"/>
    <p:sldLayoutId id="2147483895" r:id="rId51"/>
    <p:sldLayoutId id="2147483896" r:id="rId52"/>
    <p:sldLayoutId id="2147483897" r:id="rId53"/>
    <p:sldLayoutId id="2147483898" r:id="rId54"/>
    <p:sldLayoutId id="2147483899" r:id="rId55"/>
    <p:sldLayoutId id="2147483900" r:id="rId56"/>
    <p:sldLayoutId id="2147483901" r:id="rId57"/>
    <p:sldLayoutId id="2147483902" r:id="rId5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hf hdr="0" dt="0"/>
  <p:txStyles>
    <p:titleStyle>
      <a:lvl1pPr algn="l" defTabSz="554492" rtl="0" eaLnBrk="1" latinLnBrk="0" hangingPunct="1">
        <a:lnSpc>
          <a:spcPct val="90000"/>
        </a:lnSpc>
        <a:spcBef>
          <a:spcPct val="0"/>
        </a:spcBef>
        <a:buNone/>
        <a:defRPr sz="2911" b="1" i="0" kern="1200">
          <a:solidFill>
            <a:schemeClr val="tx1"/>
          </a:solidFill>
          <a:latin typeface="Poppins SemiBold" pitchFamily="2" charset="77"/>
          <a:ea typeface="Roboto" panose="02000000000000000000" pitchFamily="2" charset="0"/>
          <a:cs typeface="Poppins SemiBold" pitchFamily="2" charset="77"/>
        </a:defRPr>
      </a:lvl1pPr>
    </p:titleStyle>
    <p:bodyStyle>
      <a:lvl1pPr marL="0" indent="0" algn="l" defTabSz="554492" rtl="0" eaLnBrk="1" latinLnBrk="0" hangingPunct="1">
        <a:lnSpc>
          <a:spcPct val="120000"/>
        </a:lnSpc>
        <a:spcBef>
          <a:spcPts val="606"/>
        </a:spcBef>
        <a:spcAft>
          <a:spcPts val="728"/>
        </a:spcAft>
        <a:buSzPct val="75000"/>
        <a:buFontTx/>
        <a:buNone/>
        <a:defRPr sz="1455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1pPr>
      <a:lvl2pPr marL="480269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1213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2pPr>
      <a:lvl3pPr marL="698573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1092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3pPr>
      <a:lvl4pPr marL="916877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970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4pPr>
      <a:lvl5pPr marL="1135181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970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5pPr>
      <a:lvl6pPr marL="1524853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802100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2079346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356592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1pPr>
      <a:lvl2pPr marL="27724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2pPr>
      <a:lvl3pPr marL="554492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3pPr>
      <a:lvl4pPr marL="831738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4pPr>
      <a:lvl5pPr marL="1108984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5pPr>
      <a:lvl6pPr marL="138623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66347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1940723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217969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1D1D1D"/>
          </p15:clr>
        </p15:guide>
        <p15:guide id="2" pos="12664">
          <p15:clr>
            <a:srgbClr val="1D1D1D"/>
          </p15:clr>
        </p15:guide>
        <p15:guide id="3" pos="600">
          <p15:clr>
            <a:srgbClr val="1D1D1D"/>
          </p15:clr>
        </p15:guide>
        <p15:guide id="4" pos="1555">
          <p15:clr>
            <a:srgbClr val="1D1D1D"/>
          </p15:clr>
        </p15:guide>
        <p15:guide id="5" pos="2510">
          <p15:clr>
            <a:srgbClr val="1D1D1D"/>
          </p15:clr>
        </p15:guide>
        <p15:guide id="6" pos="3466">
          <p15:clr>
            <a:srgbClr val="1D1D1D"/>
          </p15:clr>
        </p15:guide>
        <p15:guide id="7" pos="4421">
          <p15:clr>
            <a:srgbClr val="1D1D1D"/>
          </p15:clr>
        </p15:guide>
        <p15:guide id="8" pos="5376">
          <p15:clr>
            <a:srgbClr val="1D1D1D"/>
          </p15:clr>
        </p15:guide>
        <p15:guide id="9" pos="6332">
          <p15:clr>
            <a:srgbClr val="1D1D1D"/>
          </p15:clr>
        </p15:guide>
        <p15:guide id="10" pos="7287">
          <p15:clr>
            <a:srgbClr val="1D1D1D"/>
          </p15:clr>
        </p15:guide>
        <p15:guide id="11" pos="8242">
          <p15:clr>
            <a:srgbClr val="1D1D1D"/>
          </p15:clr>
        </p15:guide>
        <p15:guide id="12" pos="9198">
          <p15:clr>
            <a:srgbClr val="1D1D1D"/>
          </p15:clr>
        </p15:guide>
        <p15:guide id="13" pos="10153">
          <p15:clr>
            <a:srgbClr val="1D1D1D"/>
          </p15:clr>
        </p15:guide>
        <p15:guide id="14" pos="11108">
          <p15:clr>
            <a:srgbClr val="1D1D1D"/>
          </p15:clr>
        </p15:guide>
        <p15:guide id="15" pos="12064">
          <p15:clr>
            <a:srgbClr val="1D1D1D"/>
          </p15:clr>
        </p15:guide>
        <p15:guide id="16" orient="horz">
          <p15:clr>
            <a:srgbClr val="1D1D1D"/>
          </p15:clr>
        </p15:guide>
        <p15:guide id="17" orient="horz" pos="7124">
          <p15:clr>
            <a:srgbClr val="1D1D1D"/>
          </p15:clr>
        </p15:guide>
        <p15:guide id="18" orient="horz" pos="600">
          <p15:clr>
            <a:srgbClr val="1D1D1D"/>
          </p15:clr>
        </p15:guide>
        <p15:guide id="19" orient="horz" pos="3562">
          <p15:clr>
            <a:srgbClr val="1D1D1D"/>
          </p15:clr>
        </p15:guide>
        <p15:guide id="20" orient="horz" pos="6524">
          <p15:clr>
            <a:srgbClr val="1D1D1D"/>
          </p15:clr>
        </p15:guide>
        <p15:guide id="21" pos="6786">
          <p15:clr>
            <a:srgbClr val="1D1D1D"/>
          </p15:clr>
        </p15:guide>
        <p15:guide id="22" pos="5878">
          <p15:clr>
            <a:srgbClr val="1D1D1D"/>
          </p15:clr>
        </p15:guide>
        <p15:guide id="23" orient="horz" pos="3018">
          <p15:clr>
            <a:srgbClr val="1D1D1D"/>
          </p15:clr>
        </p15:guide>
        <p15:guide id="24" orient="horz" pos="6646">
          <p15:clr>
            <a:srgbClr val="1D1D1D"/>
          </p15:clr>
        </p15:guide>
        <p15:guide id="25" orient="horz" pos="2836">
          <p15:clr>
            <a:srgbClr val="1D1D1D"/>
          </p15:clr>
        </p15:guide>
        <p15:guide id="26" orient="horz" pos="628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B34FC8B-1E09-65C6-8CF3-DD4E7219FB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1"/>
            </p:custDataLst>
            <p:extLst>
              <p:ext uri="{D42A27DB-BD31-4B8C-83A1-F6EECF244321}">
                <p14:modId xmlns:p14="http://schemas.microsoft.com/office/powerpoint/2010/main" val="158430780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2" imgW="415" imgH="416" progId="TCLayout.ActiveDocument.1">
                  <p:embed/>
                </p:oleObj>
              </mc:Choice>
              <mc:Fallback>
                <p:oleObj name="think-cell Slide" r:id="rId62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B34FC8B-1E09-65C6-8CF3-DD4E7219FB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9D9051C-C807-46F9-8511-7BA810EF2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7"/>
            <a:ext cx="5693037" cy="414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quez pour modifier le style du titre principal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925905-8E0F-4E1F-969B-102428583B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7638" y="1551584"/>
            <a:ext cx="10775825" cy="15642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quez pour modifier les styles de texte du Master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E7121D-1697-409F-80BF-51B7EAFBB2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7638" y="6482886"/>
            <a:ext cx="7575715" cy="11201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28">
                <a:solidFill>
                  <a:schemeClr val="tx1">
                    <a:tint val="75000"/>
                  </a:schemeClr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7701">
              <a:spcBef>
                <a:spcPts val="76"/>
              </a:spcBef>
            </a:pPr>
            <a:r>
              <a:rPr lang="en-GB" spc="3"/>
              <a:t>Immunisation, vaccins et produits biologiqu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226665-F903-468B-9EDC-63D86E71F6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1943" y="6445156"/>
            <a:ext cx="886606" cy="22396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455">
                <a:solidFill>
                  <a:schemeClr val="tx1">
                    <a:tint val="75000"/>
                  </a:schemeClr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/>
              <a:t>Diapositive</a:t>
            </a:r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2878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  <p:sldLayoutId id="2147483918" r:id="rId15"/>
    <p:sldLayoutId id="2147483919" r:id="rId16"/>
    <p:sldLayoutId id="2147483920" r:id="rId17"/>
    <p:sldLayoutId id="2147483921" r:id="rId18"/>
    <p:sldLayoutId id="2147483922" r:id="rId19"/>
    <p:sldLayoutId id="2147483923" r:id="rId20"/>
    <p:sldLayoutId id="2147483924" r:id="rId21"/>
    <p:sldLayoutId id="2147483925" r:id="rId22"/>
    <p:sldLayoutId id="2147483926" r:id="rId23"/>
    <p:sldLayoutId id="2147483927" r:id="rId24"/>
    <p:sldLayoutId id="2147483928" r:id="rId25"/>
    <p:sldLayoutId id="2147483929" r:id="rId26"/>
    <p:sldLayoutId id="2147483930" r:id="rId27"/>
    <p:sldLayoutId id="2147483931" r:id="rId28"/>
    <p:sldLayoutId id="2147483932" r:id="rId29"/>
    <p:sldLayoutId id="2147483933" r:id="rId30"/>
    <p:sldLayoutId id="2147483934" r:id="rId31"/>
    <p:sldLayoutId id="2147483935" r:id="rId32"/>
    <p:sldLayoutId id="2147483936" r:id="rId33"/>
    <p:sldLayoutId id="2147483937" r:id="rId34"/>
    <p:sldLayoutId id="2147483938" r:id="rId35"/>
    <p:sldLayoutId id="2147483939" r:id="rId36"/>
    <p:sldLayoutId id="2147483940" r:id="rId37"/>
    <p:sldLayoutId id="2147483941" r:id="rId38"/>
    <p:sldLayoutId id="2147483942" r:id="rId39"/>
    <p:sldLayoutId id="2147483943" r:id="rId40"/>
    <p:sldLayoutId id="2147483944" r:id="rId41"/>
    <p:sldLayoutId id="2147483945" r:id="rId42"/>
    <p:sldLayoutId id="2147483946" r:id="rId43"/>
    <p:sldLayoutId id="2147483947" r:id="rId44"/>
    <p:sldLayoutId id="2147483948" r:id="rId45"/>
    <p:sldLayoutId id="2147483949" r:id="rId46"/>
    <p:sldLayoutId id="2147483950" r:id="rId47"/>
    <p:sldLayoutId id="2147483951" r:id="rId48"/>
    <p:sldLayoutId id="2147483952" r:id="rId49"/>
    <p:sldLayoutId id="2147483953" r:id="rId50"/>
    <p:sldLayoutId id="2147483954" r:id="rId51"/>
    <p:sldLayoutId id="2147483955" r:id="rId52"/>
    <p:sldLayoutId id="2147483956" r:id="rId53"/>
    <p:sldLayoutId id="2147483957" r:id="rId54"/>
    <p:sldLayoutId id="2147483958" r:id="rId55"/>
    <p:sldLayoutId id="2147483959" r:id="rId56"/>
    <p:sldLayoutId id="2147483960" r:id="rId57"/>
    <p:sldLayoutId id="2147483961" r:id="rId58"/>
    <p:sldLayoutId id="2147483962" r:id="rId5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v="urn:schemas-microsoft-com:vml" xmlns:p15="http://schemas.microsoft.com/office/powerpoint/2012/main">
      <p:transition spd="med">
        <p:fade/>
      </p:transition>
    </mc:Fallback>
  </mc:AlternateContent>
  <p:hf hdr="0" dt="0"/>
  <p:txStyles>
    <p:titleStyle>
      <a:lvl1pPr algn="l" defTabSz="554466" rtl="0" eaLnBrk="1" latinLnBrk="0" hangingPunct="1">
        <a:lnSpc>
          <a:spcPct val="90000"/>
        </a:lnSpc>
        <a:spcBef>
          <a:spcPct val="0"/>
        </a:spcBef>
        <a:buNone/>
        <a:defRPr sz="2911" b="1" i="0" kern="1200">
          <a:solidFill>
            <a:schemeClr val="tx1"/>
          </a:solidFill>
          <a:latin typeface="Poppins SemiBold" pitchFamily="2" charset="77"/>
          <a:ea typeface="Roboto" panose="02000000000000000000" pitchFamily="2" charset="0"/>
          <a:cs typeface="Poppins SemiBold" pitchFamily="2" charset="77"/>
        </a:defRPr>
      </a:lvl1pPr>
    </p:titleStyle>
    <p:bodyStyle>
      <a:lvl1pPr marL="0" indent="0" algn="l" defTabSz="554466" rtl="0" eaLnBrk="1" latinLnBrk="0" hangingPunct="1">
        <a:lnSpc>
          <a:spcPct val="120000"/>
        </a:lnSpc>
        <a:spcBef>
          <a:spcPts val="606"/>
        </a:spcBef>
        <a:spcAft>
          <a:spcPts val="728"/>
        </a:spcAft>
        <a:buSzPct val="75000"/>
        <a:buFontTx/>
        <a:buNone/>
        <a:defRPr sz="1455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1pPr>
      <a:lvl2pPr marL="480247" indent="-174635" algn="l" defTabSz="554466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1213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2pPr>
      <a:lvl3pPr marL="698541" indent="-174635" algn="l" defTabSz="554466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1092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3pPr>
      <a:lvl4pPr marL="916834" indent="-174635" algn="l" defTabSz="554466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970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4pPr>
      <a:lvl5pPr marL="1135128" indent="-174635" algn="l" defTabSz="554466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970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5pPr>
      <a:lvl6pPr marL="1524782" indent="-138616" algn="l" defTabSz="554466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802016" indent="-138616" algn="l" defTabSz="554466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2079250" indent="-138616" algn="l" defTabSz="554466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356483" indent="-138616" algn="l" defTabSz="554466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54466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1pPr>
      <a:lvl2pPr marL="277233" algn="l" defTabSz="554466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2pPr>
      <a:lvl3pPr marL="554466" algn="l" defTabSz="554466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3pPr>
      <a:lvl4pPr marL="831699" algn="l" defTabSz="554466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4pPr>
      <a:lvl5pPr marL="1108933" algn="l" defTabSz="554466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5pPr>
      <a:lvl6pPr marL="1386166" algn="l" defTabSz="554466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663399" algn="l" defTabSz="554466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1940633" algn="l" defTabSz="554466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217866" algn="l" defTabSz="554466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1D1D1D"/>
          </p15:clr>
        </p15:guide>
        <p15:guide id="2" pos="12664">
          <p15:clr>
            <a:srgbClr val="1D1D1D"/>
          </p15:clr>
        </p15:guide>
        <p15:guide id="3" pos="600">
          <p15:clr>
            <a:srgbClr val="1D1D1D"/>
          </p15:clr>
        </p15:guide>
        <p15:guide id="4" pos="1555">
          <p15:clr>
            <a:srgbClr val="1D1D1D"/>
          </p15:clr>
        </p15:guide>
        <p15:guide id="5" pos="2510">
          <p15:clr>
            <a:srgbClr val="1D1D1D"/>
          </p15:clr>
        </p15:guide>
        <p15:guide id="6" pos="3466">
          <p15:clr>
            <a:srgbClr val="1D1D1D"/>
          </p15:clr>
        </p15:guide>
        <p15:guide id="7" pos="4421">
          <p15:clr>
            <a:srgbClr val="1D1D1D"/>
          </p15:clr>
        </p15:guide>
        <p15:guide id="8" pos="5376">
          <p15:clr>
            <a:srgbClr val="1D1D1D"/>
          </p15:clr>
        </p15:guide>
        <p15:guide id="9" pos="6332">
          <p15:clr>
            <a:srgbClr val="1D1D1D"/>
          </p15:clr>
        </p15:guide>
        <p15:guide id="10" pos="7287">
          <p15:clr>
            <a:srgbClr val="1D1D1D"/>
          </p15:clr>
        </p15:guide>
        <p15:guide id="11" pos="8242">
          <p15:clr>
            <a:srgbClr val="1D1D1D"/>
          </p15:clr>
        </p15:guide>
        <p15:guide id="12" pos="9198">
          <p15:clr>
            <a:srgbClr val="1D1D1D"/>
          </p15:clr>
        </p15:guide>
        <p15:guide id="13" pos="10153">
          <p15:clr>
            <a:srgbClr val="1D1D1D"/>
          </p15:clr>
        </p15:guide>
        <p15:guide id="14" pos="11108">
          <p15:clr>
            <a:srgbClr val="1D1D1D"/>
          </p15:clr>
        </p15:guide>
        <p15:guide id="15" pos="12064">
          <p15:clr>
            <a:srgbClr val="1D1D1D"/>
          </p15:clr>
        </p15:guide>
        <p15:guide id="16" orient="horz">
          <p15:clr>
            <a:srgbClr val="1D1D1D"/>
          </p15:clr>
        </p15:guide>
        <p15:guide id="17" orient="horz" pos="7124">
          <p15:clr>
            <a:srgbClr val="1D1D1D"/>
          </p15:clr>
        </p15:guide>
        <p15:guide id="18" orient="horz" pos="600">
          <p15:clr>
            <a:srgbClr val="1D1D1D"/>
          </p15:clr>
        </p15:guide>
        <p15:guide id="19" orient="horz" pos="3562">
          <p15:clr>
            <a:srgbClr val="1D1D1D"/>
          </p15:clr>
        </p15:guide>
        <p15:guide id="20" orient="horz" pos="6524">
          <p15:clr>
            <a:srgbClr val="1D1D1D"/>
          </p15:clr>
        </p15:guide>
        <p15:guide id="21" pos="6786">
          <p15:clr>
            <a:srgbClr val="1D1D1D"/>
          </p15:clr>
        </p15:guide>
        <p15:guide id="22" pos="5878">
          <p15:clr>
            <a:srgbClr val="1D1D1D"/>
          </p15:clr>
        </p15:guide>
        <p15:guide id="23" orient="horz" pos="3018">
          <p15:clr>
            <a:srgbClr val="1D1D1D"/>
          </p15:clr>
        </p15:guide>
        <p15:guide id="24" orient="horz" pos="6646">
          <p15:clr>
            <a:srgbClr val="1D1D1D"/>
          </p15:clr>
        </p15:guide>
        <p15:guide id="25" orient="horz" pos="2836">
          <p15:clr>
            <a:srgbClr val="1D1D1D"/>
          </p15:clr>
        </p15:guide>
        <p15:guide id="26" orient="horz" pos="628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9D9051C-C807-46F9-8511-7BA810EF2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7"/>
            <a:ext cx="5693037" cy="414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/>
              <a:t>Cliquez pour modifier le style du titre princip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925905-8E0F-4E1F-969B-102428583B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7638" y="1551583"/>
            <a:ext cx="10775825" cy="15642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quez pour modifier les styles de texte du Master</a:t>
            </a:r>
          </a:p>
          <a:p>
            <a:pPr lvl="1"/>
            <a:r>
              <a:rPr lang="en-GB"/>
              <a:t>Deuxième niveau</a:t>
            </a:r>
          </a:p>
          <a:p>
            <a:pPr lvl="2"/>
            <a:r>
              <a:rPr lang="en-GB"/>
              <a:t>Troisième niveau</a:t>
            </a:r>
          </a:p>
          <a:p>
            <a:pPr lvl="3"/>
            <a:r>
              <a:rPr lang="en-GB"/>
              <a:t>Quatrième niveau</a:t>
            </a:r>
          </a:p>
          <a:p>
            <a:pPr lvl="4"/>
            <a:r>
              <a:rPr lang="en-GB"/>
              <a:t>Cinquième niveau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E7121D-1697-409F-80BF-51B7EAFBB2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7638" y="6482886"/>
            <a:ext cx="7575715" cy="11201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28">
                <a:solidFill>
                  <a:schemeClr val="tx1">
                    <a:tint val="75000"/>
                  </a:schemeClr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7701">
              <a:spcBef>
                <a:spcPts val="76"/>
              </a:spcBef>
            </a:pPr>
            <a:r>
              <a:rPr lang="en-GB" spc="3"/>
              <a:t>Immunisation, vaccins et produits biologiqu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226665-F903-468B-9EDC-63D86E71F6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93993" y="6482886"/>
            <a:ext cx="897196" cy="1119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728">
                <a:solidFill>
                  <a:schemeClr val="tx1">
                    <a:tint val="75000"/>
                  </a:schemeClr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6374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  <p:sldLayoutId id="2147483969" r:id="rId6"/>
    <p:sldLayoutId id="2147483970" r:id="rId7"/>
    <p:sldLayoutId id="2147483971" r:id="rId8"/>
    <p:sldLayoutId id="2147483972" r:id="rId9"/>
    <p:sldLayoutId id="2147483973" r:id="rId10"/>
    <p:sldLayoutId id="2147483974" r:id="rId11"/>
    <p:sldLayoutId id="2147483975" r:id="rId12"/>
    <p:sldLayoutId id="2147483976" r:id="rId13"/>
    <p:sldLayoutId id="2147483977" r:id="rId14"/>
    <p:sldLayoutId id="2147483978" r:id="rId15"/>
    <p:sldLayoutId id="2147483979" r:id="rId16"/>
    <p:sldLayoutId id="2147483980" r:id="rId17"/>
    <p:sldLayoutId id="2147483981" r:id="rId18"/>
    <p:sldLayoutId id="2147483982" r:id="rId19"/>
    <p:sldLayoutId id="2147483983" r:id="rId20"/>
    <p:sldLayoutId id="2147483984" r:id="rId21"/>
    <p:sldLayoutId id="2147483985" r:id="rId22"/>
    <p:sldLayoutId id="2147483986" r:id="rId23"/>
    <p:sldLayoutId id="2147483987" r:id="rId24"/>
    <p:sldLayoutId id="2147483988" r:id="rId25"/>
    <p:sldLayoutId id="2147483989" r:id="rId26"/>
    <p:sldLayoutId id="2147483990" r:id="rId27"/>
    <p:sldLayoutId id="2147483991" r:id="rId28"/>
    <p:sldLayoutId id="2147483992" r:id="rId29"/>
    <p:sldLayoutId id="2147483993" r:id="rId30"/>
    <p:sldLayoutId id="2147483994" r:id="rId31"/>
    <p:sldLayoutId id="2147483995" r:id="rId32"/>
    <p:sldLayoutId id="2147483996" r:id="rId33"/>
    <p:sldLayoutId id="2147483997" r:id="rId34"/>
    <p:sldLayoutId id="2147483998" r:id="rId35"/>
    <p:sldLayoutId id="2147483999" r:id="rId36"/>
    <p:sldLayoutId id="2147484000" r:id="rId37"/>
    <p:sldLayoutId id="2147484001" r:id="rId38"/>
    <p:sldLayoutId id="2147484002" r:id="rId39"/>
    <p:sldLayoutId id="2147484003" r:id="rId40"/>
    <p:sldLayoutId id="2147484004" r:id="rId41"/>
    <p:sldLayoutId id="2147484005" r:id="rId42"/>
    <p:sldLayoutId id="2147484006" r:id="rId43"/>
    <p:sldLayoutId id="2147484007" r:id="rId44"/>
    <p:sldLayoutId id="2147484008" r:id="rId45"/>
    <p:sldLayoutId id="2147484009" r:id="rId46"/>
    <p:sldLayoutId id="2147484010" r:id="rId47"/>
    <p:sldLayoutId id="2147484011" r:id="rId48"/>
    <p:sldLayoutId id="2147484012" r:id="rId49"/>
    <p:sldLayoutId id="2147484013" r:id="rId50"/>
    <p:sldLayoutId id="2147484014" r:id="rId51"/>
    <p:sldLayoutId id="2147484015" r:id="rId52"/>
    <p:sldLayoutId id="2147484016" r:id="rId53"/>
    <p:sldLayoutId id="2147484017" r:id="rId54"/>
    <p:sldLayoutId id="2147484018" r:id="rId55"/>
    <p:sldLayoutId id="2147484019" r:id="rId56"/>
    <p:sldLayoutId id="2147484020" r:id="rId57"/>
    <p:sldLayoutId id="2147484021" r:id="rId5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hf hdr="0" dt="0"/>
  <p:txStyles>
    <p:titleStyle>
      <a:lvl1pPr algn="l" defTabSz="554492" rtl="0" eaLnBrk="1" latinLnBrk="0" hangingPunct="1">
        <a:lnSpc>
          <a:spcPct val="90000"/>
        </a:lnSpc>
        <a:spcBef>
          <a:spcPct val="0"/>
        </a:spcBef>
        <a:buNone/>
        <a:defRPr sz="2911" b="1" i="0" kern="1200">
          <a:solidFill>
            <a:schemeClr val="tx1"/>
          </a:solidFill>
          <a:latin typeface="Poppins SemiBold" pitchFamily="2" charset="77"/>
          <a:ea typeface="Roboto" panose="02000000000000000000" pitchFamily="2" charset="0"/>
          <a:cs typeface="Poppins SemiBold" pitchFamily="2" charset="77"/>
        </a:defRPr>
      </a:lvl1pPr>
    </p:titleStyle>
    <p:bodyStyle>
      <a:lvl1pPr marL="0" indent="0" algn="l" defTabSz="554492" rtl="0" eaLnBrk="1" latinLnBrk="0" hangingPunct="1">
        <a:lnSpc>
          <a:spcPct val="120000"/>
        </a:lnSpc>
        <a:spcBef>
          <a:spcPts val="606"/>
        </a:spcBef>
        <a:spcAft>
          <a:spcPts val="728"/>
        </a:spcAft>
        <a:buSzPct val="75000"/>
        <a:buFontTx/>
        <a:buNone/>
        <a:defRPr sz="1455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1pPr>
      <a:lvl2pPr marL="480269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1213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2pPr>
      <a:lvl3pPr marL="698573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1092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3pPr>
      <a:lvl4pPr marL="916877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970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4pPr>
      <a:lvl5pPr marL="1135181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970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5pPr>
      <a:lvl6pPr marL="1524853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802100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2079346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356592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1pPr>
      <a:lvl2pPr marL="27724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2pPr>
      <a:lvl3pPr marL="554492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3pPr>
      <a:lvl4pPr marL="831738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4pPr>
      <a:lvl5pPr marL="1108984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5pPr>
      <a:lvl6pPr marL="138623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66347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1940723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217969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1D1D1D"/>
          </p15:clr>
        </p15:guide>
        <p15:guide id="2" pos="12664">
          <p15:clr>
            <a:srgbClr val="1D1D1D"/>
          </p15:clr>
        </p15:guide>
        <p15:guide id="3" pos="600">
          <p15:clr>
            <a:srgbClr val="1D1D1D"/>
          </p15:clr>
        </p15:guide>
        <p15:guide id="4" pos="1555">
          <p15:clr>
            <a:srgbClr val="1D1D1D"/>
          </p15:clr>
        </p15:guide>
        <p15:guide id="5" pos="2510">
          <p15:clr>
            <a:srgbClr val="1D1D1D"/>
          </p15:clr>
        </p15:guide>
        <p15:guide id="6" pos="3466">
          <p15:clr>
            <a:srgbClr val="1D1D1D"/>
          </p15:clr>
        </p15:guide>
        <p15:guide id="7" pos="4421">
          <p15:clr>
            <a:srgbClr val="1D1D1D"/>
          </p15:clr>
        </p15:guide>
        <p15:guide id="8" pos="5376">
          <p15:clr>
            <a:srgbClr val="1D1D1D"/>
          </p15:clr>
        </p15:guide>
        <p15:guide id="9" pos="6332">
          <p15:clr>
            <a:srgbClr val="1D1D1D"/>
          </p15:clr>
        </p15:guide>
        <p15:guide id="10" pos="7287">
          <p15:clr>
            <a:srgbClr val="1D1D1D"/>
          </p15:clr>
        </p15:guide>
        <p15:guide id="11" pos="8242">
          <p15:clr>
            <a:srgbClr val="1D1D1D"/>
          </p15:clr>
        </p15:guide>
        <p15:guide id="12" pos="9198">
          <p15:clr>
            <a:srgbClr val="1D1D1D"/>
          </p15:clr>
        </p15:guide>
        <p15:guide id="13" pos="10153">
          <p15:clr>
            <a:srgbClr val="1D1D1D"/>
          </p15:clr>
        </p15:guide>
        <p15:guide id="14" pos="11108">
          <p15:clr>
            <a:srgbClr val="1D1D1D"/>
          </p15:clr>
        </p15:guide>
        <p15:guide id="15" pos="12064">
          <p15:clr>
            <a:srgbClr val="1D1D1D"/>
          </p15:clr>
        </p15:guide>
        <p15:guide id="16" orient="horz">
          <p15:clr>
            <a:srgbClr val="1D1D1D"/>
          </p15:clr>
        </p15:guide>
        <p15:guide id="17" orient="horz" pos="7124">
          <p15:clr>
            <a:srgbClr val="1D1D1D"/>
          </p15:clr>
        </p15:guide>
        <p15:guide id="18" orient="horz" pos="600">
          <p15:clr>
            <a:srgbClr val="1D1D1D"/>
          </p15:clr>
        </p15:guide>
        <p15:guide id="19" orient="horz" pos="3562">
          <p15:clr>
            <a:srgbClr val="1D1D1D"/>
          </p15:clr>
        </p15:guide>
        <p15:guide id="20" orient="horz" pos="6524">
          <p15:clr>
            <a:srgbClr val="1D1D1D"/>
          </p15:clr>
        </p15:guide>
        <p15:guide id="21" pos="6786">
          <p15:clr>
            <a:srgbClr val="1D1D1D"/>
          </p15:clr>
        </p15:guide>
        <p15:guide id="22" pos="5878">
          <p15:clr>
            <a:srgbClr val="1D1D1D"/>
          </p15:clr>
        </p15:guide>
        <p15:guide id="23" orient="horz" pos="3018">
          <p15:clr>
            <a:srgbClr val="1D1D1D"/>
          </p15:clr>
        </p15:guide>
        <p15:guide id="24" orient="horz" pos="6646">
          <p15:clr>
            <a:srgbClr val="1D1D1D"/>
          </p15:clr>
        </p15:guide>
        <p15:guide id="25" orient="horz" pos="2836">
          <p15:clr>
            <a:srgbClr val="1D1D1D"/>
          </p15:clr>
        </p15:guide>
        <p15:guide id="26" orient="horz" pos="628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4.xml"/><Relationship Id="rId4" Type="http://schemas.openxmlformats.org/officeDocument/2006/relationships/image" Target="../media/image3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2.xml"/><Relationship Id="rId6" Type="http://schemas.openxmlformats.org/officeDocument/2006/relationships/image" Target="../media/image42.emf"/><Relationship Id="rId5" Type="http://schemas.openxmlformats.org/officeDocument/2006/relationships/image" Target="../media/image41.emf"/><Relationship Id="rId4" Type="http://schemas.openxmlformats.org/officeDocument/2006/relationships/image" Target="../media/image40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4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2.xml"/><Relationship Id="rId6" Type="http://schemas.openxmlformats.org/officeDocument/2006/relationships/image" Target="../media/image42.emf"/><Relationship Id="rId5" Type="http://schemas.openxmlformats.org/officeDocument/2006/relationships/image" Target="../media/image41.emf"/><Relationship Id="rId4" Type="http://schemas.openxmlformats.org/officeDocument/2006/relationships/image" Target="../media/image50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aho.org/en/documents/paho-revolving-fund-vaccine-prices-2022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939A6EB-8095-0D6B-1E7E-9B975C218FCF}"/>
              </a:ext>
            </a:extLst>
          </p:cNvPr>
          <p:cNvSpPr/>
          <p:nvPr/>
        </p:nvSpPr>
        <p:spPr>
          <a:xfrm>
            <a:off x="-30685" y="5223828"/>
            <a:ext cx="12212175" cy="178441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5449" tIns="27725" rIns="55449" bIns="27725" rtlCol="0" anchor="t"/>
          <a:lstStyle/>
          <a:p>
            <a:pPr algn="ctr" defTabSz="336244"/>
            <a:r>
              <a:rPr lang="en-US" sz="3600" b="1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ise à jour technique sur les vaccins contre le papillomavirus :   </a:t>
            </a:r>
          </a:p>
          <a:p>
            <a:pPr algn="ctr" defTabSz="336244"/>
            <a:r>
              <a:rPr lang="en-US" sz="2400" b="1" dirty="0">
                <a:solidFill>
                  <a:srgbClr val="0070C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aractéristiques des vaccins et données sur l'utilisation du schéma à une dose</a:t>
            </a:r>
            <a:endParaRPr lang="en-US" i="1" spc="-91" dirty="0">
              <a:solidFill>
                <a:srgbClr val="0070C0"/>
              </a:solidFill>
              <a:latin typeface="Poppins"/>
              <a:cs typeface="Poppin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AC918E-4605-71B8-78CB-DF3AC6CD6756}"/>
              </a:ext>
            </a:extLst>
          </p:cNvPr>
          <p:cNvSpPr/>
          <p:nvPr/>
        </p:nvSpPr>
        <p:spPr>
          <a:xfrm>
            <a:off x="4598753" y="6250450"/>
            <a:ext cx="3366741" cy="628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336244"/>
            <a:r>
              <a:rPr lang="en-US" sz="1455" dirty="0">
                <a:solidFill>
                  <a:srgbClr val="000000"/>
                </a:solidFill>
                <a:latin typeface="Poppins"/>
              </a:rPr>
              <a:t>OMS/IVB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1BAD6EF-956E-F7BF-67EC-AEB309BE6AB2}"/>
              </a:ext>
            </a:extLst>
          </p:cNvPr>
          <p:cNvSpPr/>
          <p:nvPr/>
        </p:nvSpPr>
        <p:spPr>
          <a:xfrm>
            <a:off x="4598753" y="6035418"/>
            <a:ext cx="2902078" cy="628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36244"/>
            <a:endParaRPr lang="en-US" sz="1455" dirty="0">
              <a:solidFill>
                <a:srgbClr val="000000"/>
              </a:solidFill>
              <a:latin typeface="Poppin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C5F65B7-DF96-4BC1-4AC7-192FFB57AADC}"/>
              </a:ext>
            </a:extLst>
          </p:cNvPr>
          <p:cNvSpPr/>
          <p:nvPr/>
        </p:nvSpPr>
        <p:spPr>
          <a:xfrm>
            <a:off x="8708675" y="6274644"/>
            <a:ext cx="2915766" cy="628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336244"/>
            <a:r>
              <a:rPr lang="en-US" sz="1400" dirty="0">
                <a:solidFill>
                  <a:srgbClr val="000000"/>
                </a:solidFill>
                <a:latin typeface="Poppins"/>
              </a:rPr>
              <a:t>Réunion des </a:t>
            </a:r>
            <a:r>
              <a:rPr lang="en-US" sz="1400" dirty="0" err="1">
                <a:solidFill>
                  <a:srgbClr val="000000"/>
                </a:solidFill>
                <a:latin typeface="Poppins"/>
              </a:rPr>
              <a:t>Directeurs</a:t>
            </a:r>
            <a:r>
              <a:rPr lang="en-US" sz="1400" dirty="0">
                <a:solidFill>
                  <a:srgbClr val="000000"/>
                </a:solidFill>
                <a:latin typeface="Poppins"/>
              </a:rPr>
              <a:t> du PEV</a:t>
            </a:r>
          </a:p>
          <a:p>
            <a:pPr algn="r" defTabSz="336244"/>
            <a:r>
              <a:rPr lang="en-US" sz="1400" dirty="0">
                <a:solidFill>
                  <a:srgbClr val="000000"/>
                </a:solidFill>
                <a:latin typeface="Poppins"/>
              </a:rPr>
              <a:t>septembre 2024</a:t>
            </a:r>
            <a:endParaRPr lang="en-US" dirty="0">
              <a:solidFill>
                <a:srgbClr val="000000"/>
              </a:solidFill>
              <a:latin typeface="Poppin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FD2DD9A-F738-4809-66FE-673E7C75AC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781" y="5776277"/>
            <a:ext cx="894005" cy="8872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5D4A221-46A8-7DBA-B8F6-26EF402B34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5802" y="269293"/>
            <a:ext cx="10831437" cy="5172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995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B272692-0CC6-3BFB-5385-C4FF094A5BDD}"/>
              </a:ext>
            </a:extLst>
          </p:cNvPr>
          <p:cNvSpPr/>
          <p:nvPr/>
        </p:nvSpPr>
        <p:spPr>
          <a:xfrm>
            <a:off x="407149" y="1244906"/>
            <a:ext cx="11784851" cy="561309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7633783-64D8-879C-244E-6500022A0C8F}"/>
              </a:ext>
            </a:extLst>
          </p:cNvPr>
          <p:cNvSpPr/>
          <p:nvPr/>
        </p:nvSpPr>
        <p:spPr>
          <a:xfrm>
            <a:off x="767255" y="3012963"/>
            <a:ext cx="10762594" cy="103352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0851B8-B752-4F1D-AA02-C7E3134FE3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915" y="1609522"/>
            <a:ext cx="11220170" cy="2602566"/>
          </a:xfrm>
        </p:spPr>
        <p:txBody>
          <a:bodyPr>
            <a:normAutofit fontScale="92500"/>
          </a:bodyPr>
          <a:lstStyle/>
          <a:p>
            <a:r>
              <a:rPr lang="en-US" sz="2400" dirty="0">
                <a:latin typeface="+mj-lt"/>
              </a:rPr>
              <a:t>" Un schéma à dose unique doit être envisagé pour les </a:t>
            </a:r>
            <a:r>
              <a:rPr lang="en-US" sz="2400" dirty="0">
                <a:solidFill>
                  <a:srgbClr val="FF0000"/>
                </a:solidFill>
                <a:latin typeface="+mj-lt"/>
              </a:rPr>
              <a:t>produits</a:t>
            </a:r>
            <a:r>
              <a:rPr lang="en-US" sz="2400" dirty="0">
                <a:latin typeface="+mj-lt"/>
              </a:rPr>
              <a:t> vaccinaux anti-HPV* pour lesquels </a:t>
            </a:r>
            <a:r>
              <a:rPr lang="en-US" sz="2400" u="sng" dirty="0">
                <a:latin typeface="+mj-lt"/>
              </a:rPr>
              <a:t>on dispose de </a:t>
            </a:r>
            <a:r>
              <a:rPr lang="en-US" sz="2400" dirty="0">
                <a:latin typeface="+mj-lt"/>
              </a:rPr>
              <a:t>données sur l'efficacité ou l'</a:t>
            </a:r>
            <a:r>
              <a:rPr lang="en-US" sz="2400" u="sng" dirty="0">
                <a:latin typeface="+mj-lt"/>
              </a:rPr>
              <a:t>immunobridage avec des vaccins dont l'efficacité à dose unique a été prouvée</a:t>
            </a:r>
            <a:r>
              <a:rPr lang="en-US" sz="2400" dirty="0">
                <a:latin typeface="+mj-lt"/>
              </a:rPr>
              <a:t>. " (Position de l'OMS sur le VPH, 2022)</a:t>
            </a:r>
          </a:p>
          <a:p>
            <a:endParaRPr lang="en-US" dirty="0">
              <a:latin typeface="+mj-lt"/>
            </a:endParaRPr>
          </a:p>
          <a:p>
            <a:pPr marL="914400" lvl="2" indent="0">
              <a:buNone/>
            </a:pPr>
            <a:r>
              <a:rPr lang="en-US" sz="2400" dirty="0">
                <a:solidFill>
                  <a:srgbClr val="FF0000"/>
                </a:solidFill>
                <a:latin typeface="+mj-lt"/>
              </a:rPr>
              <a:t>*En </a:t>
            </a:r>
            <a:r>
              <a:rPr lang="en-US" sz="2400" dirty="0">
                <a:solidFill>
                  <a:srgbClr val="0070C0"/>
                </a:solidFill>
                <a:latin typeface="+mj-lt"/>
              </a:rPr>
              <a:t>date de décembre 2022, les produits pour lesquels les données d'efficacité et d'immunogénicité soutiennent l'utilisation d'une dose unique comprennent </a:t>
            </a:r>
            <a:r>
              <a:rPr lang="en-US" sz="2400" u="sng" dirty="0">
                <a:solidFill>
                  <a:srgbClr val="0070C0"/>
                </a:solidFill>
                <a:latin typeface="+mj-lt"/>
              </a:rPr>
              <a:t>Cervarix, Gardasil et Gardasil9.</a:t>
            </a:r>
          </a:p>
          <a:p>
            <a:endParaRPr lang="en-US" dirty="0"/>
          </a:p>
          <a:p>
            <a:pPr marL="0" indent="0">
              <a:buNone/>
            </a:pPr>
            <a:endParaRPr lang="en-US" dirty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D66B69-6606-4BF5-8E84-74AEF9BBCD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535BCA-EA75-47BD-A3BC-78CED2BA246E}" type="slidenum">
              <a:rPr kumimoji="0" lang="fr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412C07E-7170-4401-BA35-307C99BAF9DF}"/>
              </a:ext>
            </a:extLst>
          </p:cNvPr>
          <p:cNvSpPr txBox="1"/>
          <p:nvPr/>
        </p:nvSpPr>
        <p:spPr>
          <a:xfrm>
            <a:off x="6946702" y="6372265"/>
            <a:ext cx="419979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Source </a:t>
            </a: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srgbClr val="002D64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: https://www.who.int/publications/i/item/who-wer975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D6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93C4D5A-D5C1-4011-9138-495F10A6F586}"/>
              </a:ext>
            </a:extLst>
          </p:cNvPr>
          <p:cNvSpPr txBox="1">
            <a:spLocks/>
          </p:cNvSpPr>
          <p:nvPr/>
        </p:nvSpPr>
        <p:spPr>
          <a:xfrm>
            <a:off x="564681" y="4364529"/>
            <a:ext cx="11220170" cy="185529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chemeClr val="accent1">
                <a:shade val="50000"/>
              </a:schemeClr>
            </a:solidFill>
          </a:ln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"L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'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mmunobridging fait référence à la preuve que les niveaux d'anticorps à </a:t>
            </a:r>
            <a:r>
              <a:rPr lang="en-US" sz="3200" dirty="0">
                <a:solidFill>
                  <a:prstClr val="black"/>
                </a:solidFill>
                <a:latin typeface="Calibri Light"/>
              </a:rPr>
              <a:t>6 mois (pic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) et à 24 mois (plateau) pour un vaccin sont comparables à ceux des vaccins dont l'efficacité à dose unique a été prouvée".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8993FFA-2CD5-1C47-77D9-A704E357C0A2}"/>
              </a:ext>
            </a:extLst>
          </p:cNvPr>
          <p:cNvSpPr txBox="1">
            <a:spLocks/>
          </p:cNvSpPr>
          <p:nvPr/>
        </p:nvSpPr>
        <p:spPr>
          <a:xfrm>
            <a:off x="381000" y="116402"/>
            <a:ext cx="10972800" cy="976063"/>
          </a:xfrm>
          <a:prstGeom prst="rect">
            <a:avLst/>
          </a:prstGeom>
        </p:spPr>
        <p:txBody>
          <a:bodyPr anchor="b" anchorCtr="0"/>
          <a:lstStyle>
            <a:lvl1pPr algn="l" rtl="0" eaLnBrk="0" fontAlgn="base" hangingPunct="0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defRPr sz="3733" b="1" kern="1200" baseline="0">
                <a:solidFill>
                  <a:srgbClr val="8B9B92"/>
                </a:solidFill>
                <a:effectLst/>
                <a:latin typeface="Calibri" pitchFamily="34" charset="0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Myriad Web Pro" panose="020B0503030403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Myriad Web Pro" panose="020B0503030403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Myriad Web Pro" panose="020B0503030403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Myriad Web Pro" panose="020B0503030403020204" pitchFamily="34" charset="0"/>
              </a:defRPr>
            </a:lvl5pPr>
            <a:lvl6pPr marL="609585" algn="ctr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Myriad Web Pro" panose="020B0503030403020204" pitchFamily="34" charset="0"/>
              </a:defRPr>
            </a:lvl6pPr>
            <a:lvl7pPr marL="1219170" algn="ctr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Myriad Web Pro" panose="020B0503030403020204" pitchFamily="34" charset="0"/>
              </a:defRPr>
            </a:lvl7pPr>
            <a:lvl8pPr marL="1828754" algn="ctr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Myriad Web Pro" panose="020B0503030403020204" pitchFamily="34" charset="0"/>
              </a:defRPr>
            </a:lvl8pPr>
            <a:lvl9pPr marL="2438339" algn="ctr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Myriad Web Pro" panose="020B050303040302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2600" dirty="0">
                <a:solidFill>
                  <a:schemeClr val="tx1"/>
                </a:solidFill>
                <a:latin typeface="+mj-lt"/>
              </a:rPr>
              <a:t>Tous les produits ne disposent pas de données d'efficacité pour une dose ...</a:t>
            </a:r>
          </a:p>
          <a:p>
            <a:pPr>
              <a:lnSpc>
                <a:spcPct val="100000"/>
              </a:lnSpc>
            </a:pPr>
            <a:r>
              <a:rPr lang="en-US" sz="2600" dirty="0">
                <a:solidFill>
                  <a:schemeClr val="tx1"/>
                </a:solidFill>
                <a:latin typeface="+mj-lt"/>
              </a:rPr>
              <a:t>… la voie de l'immunobridging et le statut des nouveaux produits</a:t>
            </a:r>
            <a:endParaRPr lang="en-US" sz="2600" dirty="0">
              <a:solidFill>
                <a:schemeClr val="tx1"/>
              </a:solidFill>
              <a:latin typeface="+mj-lt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2158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A0DCAB7-BA75-9600-AAE9-52714A831D40}"/>
              </a:ext>
            </a:extLst>
          </p:cNvPr>
          <p:cNvSpPr txBox="1"/>
          <p:nvPr/>
        </p:nvSpPr>
        <p:spPr>
          <a:xfrm>
            <a:off x="6780128" y="871131"/>
            <a:ext cx="5180643" cy="585034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u="sng" dirty="0"/>
              <a:t>L'OMS a examiné les données à 6 et 24 mois et a conclu :</a:t>
            </a:r>
          </a:p>
          <a:p>
            <a:endParaRPr lang="en-US" u="sng" dirty="0"/>
          </a:p>
          <a:p>
            <a:r>
              <a:rPr lang="fr-CH" sz="1800" i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ux de </a:t>
            </a:r>
            <a:r>
              <a:rPr lang="fr-CH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MT (6 &amp; 24m) </a:t>
            </a:r>
            <a:r>
              <a:rPr lang="fr-CH" i="1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rès </a:t>
            </a:r>
            <a:r>
              <a:rPr lang="fr-CH" i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 dose de Cecolin </a:t>
            </a:r>
          </a:p>
          <a:p>
            <a:r>
              <a:rPr lang="fr-CH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nt non </a:t>
            </a:r>
            <a:r>
              <a:rPr lang="fr-CH" sz="1800" i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férieures </a:t>
            </a:r>
            <a:r>
              <a:rPr lang="fr-CH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à la </a:t>
            </a:r>
            <a:r>
              <a:rPr lang="fr-CH" sz="1800" i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éponse </a:t>
            </a:r>
            <a:r>
              <a:rPr lang="fr-CH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munitaire </a:t>
            </a:r>
            <a:r>
              <a:rPr lang="fr-CH" sz="1800" i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rès </a:t>
            </a:r>
            <a:r>
              <a:rPr lang="fr-CH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e dose de </a:t>
            </a:r>
            <a:r>
              <a:rPr lang="fr-CH" i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ardasil, un </a:t>
            </a:r>
            <a:r>
              <a:rPr lang="fr-CH" i="1" dirty="0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it </a:t>
            </a:r>
            <a:r>
              <a:rPr lang="fr-CH" sz="1800" i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nt les </a:t>
            </a:r>
            <a:r>
              <a:rPr lang="fr-CH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nnées d'</a:t>
            </a:r>
            <a:r>
              <a:rPr lang="fr-CH" sz="1800" i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fficacité portent </a:t>
            </a:r>
            <a:r>
              <a:rPr lang="fr-CH" sz="1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r une dose</a:t>
            </a:r>
            <a:r>
              <a:rPr lang="fr-CH" i="1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endParaRPr lang="fr-CH" i="1" dirty="0"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fr-CH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 </a:t>
            </a:r>
            <a:r>
              <a:rPr lang="fr-CH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séquence</a:t>
            </a:r>
            <a:r>
              <a:rPr lang="fr-CH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u="sng" dirty="0"/>
              <a:t>Cecolin* a été ajouté à la liste des vaccins qui peuvent être utilisés dans des schémas à une dose (</a:t>
            </a:r>
            <a:r>
              <a:rPr lang="en-US" i="1" u="sng" dirty="0"/>
              <a:t>off-label</a:t>
            </a:r>
            <a:r>
              <a:rPr lang="en-US" u="sng" dirty="0"/>
              <a:t>).</a:t>
            </a:r>
          </a:p>
          <a:p>
            <a:endParaRPr lang="en-US" u="sng" dirty="0"/>
          </a:p>
          <a:p>
            <a:r>
              <a:rPr lang="en-US" sz="1600" dirty="0"/>
              <a:t>Publication des données de l'essai final à 24 mois 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/>
              <a:t>Conférence IPV 12-15 Nov 2024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/>
              <a:t>L'article sera soumis dès que possible</a:t>
            </a:r>
          </a:p>
          <a:p>
            <a:endParaRPr lang="en-US" sz="1600" dirty="0"/>
          </a:p>
          <a:p>
            <a:r>
              <a:rPr lang="en-US" sz="1600" dirty="0"/>
              <a:t>Les NITAG qui ont besoin d'une décision urgente concernant Cecolin peuvent demander à PATH de présenter des données (confidentielles) avant la publication des données.</a:t>
            </a:r>
          </a:p>
          <a:p>
            <a:r>
              <a:rPr lang="en-US" sz="1600" dirty="0"/>
              <a:t> </a:t>
            </a:r>
          </a:p>
          <a:p>
            <a:r>
              <a:rPr lang="en-US" sz="1600" dirty="0"/>
              <a:t>* Cecolin est homologué par l'OMS et est autorisé pour l'utilisation chez les femme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096D16-5BF0-B239-E568-D62B15EE58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408" y="871132"/>
            <a:ext cx="6587412" cy="1325563"/>
          </a:xfrm>
        </p:spPr>
        <p:txBody>
          <a:bodyPr>
            <a:normAutofit/>
          </a:bodyPr>
          <a:lstStyle/>
          <a:p>
            <a:pPr algn="ctr"/>
            <a:r>
              <a:rPr lang="en-US" sz="2000" b="1" dirty="0">
                <a:solidFill>
                  <a:schemeClr val="accent1">
                    <a:lumMod val="75000"/>
                  </a:schemeClr>
                </a:solidFill>
              </a:rPr>
              <a:t>Données intermédiaires à 6 mois Réponse immunitaire Cecolin vs Gardasil</a:t>
            </a:r>
            <a:br>
              <a:rPr lang="en-US" sz="20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1800" b="1" dirty="0"/>
              <a:t>indiquent une non-infériorité à 6 mois</a:t>
            </a:r>
            <a:endParaRPr lang="en-US" sz="20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9B0508-9959-1A56-B03E-268EF2F25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535BCA-EA75-47BD-A3BC-78CED2BA246E}" type="slidenum">
              <a:rPr lang="fr-CA" smtClean="0"/>
              <a:t>11</a:t>
            </a:fld>
            <a:endParaRPr lang="fr-CA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95347DED-D2B2-ECB4-CDAB-326AFC1A29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497" y="6115449"/>
            <a:ext cx="5318234" cy="61555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0" i="0" u="none" strike="noStrike" cap="none" normalizeH="0" baseline="0" dirty="0">
              <a:ln>
                <a:noFill/>
              </a:ln>
              <a:solidFill>
                <a:srgbClr val="5B616B"/>
              </a:solidFill>
              <a:effectLst/>
              <a:latin typeface="BlinkMacSystemFon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400" b="1" dirty="0">
                <a:latin typeface="+mj-lt"/>
              </a:rPr>
              <a:t>Source </a:t>
            </a:r>
            <a:r>
              <a:rPr lang="en-US" altLang="en-US" sz="1400" dirty="0">
                <a:latin typeface="+mj-lt"/>
              </a:rPr>
              <a:t>: 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effectLst/>
                <a:latin typeface="+mj-lt"/>
              </a:rPr>
              <a:t>Vaccine 2024 Apr 2;42(9):2290-2298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400" b="0" i="0" u="none" strike="noStrike" cap="none" normalizeH="0" baseline="0" dirty="0" err="1">
                <a:ln>
                  <a:noFill/>
                </a:ln>
                <a:effectLst/>
                <a:latin typeface="+mj-lt"/>
              </a:rPr>
              <a:t>doi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effectLst/>
                <a:latin typeface="+mj-lt"/>
              </a:rPr>
              <a:t>: 10.1016/j.vaccine.2024.02.077. </a:t>
            </a:r>
            <a:r>
              <a:rPr kumimoji="0" lang="en-US" altLang="en-US" sz="1400" b="0" i="0" u="none" strike="noStrike" cap="none" normalizeH="0" baseline="0" dirty="0" err="1">
                <a:ln>
                  <a:noFill/>
                </a:ln>
                <a:effectLst/>
                <a:latin typeface="+mj-lt"/>
              </a:rPr>
              <a:t>Epub </a:t>
            </a:r>
            <a:r>
              <a:rPr kumimoji="0" lang="en-US" altLang="en-US" sz="1400" b="0" i="0" u="none" strike="noStrike" cap="none" normalizeH="0" baseline="0" dirty="0">
                <a:ln>
                  <a:noFill/>
                </a:ln>
                <a:effectLst/>
                <a:latin typeface="+mj-lt"/>
              </a:rPr>
              <a:t>2024 Mar 1.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F725806-F45D-5A4A-1F5A-A354646434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7614" y="2196695"/>
            <a:ext cx="5007145" cy="293266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43B017A-8B0C-2C73-4A6E-6996EEA25240}"/>
              </a:ext>
            </a:extLst>
          </p:cNvPr>
          <p:cNvSpPr txBox="1"/>
          <p:nvPr/>
        </p:nvSpPr>
        <p:spPr>
          <a:xfrm>
            <a:off x="504497" y="5234154"/>
            <a:ext cx="543384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200" b="1" i="0" dirty="0">
                <a:effectLst/>
                <a:latin typeface="BlinkMacSystemFont"/>
              </a:rPr>
              <a:t>Fig. 3 </a:t>
            </a:r>
            <a:r>
              <a:rPr lang="en-US" sz="1200" b="0" i="0" dirty="0">
                <a:effectLst/>
                <a:latin typeface="BlinkMacSystemFont"/>
              </a:rPr>
              <a:t>Rapports </a:t>
            </a:r>
            <a:r>
              <a:rPr lang="en-US" sz="1200" b="1" i="0" dirty="0">
                <a:effectLst/>
                <a:latin typeface="BlinkMacSystemFont"/>
              </a:rPr>
              <a:t>des concentrations </a:t>
            </a:r>
            <a:r>
              <a:rPr lang="en-US" sz="1200" b="0" i="0" dirty="0">
                <a:effectLst/>
                <a:latin typeface="BlinkMacSystemFont"/>
              </a:rPr>
              <a:t>moyennes géométriques 6 mois après </a:t>
            </a:r>
            <a:r>
              <a:rPr lang="en-US" sz="1200" b="1" i="0" dirty="0">
                <a:effectLst/>
                <a:latin typeface="BlinkMacSystemFont"/>
              </a:rPr>
              <a:t>la dose 1 </a:t>
            </a:r>
            <a:r>
              <a:rPr lang="en-US" sz="1200" b="0" i="0" dirty="0">
                <a:effectLst/>
                <a:latin typeface="BlinkMacSystemFont"/>
              </a:rPr>
              <a:t>Rapports des concentrations moyennes géométriques (CMG) du HPV-16 et du HPV-18 6 mois après la dose 1 entre Cecolin 0, schéma de 6 mois et Gardasil 0, schéma de 6 mois avec des intervalles de confiance de 95 %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2633462-98EE-D070-AD95-CDB0C2113F5D}"/>
              </a:ext>
            </a:extLst>
          </p:cNvPr>
          <p:cNvSpPr txBox="1"/>
          <p:nvPr/>
        </p:nvSpPr>
        <p:spPr>
          <a:xfrm>
            <a:off x="293601" y="136524"/>
            <a:ext cx="11060199" cy="52322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US" sz="2800" dirty="0"/>
              <a:t>MISE À JOUR : nouvelles informations concernant Cecolin</a:t>
            </a:r>
          </a:p>
        </p:txBody>
      </p:sp>
    </p:spTree>
    <p:extLst>
      <p:ext uri="{BB962C8B-B14F-4D97-AF65-F5344CB8AC3E}">
        <p14:creationId xmlns:p14="http://schemas.microsoft.com/office/powerpoint/2010/main" val="39521569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26F584-109A-4B31-909B-826BC3B660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4446" y="844220"/>
            <a:ext cx="5376104" cy="516955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86619CA-CBEB-4BF8-A7F2-D65AD5A38322}"/>
              </a:ext>
            </a:extLst>
          </p:cNvPr>
          <p:cNvSpPr/>
          <p:nvPr/>
        </p:nvSpPr>
        <p:spPr>
          <a:xfrm>
            <a:off x="7245309" y="6281164"/>
            <a:ext cx="43824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ww.who.in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immunization/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pv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8FB11B8-05BF-4DA0-8E49-A7EEB179403A}"/>
              </a:ext>
            </a:extLst>
          </p:cNvPr>
          <p:cNvSpPr/>
          <p:nvPr/>
        </p:nvSpPr>
        <p:spPr>
          <a:xfrm>
            <a:off x="6308979" y="88872"/>
            <a:ext cx="588302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ntre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'échang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'informations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ur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'introductio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cci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r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le papillomaviru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548A67-494D-41AB-A840-8B3EB4BA3D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09177" y="199366"/>
            <a:ext cx="3644478" cy="1145958"/>
          </a:xfrm>
        </p:spPr>
        <p:txBody>
          <a:bodyPr>
            <a:normAutofit fontScale="90000"/>
          </a:bodyPr>
          <a:lstStyle/>
          <a:p>
            <a:r>
              <a:rPr lang="en-US" sz="3600" dirty="0"/>
              <a:t>Ressources sur le VPH </a:t>
            </a:r>
          </a:p>
        </p:txBody>
      </p:sp>
      <p:pic>
        <p:nvPicPr>
          <p:cNvPr id="12" name="Imagen 19">
            <a:extLst>
              <a:ext uri="{FF2B5EF4-FFF2-40B4-BE49-F238E27FC236}">
                <a16:creationId xmlns:a16="http://schemas.microsoft.com/office/drawing/2014/main" id="{CB2EFDFF-2CB8-433E-93F7-BF243001C0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20568" y="6281164"/>
            <a:ext cx="1573878" cy="48576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8CF91C2-4D5E-4E26-A1AF-20577E96F4C7}"/>
              </a:ext>
            </a:extLst>
          </p:cNvPr>
          <p:cNvSpPr txBox="1"/>
          <p:nvPr/>
        </p:nvSpPr>
        <p:spPr>
          <a:xfrm>
            <a:off x="48436" y="3071667"/>
            <a:ext cx="529406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" action="ppaction://noaction"/>
              </a:rPr>
              <a:t>Introduction du vaccin contre le papillomavirus de l'OM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" action="ppaction://noaction"/>
              </a:rPr>
              <a:t>&amp; Tableau de bord de la couverture des pay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215E1CB7-CB80-456A-BC55-7CE8FDC227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1290" y="3186125"/>
            <a:ext cx="621209" cy="676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62BA060D-D8DB-4143-9412-141642C22C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609177" cy="2575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FAAE533-CE47-FD66-2B33-630C24F9E4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9683" y="3862799"/>
            <a:ext cx="4571607" cy="2888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2091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0EB907EE-D834-DD71-C28D-00623535AB6B}"/>
              </a:ext>
            </a:extLst>
          </p:cNvPr>
          <p:cNvGrpSpPr/>
          <p:nvPr/>
        </p:nvGrpSpPr>
        <p:grpSpPr>
          <a:xfrm>
            <a:off x="1149473" y="5680444"/>
            <a:ext cx="2065842" cy="283656"/>
            <a:chOff x="1773530" y="9367473"/>
            <a:chExt cx="3406727" cy="46777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31C6684-5AEF-904B-B74D-848B85752C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678794" y="9399091"/>
              <a:ext cx="1501463" cy="3600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C6063D9-C4B5-6442-8328-EE3A2054224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773530" y="9367473"/>
              <a:ext cx="1508124" cy="467770"/>
            </a:xfrm>
            <a:prstGeom prst="rect">
              <a:avLst/>
            </a:prstGeom>
          </p:spPr>
        </p:pic>
      </p:grp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D368406-69E6-1857-588D-C949B2CBE6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06788" y="6225493"/>
            <a:ext cx="1047977" cy="168059"/>
          </a:xfrm>
        </p:spPr>
        <p:txBody>
          <a:bodyPr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E31AFC-DF42-41A5-B57C-06A83BBA6616}" type="slidenum">
              <a:rPr kumimoji="0" lang="en-GB" sz="1092" b="0" i="0" u="none" strike="noStrike" kern="120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Poppins Medium" pitchFamily="2" charset="77"/>
                <a:ea typeface="+mn-ea"/>
                <a:cs typeface="Poppins Medium" pitchFamily="2" charset="77"/>
              </a:rPr>
              <a:t>2</a:t>
            </a:fld>
            <a:endParaRPr kumimoji="0" lang="en-GB" sz="1092" b="0" i="0" u="none" strike="noStrike" kern="1200" cap="none" spc="0" normalizeH="0" baseline="0" noProof="0" dirty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Poppins Medium" pitchFamily="2" charset="77"/>
              <a:ea typeface="+mn-ea"/>
              <a:cs typeface="Poppins Medium" pitchFamily="2" charset="77"/>
            </a:endParaRPr>
          </a:p>
        </p:txBody>
      </p:sp>
      <p:sp>
        <p:nvSpPr>
          <p:cNvPr id="5" name="Title 15">
            <a:extLst>
              <a:ext uri="{FF2B5EF4-FFF2-40B4-BE49-F238E27FC236}">
                <a16:creationId xmlns:a16="http://schemas.microsoft.com/office/drawing/2014/main" id="{2E98945B-8F32-321A-F52A-C76B15F57DB3}"/>
              </a:ext>
            </a:extLst>
          </p:cNvPr>
          <p:cNvSpPr txBox="1">
            <a:spLocks/>
          </p:cNvSpPr>
          <p:nvPr/>
        </p:nvSpPr>
        <p:spPr>
          <a:xfrm>
            <a:off x="506788" y="143475"/>
            <a:ext cx="3798994" cy="95611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4050"/>
              </a:lnSpc>
              <a:spcBef>
                <a:spcPct val="0"/>
              </a:spcBef>
              <a:buNone/>
              <a:defRPr sz="3400" b="1" i="0" kern="1200">
                <a:solidFill>
                  <a:schemeClr val="tx1"/>
                </a:solidFill>
                <a:latin typeface="Poppins SemiBold" pitchFamily="2" charset="77"/>
                <a:ea typeface="Roboto" panose="02000000000000000000" pitchFamily="2" charset="0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ts val="245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SemiBold" pitchFamily="2" charset="77"/>
                <a:ea typeface="Roboto" panose="02000000000000000000" pitchFamily="2" charset="0"/>
                <a:cs typeface="Poppins SemiBold" pitchFamily="2" charset="77"/>
              </a:rPr>
              <a:t>La couverture vaccinale mondiale contre le papillomavirus chez les jeunes filles a considérablement augmenté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EAA9789-43E1-E481-1D47-0CBCC7D30779}"/>
              </a:ext>
            </a:extLst>
          </p:cNvPr>
          <p:cNvSpPr txBox="1">
            <a:spLocks/>
          </p:cNvSpPr>
          <p:nvPr/>
        </p:nvSpPr>
        <p:spPr>
          <a:xfrm>
            <a:off x="506788" y="2071868"/>
            <a:ext cx="3798994" cy="347240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ts val="2220"/>
              </a:lnSpc>
              <a:spcBef>
                <a:spcPts val="10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 sz="1850" b="0" i="0" kern="1200">
                <a:solidFill>
                  <a:schemeClr val="tx1"/>
                </a:solidFill>
                <a:latin typeface="Poppins Light" pitchFamily="2" charset="77"/>
                <a:ea typeface="+mn-ea"/>
                <a:cs typeface="Poppins Light" pitchFamily="2" charset="77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54492" rtl="0" eaLnBrk="1" fontAlgn="auto" latinLnBrk="0" hangingPunct="1">
              <a:lnSpc>
                <a:spcPts val="1346"/>
              </a:lnSpc>
              <a:spcBef>
                <a:spcPts val="606"/>
              </a:spcBef>
              <a:spcAft>
                <a:spcPts val="182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9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t>La tendance positive observée depuis l'année dernière a été confirmée et de fortes augmentations de la couverture globale par la première et la dernière dose de VPH chez les filles ont été enregistrées en 2023.</a:t>
            </a:r>
          </a:p>
          <a:p>
            <a:pPr marL="0" marR="0" lvl="0" indent="0" algn="l" defTabSz="554492" rtl="0" eaLnBrk="1" fontAlgn="auto" latinLnBrk="0" hangingPunct="1">
              <a:lnSpc>
                <a:spcPts val="1346"/>
              </a:lnSpc>
              <a:spcBef>
                <a:spcPts val="606"/>
              </a:spcBef>
              <a:spcAft>
                <a:spcPts val="182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9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t>L'augmentation de la couverture par le VPH est due en particulier aux nouvelles introductions et à l'expansion des programmes, ainsi qu'à des signes encourageants de reprise de la couverture dans les programmes existants.  </a:t>
            </a:r>
          </a:p>
          <a:p>
            <a:pPr marL="0" marR="0" lvl="0" indent="0" algn="l" defTabSz="554492" rtl="0" eaLnBrk="1" fontAlgn="auto" latinLnBrk="0" hangingPunct="1">
              <a:lnSpc>
                <a:spcPts val="1346"/>
              </a:lnSpc>
              <a:spcBef>
                <a:spcPts val="606"/>
              </a:spcBef>
              <a:spcAft>
                <a:spcPts val="182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97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t>Tous les pays sont inclus dans les calculs mondiaux et régionaux. Les pays disposant de programmes HPV mais ne déclarant pas de données en 2023 sont mis à plat sur la base des données de 2022.</a:t>
            </a:r>
          </a:p>
          <a:p>
            <a:pPr marL="0" marR="0" lvl="0" indent="0" algn="l" defTabSz="554492" rtl="0" eaLnBrk="1" fontAlgn="auto" latinLnBrk="0" hangingPunct="1">
              <a:lnSpc>
                <a:spcPts val="1346"/>
              </a:lnSpc>
              <a:spcBef>
                <a:spcPts val="606"/>
              </a:spcBef>
              <a:spcAft>
                <a:spcPts val="182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97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t>Les pays où le vaccin contre le VPH n'a pas été introduit sont inclus dans le calcul de l'estimation en utilisant une valeur de zéro. 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ABA2B1CF-4219-645F-2266-B2320FDC7D9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554158" y="6225493"/>
            <a:ext cx="1314891" cy="168059"/>
          </a:xfrm>
        </p:spPr>
        <p:txBody>
          <a:bodyPr/>
          <a:lstStyle/>
          <a:p>
            <a:pPr marL="0" marR="0" lvl="0" indent="0" algn="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92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Poppins Medium" pitchFamily="2" charset="77"/>
                <a:ea typeface="+mn-ea"/>
                <a:cs typeface="Poppins Medium" pitchFamily="2" charset="77"/>
              </a:rPr>
              <a:t>WUENIC 2023</a:t>
            </a:r>
          </a:p>
        </p:txBody>
      </p:sp>
    </p:spTree>
    <p:extLst>
      <p:ext uri="{BB962C8B-B14F-4D97-AF65-F5344CB8AC3E}">
        <p14:creationId xmlns:p14="http://schemas.microsoft.com/office/powerpoint/2010/main" val="1299412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svg="http://schemas.microsoft.com/office/drawing/2016/SVG/main" xmlns:a16="http://schemas.microsoft.com/office/drawing/2014/main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B11DFD5-8F8D-0A47-807F-A6CBF9BC9C20}"/>
              </a:ext>
            </a:extLst>
          </p:cNvPr>
          <p:cNvSpPr/>
          <p:nvPr/>
        </p:nvSpPr>
        <p:spPr>
          <a:xfrm>
            <a:off x="407149" y="1008742"/>
            <a:ext cx="11784851" cy="583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3C5A2C5-84B8-A0FC-948E-B12E5206F4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6153" y="1085896"/>
            <a:ext cx="8211696" cy="5677692"/>
          </a:xfrm>
          <a:prstGeom prst="rect">
            <a:avLst/>
          </a:prstGeom>
        </p:spPr>
      </p:pic>
      <p:sp>
        <p:nvSpPr>
          <p:cNvPr id="21" name="TextBox 7">
            <a:extLst>
              <a:ext uri="{FF2B5EF4-FFF2-40B4-BE49-F238E27FC236}">
                <a16:creationId xmlns:a16="http://schemas.microsoft.com/office/drawing/2014/main" id="{9A7C1C62-1DFE-1044-5E01-12D5A99D7C65}"/>
              </a:ext>
            </a:extLst>
          </p:cNvPr>
          <p:cNvSpPr txBox="1"/>
          <p:nvPr/>
        </p:nvSpPr>
        <p:spPr>
          <a:xfrm rot="16200000">
            <a:off x="-3261185" y="3198167"/>
            <a:ext cx="6858001" cy="461665"/>
          </a:xfrm>
          <a:prstGeom prst="rect">
            <a:avLst/>
          </a:prstGeom>
          <a:solidFill>
            <a:srgbClr val="26CCC7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VACCINATION CONTRE LE VHC DANS LE MOND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C7F8BF7-7C5A-454E-9C19-454D30F8D5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1488" y="6122327"/>
            <a:ext cx="3116110" cy="47457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B2D1A21-0D2A-4802-B0E4-78BFE3FF67C3}"/>
              </a:ext>
            </a:extLst>
          </p:cNvPr>
          <p:cNvSpPr txBox="1"/>
          <p:nvPr/>
        </p:nvSpPr>
        <p:spPr>
          <a:xfrm>
            <a:off x="446849" y="5588940"/>
            <a:ext cx="3145152" cy="11695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Date de la diapositiv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: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Aoû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 20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Production de la carte :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Immunisation, vaccins et produits biologiques (IVB), Organisation mondiale de la santé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Source des données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t>: Tableau de bord de l'OMS sur l'introduction du vaccin contre le papillomaviru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4792" y="109078"/>
            <a:ext cx="10185722" cy="773360"/>
          </a:xfrm>
          <a:noFill/>
        </p:spPr>
        <p:txBody>
          <a:bodyPr>
            <a:noAutofit/>
          </a:bodyPr>
          <a:lstStyle/>
          <a:p>
            <a:r>
              <a:rPr lang="en-US" sz="3600" b="1" dirty="0">
                <a:solidFill>
                  <a:prstClr val="black"/>
                </a:solidFill>
              </a:rPr>
              <a:t>143 pays ont introduit la vaccination contre le papillomavirus dans leur programme national</a:t>
            </a:r>
            <a:endParaRPr lang="en-US" sz="3600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612034B-202D-4BFB-A1FB-A7B1F657AD09}"/>
              </a:ext>
            </a:extLst>
          </p:cNvPr>
          <p:cNvSpPr/>
          <p:nvPr/>
        </p:nvSpPr>
        <p:spPr>
          <a:xfrm>
            <a:off x="3831562" y="1116956"/>
            <a:ext cx="357884" cy="5905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331E2A77-2DEB-072D-DEC6-62BDCA3C6206}"/>
              </a:ext>
            </a:extLst>
          </p:cNvPr>
          <p:cNvSpPr/>
          <p:nvPr/>
        </p:nvSpPr>
        <p:spPr>
          <a:xfrm>
            <a:off x="477418" y="4530883"/>
            <a:ext cx="2566282" cy="861774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Objectif 2030 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 194 pays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A58DC37D-5E3F-98D2-B5E7-F78AA16C042D}"/>
              </a:ext>
            </a:extLst>
          </p:cNvPr>
          <p:cNvSpPr/>
          <p:nvPr/>
        </p:nvSpPr>
        <p:spPr>
          <a:xfrm>
            <a:off x="446849" y="1269060"/>
            <a:ext cx="3145153" cy="1240486"/>
          </a:xfrm>
          <a:prstGeom prst="roundRect">
            <a:avLst/>
          </a:prstGeom>
          <a:solidFill>
            <a:srgbClr val="00800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144 (74%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pays ont introduit la vaccination contre le papillomavirus</a:t>
            </a:r>
          </a:p>
        </p:txBody>
      </p:sp>
      <p:sp>
        <p:nvSpPr>
          <p:cNvPr id="15" name="Rectangle : coins arrondis 14">
            <a:extLst>
              <a:ext uri="{FF2B5EF4-FFF2-40B4-BE49-F238E27FC236}">
                <a16:creationId xmlns:a16="http://schemas.microsoft.com/office/drawing/2014/main" id="{B21D17C1-F88E-8DFE-AD8D-77A56FB50F7E}"/>
              </a:ext>
            </a:extLst>
          </p:cNvPr>
          <p:cNvSpPr/>
          <p:nvPr/>
        </p:nvSpPr>
        <p:spPr>
          <a:xfrm>
            <a:off x="446850" y="2969205"/>
            <a:ext cx="2956107" cy="943037"/>
          </a:xfrm>
          <a:prstGeom prst="roundRect">
            <a:avLst/>
          </a:prstGeom>
          <a:solidFill>
            <a:srgbClr val="E9F1B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50 (26%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Arial"/>
              </a:rPr>
              <a:t>les pays n'ont pas introduit de</a:t>
            </a: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2421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4646"/>
    </mc:Choice>
    <mc:Fallback xmlns="" xmlns:a16="http://schemas.microsoft.com/office/drawing/2014/main">
      <p:transition spd="slow" advTm="54646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15B45C-0395-5381-3CAB-8257207823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775231-6014-6928-4144-9CA2CECFFD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BCBA80-0D5C-6776-B1A7-303B7B421F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84" y="334347"/>
            <a:ext cx="12192000" cy="681763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14DFE8A-3D82-C95B-07C3-12EA9416CFE9}"/>
              </a:ext>
            </a:extLst>
          </p:cNvPr>
          <p:cNvSpPr/>
          <p:nvPr/>
        </p:nvSpPr>
        <p:spPr>
          <a:xfrm>
            <a:off x="10517740" y="1031555"/>
            <a:ext cx="720069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60%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F28785-C23C-8BAA-9F89-B2B3F5E7A751}"/>
              </a:ext>
            </a:extLst>
          </p:cNvPr>
          <p:cNvSpPr/>
          <p:nvPr/>
        </p:nvSpPr>
        <p:spPr>
          <a:xfrm>
            <a:off x="9694398" y="5682606"/>
            <a:ext cx="631903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61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A1FA525-9C27-A30A-FFC0-8DC37642B751}"/>
              </a:ext>
            </a:extLst>
          </p:cNvPr>
          <p:cNvSpPr txBox="1"/>
          <p:nvPr/>
        </p:nvSpPr>
        <p:spPr>
          <a:xfrm>
            <a:off x="3564293" y="1018575"/>
            <a:ext cx="625151" cy="584775"/>
          </a:xfrm>
          <a:prstGeom prst="rect">
            <a:avLst/>
          </a:prstGeom>
          <a:solidFill>
            <a:srgbClr val="FAE1F1"/>
          </a:solidFill>
        </p:spPr>
        <p:txBody>
          <a:bodyPr wrap="square" rtlCol="0">
            <a:spAutoFit/>
          </a:bodyPr>
          <a:lstStyle/>
          <a:p>
            <a:r>
              <a:rPr lang="en-US" sz="3200" dirty="0"/>
              <a:t>40</a:t>
            </a:r>
            <a:endParaRPr lang="en-US" sz="36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62835C8-CC1C-97D5-1FCD-C86B79B75AFF}"/>
              </a:ext>
            </a:extLst>
          </p:cNvPr>
          <p:cNvSpPr/>
          <p:nvPr/>
        </p:nvSpPr>
        <p:spPr>
          <a:xfrm>
            <a:off x="9255969" y="4553340"/>
            <a:ext cx="2936031" cy="2248678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2F77F59-7525-E663-FFDF-6BD9237E0537}"/>
              </a:ext>
            </a:extLst>
          </p:cNvPr>
          <p:cNvSpPr/>
          <p:nvPr/>
        </p:nvSpPr>
        <p:spPr>
          <a:xfrm>
            <a:off x="9255969" y="4735165"/>
            <a:ext cx="2896947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AFRICAIN </a:t>
            </a:r>
          </a:p>
          <a:p>
            <a:pPr algn="ctr"/>
            <a:r>
              <a:rPr lang="en-US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RÉG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7DC7304-4FDD-40EB-3A9A-E98D4062FA19}"/>
              </a:ext>
            </a:extLst>
          </p:cNvPr>
          <p:cNvSpPr txBox="1"/>
          <p:nvPr/>
        </p:nvSpPr>
        <p:spPr>
          <a:xfrm>
            <a:off x="2826398" y="1651782"/>
            <a:ext cx="7557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F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7B76FC9-9952-CCB3-8752-D87E37106EC4}"/>
              </a:ext>
            </a:extLst>
          </p:cNvPr>
          <p:cNvSpPr txBox="1"/>
          <p:nvPr/>
        </p:nvSpPr>
        <p:spPr>
          <a:xfrm>
            <a:off x="3409508" y="469572"/>
            <a:ext cx="13070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Afrique</a:t>
            </a:r>
            <a:endParaRPr lang="en-US" sz="28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F4124B-EB96-CA99-B0B5-EC33CB8A11CE}"/>
              </a:ext>
            </a:extLst>
          </p:cNvPr>
          <p:cNvSpPr txBox="1"/>
          <p:nvPr/>
        </p:nvSpPr>
        <p:spPr>
          <a:xfrm>
            <a:off x="2826398" y="3123105"/>
            <a:ext cx="51979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>
                <a:solidFill>
                  <a:srgbClr val="7030A0"/>
                </a:solidFill>
              </a:rPr>
              <a:t>2</a:t>
            </a:r>
            <a:r>
              <a:rPr lang="en-US" b="1" i="1" baseline="30000" dirty="0">
                <a:solidFill>
                  <a:srgbClr val="7030A0"/>
                </a:solidFill>
              </a:rPr>
              <a:t>ème</a:t>
            </a:r>
            <a:r>
              <a:rPr lang="en-US" b="1" i="1" dirty="0">
                <a:solidFill>
                  <a:srgbClr val="7030A0"/>
                </a:solidFill>
              </a:rPr>
              <a:t> rang </a:t>
            </a:r>
            <a:r>
              <a:rPr lang="en-US" b="1" i="1" dirty="0" err="1">
                <a:solidFill>
                  <a:srgbClr val="7030A0"/>
                </a:solidFill>
              </a:rPr>
              <a:t>parmi</a:t>
            </a:r>
            <a:r>
              <a:rPr lang="en-US" b="1" i="1" dirty="0">
                <a:solidFill>
                  <a:srgbClr val="7030A0"/>
                </a:solidFill>
              </a:rPr>
              <a:t> les </a:t>
            </a:r>
            <a:r>
              <a:rPr lang="en-US" b="1" i="1" dirty="0" err="1">
                <a:solidFill>
                  <a:srgbClr val="7030A0"/>
                </a:solidFill>
              </a:rPr>
              <a:t>régions</a:t>
            </a:r>
            <a:r>
              <a:rPr lang="en-US" b="1" i="1" dirty="0">
                <a:solidFill>
                  <a:srgbClr val="7030A0"/>
                </a:solidFill>
              </a:rPr>
              <a:t> de </a:t>
            </a:r>
            <a:r>
              <a:rPr lang="en-US" b="1" i="1" dirty="0" err="1">
                <a:solidFill>
                  <a:srgbClr val="7030A0"/>
                </a:solidFill>
              </a:rPr>
              <a:t>l'OMS</a:t>
            </a:r>
            <a:r>
              <a:rPr lang="en-US" b="1" i="1" dirty="0">
                <a:solidFill>
                  <a:srgbClr val="7030A0"/>
                </a:solidFill>
              </a:rPr>
              <a:t>, derrière </a:t>
            </a:r>
            <a:r>
              <a:rPr lang="en-US" b="1" i="1" dirty="0" err="1">
                <a:solidFill>
                  <a:srgbClr val="7030A0"/>
                </a:solidFill>
              </a:rPr>
              <a:t>l'AMR</a:t>
            </a:r>
            <a:r>
              <a:rPr lang="en-US" b="1" i="1" dirty="0">
                <a:solidFill>
                  <a:srgbClr val="7030A0"/>
                </a:solidFill>
              </a:rPr>
              <a:t> (68%) ! </a:t>
            </a:r>
          </a:p>
        </p:txBody>
      </p:sp>
    </p:spTree>
    <p:extLst>
      <p:ext uri="{BB962C8B-B14F-4D97-AF65-F5344CB8AC3E}">
        <p14:creationId xmlns:p14="http://schemas.microsoft.com/office/powerpoint/2010/main" val="5842433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CBADAFBB-F053-C795-F7C4-E5D876D553F9}"/>
              </a:ext>
            </a:extLst>
          </p:cNvPr>
          <p:cNvSpPr/>
          <p:nvPr/>
        </p:nvSpPr>
        <p:spPr>
          <a:xfrm>
            <a:off x="387763" y="1134736"/>
            <a:ext cx="11804237" cy="57132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5EC8A0-55D5-C859-93EE-7F2B4DC40188}"/>
              </a:ext>
            </a:extLst>
          </p:cNvPr>
          <p:cNvSpPr txBox="1">
            <a:spLocks/>
          </p:cNvSpPr>
          <p:nvPr/>
        </p:nvSpPr>
        <p:spPr>
          <a:xfrm>
            <a:off x="460664" y="94303"/>
            <a:ext cx="11270672" cy="85010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defTabSz="554492">
              <a:lnSpc>
                <a:spcPct val="90000"/>
              </a:lnSpc>
              <a:spcBef>
                <a:spcPct val="0"/>
              </a:spcBef>
              <a:buNone/>
              <a:defRPr sz="3600" b="1" i="0"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0" marR="0" lvl="0" indent="0" algn="ctr" defTabSz="55449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La mise à jour des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recommandations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 de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l'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OMS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*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sur le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calendrier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 de vaccination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contre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 le papillomavirus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peut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optimiser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 la couverture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vaccinale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sym typeface="Arial"/>
              </a:rPr>
              <a:t>.</a:t>
            </a:r>
          </a:p>
        </p:txBody>
      </p:sp>
      <p:sp>
        <p:nvSpPr>
          <p:cNvPr id="4" name="Rectangle: Rounded Corners 6">
            <a:extLst>
              <a:ext uri="{FF2B5EF4-FFF2-40B4-BE49-F238E27FC236}">
                <a16:creationId xmlns:a16="http://schemas.microsoft.com/office/drawing/2014/main" id="{06CD012C-18EE-D6E0-6BFA-4E1FD405AA31}"/>
              </a:ext>
            </a:extLst>
          </p:cNvPr>
          <p:cNvSpPr/>
          <p:nvPr/>
        </p:nvSpPr>
        <p:spPr>
          <a:xfrm>
            <a:off x="460333" y="1213137"/>
            <a:ext cx="7870436" cy="5040517"/>
          </a:xfrm>
          <a:prstGeom prst="roundRect">
            <a:avLst>
              <a:gd name="adj" fmla="val 1222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/>
              <a:ea typeface="+mn-ea"/>
              <a:cs typeface="+mn-cs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C19AA5-963D-A0BC-A601-05E45BBFEE96}"/>
              </a:ext>
            </a:extLst>
          </p:cNvPr>
          <p:cNvSpPr txBox="1"/>
          <p:nvPr/>
        </p:nvSpPr>
        <p:spPr>
          <a:xfrm>
            <a:off x="901270" y="1291465"/>
            <a:ext cx="7429499" cy="361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1738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Cible principale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1738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: Filles âgées de 9 à 14 a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1738"/>
              </a:solidFill>
              <a:effectLst/>
              <a:uLnTx/>
              <a:uFillTx/>
              <a:latin typeface="Poppins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 Calendrier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D80A12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*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:     Programme à 2 doses pour les personnes âgées de 9 à 45 an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9CDE"/>
              </a:solidFill>
              <a:effectLst/>
              <a:uLnTx/>
              <a:uFillTx/>
              <a:latin typeface="Poppins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Alternative : programme à une dose pour les jeunes de 9 à 20 an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9CDE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	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     </a:t>
            </a:r>
            <a:endParaRPr kumimoji="0" lang="en-US" sz="15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Donner la priorité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: </a:t>
            </a:r>
            <a:r>
              <a:rPr lang="en-US" sz="1700" i="1" dirty="0">
                <a:solidFill>
                  <a:srgbClr val="000000"/>
                </a:solidFill>
                <a:latin typeface="Poppins"/>
                <a:cs typeface="Arial"/>
                <a:sym typeface="Arial"/>
              </a:rPr>
              <a:t>- </a:t>
            </a:r>
            <a:r>
              <a:rPr kumimoji="0" lang="en-US" sz="17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Immunodéprimés</a:t>
            </a:r>
            <a:r>
              <a:rPr kumimoji="0" lang="en-US" sz="1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/VIH+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- 2 doses, idéalement 3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- Rattrapage multi-âge jusqu'à 18 ans au moment de l'introduction</a:t>
            </a: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FD0E7B74-0F19-4662-AA60-30A6D62672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13495" y="1656614"/>
            <a:ext cx="2875956" cy="38723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10">
            <a:extLst>
              <a:ext uri="{FF2B5EF4-FFF2-40B4-BE49-F238E27FC236}">
                <a16:creationId xmlns:a16="http://schemas.microsoft.com/office/drawing/2014/main" id="{9D574FA1-F139-08C2-D39C-3E18ADA95757}"/>
              </a:ext>
            </a:extLst>
          </p:cNvPr>
          <p:cNvSpPr txBox="1"/>
          <p:nvPr/>
        </p:nvSpPr>
        <p:spPr>
          <a:xfrm>
            <a:off x="6192592" y="6528681"/>
            <a:ext cx="80973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Source : https://www.who.int/publications/i/item/who-wer9750-645-672</a:t>
            </a:r>
          </a:p>
        </p:txBody>
      </p:sp>
      <p:sp>
        <p:nvSpPr>
          <p:cNvPr id="8" name="Rectangle: Rounded Corners 1">
            <a:extLst>
              <a:ext uri="{FF2B5EF4-FFF2-40B4-BE49-F238E27FC236}">
                <a16:creationId xmlns:a16="http://schemas.microsoft.com/office/drawing/2014/main" id="{4B97DBC0-5F91-D4BC-389B-7BBD39F875D8}"/>
              </a:ext>
            </a:extLst>
          </p:cNvPr>
          <p:cNvSpPr/>
          <p:nvPr/>
        </p:nvSpPr>
        <p:spPr>
          <a:xfrm>
            <a:off x="828700" y="2709947"/>
            <a:ext cx="7482246" cy="825576"/>
          </a:xfrm>
          <a:prstGeom prst="roundRect">
            <a:avLst/>
          </a:prstGeom>
          <a:solidFill>
            <a:schemeClr val="accent2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/>
              <a:ea typeface="+mn-ea"/>
              <a:cs typeface="+mn-cs"/>
              <a:sym typeface="Arial"/>
            </a:endParaRPr>
          </a:p>
        </p:txBody>
      </p:sp>
      <p:sp>
        <p:nvSpPr>
          <p:cNvPr id="9" name="TextBox 11">
            <a:extLst>
              <a:ext uri="{FF2B5EF4-FFF2-40B4-BE49-F238E27FC236}">
                <a16:creationId xmlns:a16="http://schemas.microsoft.com/office/drawing/2014/main" id="{D5FCED37-2E91-3BCA-320E-5EC32DEBEC39}"/>
              </a:ext>
            </a:extLst>
          </p:cNvPr>
          <p:cNvSpPr txBox="1"/>
          <p:nvPr/>
        </p:nvSpPr>
        <p:spPr>
          <a:xfrm>
            <a:off x="721746" y="5032334"/>
            <a:ext cx="734761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n-US" sz="18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Cibles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 </a:t>
            </a:r>
            <a:r>
              <a:rPr kumimoji="0" lang="en-US" sz="1800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secondaires</a:t>
            </a:r>
            <a:r>
              <a:rPr kumimoji="0" lang="en-US" sz="180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:  le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garçons et les femmes/adultes plus âgés, </a:t>
            </a:r>
            <a:r>
              <a:rPr lang="en-US" dirty="0">
                <a:solidFill>
                  <a:srgbClr val="000000"/>
                </a:solidFill>
                <a:latin typeface="Poppins"/>
                <a:cs typeface="Arial"/>
                <a:sym typeface="Arial"/>
              </a:rPr>
              <a:t>: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s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 cela est possible et abordable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/>
              <a:ea typeface="+mn-ea"/>
              <a:cs typeface="Arial"/>
              <a:sym typeface="Arial"/>
            </a:endParaRPr>
          </a:p>
        </p:txBody>
      </p:sp>
      <p:sp>
        <p:nvSpPr>
          <p:cNvPr id="10" name="TextBox 12">
            <a:extLst>
              <a:ext uri="{FF2B5EF4-FFF2-40B4-BE49-F238E27FC236}">
                <a16:creationId xmlns:a16="http://schemas.microsoft.com/office/drawing/2014/main" id="{69ED32A7-1C35-4FEF-EBF3-D91426029D20}"/>
              </a:ext>
            </a:extLst>
          </p:cNvPr>
          <p:cNvSpPr txBox="1"/>
          <p:nvPr/>
        </p:nvSpPr>
        <p:spPr>
          <a:xfrm>
            <a:off x="1042395" y="5824183"/>
            <a:ext cx="71472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Arial"/>
                <a:sym typeface="Arial"/>
              </a:rPr>
              <a:t>* Contient des recommandations non labellisées</a:t>
            </a:r>
            <a:endParaRPr kumimoji="0" lang="en-US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/>
              <a:ea typeface="+mn-ea"/>
              <a:cs typeface="Arial"/>
              <a:sym typeface="Arial"/>
            </a:endParaRPr>
          </a:p>
        </p:txBody>
      </p:sp>
      <p:sp>
        <p:nvSpPr>
          <p:cNvPr id="11" name="TextBox 7">
            <a:extLst>
              <a:ext uri="{FF2B5EF4-FFF2-40B4-BE49-F238E27FC236}">
                <a16:creationId xmlns:a16="http://schemas.microsoft.com/office/drawing/2014/main" id="{D4A489DB-0556-66B3-0133-4D4956E936C0}"/>
              </a:ext>
            </a:extLst>
          </p:cNvPr>
          <p:cNvSpPr txBox="1"/>
          <p:nvPr/>
        </p:nvSpPr>
        <p:spPr>
          <a:xfrm rot="16200000">
            <a:off x="-3272071" y="3198167"/>
            <a:ext cx="6858001" cy="46166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RECOMMANDATION D'UNE DOSE UNIQUE</a:t>
            </a:r>
          </a:p>
        </p:txBody>
      </p:sp>
    </p:spTree>
    <p:extLst>
      <p:ext uri="{BB962C8B-B14F-4D97-AF65-F5344CB8AC3E}">
        <p14:creationId xmlns:p14="http://schemas.microsoft.com/office/powerpoint/2010/main" val="1894023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21961">
        <p:fade/>
      </p:transition>
    </mc:Choice>
    <mc:Fallback xmlns="" xmlns:a16="http://schemas.microsoft.com/office/drawing/2014/main">
      <p:transition spd="med" advTm="121961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F43133D-F88E-1DED-BD25-2F769CF43537}"/>
              </a:ext>
            </a:extLst>
          </p:cNvPr>
          <p:cNvSpPr/>
          <p:nvPr/>
        </p:nvSpPr>
        <p:spPr>
          <a:xfrm>
            <a:off x="428921" y="1045029"/>
            <a:ext cx="11763079" cy="581297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5CC90DC-E57C-C4A9-65B3-3EBD47E295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535BCA-EA75-47BD-A3BC-78CED2BA246E}" type="slidenum">
              <a:rPr kumimoji="0" lang="fr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6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179B69C8-7875-4D40-FA59-0615B9B468E5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E31AFC-DF42-41A5-B57C-06A83BBA661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r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FEE6B445-6FF0-D4F6-5809-4B63C677B9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4912" y="159200"/>
            <a:ext cx="11175890" cy="866559"/>
          </a:xfrm>
        </p:spPr>
        <p:txBody>
          <a:bodyPr>
            <a:noAutofit/>
          </a:bodyPr>
          <a:lstStyle/>
          <a:p>
            <a:pPr algn="just"/>
            <a:r>
              <a:rPr lang="en-US" sz="2600" b="1" dirty="0"/>
              <a:t>Impact des recommandations du calendrier optimisé de l'OMS : </a:t>
            </a:r>
            <a:r>
              <a:rPr lang="en-US" sz="2600" b="1" dirty="0" err="1"/>
              <a:t>Calendrier</a:t>
            </a:r>
            <a:r>
              <a:rPr lang="en-US" sz="2600" b="1" dirty="0"/>
              <a:t> de vaccination à 1 dose contre le VPH </a:t>
            </a:r>
            <a:r>
              <a:rPr lang="en-US" sz="2600" b="1" dirty="0" err="1"/>
              <a:t>adopté</a:t>
            </a:r>
            <a:r>
              <a:rPr lang="en-US" sz="2600" b="1" dirty="0"/>
              <a:t> dans 56 pays (</a:t>
            </a:r>
            <a:r>
              <a:rPr lang="en-US" sz="2600" b="1" i="1" dirty="0"/>
              <a:t>août 2024</a:t>
            </a:r>
            <a:r>
              <a:rPr lang="en-US" sz="2600" b="1" dirty="0"/>
              <a:t>)</a:t>
            </a:r>
            <a:endParaRPr lang="en-US" sz="3200" b="1" dirty="0"/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id="{02E5A57A-5840-447C-231A-3E923B519EA3}"/>
              </a:ext>
            </a:extLst>
          </p:cNvPr>
          <p:cNvSpPr txBox="1"/>
          <p:nvPr/>
        </p:nvSpPr>
        <p:spPr>
          <a:xfrm>
            <a:off x="735724" y="1170239"/>
            <a:ext cx="2845677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Schéma à 1 do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Les pays à revenu élevé et les pays à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faible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revenu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De nombreux pays ont adopté la 1-dose jusqu'à l'âge de 20 ans (certains jusqu'à 25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ans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)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Plusieurs pays ont élargi les tranches d'âge pour le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rattrapage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Schéma à 2 dos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t>de nombreux pays à revenu élevé sont passés à un schéma à deux doses pour les personnes âgées de 15 ans et plus</a:t>
            </a:r>
          </a:p>
        </p:txBody>
      </p:sp>
      <p:sp>
        <p:nvSpPr>
          <p:cNvPr id="9" name="TextBox 7">
            <a:extLst>
              <a:ext uri="{FF2B5EF4-FFF2-40B4-BE49-F238E27FC236}">
                <a16:creationId xmlns:a16="http://schemas.microsoft.com/office/drawing/2014/main" id="{DA4B532C-9891-1481-9B19-A439D9BDE33C}"/>
              </a:ext>
            </a:extLst>
          </p:cNvPr>
          <p:cNvSpPr txBox="1"/>
          <p:nvPr/>
        </p:nvSpPr>
        <p:spPr>
          <a:xfrm rot="16200000">
            <a:off x="-3055558" y="3044280"/>
            <a:ext cx="6858001" cy="769441"/>
          </a:xfrm>
          <a:prstGeom prst="rect">
            <a:avLst/>
          </a:prstGeom>
          <a:solidFill>
            <a:srgbClr val="F4B183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rPr>
              <a:t>CALENDRIER OPTIMISÉ /1 DOSE UTILISATION DANS LE MONDE ENTI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7A684EC-D9F5-3234-6CDF-3C4D04A8A1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1401" y="1251318"/>
            <a:ext cx="8519401" cy="5470157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52557C40-3A43-BA66-48CD-986AD7E54773}"/>
              </a:ext>
            </a:extLst>
          </p:cNvPr>
          <p:cNvGrpSpPr/>
          <p:nvPr/>
        </p:nvGrpSpPr>
        <p:grpSpPr>
          <a:xfrm>
            <a:off x="7337248" y="1501120"/>
            <a:ext cx="3010320" cy="2854828"/>
            <a:chOff x="7713089" y="1645623"/>
            <a:chExt cx="3010320" cy="2854828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97057A5-ADBE-C1BA-7B40-8B672A1D804E}"/>
                </a:ext>
              </a:extLst>
            </p:cNvPr>
            <p:cNvGrpSpPr/>
            <p:nvPr/>
          </p:nvGrpSpPr>
          <p:grpSpPr>
            <a:xfrm>
              <a:off x="7713089" y="1645623"/>
              <a:ext cx="3010320" cy="2362530"/>
              <a:chOff x="8610600" y="2154592"/>
              <a:chExt cx="3010320" cy="2362530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14309C32-ACA6-E342-8127-94033B4442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610600" y="2154592"/>
                <a:ext cx="3010320" cy="2362530"/>
              </a:xfrm>
              <a:prstGeom prst="rect">
                <a:avLst/>
              </a:prstGeom>
            </p:spPr>
          </p:pic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499EA766-A6B9-1EF6-F31E-96A19342699D}"/>
                  </a:ext>
                </a:extLst>
              </p:cNvPr>
              <p:cNvSpPr txBox="1"/>
              <p:nvPr/>
            </p:nvSpPr>
            <p:spPr>
              <a:xfrm>
                <a:off x="10643458" y="2301476"/>
                <a:ext cx="97746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000" dirty="0" err="1"/>
                  <a:t>en</a:t>
                </a:r>
                <a:r>
                  <a:rPr lang="en-US" sz="2000" dirty="0"/>
                  <a:t> AFR</a:t>
                </a:r>
              </a:p>
            </p:txBody>
          </p:sp>
        </p:grpSp>
        <p:sp>
          <p:nvSpPr>
            <p:cNvPr id="14" name="Arrow: Down 13">
              <a:extLst>
                <a:ext uri="{FF2B5EF4-FFF2-40B4-BE49-F238E27FC236}">
                  <a16:creationId xmlns:a16="http://schemas.microsoft.com/office/drawing/2014/main" id="{9741DA8E-CDE8-37A5-4160-429FFCFA3703}"/>
                </a:ext>
              </a:extLst>
            </p:cNvPr>
            <p:cNvSpPr/>
            <p:nvPr/>
          </p:nvSpPr>
          <p:spPr>
            <a:xfrm>
              <a:off x="8371114" y="4008153"/>
              <a:ext cx="478972" cy="492298"/>
            </a:xfrm>
            <a:prstGeom prst="downArrow">
              <a:avLst/>
            </a:prstGeom>
            <a:solidFill>
              <a:srgbClr val="ED7D3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2411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7920"/>
    </mc:Choice>
    <mc:Fallback xmlns="" xmlns:a16="http://schemas.microsoft.com/office/drawing/2014/main">
      <p:transition spd="slow" advTm="5792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0EB907EE-D834-DD71-C28D-00623535AB6B}"/>
              </a:ext>
            </a:extLst>
          </p:cNvPr>
          <p:cNvGrpSpPr/>
          <p:nvPr/>
        </p:nvGrpSpPr>
        <p:grpSpPr>
          <a:xfrm>
            <a:off x="939266" y="5848609"/>
            <a:ext cx="2065842" cy="283656"/>
            <a:chOff x="1773530" y="9367473"/>
            <a:chExt cx="3406727" cy="46777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431C6684-5AEF-904B-B74D-848B85752C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678794" y="9399091"/>
              <a:ext cx="1501463" cy="3600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C6063D9-C4B5-6442-8328-EE3A2054224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773530" y="9367473"/>
              <a:ext cx="1508124" cy="467770"/>
            </a:xfrm>
            <a:prstGeom prst="rect">
              <a:avLst/>
            </a:prstGeom>
          </p:spPr>
        </p:pic>
      </p:grp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3D368406-69E6-1857-588D-C949B2CBE6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06788" y="6225493"/>
            <a:ext cx="1047977" cy="168059"/>
          </a:xfrm>
        </p:spPr>
        <p:txBody>
          <a:bodyPr/>
          <a:lstStyle/>
          <a:p>
            <a:pPr marL="0" marR="0" lvl="0" indent="0" algn="l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E31AFC-DF42-41A5-B57C-06A83BBA6616}" type="slidenum">
              <a:rPr kumimoji="0" lang="en-GB" sz="1092" b="0" i="0" u="none" strike="noStrike" kern="1200" cap="none" spc="0" normalizeH="0" baseline="0" noProof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Poppins Medium" pitchFamily="2" charset="77"/>
                <a:ea typeface="+mn-ea"/>
                <a:cs typeface="Poppins Medium" pitchFamily="2" charset="77"/>
              </a:rPr>
              <a:t>7</a:t>
            </a:fld>
            <a:endParaRPr kumimoji="0" lang="en-GB" sz="1092" b="0" i="0" u="none" strike="noStrike" kern="1200" cap="none" spc="0" normalizeH="0" baseline="0" noProof="0" dirty="0">
              <a:ln>
                <a:noFill/>
              </a:ln>
              <a:solidFill>
                <a:srgbClr val="999999"/>
              </a:solidFill>
              <a:effectLst/>
              <a:uLnTx/>
              <a:uFillTx/>
              <a:latin typeface="Poppins Medium" pitchFamily="2" charset="77"/>
              <a:ea typeface="+mn-ea"/>
              <a:cs typeface="Poppins Medium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826B23-3269-E0A1-9195-20CCA00781A7}"/>
              </a:ext>
            </a:extLst>
          </p:cNvPr>
          <p:cNvSpPr txBox="1">
            <a:spLocks/>
          </p:cNvSpPr>
          <p:nvPr/>
        </p:nvSpPr>
        <p:spPr>
          <a:xfrm>
            <a:off x="506788" y="1825089"/>
            <a:ext cx="3571226" cy="374528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marR="0" indent="0" algn="l" defTabSz="914400" rtl="0" eaLnBrk="1" fontAlgn="auto" latinLnBrk="0" hangingPunct="1">
              <a:lnSpc>
                <a:spcPts val="2220"/>
              </a:lnSpc>
              <a:spcBef>
                <a:spcPts val="1000"/>
              </a:spcBef>
              <a:spcAft>
                <a:spcPts val="300"/>
              </a:spcAft>
              <a:buClrTx/>
              <a:buSzPct val="75000"/>
              <a:buFontTx/>
              <a:buNone/>
              <a:tabLst/>
              <a:defRPr sz="1850" b="0" i="0" kern="1200">
                <a:solidFill>
                  <a:schemeClr val="tx1"/>
                </a:solidFill>
                <a:latin typeface="Poppins Light" pitchFamily="2" charset="77"/>
                <a:ea typeface="+mn-ea"/>
                <a:cs typeface="Poppins Light" pitchFamily="2" charset="77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54492" rtl="0" eaLnBrk="1" fontAlgn="auto" latinLnBrk="0" hangingPunct="1">
              <a:lnSpc>
                <a:spcPts val="1346"/>
              </a:lnSpc>
              <a:spcBef>
                <a:spcPts val="606"/>
              </a:spcBef>
              <a:spcAft>
                <a:spcPts val="182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9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t>L'adoption massive du calendrier d'administration d'une dose unique de vaccin contre le papillomavirus a stimulé la couverture vaccinale contre le papillomavirus. 37 pays ont commencé à mettre en œuvre le schéma à dose unique en 2023.</a:t>
            </a:r>
          </a:p>
          <a:p>
            <a:pPr marL="0" marR="0" lvl="0" indent="0" algn="l" defTabSz="554492" rtl="0" eaLnBrk="1" fontAlgn="auto" latinLnBrk="0" hangingPunct="1">
              <a:lnSpc>
                <a:spcPts val="1346"/>
              </a:lnSpc>
              <a:spcBef>
                <a:spcPts val="606"/>
              </a:spcBef>
              <a:spcAft>
                <a:spcPts val="182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9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t>47% des 28 millions de filles âgées de 9 à 14 ans qui recevront une première dose de VPH dans le monde en 2023 vivent dans un pays où le schéma d'administration est unique.</a:t>
            </a:r>
          </a:p>
          <a:p>
            <a:pPr marL="0" marR="0" lvl="0" indent="0" algn="l" defTabSz="554492" rtl="0" eaLnBrk="1" fontAlgn="auto" latinLnBrk="0" hangingPunct="1">
              <a:lnSpc>
                <a:spcPts val="1346"/>
              </a:lnSpc>
              <a:spcBef>
                <a:spcPts val="606"/>
              </a:spcBef>
              <a:spcAft>
                <a:spcPts val="182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9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t>En commençant les schémas à une dose en 2023, on estime que 6 millions de filles supplémentaires ont été atteintes - grâce à des introductions plus précoces ou à des cohortes d'âge supplémentaires ciblées.</a:t>
            </a:r>
          </a:p>
          <a:p>
            <a:pPr marL="0" marR="0" lvl="0" indent="0" algn="l" defTabSz="554492" rtl="0" eaLnBrk="1" fontAlgn="auto" latinLnBrk="0" hangingPunct="1">
              <a:lnSpc>
                <a:spcPts val="1346"/>
              </a:lnSpc>
              <a:spcBef>
                <a:spcPts val="606"/>
              </a:spcBef>
              <a:spcAft>
                <a:spcPts val="182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9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t>Le passage à l'administration d'une dose unique a permis d'augmenter la couverture par le VPH dans la grande majorité des pays - en moyenne de 8 %. </a:t>
            </a:r>
          </a:p>
          <a:p>
            <a:pPr marL="0" marR="0" lvl="0" indent="0" algn="l" defTabSz="554492" rtl="0" eaLnBrk="1" fontAlgn="auto" latinLnBrk="0" hangingPunct="1">
              <a:lnSpc>
                <a:spcPts val="1346"/>
              </a:lnSpc>
              <a:spcBef>
                <a:spcPts val="606"/>
              </a:spcBef>
              <a:spcAft>
                <a:spcPts val="182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GB" sz="97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t>Il est essentiel d'offrir des possibilités de rattrapage dans le cadre des programmes à dose unique afin d'accroître la couverture.</a:t>
            </a:r>
          </a:p>
        </p:txBody>
      </p:sp>
      <p:sp>
        <p:nvSpPr>
          <p:cNvPr id="5" name="Title 15">
            <a:extLst>
              <a:ext uri="{FF2B5EF4-FFF2-40B4-BE49-F238E27FC236}">
                <a16:creationId xmlns:a16="http://schemas.microsoft.com/office/drawing/2014/main" id="{2E98945B-8F32-321A-F52A-C76B15F57DB3}"/>
              </a:ext>
            </a:extLst>
          </p:cNvPr>
          <p:cNvSpPr txBox="1">
            <a:spLocks/>
          </p:cNvSpPr>
          <p:nvPr/>
        </p:nvSpPr>
        <p:spPr>
          <a:xfrm>
            <a:off x="506787" y="139857"/>
            <a:ext cx="3497653" cy="154582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4050"/>
              </a:lnSpc>
              <a:spcBef>
                <a:spcPct val="0"/>
              </a:spcBef>
              <a:buNone/>
              <a:defRPr sz="3400" b="1" i="0" kern="1200">
                <a:solidFill>
                  <a:schemeClr val="tx1"/>
                </a:solidFill>
                <a:latin typeface="Poppins SemiBold" pitchFamily="2" charset="77"/>
                <a:ea typeface="Roboto" panose="02000000000000000000" pitchFamily="2" charset="0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ts val="2456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SemiBold" pitchFamily="2" charset="77"/>
                <a:ea typeface="Roboto" panose="02000000000000000000" pitchFamily="2" charset="0"/>
                <a:cs typeface="Poppins SemiBold" pitchFamily="2" charset="77"/>
              </a:rPr>
              <a:t>L'administration d'une dose unique peut contribuer à accroître la couverture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4D90B641-C89D-0A96-41AA-B64DCA71BB0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554158" y="6225493"/>
            <a:ext cx="1314891" cy="168059"/>
          </a:xfrm>
        </p:spPr>
        <p:txBody>
          <a:bodyPr/>
          <a:lstStyle/>
          <a:p>
            <a:pPr marL="0" marR="0" lvl="0" indent="0" algn="r" defTabSz="5544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92" b="0" i="0" u="none" strike="noStrike" kern="120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Poppins Medium" pitchFamily="2" charset="77"/>
                <a:ea typeface="+mn-ea"/>
                <a:cs typeface="Poppins Medium" pitchFamily="2" charset="77"/>
              </a:rPr>
              <a:t>WUENIC 2023</a:t>
            </a:r>
          </a:p>
        </p:txBody>
      </p:sp>
    </p:spTree>
    <p:extLst>
      <p:ext uri="{BB962C8B-B14F-4D97-AF65-F5344CB8AC3E}">
        <p14:creationId xmlns:p14="http://schemas.microsoft.com/office/powerpoint/2010/main" val="530578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svg="http://schemas.microsoft.com/office/drawing/2016/SVG/main" xmlns:a16="http://schemas.microsoft.com/office/drawing/2014/main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092259-5F59-4E40-A28A-C5269AF4A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487" y="143249"/>
            <a:ext cx="11042887" cy="414281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</a:rPr>
              <a:t>Équilibre</a:t>
            </a:r>
            <a:r>
              <a:rPr lang="en-US" dirty="0">
                <a:solidFill>
                  <a:srgbClr val="000000"/>
                </a:solidFill>
              </a:rPr>
              <a:t> entre </a:t>
            </a:r>
            <a:r>
              <a:rPr lang="en-US" dirty="0" err="1">
                <a:solidFill>
                  <a:srgbClr val="000000"/>
                </a:solidFill>
              </a:rPr>
              <a:t>l'offre</a:t>
            </a:r>
            <a:r>
              <a:rPr lang="en-US" dirty="0">
                <a:solidFill>
                  <a:srgbClr val="000000"/>
                </a:solidFill>
              </a:rPr>
              <a:t> et la </a:t>
            </a:r>
            <a:r>
              <a:rPr lang="en-US" dirty="0" err="1">
                <a:solidFill>
                  <a:srgbClr val="000000"/>
                </a:solidFill>
              </a:rPr>
              <a:t>demand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B91AEDE-6118-4DC8-A684-F48A8A0FBBF5}"/>
              </a:ext>
            </a:extLst>
          </p:cNvPr>
          <p:cNvSpPr txBox="1"/>
          <p:nvPr/>
        </p:nvSpPr>
        <p:spPr>
          <a:xfrm>
            <a:off x="241738" y="516478"/>
            <a:ext cx="11742109" cy="14773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L'augmentation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de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l'offre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au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cours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des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dernières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années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a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entraîné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une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réduction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significative du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risque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de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pénurie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</a:t>
            </a:r>
            <a:r>
              <a:rPr kumimoji="0" lang="en-US" b="1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mondiale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. À </a:t>
            </a:r>
            <a:r>
              <a:rPr kumimoji="0" lang="en-US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court </a:t>
            </a:r>
            <a:r>
              <a:rPr kumimoji="0" lang="en-US" b="0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terme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, dans le cadre du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scénario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d'approvisionnement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de base, des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risques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d'accès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subsistent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si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les populations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cibles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se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développent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de manière significative ; dans le cadre du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scénario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d'approvisionnement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faible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,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cela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pourrait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entraîner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des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pénuries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À </a:t>
            </a:r>
            <a:r>
              <a:rPr kumimoji="0" lang="en-US" b="0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moyen</a:t>
            </a:r>
            <a:r>
              <a:rPr kumimoji="0" lang="en-US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et long </a:t>
            </a:r>
            <a:r>
              <a:rPr kumimoji="0" lang="en-US" b="0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terme</a:t>
            </a:r>
            <a:r>
              <a:rPr kumimoji="0" lang="en-US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, </a:t>
            </a:r>
            <a:r>
              <a:rPr kumimoji="0" lang="en-US" b="0" i="0" u="sng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l'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offre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excédentaire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nécessitera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une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 gestion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appropriée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. 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/>
              <a:ea typeface="+mn-ea"/>
              <a:cs typeface="Poppin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93716F7-6145-8947-85BD-092CD5DFAD6A}"/>
              </a:ext>
            </a:extLst>
          </p:cNvPr>
          <p:cNvSpPr txBox="1"/>
          <p:nvPr/>
        </p:nvSpPr>
        <p:spPr>
          <a:xfrm>
            <a:off x="437487" y="5832680"/>
            <a:ext cx="373021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H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*Les données relatives à l'administration d'une dose unique ne sont disponibles depuis 2022 que pour un nombre limité de produits.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3238D397-D7FB-E6C1-3E82-ADB9188971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8352832"/>
              </p:ext>
            </p:extLst>
          </p:nvPr>
        </p:nvGraphicFramePr>
        <p:xfrm>
          <a:off x="437487" y="2395051"/>
          <a:ext cx="11358121" cy="3444917"/>
        </p:xfrm>
        <a:graphic>
          <a:graphicData uri="http://schemas.openxmlformats.org/drawingml/2006/table">
            <a:tbl>
              <a:tblPr firstRow="1" bandRow="1"/>
              <a:tblGrid>
                <a:gridCol w="2837035">
                  <a:extLst>
                    <a:ext uri="{9D8B030D-6E8A-4147-A177-3AD203B41FA5}">
                      <a16:colId xmlns:a16="http://schemas.microsoft.com/office/drawing/2014/main" val="1842122800"/>
                    </a:ext>
                  </a:extLst>
                </a:gridCol>
                <a:gridCol w="1420181">
                  <a:extLst>
                    <a:ext uri="{9D8B030D-6E8A-4147-A177-3AD203B41FA5}">
                      <a16:colId xmlns:a16="http://schemas.microsoft.com/office/drawing/2014/main" val="3835136755"/>
                    </a:ext>
                  </a:extLst>
                </a:gridCol>
                <a:gridCol w="1420181">
                  <a:extLst>
                    <a:ext uri="{9D8B030D-6E8A-4147-A177-3AD203B41FA5}">
                      <a16:colId xmlns:a16="http://schemas.microsoft.com/office/drawing/2014/main" val="2013826962"/>
                    </a:ext>
                  </a:extLst>
                </a:gridCol>
                <a:gridCol w="1420181">
                  <a:extLst>
                    <a:ext uri="{9D8B030D-6E8A-4147-A177-3AD203B41FA5}">
                      <a16:colId xmlns:a16="http://schemas.microsoft.com/office/drawing/2014/main" val="2079488672"/>
                    </a:ext>
                  </a:extLst>
                </a:gridCol>
                <a:gridCol w="1420181">
                  <a:extLst>
                    <a:ext uri="{9D8B030D-6E8A-4147-A177-3AD203B41FA5}">
                      <a16:colId xmlns:a16="http://schemas.microsoft.com/office/drawing/2014/main" val="2863486617"/>
                    </a:ext>
                  </a:extLst>
                </a:gridCol>
                <a:gridCol w="1420181">
                  <a:extLst>
                    <a:ext uri="{9D8B030D-6E8A-4147-A177-3AD203B41FA5}">
                      <a16:colId xmlns:a16="http://schemas.microsoft.com/office/drawing/2014/main" val="986673015"/>
                    </a:ext>
                  </a:extLst>
                </a:gridCol>
                <a:gridCol w="1420181">
                  <a:extLst>
                    <a:ext uri="{9D8B030D-6E8A-4147-A177-3AD203B41FA5}">
                      <a16:colId xmlns:a16="http://schemas.microsoft.com/office/drawing/2014/main" val="3655995706"/>
                    </a:ext>
                  </a:extLst>
                </a:gridCol>
              </a:tblGrid>
              <a:tr h="706530"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400" b="1" dirty="0" err="1">
                          <a:latin typeface="+mn-lt"/>
                        </a:rPr>
                        <a:t>Scénarios</a:t>
                      </a:r>
                      <a:r>
                        <a:rPr lang="en-US" sz="1400" b="1" dirty="0">
                          <a:latin typeface="+mn-lt"/>
                        </a:rPr>
                        <a:t> de </a:t>
                      </a:r>
                      <a:r>
                        <a:rPr lang="en-US" sz="1400" b="1" dirty="0" err="1">
                          <a:latin typeface="+mn-lt"/>
                        </a:rPr>
                        <a:t>demande</a:t>
                      </a:r>
                      <a:endParaRPr lang="en-US" sz="1400" b="1" dirty="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+mn-lt"/>
                        </a:rPr>
                        <a:t>Court terme (1-3)</a:t>
                      </a:r>
                      <a:endParaRPr lang="en-US" sz="1200" b="1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+mn-lt"/>
                        </a:rPr>
                        <a:t>Examen de mi-parcours (4-6)</a:t>
                      </a:r>
                      <a:endParaRPr lang="en-US" sz="1200" b="1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+mn-lt"/>
                        </a:rPr>
                        <a:t>Long terme (7-9)</a:t>
                      </a:r>
                      <a:endParaRPr lang="en-US" sz="1200" b="1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+mn-lt"/>
                        </a:rPr>
                        <a:t>Court terme (1-3)</a:t>
                      </a:r>
                      <a:endParaRPr lang="en-US" sz="1200" b="1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762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+mn-lt"/>
                        </a:rPr>
                        <a:t>Examen de mi-parcours (4-6)</a:t>
                      </a:r>
                      <a:endParaRPr lang="en-US" sz="1200" b="1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>
                          <a:effectLst/>
                          <a:latin typeface="+mn-lt"/>
                        </a:rPr>
                        <a:t>Long terme (7-9)</a:t>
                      </a:r>
                      <a:endParaRPr lang="en-US" sz="1200" b="1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120084"/>
                  </a:ext>
                </a:extLst>
              </a:tr>
              <a:tr h="52306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  <a:effectLst/>
                        </a:rPr>
                        <a:t>1. Base (avec/MAC)</a:t>
                      </a:r>
                      <a:endParaRPr lang="en-CH" sz="1400" b="1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en-US" sz="105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871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40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40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400">
                        <a:latin typeface="+mn-lt"/>
                      </a:endParaRPr>
                    </a:p>
                  </a:txBody>
                  <a:tcPr>
                    <a:lnL w="762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871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40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400">
                        <a:latin typeface="+mn-lt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0661435"/>
                  </a:ext>
                </a:extLst>
              </a:tr>
              <a:tr h="52063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effectLst/>
                        </a:rPr>
                        <a:t>2. Base (+ w/garçons , MACs)</a:t>
                      </a:r>
                      <a:endParaRPr lang="en-CH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1100" b="0" i="1" kern="120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F200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762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0A12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5747898"/>
                  </a:ext>
                </a:extLst>
              </a:tr>
              <a:tr h="6036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effectLst/>
                        </a:rPr>
                        <a:t>3. Base (+w/garçons, MACs, rattrapage de l'âge avancé)</a:t>
                      </a:r>
                      <a:endParaRPr lang="en-CH" sz="14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1100" b="0" i="1" kern="120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F200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762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0A12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9514497"/>
                  </a:ext>
                </a:extLst>
              </a:tr>
              <a:tr h="57902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  <a:effectLst/>
                        </a:rPr>
                        <a:t>4. 1 dose avec/MACs </a:t>
                      </a:r>
                      <a:endParaRPr lang="en-CH" sz="1400" b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900" b="0" i="1" kern="120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762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4327003"/>
                  </a:ext>
                </a:extLst>
              </a:tr>
              <a:tr h="51206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100" b="1">
                          <a:solidFill>
                            <a:schemeClr val="tx1"/>
                          </a:solidFill>
                          <a:effectLst/>
                        </a:rPr>
                        <a:t>5. 1 dose avec/MACs (+ garçons) </a:t>
                      </a:r>
                      <a:endParaRPr lang="en-CH" sz="1400" b="1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endParaRPr lang="en-US" sz="900" b="0" i="1" kern="120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871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762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871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l" defTabSz="914400" rtl="0" eaLnBrk="1" latinLnBrk="0" hangingPunct="1"/>
                      <a:endParaRPr lang="en-US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>
                          <a:lumMod val="2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383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5677871"/>
                  </a:ext>
                </a:extLst>
              </a:tr>
            </a:tbl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F58E13FA-20F9-F84F-CB14-7AC816E3C7BC}"/>
              </a:ext>
            </a:extLst>
          </p:cNvPr>
          <p:cNvSpPr/>
          <p:nvPr/>
        </p:nvSpPr>
        <p:spPr>
          <a:xfrm>
            <a:off x="3279290" y="1997329"/>
            <a:ext cx="4209823" cy="347472"/>
          </a:xfrm>
          <a:prstGeom prst="rect">
            <a:avLst/>
          </a:prstGeom>
          <a:noFill/>
          <a:ln w="19050" cap="flat" cmpd="sng" algn="ctr">
            <a:solidFill>
              <a:srgbClr val="4472C4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pprovisionnement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 de bas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B5EF6D0-A06E-7DFC-7ED3-44E4F39D1283}"/>
              </a:ext>
            </a:extLst>
          </p:cNvPr>
          <p:cNvSpPr/>
          <p:nvPr/>
        </p:nvSpPr>
        <p:spPr>
          <a:xfrm>
            <a:off x="7585784" y="1997329"/>
            <a:ext cx="4209823" cy="347472"/>
          </a:xfrm>
          <a:prstGeom prst="rect">
            <a:avLst/>
          </a:prstGeom>
          <a:noFill/>
          <a:ln w="19050" cap="flat" cmpd="sng" algn="ctr">
            <a:solidFill>
              <a:srgbClr val="ED7D31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Faible approvisionnement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E8263BED-D478-2217-9817-B3270227DA40}"/>
              </a:ext>
            </a:extLst>
          </p:cNvPr>
          <p:cNvGraphicFramePr>
            <a:graphicFrameLocks noGrp="1"/>
          </p:cNvGraphicFramePr>
          <p:nvPr/>
        </p:nvGraphicFramePr>
        <p:xfrm>
          <a:off x="4081346" y="5906052"/>
          <a:ext cx="7902501" cy="571500"/>
        </p:xfrm>
        <a:graphic>
          <a:graphicData uri="http://schemas.openxmlformats.org/drawingml/2006/table">
            <a:tbl>
              <a:tblPr firstRow="1" bandRow="1"/>
              <a:tblGrid>
                <a:gridCol w="267173">
                  <a:extLst>
                    <a:ext uri="{9D8B030D-6E8A-4147-A177-3AD203B41FA5}">
                      <a16:colId xmlns:a16="http://schemas.microsoft.com/office/drawing/2014/main" val="3796981509"/>
                    </a:ext>
                  </a:extLst>
                </a:gridCol>
                <a:gridCol w="1727097">
                  <a:extLst>
                    <a:ext uri="{9D8B030D-6E8A-4147-A177-3AD203B41FA5}">
                      <a16:colId xmlns:a16="http://schemas.microsoft.com/office/drawing/2014/main" val="3998405844"/>
                    </a:ext>
                  </a:extLst>
                </a:gridCol>
                <a:gridCol w="267173">
                  <a:extLst>
                    <a:ext uri="{9D8B030D-6E8A-4147-A177-3AD203B41FA5}">
                      <a16:colId xmlns:a16="http://schemas.microsoft.com/office/drawing/2014/main" val="1469037014"/>
                    </a:ext>
                  </a:extLst>
                </a:gridCol>
                <a:gridCol w="1727097">
                  <a:extLst>
                    <a:ext uri="{9D8B030D-6E8A-4147-A177-3AD203B41FA5}">
                      <a16:colId xmlns:a16="http://schemas.microsoft.com/office/drawing/2014/main" val="3900554842"/>
                    </a:ext>
                  </a:extLst>
                </a:gridCol>
                <a:gridCol w="267173">
                  <a:extLst>
                    <a:ext uri="{9D8B030D-6E8A-4147-A177-3AD203B41FA5}">
                      <a16:colId xmlns:a16="http://schemas.microsoft.com/office/drawing/2014/main" val="1360721719"/>
                    </a:ext>
                  </a:extLst>
                </a:gridCol>
                <a:gridCol w="1727097">
                  <a:extLst>
                    <a:ext uri="{9D8B030D-6E8A-4147-A177-3AD203B41FA5}">
                      <a16:colId xmlns:a16="http://schemas.microsoft.com/office/drawing/2014/main" val="3114123491"/>
                    </a:ext>
                  </a:extLst>
                </a:gridCol>
                <a:gridCol w="315604">
                  <a:extLst>
                    <a:ext uri="{9D8B030D-6E8A-4147-A177-3AD203B41FA5}">
                      <a16:colId xmlns:a16="http://schemas.microsoft.com/office/drawing/2014/main" val="1240909441"/>
                    </a:ext>
                  </a:extLst>
                </a:gridCol>
                <a:gridCol w="1604087">
                  <a:extLst>
                    <a:ext uri="{9D8B030D-6E8A-4147-A177-3AD203B41FA5}">
                      <a16:colId xmlns:a16="http://schemas.microsoft.com/office/drawing/2014/main" val="3657511967"/>
                    </a:ext>
                  </a:extLst>
                </a:gridCol>
              </a:tblGrid>
              <a:tr h="356082"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200">
                        <a:latin typeface="Poppin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0A12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Poppins"/>
                        </a:rPr>
                        <a:t>Approvisionnement insuffisant</a:t>
                      </a:r>
                    </a:p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Poppins"/>
                        </a:rPr>
                        <a:t>Offre &lt;1,1X la demande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050" b="0">
                        <a:solidFill>
                          <a:schemeClr val="tx1"/>
                        </a:solidFill>
                        <a:latin typeface="Poppins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E21A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050" b="0">
                          <a:solidFill>
                            <a:schemeClr val="tx1"/>
                          </a:solidFill>
                          <a:latin typeface="Poppins"/>
                        </a:rPr>
                        <a:t>Risque de pénurie</a:t>
                      </a:r>
                      <a:br>
                        <a:rPr lang="en-US" sz="1050" b="0">
                          <a:solidFill>
                            <a:srgbClr val="000000"/>
                          </a:solidFill>
                          <a:latin typeface="Poppins"/>
                        </a:rPr>
                      </a:br>
                      <a:r>
                        <a:rPr lang="en-US" sz="1050" b="0">
                          <a:solidFill>
                            <a:schemeClr val="tx1"/>
                          </a:solidFill>
                          <a:latin typeface="Poppins"/>
                        </a:rPr>
                        <a:t>Offre &lt;1,3X la demande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050" b="0">
                        <a:solidFill>
                          <a:schemeClr val="tx1"/>
                        </a:solidFill>
                        <a:latin typeface="Poppins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871"/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Poppins"/>
                        </a:rPr>
                        <a:t>Pas de risque de pénurie</a:t>
                      </a:r>
                    </a:p>
                    <a:p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Poppins"/>
                        </a:rPr>
                        <a:t>Offre &gt;1,3X la demande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sz="1050" b="0">
                        <a:solidFill>
                          <a:schemeClr val="tx1"/>
                        </a:solidFill>
                        <a:latin typeface="Poppins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277246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554492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831738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108984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1386230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1663476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1940723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2217969" algn="l" defTabSz="554492" rtl="0" eaLnBrk="1" latinLnBrk="0" hangingPunct="1">
                        <a:defRPr sz="1092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Poppins"/>
                        </a:rPr>
                        <a:t>Offre excédentaire</a:t>
                      </a:r>
                    </a:p>
                    <a:p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Poppins"/>
                        </a:rPr>
                        <a:t>Offre &gt; 2X la demande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7723668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76CBD846-3D38-B792-6D26-9B7627EDC100}"/>
              </a:ext>
            </a:extLst>
          </p:cNvPr>
          <p:cNvSpPr txBox="1"/>
          <p:nvPr/>
        </p:nvSpPr>
        <p:spPr>
          <a:xfrm>
            <a:off x="574556" y="6465165"/>
            <a:ext cx="69192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/>
                <a:ea typeface="+mn-ea"/>
                <a:cs typeface="+mn-cs"/>
              </a:rPr>
              <a:t>Source : Étude de marché 2023</a:t>
            </a:r>
            <a:endParaRPr kumimoji="0" lang="en-CH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2905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126B446-33C6-AB75-9E4B-497206C49B6E}"/>
              </a:ext>
            </a:extLst>
          </p:cNvPr>
          <p:cNvSpPr/>
          <p:nvPr/>
        </p:nvSpPr>
        <p:spPr>
          <a:xfrm>
            <a:off x="387763" y="1016000"/>
            <a:ext cx="11804237" cy="583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8922674"/>
              </p:ext>
            </p:extLst>
          </p:nvPr>
        </p:nvGraphicFramePr>
        <p:xfrm>
          <a:off x="511881" y="1236395"/>
          <a:ext cx="11555999" cy="470524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532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636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706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671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67122">
                  <a:extLst>
                    <a:ext uri="{9D8B030D-6E8A-4147-A177-3AD203B41FA5}">
                      <a16:colId xmlns:a16="http://schemas.microsoft.com/office/drawing/2014/main" val="4185508310"/>
                    </a:ext>
                  </a:extLst>
                </a:gridCol>
                <a:gridCol w="1667122">
                  <a:extLst>
                    <a:ext uri="{9D8B030D-6E8A-4147-A177-3AD203B41FA5}">
                      <a16:colId xmlns:a16="http://schemas.microsoft.com/office/drawing/2014/main" val="3332962466"/>
                    </a:ext>
                  </a:extLst>
                </a:gridCol>
                <a:gridCol w="1667122">
                  <a:extLst>
                    <a:ext uri="{9D8B030D-6E8A-4147-A177-3AD203B41FA5}">
                      <a16:colId xmlns:a16="http://schemas.microsoft.com/office/drawing/2014/main" val="16450097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sz="1000" b="1" spc="-10">
                          <a:latin typeface="Calibri"/>
                          <a:cs typeface="Calibri"/>
                        </a:rPr>
                        <a:t>Nom </a:t>
                      </a:r>
                      <a:r>
                        <a:rPr sz="1000" b="1" spc="-35">
                          <a:latin typeface="Calibri"/>
                          <a:cs typeface="Calibri"/>
                        </a:rPr>
                        <a:t>commercial</a:t>
                      </a:r>
                      <a:endParaRPr sz="1000" b="1">
                        <a:latin typeface="Calibri"/>
                        <a:cs typeface="Calibri"/>
                      </a:endParaRPr>
                    </a:p>
                  </a:txBody>
                  <a:tcPr marL="0" marR="0" marT="17780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sz="1000" b="1" spc="-10" dirty="0" err="1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Cervarix</a:t>
                      </a:r>
                      <a:r>
                        <a:rPr sz="1000" b="1" spc="-15" baseline="18518" dirty="0" err="1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TM</a:t>
                      </a:r>
                      <a:endParaRPr sz="1000" baseline="18518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1778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sz="10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Gardasil</a:t>
                      </a:r>
                      <a:endParaRPr sz="10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17780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sz="1000" b="1" spc="-15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Gardasil-9®</a:t>
                      </a:r>
                      <a:endParaRPr sz="10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17780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sz="1000" b="1" spc="-2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Cecolin® - Cecolin® - Cecolin® - Cecolin® - Cecolin®</a:t>
                      </a:r>
                      <a:endParaRPr sz="10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1778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14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spc="-20" dirty="0">
                          <a:latin typeface="+mn-lt"/>
                          <a:cs typeface="Calibri"/>
                        </a:rPr>
                        <a:t>Walrinvax</a:t>
                      </a:r>
                      <a:endParaRPr lang="en-US" sz="1000" dirty="0">
                        <a:latin typeface="+mn-lt"/>
                        <a:cs typeface="Calibri"/>
                      </a:endParaRPr>
                    </a:p>
                  </a:txBody>
                  <a:tcPr marL="0" marR="0" marT="1778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>
                        <a:lnSpc>
                          <a:spcPct val="100000"/>
                        </a:lnSpc>
                        <a:spcBef>
                          <a:spcPts val="140"/>
                        </a:spcBef>
                      </a:pPr>
                      <a:r>
                        <a:rPr lang="en-US" sz="1000" b="1">
                          <a:latin typeface="Calibri"/>
                          <a:cs typeface="Calibri"/>
                        </a:rPr>
                        <a:t>Cervavac</a:t>
                      </a:r>
                      <a:endParaRPr sz="1000" b="1">
                        <a:latin typeface="Calibri"/>
                        <a:cs typeface="Calibri"/>
                      </a:endParaRPr>
                    </a:p>
                  </a:txBody>
                  <a:tcPr marL="0" marR="0" marT="1778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150"/>
                        </a:spcBef>
                      </a:pPr>
                      <a:r>
                        <a:rPr sz="1000" b="1" spc="-20">
                          <a:latin typeface="Calibri"/>
                          <a:cs typeface="Calibri"/>
                        </a:rPr>
                        <a:t>Valence</a:t>
                      </a:r>
                      <a:endParaRPr sz="1000" b="1">
                        <a:latin typeface="Calibri"/>
                        <a:cs typeface="Calibri"/>
                      </a:endParaRPr>
                    </a:p>
                  </a:txBody>
                  <a:tcPr marL="0" marR="0" marT="19050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sz="1000" spc="-20">
                          <a:latin typeface="Calibri"/>
                          <a:cs typeface="Calibri"/>
                        </a:rPr>
                        <a:t>Bivalent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1968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sz="1000" spc="-15">
                          <a:latin typeface="Calibri"/>
                          <a:cs typeface="Calibri"/>
                        </a:rPr>
                        <a:t>Quadrivalent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19685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sz="1000" spc="-20">
                          <a:latin typeface="Calibri"/>
                          <a:cs typeface="Calibri"/>
                        </a:rPr>
                        <a:t>Nonavalent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19685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sz="1000" spc="-20">
                          <a:latin typeface="Calibri"/>
                          <a:cs typeface="Calibri"/>
                        </a:rPr>
                        <a:t>Bivalent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1968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15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spc="-20" dirty="0">
                          <a:latin typeface="+mn-lt"/>
                          <a:cs typeface="Calibri"/>
                        </a:rPr>
                        <a:t>Bivalent</a:t>
                      </a:r>
                      <a:endParaRPr lang="en-US" sz="1000" dirty="0">
                        <a:latin typeface="+mn-lt"/>
                        <a:cs typeface="Calibri"/>
                      </a:endParaRPr>
                    </a:p>
                  </a:txBody>
                  <a:tcPr marL="0" marR="0" marT="1968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5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spc="-15">
                          <a:latin typeface="+mn-lt"/>
                          <a:cs typeface="Calibri"/>
                        </a:rPr>
                        <a:t>Quadrivalent</a:t>
                      </a:r>
                      <a:endParaRPr lang="en-US" sz="1000" b="0">
                        <a:latin typeface="+mn-lt"/>
                        <a:cs typeface="Calibri"/>
                      </a:endParaRPr>
                    </a:p>
                  </a:txBody>
                  <a:tcPr marL="0" marR="0" marT="1968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91010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sz="1000" b="1">
                          <a:latin typeface="Calibri"/>
                          <a:cs typeface="Calibri"/>
                        </a:rPr>
                        <a:t>Fabricant</a:t>
                      </a:r>
                      <a:endParaRPr sz="1000" b="1">
                        <a:latin typeface="Calibri"/>
                        <a:cs typeface="Calibri"/>
                      </a:endParaRPr>
                    </a:p>
                  </a:txBody>
                  <a:tcPr marL="0" marR="0" marT="19685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511175" lvl="0" indent="0" algn="l" defTabSz="914400" eaLnBrk="1" fontAlgn="auto" latinLnBrk="0" hangingPunct="1">
                        <a:lnSpc>
                          <a:spcPts val="1900"/>
                        </a:lnSpc>
                        <a:spcBef>
                          <a:spcPts val="24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spc="-10">
                          <a:latin typeface="+mn-lt"/>
                          <a:cs typeface="Calibri"/>
                        </a:rPr>
                        <a:t>GlaxoSmithKline </a:t>
                      </a:r>
                      <a:r>
                        <a:rPr lang="en-US" sz="1000" spc="-15">
                          <a:latin typeface="+mn-lt"/>
                          <a:cs typeface="Calibri"/>
                        </a:rPr>
                        <a:t>Biologicals </a:t>
                      </a:r>
                      <a:r>
                        <a:rPr lang="en-US" sz="1000" spc="-5">
                          <a:latin typeface="+mn-lt"/>
                          <a:cs typeface="Calibri"/>
                        </a:rPr>
                        <a:t>(GSK) </a:t>
                      </a:r>
                      <a:r>
                        <a:rPr lang="en-US" sz="1000" spc="-10">
                          <a:latin typeface="+mn-lt"/>
                          <a:cs typeface="Calibri"/>
                        </a:rPr>
                        <a:t>Belgique</a:t>
                      </a:r>
                      <a:endParaRPr lang="en-US" sz="1000">
                        <a:latin typeface="+mn-lt"/>
                        <a:cs typeface="Calibri"/>
                      </a:endParaRPr>
                    </a:p>
                  </a:txBody>
                  <a:tcPr marL="0" marR="0" marT="3111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576580" lvl="0" indent="0" algn="l" defTabSz="914400" eaLnBrk="1" fontAlgn="auto" latinLnBrk="0" hangingPunct="1">
                        <a:lnSpc>
                          <a:spcPts val="1900"/>
                        </a:lnSpc>
                        <a:spcBef>
                          <a:spcPts val="24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spc="-5">
                          <a:latin typeface="+mn-lt"/>
                          <a:cs typeface="Calibri"/>
                        </a:rPr>
                        <a:t>Merck/MSD USA</a:t>
                      </a:r>
                      <a:endParaRPr lang="en-US" sz="1000">
                        <a:latin typeface="+mn-lt"/>
                        <a:cs typeface="Calibri"/>
                      </a:endParaRPr>
                    </a:p>
                    <a:p>
                      <a:pPr marL="92075" marR="576580">
                        <a:lnSpc>
                          <a:spcPts val="1900"/>
                        </a:lnSpc>
                        <a:spcBef>
                          <a:spcPts val="245"/>
                        </a:spcBef>
                      </a:pP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111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marR="539115" lvl="0" indent="0" algn="l" defTabSz="914400" eaLnBrk="1" fontAlgn="auto" latinLnBrk="0" hangingPunct="1">
                        <a:lnSpc>
                          <a:spcPts val="1900"/>
                        </a:lnSpc>
                        <a:spcBef>
                          <a:spcPts val="24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spc="-5">
                          <a:latin typeface="+mn-lt"/>
                          <a:cs typeface="Calibri"/>
                        </a:rPr>
                        <a:t>Merck/MSD USA</a:t>
                      </a:r>
                      <a:endParaRPr lang="en-US" sz="1000">
                        <a:latin typeface="+mn-lt"/>
                        <a:cs typeface="Calibri"/>
                      </a:endParaRPr>
                    </a:p>
                    <a:p>
                      <a:pPr marL="93345" marR="539115">
                        <a:lnSpc>
                          <a:spcPts val="1900"/>
                        </a:lnSpc>
                        <a:spcBef>
                          <a:spcPts val="245"/>
                        </a:spcBef>
                      </a:pP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111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805" marR="135890" lvl="0" indent="0" algn="l" defTabSz="914400" eaLnBrk="1" fontAlgn="auto" latinLnBrk="0" hangingPunct="1">
                        <a:lnSpc>
                          <a:spcPts val="1900"/>
                        </a:lnSpc>
                        <a:spcBef>
                          <a:spcPts val="24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spc="-5">
                          <a:latin typeface="+mn-lt"/>
                          <a:cs typeface="Calibri"/>
                        </a:rPr>
                        <a:t>Xiamen </a:t>
                      </a:r>
                      <a:r>
                        <a:rPr lang="en-US" sz="1000" spc="-15" err="1">
                          <a:latin typeface="+mn-lt"/>
                          <a:cs typeface="Calibri"/>
                        </a:rPr>
                        <a:t>Innovax </a:t>
                      </a:r>
                      <a:r>
                        <a:rPr lang="en-US" sz="1000" spc="-10">
                          <a:latin typeface="+mn-lt"/>
                          <a:cs typeface="Calibri"/>
                        </a:rPr>
                        <a:t>Biotech </a:t>
                      </a:r>
                      <a:r>
                        <a:rPr lang="en-US" sz="1000">
                          <a:latin typeface="+mn-lt"/>
                          <a:cs typeface="Calibri"/>
                        </a:rPr>
                        <a:t>Co. </a:t>
                      </a:r>
                      <a:r>
                        <a:rPr lang="en-US" sz="1000" spc="-15">
                          <a:latin typeface="+mn-lt"/>
                          <a:cs typeface="Calibri"/>
                        </a:rPr>
                        <a:t>Limited (</a:t>
                      </a:r>
                      <a:r>
                        <a:rPr lang="en-US" sz="1000" spc="-15" err="1">
                          <a:latin typeface="+mn-lt"/>
                          <a:cs typeface="Calibri"/>
                        </a:rPr>
                        <a:t>Innovax</a:t>
                      </a:r>
                      <a:r>
                        <a:rPr lang="en-US" sz="1000" spc="-15">
                          <a:latin typeface="+mn-lt"/>
                          <a:cs typeface="Calibri"/>
                        </a:rPr>
                        <a:t>) </a:t>
                      </a:r>
                      <a:r>
                        <a:rPr lang="en-US" sz="1000" spc="-10">
                          <a:latin typeface="+mn-lt"/>
                          <a:cs typeface="Calibri"/>
                        </a:rPr>
                        <a:t>Chine</a:t>
                      </a:r>
                      <a:endParaRPr lang="en-US" sz="1000">
                        <a:latin typeface="+mn-lt"/>
                        <a:cs typeface="Calibri"/>
                      </a:endParaRPr>
                    </a:p>
                  </a:txBody>
                  <a:tcPr marL="0" marR="0" marT="3111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marR="539115" lvl="0" indent="0" algn="l" defTabSz="914400" eaLnBrk="1" fontAlgn="auto" latinLnBrk="0" hangingPunct="1">
                        <a:lnSpc>
                          <a:spcPts val="1900"/>
                        </a:lnSpc>
                        <a:spcBef>
                          <a:spcPts val="24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+mn-lt"/>
                          <a:cs typeface="Calibri"/>
                        </a:rPr>
                        <a:t>Walvax Biotechnology Co. Limited Chine</a:t>
                      </a:r>
                    </a:p>
                  </a:txBody>
                  <a:tcPr marL="0" marR="0" marT="3111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marR="539115" lvl="0" indent="0" algn="l" defTabSz="914400" rtl="0" eaLnBrk="1" fontAlgn="auto" latinLnBrk="0" hangingPunct="1">
                        <a:lnSpc>
                          <a:spcPts val="1900"/>
                        </a:lnSpc>
                        <a:spcBef>
                          <a:spcPts val="24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latin typeface="+mn-lt"/>
                        </a:rPr>
                        <a:t>Serum Institute of India (SII)</a:t>
                      </a:r>
                    </a:p>
                  </a:txBody>
                  <a:tcPr marL="0" marR="0" marT="3111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3919300"/>
                  </a:ext>
                </a:extLst>
              </a:tr>
              <a:tr h="534672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sz="1000" b="1" spc="-10">
                          <a:latin typeface="Calibri"/>
                          <a:cs typeface="Calibri"/>
                        </a:rPr>
                        <a:t>Types de </a:t>
                      </a:r>
                      <a:r>
                        <a:rPr sz="1000" b="1" spc="-5">
                          <a:latin typeface="Calibri"/>
                          <a:cs typeface="Calibri"/>
                        </a:rPr>
                        <a:t>VPH </a:t>
                      </a:r>
                      <a:r>
                        <a:rPr sz="1000" b="1" spc="-10">
                          <a:latin typeface="Calibri"/>
                          <a:cs typeface="Calibri"/>
                        </a:rPr>
                        <a:t>inclus</a:t>
                      </a:r>
                      <a:endParaRPr sz="1000" b="1">
                        <a:latin typeface="Calibri"/>
                        <a:cs typeface="Calibri"/>
                      </a:endParaRPr>
                    </a:p>
                  </a:txBody>
                  <a:tcPr marL="0" marR="0" marT="19685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165"/>
                        </a:spcBef>
                      </a:pPr>
                      <a:r>
                        <a:rPr lang="en-US" sz="10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Calibri"/>
                          <a:cs typeface="Calibri"/>
                        </a:rPr>
                        <a:t>16/18</a:t>
                      </a:r>
                      <a:endParaRPr sz="100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Calibri"/>
                        <a:cs typeface="Calibri"/>
                      </a:endParaRPr>
                    </a:p>
                  </a:txBody>
                  <a:tcPr marL="0" marR="0" marT="2095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221615">
                        <a:lnSpc>
                          <a:spcPts val="1900"/>
                        </a:lnSpc>
                        <a:spcBef>
                          <a:spcPts val="245"/>
                        </a:spcBef>
                      </a:pPr>
                      <a:r>
                        <a:rPr sz="1000">
                          <a:highlight>
                            <a:srgbClr val="FFFF00"/>
                          </a:highlight>
                          <a:latin typeface="Calibri"/>
                          <a:cs typeface="Calibri"/>
                        </a:rPr>
                        <a:t>6/11/16/18</a:t>
                      </a:r>
                    </a:p>
                  </a:txBody>
                  <a:tcPr marL="0" marR="0" marT="3111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marR="215900">
                        <a:lnSpc>
                          <a:spcPts val="1900"/>
                        </a:lnSpc>
                        <a:spcBef>
                          <a:spcPts val="245"/>
                        </a:spcBef>
                      </a:pPr>
                      <a:r>
                        <a:rPr sz="1000" spc="-5">
                          <a:latin typeface="Calibri"/>
                          <a:cs typeface="Calibri"/>
                        </a:rPr>
                        <a:t>6/11/16/18/31/33/45/52/58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3111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165"/>
                        </a:spcBef>
                      </a:pPr>
                      <a:r>
                        <a:rPr sz="100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Calibri"/>
                          <a:cs typeface="Calibri"/>
                        </a:rPr>
                        <a:t>16/18</a:t>
                      </a:r>
                    </a:p>
                  </a:txBody>
                  <a:tcPr marL="0" marR="0" marT="2095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marR="215900">
                        <a:lnSpc>
                          <a:spcPts val="1900"/>
                        </a:lnSpc>
                        <a:spcBef>
                          <a:spcPts val="245"/>
                        </a:spcBef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  <a:latin typeface="Calibri"/>
                          <a:cs typeface="Calibri"/>
                        </a:rPr>
                        <a:t>16/18</a:t>
                      </a:r>
                      <a:endParaRPr sz="10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Calibri"/>
                        <a:cs typeface="Calibri"/>
                      </a:endParaRPr>
                    </a:p>
                  </a:txBody>
                  <a:tcPr marL="0" marR="0" marT="3111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marR="215900" lvl="0" indent="0" algn="l" defTabSz="914400" rtl="0" eaLnBrk="1" fontAlgn="auto" latinLnBrk="0" hangingPunct="1">
                        <a:lnSpc>
                          <a:spcPts val="1900"/>
                        </a:lnSpc>
                        <a:spcBef>
                          <a:spcPts val="24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highlight>
                            <a:srgbClr val="FFFF00"/>
                          </a:highlight>
                          <a:latin typeface="+mn-lt"/>
                          <a:cs typeface="Calibri"/>
                        </a:rPr>
                        <a:t>6/11/16/18</a:t>
                      </a:r>
                    </a:p>
                  </a:txBody>
                  <a:tcPr marL="0" marR="0" marT="3111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69236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sz="1000" b="1" spc="-20">
                          <a:latin typeface="Calibri"/>
                          <a:cs typeface="Calibri"/>
                        </a:rPr>
                        <a:t>Présentation</a:t>
                      </a:r>
                      <a:endParaRPr sz="1000" b="1">
                        <a:latin typeface="Calibri"/>
                        <a:cs typeface="Calibri"/>
                      </a:endParaRPr>
                    </a:p>
                  </a:txBody>
                  <a:tcPr marL="0" marR="0" marT="19685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122555">
                        <a:lnSpc>
                          <a:spcPct val="101400"/>
                        </a:lnSpc>
                        <a:spcBef>
                          <a:spcPts val="170"/>
                        </a:spcBef>
                      </a:pPr>
                      <a:r>
                        <a:rPr sz="1000" spc="-10">
                          <a:latin typeface="Calibri"/>
                          <a:cs typeface="Calibri"/>
                        </a:rPr>
                        <a:t>Flacon à dose unique </a:t>
                      </a:r>
                      <a:r>
                        <a:rPr sz="1000" spc="-15">
                          <a:latin typeface="Calibri"/>
                          <a:cs typeface="Calibri"/>
                        </a:rPr>
                        <a:t>(0.5ml</a:t>
                      </a:r>
                      <a:r>
                        <a:rPr sz="1000" spc="-5">
                          <a:latin typeface="Calibri"/>
                          <a:cs typeface="Calibri"/>
                        </a:rPr>
                        <a:t>) </a:t>
                      </a:r>
                      <a:endParaRPr lang="en-US" sz="1000" spc="-5">
                        <a:latin typeface="Calibri"/>
                        <a:cs typeface="Calibri"/>
                      </a:endParaRPr>
                    </a:p>
                    <a:p>
                      <a:pPr marL="92075" marR="122555">
                        <a:lnSpc>
                          <a:spcPct val="101400"/>
                        </a:lnSpc>
                        <a:spcBef>
                          <a:spcPts val="170"/>
                        </a:spcBef>
                      </a:pPr>
                      <a:r>
                        <a:rPr sz="1000" spc="-10">
                          <a:latin typeface="Calibri"/>
                          <a:cs typeface="Calibri"/>
                        </a:rPr>
                        <a:t>Flacon </a:t>
                      </a:r>
                      <a:r>
                        <a:rPr lang="en-US" sz="1000" spc="-10">
                          <a:latin typeface="Calibri"/>
                          <a:cs typeface="Calibri"/>
                        </a:rPr>
                        <a:t>à deux doses </a:t>
                      </a:r>
                      <a:r>
                        <a:rPr sz="1000" spc="-5">
                          <a:latin typeface="Calibri"/>
                          <a:cs typeface="Calibri"/>
                        </a:rPr>
                        <a:t>(1.</a:t>
                      </a:r>
                      <a:r>
                        <a:rPr lang="en-US" sz="1000" spc="-5">
                          <a:latin typeface="Calibri"/>
                          <a:cs typeface="Calibri"/>
                        </a:rPr>
                        <a:t>0ml</a:t>
                      </a:r>
                      <a:r>
                        <a:rPr sz="1000" spc="-5">
                          <a:latin typeface="Calibri"/>
                          <a:cs typeface="Calibri"/>
                        </a:rPr>
                        <a:t>)</a:t>
                      </a:r>
                      <a:endParaRPr sz="1000" baseline="24691">
                        <a:latin typeface="Calibri"/>
                        <a:cs typeface="Calibri"/>
                      </a:endParaRP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1000" spc="-10">
                          <a:latin typeface="Calibri"/>
                          <a:cs typeface="Calibri"/>
                        </a:rPr>
                        <a:t>Flacon à dose unique </a:t>
                      </a:r>
                      <a:r>
                        <a:rPr sz="1000" spc="-15">
                          <a:latin typeface="Calibri"/>
                          <a:cs typeface="Calibri"/>
                        </a:rPr>
                        <a:t>(0.5ml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24765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9050">
                      <a:solidFill>
                        <a:srgbClr val="000000"/>
                      </a:solidFill>
                      <a:prstDash val="soli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1000" spc="-10">
                          <a:latin typeface="Calibri"/>
                          <a:cs typeface="Calibri"/>
                        </a:rPr>
                        <a:t>Flacon à dose unique </a:t>
                      </a:r>
                      <a:r>
                        <a:rPr sz="1000" spc="-15">
                          <a:latin typeface="Calibri"/>
                          <a:cs typeface="Calibri"/>
                        </a:rPr>
                        <a:t>(0.5ml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24765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1000" spc="-10">
                          <a:latin typeface="Calibri"/>
                          <a:cs typeface="Calibri"/>
                        </a:rPr>
                        <a:t>Flacon à dose unique </a:t>
                      </a:r>
                      <a:r>
                        <a:rPr sz="1000" spc="-15">
                          <a:latin typeface="Calibri"/>
                          <a:cs typeface="Calibri"/>
                        </a:rPr>
                        <a:t>(0.5ml)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2476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1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spc="-10" dirty="0">
                          <a:latin typeface="+mn-lt"/>
                          <a:cs typeface="Calibri"/>
                        </a:rPr>
                        <a:t>Flacon à dose unique </a:t>
                      </a:r>
                      <a:r>
                        <a:rPr lang="en-US" sz="1000" spc="-15" dirty="0">
                          <a:latin typeface="+mn-lt"/>
                          <a:cs typeface="Calibri"/>
                        </a:rPr>
                        <a:t>(0.5ml)</a:t>
                      </a:r>
                      <a:endParaRPr lang="en-US" sz="1000" dirty="0">
                        <a:latin typeface="+mn-lt"/>
                        <a:cs typeface="Calibri"/>
                      </a:endParaRPr>
                    </a:p>
                  </a:txBody>
                  <a:tcPr marL="0" marR="0" marT="2476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24765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6518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165"/>
                        </a:spcBef>
                      </a:pPr>
                      <a:r>
                        <a:rPr sz="1000" b="1" spc="-10">
                          <a:latin typeface="Calibri"/>
                          <a:cs typeface="Calibri"/>
                        </a:rPr>
                        <a:t>Décision du </a:t>
                      </a:r>
                      <a:r>
                        <a:rPr sz="1000" b="1" spc="-5">
                          <a:latin typeface="Calibri"/>
                          <a:cs typeface="Calibri"/>
                        </a:rPr>
                        <a:t>QP de l'OMS</a:t>
                      </a:r>
                      <a:endParaRPr sz="1000" b="1">
                        <a:latin typeface="Calibri"/>
                        <a:cs typeface="Calibri"/>
                      </a:endParaRPr>
                    </a:p>
                  </a:txBody>
                  <a:tcPr marL="0" marR="0" marT="20955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2009</a:t>
                      </a: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2009</a:t>
                      </a: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sz="1000" dirty="0">
                          <a:latin typeface="Calibri"/>
                          <a:cs typeface="Calibri"/>
                        </a:rPr>
                        <a:t>2018</a:t>
                      </a: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805" marR="384810" algn="ctr">
                        <a:lnSpc>
                          <a:spcPts val="1900"/>
                        </a:lnSpc>
                        <a:spcBef>
                          <a:spcPts val="250"/>
                        </a:spcBef>
                      </a:pPr>
                      <a:r>
                        <a:rPr lang="en-US" sz="1000" i="0" spc="-10" dirty="0">
                          <a:latin typeface="Calibri"/>
                          <a:cs typeface="Calibri"/>
                        </a:rPr>
                        <a:t>2021</a:t>
                      </a:r>
                      <a:endParaRPr sz="1000" i="0" dirty="0">
                        <a:latin typeface="Calibri"/>
                        <a:cs typeface="Calibri"/>
                      </a:endParaRPr>
                    </a:p>
                  </a:txBody>
                  <a:tcPr marL="0" marR="0" marT="3175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lang="en-US" sz="1000" b="0" dirty="0">
                          <a:latin typeface="Calibri"/>
                          <a:cs typeface="Calibri"/>
                        </a:rPr>
                        <a:t>2024</a:t>
                      </a:r>
                      <a:endParaRPr sz="1000" b="0" dirty="0">
                        <a:latin typeface="Calibri"/>
                        <a:cs typeface="Calibri"/>
                      </a:endParaRP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lang="en-US" sz="1000" b="1" dirty="0">
                          <a:latin typeface="+mn-lt"/>
                          <a:cs typeface="Calibri"/>
                        </a:rPr>
                        <a:t>A soumettre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4245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165"/>
                        </a:spcBef>
                      </a:pPr>
                      <a:r>
                        <a:rPr lang="en-US" sz="1000" b="1" dirty="0">
                          <a:latin typeface="Calibri"/>
                          <a:cs typeface="Calibri"/>
                        </a:rPr>
                        <a:t>Prix HIC/UMIC</a:t>
                      </a:r>
                      <a:r>
                        <a:rPr lang="en-US" sz="1000" b="1" baseline="30000" dirty="0">
                          <a:latin typeface="+mn-lt"/>
                          <a:cs typeface="Calibri"/>
                        </a:rPr>
                        <a:t>1</a:t>
                      </a:r>
                      <a:endParaRPr sz="1000" b="1" dirty="0">
                        <a:solidFill>
                          <a:srgbClr val="0070C0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20955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lang="en-US" sz="1000" dirty="0">
                          <a:latin typeface="Calibri"/>
                          <a:cs typeface="Calibri"/>
                        </a:rPr>
                        <a:t>27 $ (médiane)</a:t>
                      </a: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lang="en-US" sz="1000" dirty="0">
                          <a:latin typeface="+mn-lt"/>
                          <a:cs typeface="Calibri"/>
                        </a:rPr>
                        <a:t>39 $ </a:t>
                      </a:r>
                      <a:r>
                        <a:rPr lang="en-US" sz="1000" dirty="0">
                          <a:latin typeface="Calibri"/>
                          <a:cs typeface="Calibri"/>
                        </a:rPr>
                        <a:t>(médiane)</a:t>
                      </a: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lang="en-US" sz="1000" dirty="0">
                          <a:latin typeface="+mn-lt"/>
                          <a:cs typeface="Calibri"/>
                        </a:rPr>
                        <a:t>101 $ </a:t>
                      </a:r>
                      <a:r>
                        <a:rPr lang="en-US" sz="1000" dirty="0">
                          <a:latin typeface="Calibri"/>
                          <a:cs typeface="Calibri"/>
                        </a:rPr>
                        <a:t>(médiane)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805" marR="384810" algn="ctr">
                        <a:lnSpc>
                          <a:spcPts val="1900"/>
                        </a:lnSpc>
                        <a:spcBef>
                          <a:spcPts val="250"/>
                        </a:spcBef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---</a:t>
                      </a:r>
                      <a:endParaRPr sz="1000" i="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3175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lang="en-US" sz="1000" b="0">
                          <a:latin typeface="Calibri"/>
                          <a:cs typeface="Calibri"/>
                        </a:rPr>
                        <a:t>---</a:t>
                      </a:r>
                      <a:endParaRPr sz="1000" b="0">
                        <a:latin typeface="Calibri"/>
                        <a:cs typeface="Calibri"/>
                      </a:endParaRP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7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latin typeface="+mn-lt"/>
                          <a:cs typeface="Calibri"/>
                        </a:rPr>
                        <a:t>---</a:t>
                      </a: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1892776"/>
                  </a:ext>
                </a:extLst>
              </a:tr>
              <a:tr h="344245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165"/>
                        </a:spcBef>
                      </a:pPr>
                      <a:r>
                        <a:rPr lang="en-US" sz="1000" b="1" dirty="0">
                          <a:solidFill>
                            <a:srgbClr val="0070C0"/>
                          </a:solidFill>
                          <a:latin typeface="Calibri"/>
                          <a:cs typeface="Calibri"/>
                        </a:rPr>
                        <a:t>Prix OPS RF</a:t>
                      </a:r>
                      <a:r>
                        <a:rPr lang="en-US" sz="1000" b="1" baseline="30000" dirty="0">
                          <a:latin typeface="+mn-lt"/>
                          <a:cs typeface="Calibri"/>
                        </a:rPr>
                        <a:t>2</a:t>
                      </a:r>
                      <a:endParaRPr sz="1000" b="1" dirty="0">
                        <a:solidFill>
                          <a:srgbClr val="0070C0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20955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lang="en-US" sz="1000" dirty="0">
                          <a:latin typeface="Calibri"/>
                          <a:cs typeface="Calibri"/>
                        </a:rPr>
                        <a:t>-</a:t>
                      </a: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7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latin typeface="+mn-lt"/>
                          <a:cs typeface="Calibri"/>
                        </a:rPr>
                        <a:t>$ 10.48</a:t>
                      </a: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lang="en-US" sz="1000" dirty="0">
                          <a:latin typeface="Calibri"/>
                          <a:cs typeface="Calibri"/>
                        </a:rPr>
                        <a:t> - 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805" marR="384810" algn="ctr">
                        <a:lnSpc>
                          <a:spcPts val="1900"/>
                        </a:lnSpc>
                        <a:spcBef>
                          <a:spcPts val="250"/>
                        </a:spcBef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$2.9 </a:t>
                      </a:r>
                      <a:endParaRPr sz="1000" i="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3175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endParaRPr sz="1000" b="0" dirty="0">
                        <a:latin typeface="Calibri"/>
                        <a:cs typeface="Calibri"/>
                      </a:endParaRP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7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dirty="0">
                        <a:latin typeface="+mn-lt"/>
                        <a:cs typeface="Calibri"/>
                      </a:endParaRP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1326684"/>
                  </a:ext>
                </a:extLst>
              </a:tr>
              <a:tr h="324522">
                <a:tc>
                  <a:txBody>
                    <a:bodyPr/>
                    <a:lstStyle/>
                    <a:p>
                      <a:pPr marL="9080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6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>
                          <a:latin typeface="+mn-lt"/>
                          <a:cs typeface="Calibri"/>
                        </a:rPr>
                        <a:t>Prix Gavi/UNICEF</a:t>
                      </a:r>
                      <a:r>
                        <a:rPr lang="en-US" sz="1000" b="1" baseline="30000" dirty="0">
                          <a:latin typeface="+mn-lt"/>
                          <a:cs typeface="Calibri"/>
                        </a:rPr>
                        <a:t>3</a:t>
                      </a:r>
                    </a:p>
                  </a:txBody>
                  <a:tcPr marL="0" marR="0" marT="20955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7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>
                          <a:latin typeface="+mn-lt"/>
                          <a:cs typeface="Calibri"/>
                        </a:rPr>
                        <a:t>$5.18</a:t>
                      </a:r>
                      <a:endParaRPr lang="en-US" sz="1000">
                        <a:latin typeface="+mn-lt"/>
                        <a:cs typeface="Calibri"/>
                      </a:endParaRP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207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7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>
                          <a:latin typeface="+mn-lt"/>
                          <a:cs typeface="Calibri"/>
                        </a:rPr>
                        <a:t>$4.50</a:t>
                      </a:r>
                      <a:endParaRPr lang="en-US" sz="1000">
                        <a:latin typeface="+mn-lt"/>
                        <a:cs typeface="Calibri"/>
                      </a:endParaRP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3345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lang="en-US" sz="1000" i="0">
                          <a:latin typeface="+mn-lt"/>
                          <a:cs typeface="Calibri"/>
                        </a:rPr>
                        <a:t>---</a:t>
                      </a:r>
                      <a:endParaRPr sz="1000">
                        <a:latin typeface="Calibri"/>
                        <a:cs typeface="Calibri"/>
                      </a:endParaRP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0805" marR="384810" algn="ctr">
                        <a:lnSpc>
                          <a:spcPts val="1900"/>
                        </a:lnSpc>
                        <a:spcBef>
                          <a:spcPts val="250"/>
                        </a:spcBef>
                      </a:pPr>
                      <a:r>
                        <a:rPr lang="en-US" sz="1000" i="0" dirty="0">
                          <a:latin typeface="Calibri"/>
                          <a:cs typeface="Calibri"/>
                        </a:rPr>
                        <a:t>$2.90</a:t>
                      </a:r>
                      <a:endParaRPr sz="1000" i="0" dirty="0">
                        <a:latin typeface="Calibri"/>
                        <a:cs typeface="Calibri"/>
                      </a:endParaRPr>
                    </a:p>
                  </a:txBody>
                  <a:tcPr marL="0" marR="0" marT="3175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33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7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latin typeface="+mn-lt"/>
                          <a:cs typeface="Calibri"/>
                        </a:rPr>
                        <a:t>A CONFIRMER</a:t>
                      </a: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7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latin typeface="+mn-lt"/>
                          <a:cs typeface="Calibri"/>
                        </a:rPr>
                        <a:t>---</a:t>
                      </a: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6646912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165"/>
                        </a:spcBef>
                      </a:pPr>
                      <a:r>
                        <a:rPr lang="en-US" sz="1000" b="1" dirty="0">
                          <a:latin typeface="Calibri"/>
                          <a:cs typeface="Calibri"/>
                        </a:rPr>
                        <a:t>Données sur l'efficacité d'une dose ou sur l'immunobridage</a:t>
                      </a:r>
                      <a:r>
                        <a:rPr lang="en-US" sz="1000" b="1" baseline="30000" dirty="0">
                          <a:latin typeface="+mn-lt"/>
                          <a:cs typeface="Calibri"/>
                        </a:rPr>
                        <a:t>4  </a:t>
                      </a:r>
                      <a:endParaRPr sz="1000" b="1" dirty="0">
                        <a:solidFill>
                          <a:srgbClr val="0070C0"/>
                        </a:solidFill>
                        <a:latin typeface="Calibri"/>
                        <a:cs typeface="Calibri"/>
                      </a:endParaRPr>
                    </a:p>
                  </a:txBody>
                  <a:tcPr marL="0" marR="0" marT="20955" marB="0">
                    <a:lnL w="19050">
                      <a:solidFill>
                        <a:srgbClr val="000000"/>
                      </a:solidFill>
                      <a:prstDash val="soli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lang="en-US" sz="1000" dirty="0">
                          <a:latin typeface="+mn-lt"/>
                          <a:cs typeface="Calibri"/>
                        </a:rPr>
                        <a:t>Oui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lang="en-US" sz="1000" dirty="0">
                          <a:latin typeface="Calibri"/>
                          <a:cs typeface="Calibri"/>
                        </a:rPr>
                        <a:t>Oui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lang="en-US" sz="1000" dirty="0">
                          <a:latin typeface="Calibri"/>
                          <a:cs typeface="Calibri"/>
                        </a:rPr>
                        <a:t>Oui</a:t>
                      </a:r>
                      <a:endParaRPr sz="1000" dirty="0">
                        <a:latin typeface="Calibri"/>
                        <a:cs typeface="Calibri"/>
                      </a:endParaRP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rgbClr val="000000"/>
                      </a:solidFill>
                      <a:prstDash val="soli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0805" marR="384810" algn="ctr">
                        <a:lnSpc>
                          <a:spcPts val="1900"/>
                        </a:lnSpc>
                        <a:spcBef>
                          <a:spcPts val="250"/>
                        </a:spcBef>
                      </a:pPr>
                      <a:r>
                        <a:rPr lang="en-US" sz="1000" i="0" dirty="0">
                          <a:latin typeface="Calibri"/>
                          <a:cs typeface="Calibri"/>
                        </a:rPr>
                        <a:t>Oui </a:t>
                      </a:r>
                      <a:endParaRPr sz="1000" i="0" dirty="0">
                        <a:latin typeface="Calibri"/>
                        <a:cs typeface="Calibri"/>
                      </a:endParaRPr>
                    </a:p>
                  </a:txBody>
                  <a:tcPr marL="0" marR="0" marT="3175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7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latin typeface="+mn-lt"/>
                          <a:cs typeface="Calibri"/>
                        </a:rPr>
                        <a:t> RCT en préparation (TBC) </a:t>
                      </a: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3345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7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latin typeface="+mn-lt"/>
                          <a:cs typeface="Calibri"/>
                        </a:rPr>
                        <a:t>RCT en cours 2024</a:t>
                      </a:r>
                    </a:p>
                  </a:txBody>
                  <a:tcPr marL="0" marR="0" marT="2159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>
                      <a:solidFill>
                        <a:srgbClr val="000000"/>
                      </a:solidFill>
                      <a:prstDash val="soli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935244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D144DF7-ECEB-474D-8AF1-24727E316EFB}"/>
              </a:ext>
            </a:extLst>
          </p:cNvPr>
          <p:cNvSpPr txBox="1"/>
          <p:nvPr/>
        </p:nvSpPr>
        <p:spPr>
          <a:xfrm>
            <a:off x="2220686" y="6094914"/>
            <a:ext cx="103296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baseline="30000" dirty="0">
                <a:latin typeface="+mn-lt"/>
                <a:cs typeface="Calibri"/>
              </a:rPr>
              <a:t>1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M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4A Étude du marché mondial du VPH 2022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ea typeface="+mn-ea"/>
                <a:cs typeface="Calibri"/>
              </a:rPr>
              <a:t>2</a:t>
            </a:r>
            <a:r>
              <a:rPr lang="en-US" sz="1200" i="0" dirty="0">
                <a:latin typeface="Calibri"/>
                <a:cs typeface="Calibri"/>
              </a:rPr>
              <a:t> UNICEF </a:t>
            </a:r>
            <a:r>
              <a:rPr lang="en-US" sz="1200" i="0" dirty="0">
                <a:solidFill>
                  <a:srgbClr val="0070C0"/>
                </a:solidFill>
                <a:latin typeface="Calibri"/>
                <a:cs typeface="Calibri"/>
              </a:rPr>
              <a:t>https://www.unicef.org/supply/documents/human-papilloma-virus-hpv-vaccine-price-data </a:t>
            </a:r>
          </a:p>
          <a:p>
            <a:pPr>
              <a:defRPr/>
            </a:pPr>
            <a:r>
              <a:rPr lang="en-US" sz="1200" dirty="0">
                <a:latin typeface="Calibri"/>
                <a:cs typeface="Calibri"/>
              </a:rPr>
              <a:t>3 Fonds renouvelable de l'OPS https://www.paho.org/en/documents/paho-revolving-fund-vaccine-prices</a:t>
            </a:r>
            <a:r>
              <a:rPr lang="en-US" sz="1200" dirty="0">
                <a:solidFill>
                  <a:srgbClr val="0070C0"/>
                </a:solidFill>
                <a:latin typeface="Calibri"/>
                <a:cs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2022</a:t>
            </a:r>
            <a:endParaRPr lang="en-US" sz="1200" dirty="0">
              <a:solidFill>
                <a:srgbClr val="0070C0"/>
              </a:solidFill>
              <a:latin typeface="Calibri"/>
              <a:cs typeface="Calibri"/>
            </a:endParaRPr>
          </a:p>
          <a:p>
            <a:pPr>
              <a:defRPr/>
            </a:pPr>
            <a:r>
              <a:rPr lang="en-US" sz="1200" dirty="0">
                <a:latin typeface="Calibri"/>
                <a:cs typeface="Calibri"/>
              </a:rPr>
              <a:t>4 Prise de position de l'OMS sur le VPH 2022 </a:t>
            </a:r>
            <a:r>
              <a:rPr kumimoji="0" lang="en-GB" sz="1200" b="0" u="none" strike="noStrike" kern="1200" cap="none" spc="0" normalizeH="0" baseline="0" noProof="0" dirty="0">
                <a:ln>
                  <a:noFill/>
                </a:ln>
                <a:solidFill>
                  <a:srgbClr val="002D64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https://www.who.int/publications/i/item/who-wer9750</a:t>
            </a:r>
            <a:endParaRPr lang="en-US" sz="1200" dirty="0">
              <a:latin typeface="Calibri"/>
              <a:cs typeface="Calibri"/>
            </a:endParaRPr>
          </a:p>
          <a:p>
            <a:pPr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11708855-9E5F-1FF5-76AB-9DE62B97A5A4}"/>
              </a:ext>
            </a:extLst>
          </p:cNvPr>
          <p:cNvSpPr txBox="1"/>
          <p:nvPr/>
        </p:nvSpPr>
        <p:spPr>
          <a:xfrm rot="16200000">
            <a:off x="-3230913" y="3198168"/>
            <a:ext cx="6858001" cy="46166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000000"/>
                </a:solidFill>
                <a:latin typeface="Calibri" panose="020F0502020204030204" pitchFamily="34" charset="0"/>
              </a:rPr>
              <a:t>CARACTÉRISTIQUES DU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ACCIN ANTI-HPV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B538B84B-504A-4764-E92E-6530E0F9F278}"/>
              </a:ext>
            </a:extLst>
          </p:cNvPr>
          <p:cNvSpPr txBox="1">
            <a:spLocks/>
          </p:cNvSpPr>
          <p:nvPr/>
        </p:nvSpPr>
        <p:spPr>
          <a:xfrm>
            <a:off x="709096" y="10000"/>
            <a:ext cx="12633936" cy="10450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spc="-35" dirty="0"/>
              <a:t>Vaccins </a:t>
            </a:r>
            <a:r>
              <a:rPr lang="en-US" sz="2800" b="1" spc="-25" dirty="0"/>
              <a:t>anti-HPV disponibles </a:t>
            </a:r>
            <a:r>
              <a:rPr lang="en-US" sz="2800" b="1" spc="-35" dirty="0">
                <a:solidFill>
                  <a:srgbClr val="000000"/>
                </a:solidFill>
              </a:rPr>
              <a:t>sur le marché </a:t>
            </a:r>
            <a:endParaRPr lang="en-US" sz="360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780723D-62F7-2816-25BA-D0E6C411B3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0190" y="30231"/>
            <a:ext cx="749971" cy="9757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83162EE-23F7-04BE-78F4-2124E6F9A853}"/>
              </a:ext>
            </a:extLst>
          </p:cNvPr>
          <p:cNvSpPr txBox="1"/>
          <p:nvPr/>
        </p:nvSpPr>
        <p:spPr>
          <a:xfrm>
            <a:off x="8490249" y="139129"/>
            <a:ext cx="3524639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Pour des informations complètes sur les vaccins contre le papillomavirus, voir : </a:t>
            </a:r>
          </a:p>
          <a:p>
            <a:r>
              <a:rPr lang="en-US" sz="1100" dirty="0">
                <a:solidFill>
                  <a:schemeClr val="accent1">
                    <a:lumMod val="75000"/>
                  </a:schemeClr>
                </a:solidFill>
              </a:rPr>
              <a:t>https://www.who.int/publications/i/item/9789240089167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C6A8143-7E94-132E-2142-FEFFD33D5136}"/>
              </a:ext>
            </a:extLst>
          </p:cNvPr>
          <p:cNvSpPr/>
          <p:nvPr/>
        </p:nvSpPr>
        <p:spPr>
          <a:xfrm>
            <a:off x="8710962" y="3932000"/>
            <a:ext cx="1679028" cy="433823"/>
          </a:xfrm>
          <a:prstGeom prst="ellipse">
            <a:avLst/>
          </a:prstGeom>
          <a:noFill/>
          <a:ln w="444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EE58E7A-44FD-9FC5-BE2F-D1212170C9F3}"/>
              </a:ext>
            </a:extLst>
          </p:cNvPr>
          <p:cNvSpPr/>
          <p:nvPr/>
        </p:nvSpPr>
        <p:spPr>
          <a:xfrm>
            <a:off x="7026064" y="5382287"/>
            <a:ext cx="1679028" cy="433823"/>
          </a:xfrm>
          <a:prstGeom prst="ellipse">
            <a:avLst/>
          </a:prstGeom>
          <a:noFill/>
          <a:ln w="4445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9666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4_WHO/IVB Presentation">
  <a:themeElements>
    <a:clrScheme name="WHO _ IVB">
      <a:dk1>
        <a:srgbClr val="000000"/>
      </a:dk1>
      <a:lt1>
        <a:srgbClr val="FFFFFF"/>
      </a:lt1>
      <a:dk2>
        <a:srgbClr val="707070"/>
      </a:dk2>
      <a:lt2>
        <a:srgbClr val="F2F2F2"/>
      </a:lt2>
      <a:accent1>
        <a:srgbClr val="009CDE"/>
      </a:accent1>
      <a:accent2>
        <a:srgbClr val="008ACD"/>
      </a:accent2>
      <a:accent3>
        <a:srgbClr val="0B6AAC"/>
      </a:accent3>
      <a:accent4>
        <a:srgbClr val="134A8A"/>
      </a:accent4>
      <a:accent5>
        <a:srgbClr val="C5EDFF"/>
      </a:accent5>
      <a:accent6>
        <a:srgbClr val="001738"/>
      </a:accent6>
      <a:hlink>
        <a:srgbClr val="008ACD"/>
      </a:hlink>
      <a:folHlink>
        <a:srgbClr val="001738"/>
      </a:folHlink>
    </a:clrScheme>
    <a:fontScheme name="Poppins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VB Red">
      <a:srgbClr val="D80A12"/>
    </a:custClr>
    <a:custClr name="IVB Orange">
      <a:srgbClr val="FA9A00"/>
    </a:custClr>
    <a:custClr name="IVB Yellow">
      <a:srgbClr val="F1E21A"/>
    </a:custClr>
    <a:custClr name="IVB Green">
      <a:srgbClr val="00785A"/>
    </a:custClr>
    <a:custClr name="IVB Light Green">
      <a:srgbClr val="00C871"/>
    </a:custClr>
    <a:custClr name="IVB Magenta">
      <a:srgbClr val="C10077"/>
    </a:custClr>
  </a:custClrLst>
  <a:extLst>
    <a:ext uri="{05A4C25C-085E-4340-85A3-A5531E510DB2}">
      <thm15:themeFamily xmlns:thm15="http://schemas.microsoft.com/office/thememl/2012/main" name="Presentation5" id="{F025D395-3EE2-4544-AEDF-F2CB1DB50719}" vid="{36167E56-A4B7-2E41-91AB-E615F86910FA}"/>
    </a:ext>
  </a:extLst>
</a:theme>
</file>

<file path=ppt/theme/theme11.xml><?xml version="1.0" encoding="utf-8"?>
<a:theme xmlns:a="http://schemas.openxmlformats.org/drawingml/2006/main" name="5_WHO/IVB Presentation">
  <a:themeElements>
    <a:clrScheme name="WHO _ IVB">
      <a:dk1>
        <a:srgbClr val="000000"/>
      </a:dk1>
      <a:lt1>
        <a:srgbClr val="FFFFFF"/>
      </a:lt1>
      <a:dk2>
        <a:srgbClr val="707070"/>
      </a:dk2>
      <a:lt2>
        <a:srgbClr val="F2F2F2"/>
      </a:lt2>
      <a:accent1>
        <a:srgbClr val="009CDE"/>
      </a:accent1>
      <a:accent2>
        <a:srgbClr val="008ACD"/>
      </a:accent2>
      <a:accent3>
        <a:srgbClr val="0B6AAC"/>
      </a:accent3>
      <a:accent4>
        <a:srgbClr val="134A8A"/>
      </a:accent4>
      <a:accent5>
        <a:srgbClr val="C5EDFF"/>
      </a:accent5>
      <a:accent6>
        <a:srgbClr val="001738"/>
      </a:accent6>
      <a:hlink>
        <a:srgbClr val="008ACD"/>
      </a:hlink>
      <a:folHlink>
        <a:srgbClr val="001738"/>
      </a:folHlink>
    </a:clrScheme>
    <a:fontScheme name="Poppins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VB Red">
      <a:srgbClr val="D80A12"/>
    </a:custClr>
    <a:custClr name="IVB Orange">
      <a:srgbClr val="FA9A00"/>
    </a:custClr>
    <a:custClr name="IVB Yellow">
      <a:srgbClr val="F1E21A"/>
    </a:custClr>
    <a:custClr name="IVB Green">
      <a:srgbClr val="00785A"/>
    </a:custClr>
    <a:custClr name="IVB Light Green">
      <a:srgbClr val="00C871"/>
    </a:custClr>
    <a:custClr name="IVB Magenta">
      <a:srgbClr val="C10077"/>
    </a:custClr>
  </a:custClrLst>
  <a:extLst>
    <a:ext uri="{05A4C25C-085E-4340-85A3-A5531E510DB2}">
      <thm15:themeFamily xmlns:thm15="http://schemas.microsoft.com/office/thememl/2012/main" name="IVB_Master_Deck_V4" id="{2D0C221C-34FA-B949-A0FC-203A2549DFF0}" vid="{1AE36D0E-67F7-4F41-BE60-C6EE0DE72B7B}"/>
    </a:ext>
  </a:extLst>
</a:theme>
</file>

<file path=ppt/theme/theme1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O/IVB Presentation">
  <a:themeElements>
    <a:clrScheme name="WHO _ IVB">
      <a:dk1>
        <a:srgbClr val="000000"/>
      </a:dk1>
      <a:lt1>
        <a:srgbClr val="FFFFFF"/>
      </a:lt1>
      <a:dk2>
        <a:srgbClr val="707070"/>
      </a:dk2>
      <a:lt2>
        <a:srgbClr val="F2F2F2"/>
      </a:lt2>
      <a:accent1>
        <a:srgbClr val="009CDE"/>
      </a:accent1>
      <a:accent2>
        <a:srgbClr val="008ACD"/>
      </a:accent2>
      <a:accent3>
        <a:srgbClr val="0B6AAC"/>
      </a:accent3>
      <a:accent4>
        <a:srgbClr val="134A8A"/>
      </a:accent4>
      <a:accent5>
        <a:srgbClr val="C5EDFF"/>
      </a:accent5>
      <a:accent6>
        <a:srgbClr val="001738"/>
      </a:accent6>
      <a:hlink>
        <a:srgbClr val="008ACD"/>
      </a:hlink>
      <a:folHlink>
        <a:srgbClr val="001738"/>
      </a:folHlink>
    </a:clrScheme>
    <a:fontScheme name="Poppins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VB Red">
      <a:srgbClr val="D80A12"/>
    </a:custClr>
    <a:custClr name="IVB Orange">
      <a:srgbClr val="FA9A00"/>
    </a:custClr>
    <a:custClr name="IVB Yellow">
      <a:srgbClr val="F1E21A"/>
    </a:custClr>
    <a:custClr name="IVB Green">
      <a:srgbClr val="00785A"/>
    </a:custClr>
    <a:custClr name="IVB Light Green">
      <a:srgbClr val="00C871"/>
    </a:custClr>
    <a:custClr name="IVB Magenta">
      <a:srgbClr val="C10077"/>
    </a:custClr>
  </a:custClrLst>
  <a:extLst>
    <a:ext uri="{05A4C25C-085E-4340-85A3-A5531E510DB2}">
      <thm15:themeFamily xmlns:thm15="http://schemas.microsoft.com/office/thememl/2012/main" name="IVB_Master_Deck_V4" id="{2D0C221C-34FA-B949-A0FC-203A2549DFF0}" vid="{1AE36D0E-67F7-4F41-BE60-C6EE0DE72B7B}"/>
    </a:ext>
  </a:extLst>
</a:theme>
</file>

<file path=ppt/theme/theme3.xml><?xml version="1.0" encoding="utf-8"?>
<a:theme xmlns:a="http://schemas.openxmlformats.org/drawingml/2006/main" name="NCEH_ATSDR_combined">
  <a:themeElements>
    <a:clrScheme name="Custom 8">
      <a:dk1>
        <a:srgbClr val="0F56DC"/>
      </a:dk1>
      <a:lt1>
        <a:srgbClr val="FFC000"/>
      </a:lt1>
      <a:dk2>
        <a:srgbClr val="FFFFFF"/>
      </a:dk2>
      <a:lt2>
        <a:srgbClr val="FFFFFF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3077FF"/>
      </a:folHlink>
    </a:clrScheme>
    <a:fontScheme name="CDC Myriad Web Pro">
      <a:majorFont>
        <a:latin typeface="Myriad Web Pro"/>
        <a:ea typeface=""/>
        <a:cs typeface=""/>
      </a:majorFont>
      <a:minorFont>
        <a:latin typeface="Myriad Web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NCEH_ATSDR_combined">
  <a:themeElements>
    <a:clrScheme name="Custom 8">
      <a:dk1>
        <a:srgbClr val="0F56DC"/>
      </a:dk1>
      <a:lt1>
        <a:srgbClr val="FFC000"/>
      </a:lt1>
      <a:dk2>
        <a:srgbClr val="FFFFFF"/>
      </a:dk2>
      <a:lt2>
        <a:srgbClr val="FFFFFF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3077FF"/>
      </a:folHlink>
    </a:clrScheme>
    <a:fontScheme name="CDC Myriad Web Pro">
      <a:majorFont>
        <a:latin typeface="Myriad Web Pro"/>
        <a:ea typeface=""/>
        <a:cs typeface=""/>
      </a:majorFont>
      <a:minorFont>
        <a:latin typeface="Myriad Web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WHO/IVB Presentation">
  <a:themeElements>
    <a:clrScheme name="WHO _ IVB">
      <a:dk1>
        <a:srgbClr val="000000"/>
      </a:dk1>
      <a:lt1>
        <a:srgbClr val="FFFFFF"/>
      </a:lt1>
      <a:dk2>
        <a:srgbClr val="707070"/>
      </a:dk2>
      <a:lt2>
        <a:srgbClr val="F2F2F2"/>
      </a:lt2>
      <a:accent1>
        <a:srgbClr val="009CDE"/>
      </a:accent1>
      <a:accent2>
        <a:srgbClr val="008ACD"/>
      </a:accent2>
      <a:accent3>
        <a:srgbClr val="0B6AAC"/>
      </a:accent3>
      <a:accent4>
        <a:srgbClr val="134A8A"/>
      </a:accent4>
      <a:accent5>
        <a:srgbClr val="C5EDFF"/>
      </a:accent5>
      <a:accent6>
        <a:srgbClr val="001738"/>
      </a:accent6>
      <a:hlink>
        <a:srgbClr val="008ACD"/>
      </a:hlink>
      <a:folHlink>
        <a:srgbClr val="001738"/>
      </a:folHlink>
    </a:clrScheme>
    <a:fontScheme name="Poppins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VB Red">
      <a:srgbClr val="D80A12"/>
    </a:custClr>
    <a:custClr name="IVB Orange">
      <a:srgbClr val="FA9A00"/>
    </a:custClr>
    <a:custClr name="IVB Yellow">
      <a:srgbClr val="F1E21A"/>
    </a:custClr>
    <a:custClr name="IVB Green">
      <a:srgbClr val="00785A"/>
    </a:custClr>
    <a:custClr name="IVB Light Green">
      <a:srgbClr val="00C871"/>
    </a:custClr>
    <a:custClr name="IVB Magenta">
      <a:srgbClr val="C10077"/>
    </a:custClr>
  </a:custClrLst>
  <a:extLst>
    <a:ext uri="{05A4C25C-085E-4340-85A3-A5531E510DB2}">
      <thm15:themeFamily xmlns:thm15="http://schemas.microsoft.com/office/thememl/2012/main" name="IVB_Master_Deck_V4" id="{2D0C221C-34FA-B949-A0FC-203A2549DFF0}" vid="{1AE36D0E-67F7-4F41-BE60-C6EE0DE72B7B}"/>
    </a:ext>
  </a:extLst>
</a:theme>
</file>

<file path=ppt/theme/theme8.xml><?xml version="1.0" encoding="utf-8"?>
<a:theme xmlns:a="http://schemas.openxmlformats.org/drawingml/2006/main" name="2_WHO/IVB Presentation">
  <a:themeElements>
    <a:clrScheme name="WHO _ IVB">
      <a:dk1>
        <a:srgbClr val="000000"/>
      </a:dk1>
      <a:lt1>
        <a:srgbClr val="FFFFFF"/>
      </a:lt1>
      <a:dk2>
        <a:srgbClr val="707070"/>
      </a:dk2>
      <a:lt2>
        <a:srgbClr val="F2F2F2"/>
      </a:lt2>
      <a:accent1>
        <a:srgbClr val="009CDE"/>
      </a:accent1>
      <a:accent2>
        <a:srgbClr val="008ACD"/>
      </a:accent2>
      <a:accent3>
        <a:srgbClr val="0B6AAC"/>
      </a:accent3>
      <a:accent4>
        <a:srgbClr val="134A8A"/>
      </a:accent4>
      <a:accent5>
        <a:srgbClr val="C5EDFF"/>
      </a:accent5>
      <a:accent6>
        <a:srgbClr val="001738"/>
      </a:accent6>
      <a:hlink>
        <a:srgbClr val="008ACD"/>
      </a:hlink>
      <a:folHlink>
        <a:srgbClr val="001738"/>
      </a:folHlink>
    </a:clrScheme>
    <a:fontScheme name="Poppins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VB Red">
      <a:srgbClr val="D80A12"/>
    </a:custClr>
    <a:custClr name="IVB Orange">
      <a:srgbClr val="FA9A00"/>
    </a:custClr>
    <a:custClr name="IVB Yellow">
      <a:srgbClr val="F1E21A"/>
    </a:custClr>
    <a:custClr name="IVB Green">
      <a:srgbClr val="00785A"/>
    </a:custClr>
    <a:custClr name="IVB Light Green">
      <a:srgbClr val="00C871"/>
    </a:custClr>
    <a:custClr name="IVB Magenta">
      <a:srgbClr val="C10077"/>
    </a:custClr>
  </a:custClrLst>
  <a:extLst>
    <a:ext uri="{05A4C25C-085E-4340-85A3-A5531E510DB2}">
      <thm15:themeFamily xmlns:thm15="http://schemas.microsoft.com/office/thememl/2012/main" name="IVB_Master_Deck_V4" id="{2D0C221C-34FA-B949-A0FC-203A2549DFF0}" vid="{1AE36D0E-67F7-4F41-BE60-C6EE0DE72B7B}"/>
    </a:ext>
  </a:extLst>
</a:theme>
</file>

<file path=ppt/theme/theme9.xml><?xml version="1.0" encoding="utf-8"?>
<a:theme xmlns:a="http://schemas.openxmlformats.org/drawingml/2006/main" name="3_WHO/IVB Presentation">
  <a:themeElements>
    <a:clrScheme name="WHO _ IVB">
      <a:dk1>
        <a:srgbClr val="000000"/>
      </a:dk1>
      <a:lt1>
        <a:srgbClr val="FFFFFF"/>
      </a:lt1>
      <a:dk2>
        <a:srgbClr val="707070"/>
      </a:dk2>
      <a:lt2>
        <a:srgbClr val="F2F2F2"/>
      </a:lt2>
      <a:accent1>
        <a:srgbClr val="009CDE"/>
      </a:accent1>
      <a:accent2>
        <a:srgbClr val="008ACD"/>
      </a:accent2>
      <a:accent3>
        <a:srgbClr val="0B6AAC"/>
      </a:accent3>
      <a:accent4>
        <a:srgbClr val="134A8A"/>
      </a:accent4>
      <a:accent5>
        <a:srgbClr val="C5EDFF"/>
      </a:accent5>
      <a:accent6>
        <a:srgbClr val="001738"/>
      </a:accent6>
      <a:hlink>
        <a:srgbClr val="008ACD"/>
      </a:hlink>
      <a:folHlink>
        <a:srgbClr val="001738"/>
      </a:folHlink>
    </a:clrScheme>
    <a:fontScheme name="Poppins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VB Red">
      <a:srgbClr val="D80A12"/>
    </a:custClr>
    <a:custClr name="IVB Orange">
      <a:srgbClr val="FA9A00"/>
    </a:custClr>
    <a:custClr name="IVB Yellow">
      <a:srgbClr val="F1E21A"/>
    </a:custClr>
    <a:custClr name="IVB Green">
      <a:srgbClr val="00785A"/>
    </a:custClr>
    <a:custClr name="IVB Light Green">
      <a:srgbClr val="00C871"/>
    </a:custClr>
    <a:custClr name="IVB Magenta">
      <a:srgbClr val="C10077"/>
    </a:custClr>
  </a:custClrLst>
  <a:extLst>
    <a:ext uri="{05A4C25C-085E-4340-85A3-A5531E510DB2}">
      <thm15:themeFamily xmlns:thm15="http://schemas.microsoft.com/office/thememl/2012/main" name="Presentation5" id="{F025D395-3EE2-4544-AEDF-F2CB1DB50719}" vid="{36167E56-A4B7-2E41-91AB-E615F86910F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4</TotalTime>
  <Words>1817</Words>
  <Application>Microsoft Office PowerPoint</Application>
  <PresentationFormat>Widescreen</PresentationFormat>
  <Paragraphs>218</Paragraphs>
  <Slides>12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9" baseType="lpstr">
      <vt:lpstr>Arial</vt:lpstr>
      <vt:lpstr>BlinkMacSystemFont</vt:lpstr>
      <vt:lpstr>Calibri</vt:lpstr>
      <vt:lpstr>Calibri Light</vt:lpstr>
      <vt:lpstr>Century Gothic</vt:lpstr>
      <vt:lpstr>Courier New</vt:lpstr>
      <vt:lpstr>Myriad Web Pro</vt:lpstr>
      <vt:lpstr>Playfair Display</vt:lpstr>
      <vt:lpstr>Poppins</vt:lpstr>
      <vt:lpstr>Poppins Light</vt:lpstr>
      <vt:lpstr>Poppins Medium</vt:lpstr>
      <vt:lpstr>Poppins SemiBold</vt:lpstr>
      <vt:lpstr>Segoe UI</vt:lpstr>
      <vt:lpstr>Wingdings</vt:lpstr>
      <vt:lpstr>Office Theme</vt:lpstr>
      <vt:lpstr>WHO/IVB Presentation</vt:lpstr>
      <vt:lpstr>NCEH_ATSDR_combined</vt:lpstr>
      <vt:lpstr>1_NCEH_ATSDR_combined</vt:lpstr>
      <vt:lpstr>Thème Office</vt:lpstr>
      <vt:lpstr>5_Office Theme</vt:lpstr>
      <vt:lpstr>1_WHO/IVB Presentation</vt:lpstr>
      <vt:lpstr>2_WHO/IVB Presentation</vt:lpstr>
      <vt:lpstr>3_WHO/IVB Presentation</vt:lpstr>
      <vt:lpstr>4_WHO/IVB Presentation</vt:lpstr>
      <vt:lpstr>5_WHO/IVB Presentation</vt:lpstr>
      <vt:lpstr>3_Office Theme</vt:lpstr>
      <vt:lpstr>think-cell Slide</vt:lpstr>
      <vt:lpstr>PowerPoint Presentation</vt:lpstr>
      <vt:lpstr>PowerPoint Presentation</vt:lpstr>
      <vt:lpstr>143 pays ont introduit la vaccination contre le papillomavirus dans leur programme national</vt:lpstr>
      <vt:lpstr>PowerPoint Presentation</vt:lpstr>
      <vt:lpstr>PowerPoint Presentation</vt:lpstr>
      <vt:lpstr>Impact des recommandations du calendrier optimisé de l'OMS : Calendrier de vaccination à 1 dose contre le VPH adopté dans 56 pays (août 2024)</vt:lpstr>
      <vt:lpstr>PowerPoint Presentation</vt:lpstr>
      <vt:lpstr>Équilibre entre l'offre et la demande</vt:lpstr>
      <vt:lpstr>PowerPoint Presentation</vt:lpstr>
      <vt:lpstr>PowerPoint Presentation</vt:lpstr>
      <vt:lpstr>Données intermédiaires à 6 mois Réponse immunitaire Cecolin vs Gardasil indiquent une non-infériorité à 6 mois</vt:lpstr>
      <vt:lpstr>Ressources sur le VPH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LOEM, Paul</dc:creator>
  <cp:keywords>, docId:10C963B2905FA5ADA42C2D0C40CE14B9</cp:keywords>
  <cp:lastModifiedBy>TEVI BENISSAN, Mable Carole</cp:lastModifiedBy>
  <cp:revision>13</cp:revision>
  <dcterms:created xsi:type="dcterms:W3CDTF">2023-03-20T14:06:13Z</dcterms:created>
  <dcterms:modified xsi:type="dcterms:W3CDTF">2024-09-09T14:28:17Z</dcterms:modified>
</cp:coreProperties>
</file>